
<file path=[Content_Types].xml><?xml version="1.0" encoding="utf-8"?>
<Types xmlns="http://schemas.openxmlformats.org/package/2006/content-types">
  <Default Extension="png" ContentType="image/png"/>
  <Default Extension="jfif" ContentType="image/jpeg"/>
  <Default Extension="bin" ContentType="application/vnd.openxmlformats-officedocument.oleObject"/>
  <Default Extension="svg" ContentType="image/svg+xml"/>
  <Default Extension="emf" ContentType="image/x-emf"/>
  <Default Extension="m4a" ContentType="audio/mp4"/>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83.xml" ContentType="application/vnd.openxmlformats-officedocument.presentationml.tags+xml"/>
  <Override PartName="/ppt/notesSlides/notesSlide6.xml" ContentType="application/vnd.openxmlformats-officedocument.presentationml.notesSlide+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notesSlides/notesSlide7.xml" ContentType="application/vnd.openxmlformats-officedocument.presentationml.notesSlide+xml"/>
  <Override PartName="/ppt/tags/tag189.xml" ContentType="application/vnd.openxmlformats-officedocument.presentationml.tags+xml"/>
  <Override PartName="/ppt/tags/tag190.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9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notesSlides/notesSlide24.xml" ContentType="application/vnd.openxmlformats-officedocument.presentationml.notesSlide+xml"/>
  <Override PartName="/ppt/tags/tag195.xml" ContentType="application/vnd.openxmlformats-officedocument.presentationml.tags+xml"/>
  <Override PartName="/ppt/tags/tag196.xml" ContentType="application/vnd.openxmlformats-officedocument.presentationml.tags+xml"/>
  <Override PartName="/ppt/notesSlides/notesSlide25.xml" ContentType="application/vnd.openxmlformats-officedocument.presentationml.notesSlide+xml"/>
  <Override PartName="/ppt/tags/tag19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0" r:id="rId2"/>
    <p:sldMasterId id="2147483675" r:id="rId3"/>
    <p:sldMasterId id="2147483723" r:id="rId4"/>
  </p:sldMasterIdLst>
  <p:notesMasterIdLst>
    <p:notesMasterId r:id="rId36"/>
  </p:notesMasterIdLst>
  <p:sldIdLst>
    <p:sldId id="366" r:id="rId5"/>
    <p:sldId id="280" r:id="rId6"/>
    <p:sldId id="347" r:id="rId7"/>
    <p:sldId id="348" r:id="rId8"/>
    <p:sldId id="349" r:id="rId9"/>
    <p:sldId id="317" r:id="rId10"/>
    <p:sldId id="350" r:id="rId11"/>
    <p:sldId id="360" r:id="rId12"/>
    <p:sldId id="359" r:id="rId13"/>
    <p:sldId id="357" r:id="rId14"/>
    <p:sldId id="344" r:id="rId15"/>
    <p:sldId id="324" r:id="rId16"/>
    <p:sldId id="325" r:id="rId17"/>
    <p:sldId id="326" r:id="rId18"/>
    <p:sldId id="327" r:id="rId19"/>
    <p:sldId id="328" r:id="rId20"/>
    <p:sldId id="329" r:id="rId21"/>
    <p:sldId id="330" r:id="rId22"/>
    <p:sldId id="331" r:id="rId23"/>
    <p:sldId id="333" r:id="rId24"/>
    <p:sldId id="304" r:id="rId25"/>
    <p:sldId id="361" r:id="rId26"/>
    <p:sldId id="334" r:id="rId27"/>
    <p:sldId id="364" r:id="rId28"/>
    <p:sldId id="322" r:id="rId29"/>
    <p:sldId id="363" r:id="rId30"/>
    <p:sldId id="362" r:id="rId31"/>
    <p:sldId id="354" r:id="rId32"/>
    <p:sldId id="338" r:id="rId33"/>
    <p:sldId id="345" r:id="rId34"/>
    <p:sldId id="365"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F95C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169"/>
    <p:restoredTop sz="86576" autoAdjust="0"/>
  </p:normalViewPr>
  <p:slideViewPr>
    <p:cSldViewPr snapToGrid="0" snapToObjects="1">
      <p:cViewPr varScale="1">
        <p:scale>
          <a:sx n="72" d="100"/>
          <a:sy n="72" d="100"/>
        </p:scale>
        <p:origin x="504" y="86"/>
      </p:cViewPr>
      <p:guideLst/>
    </p:cSldViewPr>
  </p:slideViewPr>
  <p:outlineViewPr>
    <p:cViewPr>
      <p:scale>
        <a:sx n="33" d="100"/>
        <a:sy n="33" d="100"/>
      </p:scale>
      <p:origin x="0"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485CDB7-CD16-CA46-8DA2-81B7DC07BF5A}" type="datetimeFigureOut">
              <a:rPr lang="en-US" smtClean="0"/>
              <a:t>6/18/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5E8A08C-9884-304C-8F40-CC2230378575}" type="slidenum">
              <a:rPr lang="en-US" smtClean="0"/>
              <a:t>‹#›</a:t>
            </a:fld>
            <a:endParaRPr lang="en-US"/>
          </a:p>
        </p:txBody>
      </p:sp>
    </p:spTree>
    <p:extLst>
      <p:ext uri="{BB962C8B-B14F-4D97-AF65-F5344CB8AC3E}">
        <p14:creationId xmlns:p14="http://schemas.microsoft.com/office/powerpoint/2010/main" val="10344288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Suzy </a:t>
            </a:r>
            <a:r>
              <a:rPr lang="en-US" sz="1200" dirty="0" err="1"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Kassem</a:t>
            </a:r>
            <a:r>
              <a:rPr lang="en-US" sz="120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 said “Fear Kills</a:t>
            </a:r>
            <a:r>
              <a:rPr lang="en-US" sz="1200" baseline="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 More Dreams than failure ever wil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aseline="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As a transformational leader I don’t want to kill dreams, I want to realize them. But to do that I need to be a fear tamer</a:t>
            </a:r>
            <a:endParaRPr lang="en-US" sz="120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endParaRPr>
          </a:p>
        </p:txBody>
      </p:sp>
      <p:sp>
        <p:nvSpPr>
          <p:cNvPr id="4" name="Slide Number Placeholder 3"/>
          <p:cNvSpPr>
            <a:spLocks noGrp="1"/>
          </p:cNvSpPr>
          <p:nvPr>
            <p:ph type="sldNum" sz="quarter" idx="10"/>
          </p:nvPr>
        </p:nvSpPr>
        <p:spPr/>
        <p:txBody>
          <a:bodyPr/>
          <a:lstStyle/>
          <a:p>
            <a:fld id="{B5E8A08C-9884-304C-8F40-CC2230378575}" type="slidenum">
              <a:rPr lang="en-US" smtClean="0"/>
              <a:t>1</a:t>
            </a:fld>
            <a:endParaRPr lang="en-US"/>
          </a:p>
        </p:txBody>
      </p:sp>
    </p:spTree>
    <p:extLst>
      <p:ext uri="{BB962C8B-B14F-4D97-AF65-F5344CB8AC3E}">
        <p14:creationId xmlns:p14="http://schemas.microsoft.com/office/powerpoint/2010/main" val="19261495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I deliberately</a:t>
            </a:r>
            <a:r>
              <a:rPr lang="en-US" sz="1200" baseline="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 choose the word “system” rather than framework. My background is as a systems engineer. As a systems engineer I am trained to recognize the components and patterns and how they interrelate to create value and understand the upstream and downstream effects and impact when one of those components is changed. </a:t>
            </a:r>
            <a:endParaRPr lang="en-US" dirty="0"/>
          </a:p>
        </p:txBody>
      </p:sp>
      <p:sp>
        <p:nvSpPr>
          <p:cNvPr id="4" name="Slide Number Placeholder 3"/>
          <p:cNvSpPr>
            <a:spLocks noGrp="1"/>
          </p:cNvSpPr>
          <p:nvPr>
            <p:ph type="sldNum" sz="quarter" idx="10"/>
          </p:nvPr>
        </p:nvSpPr>
        <p:spPr/>
        <p:txBody>
          <a:bodyPr/>
          <a:lstStyle/>
          <a:p>
            <a:fld id="{B5E8A08C-9884-304C-8F40-CC2230378575}" type="slidenum">
              <a:rPr lang="en-US" smtClean="0"/>
              <a:t>11</a:t>
            </a:fld>
            <a:endParaRPr lang="en-US"/>
          </a:p>
        </p:txBody>
      </p:sp>
    </p:spTree>
    <p:extLst>
      <p:ext uri="{BB962C8B-B14F-4D97-AF65-F5344CB8AC3E}">
        <p14:creationId xmlns:p14="http://schemas.microsoft.com/office/powerpoint/2010/main" val="13106289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Cross-functional teams are balanced teams</a:t>
            </a:r>
            <a:r>
              <a:rPr lang="en-US" baseline="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 whose knowledge and skills covers the entire stack and enables the collective ownership of the application for it’s lifecycle, Cradle-to-grave, code-to-customer. </a:t>
            </a:r>
          </a:p>
          <a:p>
            <a:r>
              <a:rPr lang="en-US" baseline="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A cross-functional team where Ops is embedded in the team removes competing incentive structures and the us versus them mentality when Dev and Ops are </a:t>
            </a:r>
            <a:r>
              <a:rPr lang="en-US" baseline="0" dirty="0" err="1"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siloed</a:t>
            </a:r>
            <a:r>
              <a:rPr lang="en-US" baseline="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 </a:t>
            </a:r>
          </a:p>
          <a:p>
            <a:r>
              <a:rPr lang="en-US" baseline="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The team cross-skills and everyone learns and grows and the customer wins.</a:t>
            </a:r>
          </a:p>
          <a:p>
            <a:endParaRPr lang="en-US" baseline="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endParaRPr>
          </a:p>
          <a:p>
            <a:endParaRPr lang="en-US"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endParaRPr>
          </a:p>
          <a:p>
            <a:endParaRPr lang="en-US" dirty="0" smtClean="0">
              <a:solidFill>
                <a:schemeClr val="bg2">
                  <a:lumMod val="50000"/>
                </a:schemeClr>
              </a:solidFill>
              <a:latin typeface="Optimist" panose="020B0603020204030204" pitchFamily="34" charset="77"/>
            </a:endParaRPr>
          </a:p>
          <a:p>
            <a:endParaRPr lang="en-US" dirty="0"/>
          </a:p>
        </p:txBody>
      </p:sp>
      <p:sp>
        <p:nvSpPr>
          <p:cNvPr id="4" name="Slide Number Placeholder 3"/>
          <p:cNvSpPr>
            <a:spLocks noGrp="1"/>
          </p:cNvSpPr>
          <p:nvPr>
            <p:ph type="sldNum" sz="quarter" idx="10"/>
          </p:nvPr>
        </p:nvSpPr>
        <p:spPr/>
        <p:txBody>
          <a:bodyPr/>
          <a:lstStyle/>
          <a:p>
            <a:fld id="{B5E8A08C-9884-304C-8F40-CC2230378575}" type="slidenum">
              <a:rPr lang="en-US" smtClean="0"/>
              <a:t>12</a:t>
            </a:fld>
            <a:endParaRPr lang="en-US"/>
          </a:p>
        </p:txBody>
      </p:sp>
    </p:spTree>
    <p:extLst>
      <p:ext uri="{BB962C8B-B14F-4D97-AF65-F5344CB8AC3E}">
        <p14:creationId xmlns:p14="http://schemas.microsoft.com/office/powerpoint/2010/main" val="42636647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No Fear Releases. Enable</a:t>
            </a:r>
            <a:r>
              <a:rPr lang="en-US" baseline="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 </a:t>
            </a:r>
            <a:r>
              <a:rPr lang="en-US"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reliable,</a:t>
            </a:r>
            <a:r>
              <a:rPr lang="en-US" baseline="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 predictable, high quality releases of value into a scalable, resilient, high performing and highly available cloud </a:t>
            </a:r>
            <a:endParaRPr lang="en-US" baseline="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endParaRPr>
          </a:p>
          <a:p>
            <a:endParaRPr lang="en-US" baseline="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endParaRPr>
          </a:p>
          <a:p>
            <a:r>
              <a:rPr lang="en-US" baseline="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Provide reusable code libraries and codified stacks that meet compliance and security </a:t>
            </a:r>
            <a:r>
              <a:rPr lang="en-US" baseline="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requirements so your engineers aren’t in fear of Audit and </a:t>
            </a:r>
            <a:r>
              <a:rPr lang="en-US" baseline="0" dirty="0" err="1"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Infosec</a:t>
            </a:r>
            <a:endParaRPr lang="en-US"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endParaRPr>
          </a:p>
          <a:p>
            <a:endParaRPr lang="en-US"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endParaRPr>
          </a:p>
          <a:p>
            <a:r>
              <a:rPr lang="en-US" baseline="0" dirty="0" smtClean="0">
                <a:solidFill>
                  <a:schemeClr val="bg2">
                    <a:lumMod val="50000"/>
                  </a:schemeClr>
                </a:solidFill>
                <a:latin typeface="Optimist" panose="020B0603020204030204" pitchFamily="34" charset="77"/>
              </a:rPr>
              <a:t>Invest </a:t>
            </a:r>
            <a:r>
              <a:rPr lang="en-US" baseline="0" dirty="0" smtClean="0">
                <a:solidFill>
                  <a:schemeClr val="bg2">
                    <a:lumMod val="50000"/>
                  </a:schemeClr>
                </a:solidFill>
                <a:latin typeface="Optimist" panose="020B0603020204030204" pitchFamily="34" charset="77"/>
              </a:rPr>
              <a:t>in refactoring code into microservices for applications you are invested in for the long-term</a:t>
            </a:r>
            <a:r>
              <a:rPr lang="en-US" baseline="0" dirty="0" smtClean="0">
                <a:solidFill>
                  <a:schemeClr val="bg2">
                    <a:lumMod val="50000"/>
                  </a:schemeClr>
                </a:solidFill>
                <a:latin typeface="Optimist" panose="020B0603020204030204" pitchFamily="34" charset="77"/>
              </a:rPr>
              <a:t>.</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E8A08C-9884-304C-8F40-CC22303785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99662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Drive the engineering practices for continuous feedback and flow. Implement</a:t>
            </a:r>
            <a:r>
              <a:rPr lang="en-US" baseline="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 an “Engineering Excellence Program”. It will improve developer engagement , raise motivation, and positively impact quality and time to </a:t>
            </a:r>
            <a:r>
              <a:rPr lang="en-US" baseline="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value. Make these practices measured, visible in a dashboard so they can measure their progress. Drive them to compete against themselves in improving. Think of it like a swim team that is continually striving to drop time from their last swim. </a:t>
            </a:r>
            <a:endParaRPr lang="en-US"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endParaRPr>
          </a:p>
          <a:p>
            <a:endParaRPr lang="en-US" dirty="0"/>
          </a:p>
        </p:txBody>
      </p:sp>
      <p:sp>
        <p:nvSpPr>
          <p:cNvPr id="4" name="Slide Number Placeholder 3"/>
          <p:cNvSpPr>
            <a:spLocks noGrp="1"/>
          </p:cNvSpPr>
          <p:nvPr>
            <p:ph type="sldNum" sz="quarter" idx="10"/>
          </p:nvPr>
        </p:nvSpPr>
        <p:spPr/>
        <p:txBody>
          <a:bodyPr/>
          <a:lstStyle/>
          <a:p>
            <a:fld id="{B5E8A08C-9884-304C-8F40-CC2230378575}" type="slidenum">
              <a:rPr lang="en-US" smtClean="0"/>
              <a:t>14</a:t>
            </a:fld>
            <a:endParaRPr lang="en-US"/>
          </a:p>
        </p:txBody>
      </p:sp>
    </p:spTree>
    <p:extLst>
      <p:ext uri="{BB962C8B-B14F-4D97-AF65-F5344CB8AC3E}">
        <p14:creationId xmlns:p14="http://schemas.microsoft.com/office/powerpoint/2010/main" val="26070771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I</a:t>
            </a:r>
            <a:r>
              <a:rPr lang="en-US" baseline="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 like to call this the “No Fear” center. </a:t>
            </a:r>
            <a:r>
              <a:rPr lang="en-US"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Nothing says “we are here to help you” and we want you to be successful</a:t>
            </a:r>
            <a:r>
              <a:rPr lang="en-US" baseline="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 more than a competency center staffed with highly skilled masters to coach teams and individuals adopt new ways of working and new skills. In the </a:t>
            </a:r>
            <a:r>
              <a:rPr lang="en-US" baseline="0" dirty="0" err="1"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CoC</a:t>
            </a:r>
            <a:r>
              <a:rPr lang="en-US" baseline="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 teams can co-create and innovate and accelerate their learning. </a:t>
            </a:r>
            <a:r>
              <a:rPr lang="en-US"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 </a:t>
            </a:r>
            <a:endParaRPr lang="en-US"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What</a:t>
            </a:r>
            <a:r>
              <a:rPr lang="en-US" baseline="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 I have seen be the most successful in shepherding teams through change is the Immersive learning, or Dojo model, where teams collocate with coaches and dedicate an extended period of time to adopting the tools and practices. It’s where they go to learn in a psychologically safe environment and where it is safe to fail</a:t>
            </a:r>
            <a:endParaRPr lang="en-US"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endParaRPr>
          </a:p>
          <a:p>
            <a:endParaRPr lang="en-US" dirty="0"/>
          </a:p>
        </p:txBody>
      </p:sp>
      <p:sp>
        <p:nvSpPr>
          <p:cNvPr id="4" name="Slide Number Placeholder 3"/>
          <p:cNvSpPr>
            <a:spLocks noGrp="1"/>
          </p:cNvSpPr>
          <p:nvPr>
            <p:ph type="sldNum" sz="quarter" idx="10"/>
          </p:nvPr>
        </p:nvSpPr>
        <p:spPr/>
        <p:txBody>
          <a:bodyPr/>
          <a:lstStyle/>
          <a:p>
            <a:fld id="{B5E8A08C-9884-304C-8F40-CC2230378575}" type="slidenum">
              <a:rPr lang="en-US" smtClean="0"/>
              <a:t>15</a:t>
            </a:fld>
            <a:endParaRPr lang="en-US"/>
          </a:p>
        </p:txBody>
      </p:sp>
    </p:spTree>
    <p:extLst>
      <p:ext uri="{BB962C8B-B14F-4D97-AF65-F5344CB8AC3E}">
        <p14:creationId xmlns:p14="http://schemas.microsoft.com/office/powerpoint/2010/main" val="22514606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The 2019 State of DevOps reports states that “high performers</a:t>
            </a:r>
            <a:r>
              <a:rPr lang="en-US" baseline="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 favor strategies that create community structures at both high and low levels in the organization, including </a:t>
            </a:r>
            <a:r>
              <a:rPr lang="en-US" baseline="0" dirty="0" err="1"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CoPs</a:t>
            </a:r>
            <a:r>
              <a:rPr lang="en-US" baseline="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 making transformations more sustainable and resilient to reorgs and product changes” It is the Communities that will help scale transform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Hack-a-thons are effective a jump starting innovation and problem solving. I’ve seen solutions from hack-a-thons solve complex problems that couldn’t be solved by experts in a room for two day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Gamification, some peer pressure and healthy competition go a long wa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endParaRPr>
          </a:p>
          <a:p>
            <a:endParaRPr lang="en-US" dirty="0"/>
          </a:p>
        </p:txBody>
      </p:sp>
      <p:sp>
        <p:nvSpPr>
          <p:cNvPr id="4" name="Slide Number Placeholder 3"/>
          <p:cNvSpPr>
            <a:spLocks noGrp="1"/>
          </p:cNvSpPr>
          <p:nvPr>
            <p:ph type="sldNum" sz="quarter" idx="10"/>
          </p:nvPr>
        </p:nvSpPr>
        <p:spPr/>
        <p:txBody>
          <a:bodyPr/>
          <a:lstStyle/>
          <a:p>
            <a:fld id="{B5E8A08C-9884-304C-8F40-CC2230378575}" type="slidenum">
              <a:rPr lang="en-US" smtClean="0"/>
              <a:t>16</a:t>
            </a:fld>
            <a:endParaRPr lang="en-US"/>
          </a:p>
        </p:txBody>
      </p:sp>
    </p:spTree>
    <p:extLst>
      <p:ext uri="{BB962C8B-B14F-4D97-AF65-F5344CB8AC3E}">
        <p14:creationId xmlns:p14="http://schemas.microsoft.com/office/powerpoint/2010/main" val="37450699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rovide the people with a platform to shout</a:t>
            </a:r>
            <a:r>
              <a:rPr lang="en-US" baseline="0" dirty="0" smtClean="0"/>
              <a:t> their success from the mountain tops. Use leadership to communicate and </a:t>
            </a:r>
            <a:r>
              <a:rPr lang="en-US" dirty="0" smtClean="0"/>
              <a:t>repeat </a:t>
            </a:r>
            <a:r>
              <a:rPr lang="en-US" dirty="0" smtClean="0"/>
              <a:t>the </a:t>
            </a:r>
            <a:r>
              <a:rPr lang="en-US" dirty="0" smtClean="0"/>
              <a:t>message and the mission over and over again at town halls. The more stories are told and the more emphasis</a:t>
            </a:r>
            <a:r>
              <a:rPr lang="en-US" baseline="0" dirty="0" smtClean="0"/>
              <a:t> leadership share the more people will accept that this is here and here to stay. that acceptance and sense of conviction from their peers and leadership will provide a sense of security and stability they are longing for in a changing environment.</a:t>
            </a:r>
            <a:endParaRPr lang="en-US" dirty="0"/>
          </a:p>
        </p:txBody>
      </p:sp>
      <p:sp>
        <p:nvSpPr>
          <p:cNvPr id="4" name="Slide Number Placeholder 3"/>
          <p:cNvSpPr>
            <a:spLocks noGrp="1"/>
          </p:cNvSpPr>
          <p:nvPr>
            <p:ph type="sldNum" sz="quarter" idx="10"/>
          </p:nvPr>
        </p:nvSpPr>
        <p:spPr/>
        <p:txBody>
          <a:bodyPr/>
          <a:lstStyle/>
          <a:p>
            <a:fld id="{B5E8A08C-9884-304C-8F40-CC2230378575}" type="slidenum">
              <a:rPr lang="en-US" smtClean="0"/>
              <a:t>17</a:t>
            </a:fld>
            <a:endParaRPr lang="en-US"/>
          </a:p>
        </p:txBody>
      </p:sp>
    </p:spTree>
    <p:extLst>
      <p:ext uri="{BB962C8B-B14F-4D97-AF65-F5344CB8AC3E}">
        <p14:creationId xmlns:p14="http://schemas.microsoft.com/office/powerpoint/2010/main" val="41859926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easure value and results and show the</a:t>
            </a:r>
            <a:r>
              <a:rPr lang="en-US" baseline="0" dirty="0" smtClean="0"/>
              <a:t> data that supports what you are doing is working. </a:t>
            </a:r>
            <a:r>
              <a:rPr lang="en-US" baseline="0" dirty="0" smtClean="0"/>
              <a:t>Tie DevOps results to </a:t>
            </a:r>
            <a:r>
              <a:rPr lang="en-US" baseline="0" dirty="0" smtClean="0"/>
              <a:t>business results and avoid the vanity metrics that show productivity but probably not progress. When employees see the difference they are making in numbers and data they will want to do more and go above-and-beyond. They will know this is working.</a:t>
            </a:r>
            <a:endParaRPr lang="en-US" dirty="0"/>
          </a:p>
        </p:txBody>
      </p:sp>
      <p:sp>
        <p:nvSpPr>
          <p:cNvPr id="4" name="Slide Number Placeholder 3"/>
          <p:cNvSpPr>
            <a:spLocks noGrp="1"/>
          </p:cNvSpPr>
          <p:nvPr>
            <p:ph type="sldNum" sz="quarter" idx="10"/>
          </p:nvPr>
        </p:nvSpPr>
        <p:spPr/>
        <p:txBody>
          <a:bodyPr/>
          <a:lstStyle/>
          <a:p>
            <a:fld id="{B5E8A08C-9884-304C-8F40-CC2230378575}" type="slidenum">
              <a:rPr lang="en-US" smtClean="0"/>
              <a:t>18</a:t>
            </a:fld>
            <a:endParaRPr lang="en-US"/>
          </a:p>
        </p:txBody>
      </p:sp>
    </p:spTree>
    <p:extLst>
      <p:ext uri="{BB962C8B-B14F-4D97-AF65-F5344CB8AC3E}">
        <p14:creationId xmlns:p14="http://schemas.microsoft.com/office/powerpoint/2010/main" val="37402462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inally,</a:t>
            </a:r>
            <a:r>
              <a:rPr lang="en-US" baseline="0" dirty="0" smtClean="0"/>
              <a:t> in the middle, at the heart of the c-suite and </a:t>
            </a:r>
            <a:r>
              <a:rPr lang="en-US" baseline="0" dirty="0" smtClean="0"/>
              <a:t>the most critical element to taming </a:t>
            </a:r>
            <a:r>
              <a:rPr lang="en-US" baseline="0" dirty="0" smtClean="0"/>
              <a:t>fear is culture. Creating an environment where failure is celebrated as part of learning, where people feel accountable and ownership, that it’s safe to speak up and challenge status quo. This will give them comfort and conviction in </a:t>
            </a:r>
            <a:r>
              <a:rPr lang="en-US" baseline="0" dirty="0" smtClean="0"/>
              <a:t>this </a:t>
            </a:r>
            <a:r>
              <a:rPr lang="en-US" baseline="0" dirty="0" smtClean="0"/>
              <a:t>journey </a:t>
            </a:r>
            <a:r>
              <a:rPr lang="en-US" baseline="0" dirty="0" smtClean="0"/>
              <a:t>that erodes at </a:t>
            </a:r>
            <a:r>
              <a:rPr lang="en-US" baseline="0" dirty="0" smtClean="0"/>
              <a:t>the fear</a:t>
            </a:r>
            <a:r>
              <a:rPr lang="en-US" baseline="0" dirty="0" smtClean="0"/>
              <a:t>.  As part of changing culture validate to people that this scary and that it is normal to be afraid. There’s a concept of “name it to tame it”. That once you name the emotion the emotion will inform you and not overwhelm you.</a:t>
            </a:r>
            <a:endParaRPr lang="en-US" dirty="0"/>
          </a:p>
        </p:txBody>
      </p:sp>
      <p:sp>
        <p:nvSpPr>
          <p:cNvPr id="4" name="Slide Number Placeholder 3"/>
          <p:cNvSpPr>
            <a:spLocks noGrp="1"/>
          </p:cNvSpPr>
          <p:nvPr>
            <p:ph type="sldNum" sz="quarter" idx="10"/>
          </p:nvPr>
        </p:nvSpPr>
        <p:spPr/>
        <p:txBody>
          <a:bodyPr/>
          <a:lstStyle/>
          <a:p>
            <a:fld id="{B5E8A08C-9884-304C-8F40-CC2230378575}" type="slidenum">
              <a:rPr lang="en-US" smtClean="0"/>
              <a:t>19</a:t>
            </a:fld>
            <a:endParaRPr lang="en-US"/>
          </a:p>
        </p:txBody>
      </p:sp>
    </p:spTree>
    <p:extLst>
      <p:ext uri="{BB962C8B-B14F-4D97-AF65-F5344CB8AC3E}">
        <p14:creationId xmlns:p14="http://schemas.microsoft.com/office/powerpoint/2010/main" val="9740358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a:t>
            </a:r>
            <a:r>
              <a:rPr lang="en-US" baseline="0" dirty="0" smtClean="0"/>
              <a:t> like to use a technique called a “fly wheel” that tests my strategy and how the components of the c-suite work together to drive momentum for change and moving towards the mission. I </a:t>
            </a:r>
            <a:r>
              <a:rPr lang="en-US" baseline="0" dirty="0" smtClean="0"/>
              <a:t>use </a:t>
            </a:r>
            <a:r>
              <a:rPr lang="en-US" baseline="0" dirty="0" smtClean="0"/>
              <a:t>this with my internal </a:t>
            </a:r>
            <a:r>
              <a:rPr lang="en-US" baseline="0" dirty="0" smtClean="0"/>
              <a:t>customers and stakeholders </a:t>
            </a:r>
            <a:r>
              <a:rPr lang="en-US" baseline="0" dirty="0" smtClean="0"/>
              <a:t>to give them an idea on how this </a:t>
            </a:r>
            <a:r>
              <a:rPr lang="en-US" baseline="0" dirty="0" smtClean="0"/>
              <a:t>system will </a:t>
            </a:r>
            <a:r>
              <a:rPr lang="en-US" baseline="0" dirty="0" smtClean="0"/>
              <a:t>build the momentum for transformation</a:t>
            </a:r>
            <a:r>
              <a:rPr lang="en-US" baseline="0" dirty="0" smtClean="0"/>
              <a:t>. It works like this.</a:t>
            </a:r>
            <a:endParaRPr lang="en-US" dirty="0"/>
          </a:p>
        </p:txBody>
      </p:sp>
      <p:sp>
        <p:nvSpPr>
          <p:cNvPr id="4" name="Slide Number Placeholder 3"/>
          <p:cNvSpPr>
            <a:spLocks noGrp="1"/>
          </p:cNvSpPr>
          <p:nvPr>
            <p:ph type="sldNum" sz="quarter" idx="10"/>
          </p:nvPr>
        </p:nvSpPr>
        <p:spPr/>
        <p:txBody>
          <a:bodyPr/>
          <a:lstStyle/>
          <a:p>
            <a:fld id="{B5E8A08C-9884-304C-8F40-CC2230378575}" type="slidenum">
              <a:rPr lang="en-US" smtClean="0"/>
              <a:t>20</a:t>
            </a:fld>
            <a:endParaRPr lang="en-US"/>
          </a:p>
        </p:txBody>
      </p:sp>
    </p:spTree>
    <p:extLst>
      <p:ext uri="{BB962C8B-B14F-4D97-AF65-F5344CB8AC3E}">
        <p14:creationId xmlns:p14="http://schemas.microsoft.com/office/powerpoint/2010/main" val="3106070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Company </a:t>
            </a:r>
            <a:r>
              <a:rPr lang="en-US" sz="120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1 is a mid-size, not-for-profit FFRDC. It has</a:t>
            </a:r>
            <a:r>
              <a:rPr lang="en-US" sz="1200" baseline="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 been repeatedly named </a:t>
            </a:r>
            <a:r>
              <a:rPr lang="en-US" sz="1200" baseline="0" dirty="0" err="1"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Computerworlds</a:t>
            </a:r>
            <a:r>
              <a:rPr lang="en-US" sz="1200" baseline="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 “Best Places to work in IT”. It is where I put in my first pipeline in a Corporate IT department and saw colleagues I cared about get their nights and weekends back when releases became daily and reliable. It’s where I began my career in DevOp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aseline="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In 2015 I got the opportunity to bring that experience to more people and I left I was at for 16 years and colleagues I loved to join a much larger transformation effort at a Fortune top 100 company. To say I did a 180 degree turn in my career is an understate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aseline="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And for four years I learned how a transformation-at-scale worked in a heavily regulated, highly competitive industry and environment. I came in with no knowledge of the cloud and very little experience with scaled agile. Four years later I was an Cloud Solutions Architecture, a Director in a large organization, and leading a project-to-product transformations. For four years I got the opportunity to be a part of one of the largest and most progressive digital transformations of our tim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aseline="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Company 2 was well into their journey and maturing and I decided I wanted to help a company who was at the beginning. In November of 2019 I took an opportunity to join S&amp;P Global and lead in their adoption of DevOps and the Cloud. Today I am Head of DevOps and Cloud in S&amp;Ps Market Intelligence Division. </a:t>
            </a:r>
            <a:endParaRPr lang="en-US" sz="120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endParaRPr>
          </a:p>
          <a:p>
            <a:endParaRPr lang="en-US" dirty="0"/>
          </a:p>
        </p:txBody>
      </p:sp>
      <p:sp>
        <p:nvSpPr>
          <p:cNvPr id="4" name="Slide Number Placeholder 3"/>
          <p:cNvSpPr>
            <a:spLocks noGrp="1"/>
          </p:cNvSpPr>
          <p:nvPr>
            <p:ph type="sldNum" sz="quarter" idx="10"/>
          </p:nvPr>
        </p:nvSpPr>
        <p:spPr/>
        <p:txBody>
          <a:bodyPr/>
          <a:lstStyle/>
          <a:p>
            <a:fld id="{B5E8A08C-9884-304C-8F40-CC2230378575}" type="slidenum">
              <a:rPr lang="en-US" smtClean="0"/>
              <a:t>2</a:t>
            </a:fld>
            <a:endParaRPr lang="en-US"/>
          </a:p>
        </p:txBody>
      </p:sp>
    </p:spTree>
    <p:extLst>
      <p:ext uri="{BB962C8B-B14F-4D97-AF65-F5344CB8AC3E}">
        <p14:creationId xmlns:p14="http://schemas.microsoft.com/office/powerpoint/2010/main" val="15498784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endParaRPr>
          </a:p>
          <a:p>
            <a:endParaRPr lang="en-US" dirty="0"/>
          </a:p>
        </p:txBody>
      </p:sp>
      <p:sp>
        <p:nvSpPr>
          <p:cNvPr id="4" name="Slide Number Placeholder 3"/>
          <p:cNvSpPr>
            <a:spLocks noGrp="1"/>
          </p:cNvSpPr>
          <p:nvPr>
            <p:ph type="sldNum" sz="quarter" idx="10"/>
          </p:nvPr>
        </p:nvSpPr>
        <p:spPr/>
        <p:txBody>
          <a:bodyPr/>
          <a:lstStyle/>
          <a:p>
            <a:fld id="{B5E8A08C-9884-304C-8F40-CC2230378575}" type="slidenum">
              <a:rPr lang="en-US" smtClean="0"/>
              <a:t>21</a:t>
            </a:fld>
            <a:endParaRPr lang="en-US"/>
          </a:p>
        </p:txBody>
      </p:sp>
    </p:spTree>
    <p:extLst>
      <p:ext uri="{BB962C8B-B14F-4D97-AF65-F5344CB8AC3E}">
        <p14:creationId xmlns:p14="http://schemas.microsoft.com/office/powerpoint/2010/main" val="39458190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 continue</a:t>
            </a:r>
            <a:r>
              <a:rPr lang="en-US" baseline="0" dirty="0" smtClean="0"/>
              <a:t> to use the components of the c-suite to establish the </a:t>
            </a:r>
            <a:r>
              <a:rPr lang="en-US" baseline="0" dirty="0" err="1" smtClean="0"/>
              <a:t>workstreams</a:t>
            </a:r>
            <a:r>
              <a:rPr lang="en-US" baseline="0" dirty="0" smtClean="0"/>
              <a:t> and a roadmap that shows the path forward and how will organize around the work for execution. This helps to make the strategy executable and establishes milestones and capabilities they can track progress against. </a:t>
            </a:r>
            <a:r>
              <a:rPr lang="en-US" baseline="0" dirty="0" smtClean="0"/>
              <a:t> I mentioned earlier that having a plan and a path forward helped to ease my fear and anxiety over my career changes, having a roadmap and way to show how to organize and execute will do the same for those going through this change</a:t>
            </a:r>
            <a:endParaRPr lang="en-US" dirty="0"/>
          </a:p>
        </p:txBody>
      </p:sp>
      <p:sp>
        <p:nvSpPr>
          <p:cNvPr id="4" name="Slide Number Placeholder 3"/>
          <p:cNvSpPr>
            <a:spLocks noGrp="1"/>
          </p:cNvSpPr>
          <p:nvPr>
            <p:ph type="sldNum" sz="quarter" idx="10"/>
          </p:nvPr>
        </p:nvSpPr>
        <p:spPr/>
        <p:txBody>
          <a:bodyPr/>
          <a:lstStyle/>
          <a:p>
            <a:fld id="{B5E8A08C-9884-304C-8F40-CC2230378575}" type="slidenum">
              <a:rPr lang="en-US" smtClean="0"/>
              <a:t>22</a:t>
            </a:fld>
            <a:endParaRPr lang="en-US"/>
          </a:p>
        </p:txBody>
      </p:sp>
    </p:spTree>
    <p:extLst>
      <p:ext uri="{BB962C8B-B14F-4D97-AF65-F5344CB8AC3E}">
        <p14:creationId xmlns:p14="http://schemas.microsoft.com/office/powerpoint/2010/main" val="9901832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veryone of these companies want what DevOps has to offer, but just</a:t>
            </a:r>
            <a:r>
              <a:rPr lang="en-US" baseline="0" dirty="0" smtClean="0"/>
              <a:t> like people there are personalities and profiles that impact the rate and success of that adoption. They will get there but in their own time, but will it be fast enough? </a:t>
            </a:r>
          </a:p>
          <a:p>
            <a:endParaRPr lang="en-US" baseline="0" dirty="0" smtClean="0"/>
          </a:p>
          <a:p>
            <a:r>
              <a:rPr lang="en-US" baseline="0" dirty="0" smtClean="0"/>
              <a:t>Notice company two. It was the biggest and most aggressive of the three and yet it was at least 3 years before they really saw the benefits of DevOps to the business and could get a greenfield product out the door in less than 3 months</a:t>
            </a:r>
            <a:endParaRPr lang="en-US" dirty="0"/>
          </a:p>
        </p:txBody>
      </p:sp>
      <p:sp>
        <p:nvSpPr>
          <p:cNvPr id="4" name="Slide Number Placeholder 3"/>
          <p:cNvSpPr>
            <a:spLocks noGrp="1"/>
          </p:cNvSpPr>
          <p:nvPr>
            <p:ph type="sldNum" sz="quarter" idx="10"/>
          </p:nvPr>
        </p:nvSpPr>
        <p:spPr/>
        <p:txBody>
          <a:bodyPr/>
          <a:lstStyle/>
          <a:p>
            <a:fld id="{B5E8A08C-9884-304C-8F40-CC2230378575}" type="slidenum">
              <a:rPr lang="en-US" smtClean="0"/>
              <a:t>24</a:t>
            </a:fld>
            <a:endParaRPr lang="en-US"/>
          </a:p>
        </p:txBody>
      </p:sp>
    </p:spTree>
    <p:extLst>
      <p:ext uri="{BB962C8B-B14F-4D97-AF65-F5344CB8AC3E}">
        <p14:creationId xmlns:p14="http://schemas.microsoft.com/office/powerpoint/2010/main" val="29787595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 matter the company’s size</a:t>
            </a:r>
            <a:r>
              <a:rPr lang="en-US" baseline="0" dirty="0" smtClean="0"/>
              <a:t> and motivation </a:t>
            </a:r>
            <a:endParaRPr lang="en-US" dirty="0"/>
          </a:p>
        </p:txBody>
      </p:sp>
      <p:sp>
        <p:nvSpPr>
          <p:cNvPr id="4" name="Slide Number Placeholder 3"/>
          <p:cNvSpPr>
            <a:spLocks noGrp="1"/>
          </p:cNvSpPr>
          <p:nvPr>
            <p:ph type="sldNum" sz="quarter" idx="10"/>
          </p:nvPr>
        </p:nvSpPr>
        <p:spPr/>
        <p:txBody>
          <a:bodyPr/>
          <a:lstStyle/>
          <a:p>
            <a:fld id="{B5E8A08C-9884-304C-8F40-CC2230378575}" type="slidenum">
              <a:rPr lang="en-US" smtClean="0"/>
              <a:t>25</a:t>
            </a:fld>
            <a:endParaRPr lang="en-US"/>
          </a:p>
        </p:txBody>
      </p:sp>
    </p:spTree>
    <p:extLst>
      <p:ext uri="{BB962C8B-B14F-4D97-AF65-F5344CB8AC3E}">
        <p14:creationId xmlns:p14="http://schemas.microsoft.com/office/powerpoint/2010/main" val="4626226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 have shared with you my strategy and method for structuring a transformation that provides organizations with the method,</a:t>
            </a:r>
            <a:r>
              <a:rPr lang="en-US" baseline="0" dirty="0" smtClean="0"/>
              <a:t> components, roadmap that provides a path forward to a DevOps adoption that gives them the confidence to take on such a large and ambitious journey. At this point I want to revisit the question of being people that are more agile, adaptable, scalable and tolerant of change and see if we can pop answers into these circles</a:t>
            </a:r>
            <a:endParaRPr lang="en-US" dirty="0"/>
          </a:p>
        </p:txBody>
      </p:sp>
      <p:sp>
        <p:nvSpPr>
          <p:cNvPr id="4" name="Slide Number Placeholder 3"/>
          <p:cNvSpPr>
            <a:spLocks noGrp="1"/>
          </p:cNvSpPr>
          <p:nvPr>
            <p:ph type="sldNum" sz="quarter" idx="10"/>
          </p:nvPr>
        </p:nvSpPr>
        <p:spPr/>
        <p:txBody>
          <a:bodyPr/>
          <a:lstStyle/>
          <a:p>
            <a:fld id="{B5E8A08C-9884-304C-8F40-CC2230378575}" type="slidenum">
              <a:rPr lang="en-US" smtClean="0"/>
              <a:t>26</a:t>
            </a:fld>
            <a:endParaRPr lang="en-US"/>
          </a:p>
        </p:txBody>
      </p:sp>
    </p:spTree>
    <p:extLst>
      <p:ext uri="{BB962C8B-B14F-4D97-AF65-F5344CB8AC3E}">
        <p14:creationId xmlns:p14="http://schemas.microsoft.com/office/powerpoint/2010/main" val="4147631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 believe</a:t>
            </a:r>
            <a:r>
              <a:rPr lang="en-US" baseline="0" dirty="0" smtClean="0"/>
              <a:t> that it would have</a:t>
            </a:r>
            <a:endParaRPr lang="en-US" dirty="0"/>
          </a:p>
        </p:txBody>
      </p:sp>
      <p:sp>
        <p:nvSpPr>
          <p:cNvPr id="4" name="Slide Number Placeholder 3"/>
          <p:cNvSpPr>
            <a:spLocks noGrp="1"/>
          </p:cNvSpPr>
          <p:nvPr>
            <p:ph type="sldNum" sz="quarter" idx="10"/>
          </p:nvPr>
        </p:nvSpPr>
        <p:spPr/>
        <p:txBody>
          <a:bodyPr/>
          <a:lstStyle/>
          <a:p>
            <a:fld id="{B5E8A08C-9884-304C-8F40-CC2230378575}" type="slidenum">
              <a:rPr lang="en-US" smtClean="0"/>
              <a:t>27</a:t>
            </a:fld>
            <a:endParaRPr lang="en-US"/>
          </a:p>
        </p:txBody>
      </p:sp>
    </p:spTree>
    <p:extLst>
      <p:ext uri="{BB962C8B-B14F-4D97-AF65-F5344CB8AC3E}">
        <p14:creationId xmlns:p14="http://schemas.microsoft.com/office/powerpoint/2010/main" val="1244061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ost people know S&amp;P for the stock index and ratings. But</a:t>
            </a:r>
            <a:r>
              <a:rPr lang="en-US" baseline="0" dirty="0" smtClean="0"/>
              <a:t> they also provide energy and commodities data and market insights to support businesses with critical decision making. S&amp;P is primarily a data company with many years and </a:t>
            </a:r>
            <a:r>
              <a:rPr lang="en-US" baseline="0" dirty="0" err="1" smtClean="0"/>
              <a:t>pedabytes</a:t>
            </a:r>
            <a:r>
              <a:rPr lang="en-US" baseline="0" dirty="0" smtClean="0"/>
              <a:t> of data needing to be accessed and analyzed. </a:t>
            </a:r>
            <a:endParaRPr lang="en-US" dirty="0"/>
          </a:p>
        </p:txBody>
      </p:sp>
      <p:sp>
        <p:nvSpPr>
          <p:cNvPr id="4" name="Slide Number Placeholder 3"/>
          <p:cNvSpPr>
            <a:spLocks noGrp="1"/>
          </p:cNvSpPr>
          <p:nvPr>
            <p:ph type="sldNum" sz="quarter" idx="10"/>
          </p:nvPr>
        </p:nvSpPr>
        <p:spPr/>
        <p:txBody>
          <a:bodyPr/>
          <a:lstStyle/>
          <a:p>
            <a:fld id="{B5E8A08C-9884-304C-8F40-CC2230378575}" type="slidenum">
              <a:rPr lang="en-US" smtClean="0"/>
              <a:t>3</a:t>
            </a:fld>
            <a:endParaRPr lang="en-US"/>
          </a:p>
        </p:txBody>
      </p:sp>
    </p:spTree>
    <p:extLst>
      <p:ext uri="{BB962C8B-B14F-4D97-AF65-F5344CB8AC3E}">
        <p14:creationId xmlns:p14="http://schemas.microsoft.com/office/powerpoint/2010/main" val="26466569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 work in the S&amp;P Market</a:t>
            </a:r>
            <a:r>
              <a:rPr lang="en-US" baseline="0" dirty="0" smtClean="0"/>
              <a:t> Intelligence division supporting a web-based platform that supports our customers with the data and analysis they need to make decisions about their finances and businesses with conviction and confidence. Our platform and products are accessed by customers all over the world. My challenge is providing a development and cloud infrastructure system that accelerates the rapid delivery of new and differentiated data sources to our customers in large quantities and distribute it across the globe.</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7D25D3-C290-4784-8BE1-8186D345F173}" type="slidenum">
              <a:rPr kumimoji="0" lang="en-US" sz="12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9956581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 took the first several months of my new</a:t>
            </a:r>
            <a:r>
              <a:rPr lang="en-US" baseline="0" dirty="0" smtClean="0"/>
              <a:t> job to listen and learn. I identified who my internal stakeholders and customers were, conducted empathy interviews and learned about the architecture and challenges. I learned about what was important to the organization and formed a mission and vision statement.</a:t>
            </a:r>
            <a:endParaRPr lang="en-US" dirty="0"/>
          </a:p>
        </p:txBody>
      </p:sp>
      <p:sp>
        <p:nvSpPr>
          <p:cNvPr id="4" name="Slide Number Placeholder 3"/>
          <p:cNvSpPr>
            <a:spLocks noGrp="1"/>
          </p:cNvSpPr>
          <p:nvPr>
            <p:ph type="sldNum" sz="quarter" idx="10"/>
          </p:nvPr>
        </p:nvSpPr>
        <p:spPr/>
        <p:txBody>
          <a:bodyPr/>
          <a:lstStyle/>
          <a:p>
            <a:fld id="{B5E8A08C-9884-304C-8F40-CC2230378575}" type="slidenum">
              <a:rPr lang="en-US" smtClean="0"/>
              <a:t>5</a:t>
            </a:fld>
            <a:endParaRPr lang="en-US"/>
          </a:p>
        </p:txBody>
      </p:sp>
    </p:spTree>
    <p:extLst>
      <p:ext uri="{BB962C8B-B14F-4D97-AF65-F5344CB8AC3E}">
        <p14:creationId xmlns:p14="http://schemas.microsoft.com/office/powerpoint/2010/main" val="32159564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the all hands</a:t>
            </a:r>
            <a:r>
              <a:rPr lang="en-US" baseline="0" dirty="0" smtClean="0"/>
              <a:t> I presented this slide. What do you see? I see lots of change, rugged terrain, and a mountain you can’t see past. Like many organizations in the midst of a digital transformation, my organization has been through a lot of change. Changes in technology, leadership and organizational structure. We know and understand that with today’s technology we need to worry about what’s behind that mountain</a:t>
            </a:r>
            <a:endParaRPr lang="en-US" dirty="0"/>
          </a:p>
        </p:txBody>
      </p:sp>
      <p:sp>
        <p:nvSpPr>
          <p:cNvPr id="4" name="Slide Number Placeholder 3"/>
          <p:cNvSpPr>
            <a:spLocks noGrp="1"/>
          </p:cNvSpPr>
          <p:nvPr>
            <p:ph type="sldNum" sz="quarter" idx="10"/>
          </p:nvPr>
        </p:nvSpPr>
        <p:spPr/>
        <p:txBody>
          <a:bodyPr/>
          <a:lstStyle/>
          <a:p>
            <a:fld id="{B5E8A08C-9884-304C-8F40-CC2230378575}" type="slidenum">
              <a:rPr lang="en-US" smtClean="0"/>
              <a:t>6</a:t>
            </a:fld>
            <a:endParaRPr lang="en-US"/>
          </a:p>
        </p:txBody>
      </p:sp>
    </p:spTree>
    <p:extLst>
      <p:ext uri="{BB962C8B-B14F-4D97-AF65-F5344CB8AC3E}">
        <p14:creationId xmlns:p14="http://schemas.microsoft.com/office/powerpoint/2010/main" val="5115638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ut it’s not enough to build technology to</a:t>
            </a:r>
            <a:r>
              <a:rPr lang="en-US" baseline="0" dirty="0" smtClean="0"/>
              <a:t> support change, we must be people that can sustain and keep pace with change. The irony of change is that even though it’s so reliable we are still uncomfortable with it. We are still afraid of change. Why is that?</a:t>
            </a:r>
            <a:endParaRPr lang="en-US" dirty="0"/>
          </a:p>
        </p:txBody>
      </p:sp>
      <p:sp>
        <p:nvSpPr>
          <p:cNvPr id="4" name="Slide Number Placeholder 3"/>
          <p:cNvSpPr>
            <a:spLocks noGrp="1"/>
          </p:cNvSpPr>
          <p:nvPr>
            <p:ph type="sldNum" sz="quarter" idx="10"/>
          </p:nvPr>
        </p:nvSpPr>
        <p:spPr/>
        <p:txBody>
          <a:bodyPr/>
          <a:lstStyle/>
          <a:p>
            <a:fld id="{B5E8A08C-9884-304C-8F40-CC2230378575}" type="slidenum">
              <a:rPr lang="en-US" smtClean="0"/>
              <a:t>8</a:t>
            </a:fld>
            <a:endParaRPr lang="en-US"/>
          </a:p>
        </p:txBody>
      </p:sp>
    </p:spTree>
    <p:extLst>
      <p:ext uri="{BB962C8B-B14F-4D97-AF65-F5344CB8AC3E}">
        <p14:creationId xmlns:p14="http://schemas.microsoft.com/office/powerpoint/2010/main" val="24324851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t’s because we fear losses more than we value the gains. If you’ve read the book “Think Fast Think Slow” you will learn about “Prospect Theory”. That</a:t>
            </a:r>
            <a:r>
              <a:rPr lang="en-US" baseline="0" dirty="0" smtClean="0"/>
              <a:t> as humans we suffer from loss aversion, that we’d rather not feel the pain of losing $5 more than the joy of finding $5 dollars. </a:t>
            </a:r>
            <a:endParaRPr lang="en-US" dirty="0"/>
          </a:p>
        </p:txBody>
      </p:sp>
      <p:sp>
        <p:nvSpPr>
          <p:cNvPr id="4" name="Slide Number Placeholder 3"/>
          <p:cNvSpPr>
            <a:spLocks noGrp="1"/>
          </p:cNvSpPr>
          <p:nvPr>
            <p:ph type="sldNum" sz="quarter" idx="10"/>
          </p:nvPr>
        </p:nvSpPr>
        <p:spPr/>
        <p:txBody>
          <a:bodyPr/>
          <a:lstStyle/>
          <a:p>
            <a:fld id="{B5E8A08C-9884-304C-8F40-CC2230378575}" type="slidenum">
              <a:rPr lang="en-US" smtClean="0"/>
              <a:t>9</a:t>
            </a:fld>
            <a:endParaRPr lang="en-US"/>
          </a:p>
        </p:txBody>
      </p:sp>
    </p:spTree>
    <p:extLst>
      <p:ext uri="{BB962C8B-B14F-4D97-AF65-F5344CB8AC3E}">
        <p14:creationId xmlns:p14="http://schemas.microsoft.com/office/powerpoint/2010/main" val="29496627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I made two very</a:t>
            </a:r>
            <a:r>
              <a:rPr lang="en-US" sz="1200" baseline="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 significant changes in the last 4 to 5 years after years of no career change. Was I afraid? Very much so. Was I uncomfortable? very much so. But I didn’t let my fear and discomfort didn’t hold me back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aseline="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The joy of the gains I perceived in my new opportunities exceeded the pain of loss. </a:t>
            </a:r>
          </a:p>
        </p:txBody>
      </p:sp>
      <p:sp>
        <p:nvSpPr>
          <p:cNvPr id="4" name="Slide Number Placeholder 3"/>
          <p:cNvSpPr>
            <a:spLocks noGrp="1"/>
          </p:cNvSpPr>
          <p:nvPr>
            <p:ph type="sldNum" sz="quarter" idx="10"/>
          </p:nvPr>
        </p:nvSpPr>
        <p:spPr/>
        <p:txBody>
          <a:bodyPr/>
          <a:lstStyle/>
          <a:p>
            <a:fld id="{B5E8A08C-9884-304C-8F40-CC2230378575}" type="slidenum">
              <a:rPr lang="en-US" smtClean="0"/>
              <a:t>10</a:t>
            </a:fld>
            <a:endParaRPr lang="en-US"/>
          </a:p>
        </p:txBody>
      </p:sp>
    </p:spTree>
    <p:extLst>
      <p:ext uri="{BB962C8B-B14F-4D97-AF65-F5344CB8AC3E}">
        <p14:creationId xmlns:p14="http://schemas.microsoft.com/office/powerpoint/2010/main" val="11206870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60AAE-31BD-B047-8709-21F4E8B39F6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9527637-DB9C-E44F-A119-D5AF3FDF333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99A6567-CC8F-D648-9A3D-4B1946B2DCA8}"/>
              </a:ext>
            </a:extLst>
          </p:cNvPr>
          <p:cNvSpPr>
            <a:spLocks noGrp="1"/>
          </p:cNvSpPr>
          <p:nvPr>
            <p:ph type="dt" sz="half" idx="10"/>
          </p:nvPr>
        </p:nvSpPr>
        <p:spPr/>
        <p:txBody>
          <a:bodyPr/>
          <a:lstStyle/>
          <a:p>
            <a:fld id="{92F427D0-34EB-7F4F-A4A2-2357E7D45014}" type="datetimeFigureOut">
              <a:rPr lang="en-US" smtClean="0"/>
              <a:t>6/18/2020</a:t>
            </a:fld>
            <a:endParaRPr lang="en-US" dirty="0"/>
          </a:p>
        </p:txBody>
      </p:sp>
      <p:sp>
        <p:nvSpPr>
          <p:cNvPr id="5" name="Footer Placeholder 4">
            <a:extLst>
              <a:ext uri="{FF2B5EF4-FFF2-40B4-BE49-F238E27FC236}">
                <a16:creationId xmlns:a16="http://schemas.microsoft.com/office/drawing/2014/main" id="{AF4BFD5A-AA47-2F48-8D03-47E33F2D3B6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1145950-13D0-4B49-9B1E-B680FE2B7BD5}"/>
              </a:ext>
            </a:extLst>
          </p:cNvPr>
          <p:cNvSpPr>
            <a:spLocks noGrp="1"/>
          </p:cNvSpPr>
          <p:nvPr>
            <p:ph type="sldNum" sz="quarter" idx="12"/>
          </p:nvPr>
        </p:nvSpPr>
        <p:spPr/>
        <p:txBody>
          <a:bodyPr/>
          <a:lstStyle/>
          <a:p>
            <a:fld id="{3C02FF7F-7EE0-DE4E-B4BA-8D5E63CE8E28}" type="slidenum">
              <a:rPr lang="en-US" smtClean="0"/>
              <a:t>‹#›</a:t>
            </a:fld>
            <a:endParaRPr lang="en-US" dirty="0"/>
          </a:p>
        </p:txBody>
      </p:sp>
    </p:spTree>
    <p:extLst>
      <p:ext uri="{BB962C8B-B14F-4D97-AF65-F5344CB8AC3E}">
        <p14:creationId xmlns:p14="http://schemas.microsoft.com/office/powerpoint/2010/main" val="20311082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34A2BD-C4C1-5947-BB34-715784A145D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C8400EE-07AA-B246-BD34-6D8F08FA565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199BD29-AD85-2C4D-BED3-FFEDDEBCAAF6}"/>
              </a:ext>
            </a:extLst>
          </p:cNvPr>
          <p:cNvSpPr>
            <a:spLocks noGrp="1"/>
          </p:cNvSpPr>
          <p:nvPr>
            <p:ph type="dt" sz="half" idx="10"/>
          </p:nvPr>
        </p:nvSpPr>
        <p:spPr/>
        <p:txBody>
          <a:bodyPr/>
          <a:lstStyle/>
          <a:p>
            <a:fld id="{92F427D0-34EB-7F4F-A4A2-2357E7D45014}" type="datetimeFigureOut">
              <a:rPr lang="en-US" smtClean="0"/>
              <a:t>6/18/2020</a:t>
            </a:fld>
            <a:endParaRPr lang="en-US" dirty="0"/>
          </a:p>
        </p:txBody>
      </p:sp>
      <p:sp>
        <p:nvSpPr>
          <p:cNvPr id="5" name="Footer Placeholder 4">
            <a:extLst>
              <a:ext uri="{FF2B5EF4-FFF2-40B4-BE49-F238E27FC236}">
                <a16:creationId xmlns:a16="http://schemas.microsoft.com/office/drawing/2014/main" id="{A889D8D1-B0BA-1744-96D8-5CC214F977B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E2CA31C-3A0E-9D44-A744-910B45C9CA39}"/>
              </a:ext>
            </a:extLst>
          </p:cNvPr>
          <p:cNvSpPr>
            <a:spLocks noGrp="1"/>
          </p:cNvSpPr>
          <p:nvPr>
            <p:ph type="sldNum" sz="quarter" idx="12"/>
          </p:nvPr>
        </p:nvSpPr>
        <p:spPr/>
        <p:txBody>
          <a:bodyPr/>
          <a:lstStyle/>
          <a:p>
            <a:fld id="{3C02FF7F-7EE0-DE4E-B4BA-8D5E63CE8E28}" type="slidenum">
              <a:rPr lang="en-US" smtClean="0"/>
              <a:t>‹#›</a:t>
            </a:fld>
            <a:endParaRPr lang="en-US" dirty="0"/>
          </a:p>
        </p:txBody>
      </p:sp>
    </p:spTree>
    <p:extLst>
      <p:ext uri="{BB962C8B-B14F-4D97-AF65-F5344CB8AC3E}">
        <p14:creationId xmlns:p14="http://schemas.microsoft.com/office/powerpoint/2010/main" val="319639989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35832948-E127-4461-9846-7F561EB70B87}" type="datetimeFigureOut">
              <a:rPr lang="en-US" smtClean="0"/>
              <a:t>6/18/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BA554F4-18A6-4DA7-BB10-5C27B33EB61F}" type="slidenum">
              <a:rPr lang="en-US" smtClean="0"/>
              <a:t>‹#›</a:t>
            </a:fld>
            <a:endParaRPr lang="en-US"/>
          </a:p>
        </p:txBody>
      </p:sp>
      <p:sp>
        <p:nvSpPr>
          <p:cNvPr id="6"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8" name="Rectangle 7"/>
          <p:cNvSpPr/>
          <p:nvPr/>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Title Only</a:t>
            </a:r>
          </a:p>
          <a:p>
            <a:pPr algn="l"/>
            <a:r>
              <a:rPr lang="en-US" sz="1000" b="0" baseline="0" dirty="0">
                <a:solidFill>
                  <a:schemeClr val="tx1"/>
                </a:solidFill>
              </a:rPr>
              <a:t>Use to create freehand content within the grid. </a:t>
            </a:r>
          </a:p>
        </p:txBody>
      </p:sp>
      <p:sp>
        <p:nvSpPr>
          <p:cNvPr id="11"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grpSp>
        <p:nvGrpSpPr>
          <p:cNvPr id="12" name="Group 11"/>
          <p:cNvGrpSpPr/>
          <p:nvPr/>
        </p:nvGrpSpPr>
        <p:grpSpPr>
          <a:xfrm>
            <a:off x="12284310" y="2497574"/>
            <a:ext cx="1389888" cy="1233768"/>
            <a:chOff x="9215268" y="3023356"/>
            <a:chExt cx="1389888" cy="1233768"/>
          </a:xfrm>
        </p:grpSpPr>
        <p:sp>
          <p:nvSpPr>
            <p:cNvPr id="13" name="Rectangle 12"/>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4" name="Rectangle 13"/>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1525961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5832948-E127-4461-9846-7F561EB70B87}" type="datetimeFigureOut">
              <a:rPr lang="en-US" smtClean="0"/>
              <a:t>6/18/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BA554F4-18A6-4DA7-BB10-5C27B33EB61F}" type="slidenum">
              <a:rPr lang="en-US" smtClean="0"/>
              <a:t>‹#›</a:t>
            </a:fld>
            <a:endParaRPr lang="en-US"/>
          </a:p>
        </p:txBody>
      </p:sp>
      <p:sp>
        <p:nvSpPr>
          <p:cNvPr id="7" name="Rectangle 6"/>
          <p:cNvSpPr/>
          <p:nvPr/>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Blank</a:t>
            </a:r>
          </a:p>
          <a:p>
            <a:pPr algn="l"/>
            <a:r>
              <a:rPr lang="en-US" sz="1000" b="0" baseline="0" dirty="0">
                <a:solidFill>
                  <a:schemeClr val="tx1"/>
                </a:solidFill>
              </a:rPr>
              <a:t>A blank slide layout with no headline, subtitle or content placeholders. </a:t>
            </a:r>
          </a:p>
        </p:txBody>
      </p:sp>
      <p:sp>
        <p:nvSpPr>
          <p:cNvPr id="9"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grpSp>
        <p:nvGrpSpPr>
          <p:cNvPr id="10" name="Group 9"/>
          <p:cNvGrpSpPr/>
          <p:nvPr/>
        </p:nvGrpSpPr>
        <p:grpSpPr>
          <a:xfrm>
            <a:off x="12284310" y="2497574"/>
            <a:ext cx="1389888" cy="1233768"/>
            <a:chOff x="9215268" y="3023356"/>
            <a:chExt cx="1389888" cy="1233768"/>
          </a:xfrm>
        </p:grpSpPr>
        <p:sp>
          <p:nvSpPr>
            <p:cNvPr id="11" name="Rectangle 10"/>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2" name="Rectangle 11"/>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94422707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9" name="Content Placeholder 8"/>
          <p:cNvSpPr>
            <a:spLocks noGrp="1"/>
          </p:cNvSpPr>
          <p:nvPr>
            <p:ph sz="quarter" idx="13"/>
          </p:nvPr>
        </p:nvSpPr>
        <p:spPr>
          <a:xfrm>
            <a:off x="406402" y="1371601"/>
            <a:ext cx="11379205" cy="4300539"/>
          </a:xfrm>
          <a:ln cap="flat">
            <a:miter lim="800000"/>
          </a:ln>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p:cNvSpPr>
            <a:spLocks noGrp="1"/>
          </p:cNvSpPr>
          <p:nvPr>
            <p:ph type="dt" sz="half" idx="14"/>
          </p:nvPr>
        </p:nvSpPr>
        <p:spPr/>
        <p:txBody>
          <a:bodyPr/>
          <a:lstStyle/>
          <a:p>
            <a:fld id="{35832948-E127-4461-9846-7F561EB70B87}" type="datetimeFigureOut">
              <a:rPr lang="en-US" smtClean="0"/>
              <a:t>6/18/2020</a:t>
            </a:fld>
            <a:endParaRPr lang="en-US"/>
          </a:p>
        </p:txBody>
      </p:sp>
      <p:sp>
        <p:nvSpPr>
          <p:cNvPr id="7" name="Footer Placeholder 6"/>
          <p:cNvSpPr>
            <a:spLocks noGrp="1"/>
          </p:cNvSpPr>
          <p:nvPr>
            <p:ph type="ftr" sz="quarter" idx="15"/>
          </p:nvPr>
        </p:nvSpPr>
        <p:spPr/>
        <p:txBody>
          <a:bodyPr/>
          <a:lstStyle/>
          <a:p>
            <a:endParaRPr lang="en-US"/>
          </a:p>
        </p:txBody>
      </p:sp>
      <p:sp>
        <p:nvSpPr>
          <p:cNvPr id="8" name="Slide Number Placeholder 7"/>
          <p:cNvSpPr>
            <a:spLocks noGrp="1"/>
          </p:cNvSpPr>
          <p:nvPr>
            <p:ph type="sldNum" sz="quarter" idx="16"/>
          </p:nvPr>
        </p:nvSpPr>
        <p:spPr/>
        <p:txBody>
          <a:bodyPr/>
          <a:lstStyle/>
          <a:p>
            <a:fld id="{5BA554F4-18A6-4DA7-BB10-5C27B33EB61F}" type="slidenum">
              <a:rPr lang="en-US" smtClean="0"/>
              <a:t>‹#›</a:t>
            </a:fld>
            <a:endParaRPr lang="en-US"/>
          </a:p>
        </p:txBody>
      </p:sp>
      <p:sp>
        <p:nvSpPr>
          <p:cNvPr id="10" name="Title 9"/>
          <p:cNvSpPr>
            <a:spLocks noGrp="1"/>
          </p:cNvSpPr>
          <p:nvPr>
            <p:ph type="title"/>
          </p:nvPr>
        </p:nvSpPr>
        <p:spPr/>
        <p:txBody>
          <a:bodyPr/>
          <a:lstStyle>
            <a:lvl1pPr>
              <a:defRPr>
                <a:latin typeface="+mj-lt"/>
              </a:defRPr>
            </a:lvl1pPr>
          </a:lstStyle>
          <a:p>
            <a:r>
              <a:rPr lang="en-US"/>
              <a:t>Click to edit Master title style</a:t>
            </a:r>
            <a:endParaRPr lang="en-US" dirty="0"/>
          </a:p>
        </p:txBody>
      </p:sp>
      <p:sp>
        <p:nvSpPr>
          <p:cNvPr id="11" name="Rectangle 10"/>
          <p:cNvSpPr/>
          <p:nvPr/>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Title and Content</a:t>
            </a:r>
          </a:p>
          <a:p>
            <a:pPr algn="l"/>
            <a:r>
              <a:rPr lang="en-US" sz="1000" b="0" baseline="0" dirty="0">
                <a:solidFill>
                  <a:schemeClr val="tx1"/>
                </a:solidFill>
              </a:rPr>
              <a:t>Headline and content layout. </a:t>
            </a:r>
          </a:p>
        </p:txBody>
      </p:sp>
      <p:sp>
        <p:nvSpPr>
          <p:cNvPr id="14" name="Text Placeholder 11"/>
          <p:cNvSpPr>
            <a:spLocks noGrp="1"/>
          </p:cNvSpPr>
          <p:nvPr>
            <p:ph type="body" sz="quarter" idx="17"/>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grpSp>
        <p:nvGrpSpPr>
          <p:cNvPr id="12" name="Group 11"/>
          <p:cNvGrpSpPr/>
          <p:nvPr/>
        </p:nvGrpSpPr>
        <p:grpSpPr>
          <a:xfrm>
            <a:off x="12284310" y="2497574"/>
            <a:ext cx="1389888" cy="1233768"/>
            <a:chOff x="9215268" y="3023356"/>
            <a:chExt cx="1389888" cy="1233768"/>
          </a:xfrm>
        </p:grpSpPr>
        <p:sp>
          <p:nvSpPr>
            <p:cNvPr id="15" name="Rectangle 14"/>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6" name="Rectangle 15"/>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2965664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Instruction">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35832948-E127-4461-9846-7F561EB70B87}" type="datetimeFigureOut">
              <a:rPr lang="en-US" smtClean="0"/>
              <a:t>6/18/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BA554F4-18A6-4DA7-BB10-5C27B33EB61F}" type="slidenum">
              <a:rPr lang="en-US" smtClean="0"/>
              <a:t>‹#›</a:t>
            </a:fld>
            <a:endParaRPr lang="en-US"/>
          </a:p>
        </p:txBody>
      </p:sp>
      <p:sp>
        <p:nvSpPr>
          <p:cNvPr id="6" name="TextBox 5"/>
          <p:cNvSpPr txBox="1"/>
          <p:nvPr/>
        </p:nvSpPr>
        <p:spPr>
          <a:xfrm>
            <a:off x="406400" y="445570"/>
            <a:ext cx="11078563" cy="3416320"/>
          </a:xfrm>
          <a:prstGeom prst="rect">
            <a:avLst/>
          </a:prstGeom>
          <a:noFill/>
        </p:spPr>
        <p:txBody>
          <a:bodyPr wrap="square" rtlCol="0">
            <a:spAutoFit/>
          </a:bodyPr>
          <a:lstStyle/>
          <a:p>
            <a:pPr>
              <a:lnSpc>
                <a:spcPct val="90000"/>
              </a:lnSpc>
            </a:pPr>
            <a:r>
              <a:rPr lang="en-US" sz="8000" b="1" dirty="0"/>
              <a:t>DO NOT USE ANY SLIDE LAYOUTS AFTER THIS LAYOUT! </a:t>
            </a:r>
          </a:p>
        </p:txBody>
      </p:sp>
    </p:spTree>
    <p:extLst>
      <p:ext uri="{BB962C8B-B14F-4D97-AF65-F5344CB8AC3E}">
        <p14:creationId xmlns:p14="http://schemas.microsoft.com/office/powerpoint/2010/main" val="114546638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414528" y="1371600"/>
            <a:ext cx="11367253" cy="48006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5832948-E127-4461-9846-7F561EB70B87}" type="datetimeFigureOut">
              <a:rPr lang="en-US" smtClean="0"/>
              <a:t>6/1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BA554F4-18A6-4DA7-BB10-5C27B33EB61F}" type="slidenum">
              <a:rPr lang="en-US" smtClean="0"/>
              <a:t>‹#›</a:t>
            </a:fld>
            <a:endParaRPr lang="en-US"/>
          </a:p>
        </p:txBody>
      </p:sp>
    </p:spTree>
    <p:extLst>
      <p:ext uri="{BB962C8B-B14F-4D97-AF65-F5344CB8AC3E}">
        <p14:creationId xmlns:p14="http://schemas.microsoft.com/office/powerpoint/2010/main" val="359635584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5832948-E127-4461-9846-7F561EB70B87}" type="datetimeFigureOut">
              <a:rPr lang="en-US" smtClean="0"/>
              <a:t>6/1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BA554F4-18A6-4DA7-BB10-5C27B33EB61F}" type="slidenum">
              <a:rPr lang="en-US" smtClean="0"/>
              <a:t>‹#›</a:t>
            </a:fld>
            <a:endParaRPr lang="en-US"/>
          </a:p>
        </p:txBody>
      </p:sp>
    </p:spTree>
    <p:extLst>
      <p:ext uri="{BB962C8B-B14F-4D97-AF65-F5344CB8AC3E}">
        <p14:creationId xmlns:p14="http://schemas.microsoft.com/office/powerpoint/2010/main" val="4132502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14C5DDE-3EB5-3D48-BF59-BA86D22713B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C6A98C0-02C0-E849-A371-5EF6EBF167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44989D7-753B-6B43-9ED3-51D0FE43502E}"/>
              </a:ext>
            </a:extLst>
          </p:cNvPr>
          <p:cNvSpPr>
            <a:spLocks noGrp="1"/>
          </p:cNvSpPr>
          <p:nvPr>
            <p:ph type="dt" sz="half" idx="10"/>
          </p:nvPr>
        </p:nvSpPr>
        <p:spPr/>
        <p:txBody>
          <a:bodyPr/>
          <a:lstStyle/>
          <a:p>
            <a:fld id="{92F427D0-34EB-7F4F-A4A2-2357E7D45014}" type="datetimeFigureOut">
              <a:rPr lang="en-US" smtClean="0"/>
              <a:t>6/18/2020</a:t>
            </a:fld>
            <a:endParaRPr lang="en-US" dirty="0"/>
          </a:p>
        </p:txBody>
      </p:sp>
      <p:sp>
        <p:nvSpPr>
          <p:cNvPr id="5" name="Footer Placeholder 4">
            <a:extLst>
              <a:ext uri="{FF2B5EF4-FFF2-40B4-BE49-F238E27FC236}">
                <a16:creationId xmlns:a16="http://schemas.microsoft.com/office/drawing/2014/main" id="{9851A77E-929D-D944-8067-1DF301CA147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F79BF1E-72CF-7A47-9664-03D9818B378D}"/>
              </a:ext>
            </a:extLst>
          </p:cNvPr>
          <p:cNvSpPr>
            <a:spLocks noGrp="1"/>
          </p:cNvSpPr>
          <p:nvPr>
            <p:ph type="sldNum" sz="quarter" idx="12"/>
          </p:nvPr>
        </p:nvSpPr>
        <p:spPr/>
        <p:txBody>
          <a:bodyPr/>
          <a:lstStyle/>
          <a:p>
            <a:fld id="{3C02FF7F-7EE0-DE4E-B4BA-8D5E63CE8E28}" type="slidenum">
              <a:rPr lang="en-US" smtClean="0"/>
              <a:t>‹#›</a:t>
            </a:fld>
            <a:endParaRPr lang="en-US" dirty="0"/>
          </a:p>
        </p:txBody>
      </p:sp>
    </p:spTree>
    <p:extLst>
      <p:ext uri="{BB962C8B-B14F-4D97-AF65-F5344CB8AC3E}">
        <p14:creationId xmlns:p14="http://schemas.microsoft.com/office/powerpoint/2010/main" val="40556083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Content -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3" name="Content Placeholder 2"/>
          <p:cNvSpPr>
            <a:spLocks noGrp="1"/>
          </p:cNvSpPr>
          <p:nvPr>
            <p:ph idx="1"/>
          </p:nvPr>
        </p:nvSpPr>
        <p:spPr>
          <a:xfrm>
            <a:off x="414528" y="1371600"/>
            <a:ext cx="11367253" cy="43005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E9B061D1-EB67-4552-A8DD-E94748FC1F6A}" type="datetime1">
              <a:rPr lang="en-US" smtClean="0"/>
              <a:t>6/18/2020</a:t>
            </a:fld>
            <a:endParaRPr lang="en-US" dirty="0"/>
          </a:p>
        </p:txBody>
      </p:sp>
      <p:sp>
        <p:nvSpPr>
          <p:cNvPr id="5" name="Footer Placeholder 4"/>
          <p:cNvSpPr>
            <a:spLocks noGrp="1"/>
          </p:cNvSpPr>
          <p:nvPr>
            <p:ph type="ftr" sz="quarter" idx="11"/>
          </p:nvPr>
        </p:nvSpPr>
        <p:spPr/>
        <p:txBody>
          <a:bodyPr/>
          <a:lstStyle/>
          <a:p>
            <a:r>
              <a:rPr lang="en-US"/>
              <a:t>Private &amp; Confidential</a:t>
            </a:r>
            <a:endParaRPr lang="en-US" dirty="0"/>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dirty="0"/>
          </a:p>
        </p:txBody>
      </p:sp>
      <p:sp>
        <p:nvSpPr>
          <p:cNvPr id="8" name="Rectangle 7"/>
          <p:cNvSpPr/>
          <p:nvPr/>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No subtitle</a:t>
            </a:r>
          </a:p>
          <a:p>
            <a:pPr algn="l"/>
            <a:r>
              <a:rPr lang="en-US" sz="1000" b="0" baseline="0" dirty="0">
                <a:solidFill>
                  <a:schemeClr val="tx1"/>
                </a:solidFill>
              </a:rPr>
              <a:t>Level 1 has a bullet turned on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p:txBody>
      </p:sp>
      <p:sp>
        <p:nvSpPr>
          <p:cNvPr id="9"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pic>
        <p:nvPicPr>
          <p:cNvPr id="13" name="bullets"/>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12345151" y="1307765"/>
            <a:ext cx="277342" cy="241890"/>
          </a:xfrm>
          <a:prstGeom prst="rect">
            <a:avLst/>
          </a:prstGeom>
          <a:ln>
            <a:noFill/>
          </a:ln>
        </p:spPr>
      </p:pic>
      <p:pic>
        <p:nvPicPr>
          <p:cNvPr id="14" name="increase list level"/>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12342987" y="2222893"/>
            <a:ext cx="391318" cy="241890"/>
          </a:xfrm>
          <a:prstGeom prst="rect">
            <a:avLst/>
          </a:prstGeom>
        </p:spPr>
      </p:pic>
      <p:grpSp>
        <p:nvGrpSpPr>
          <p:cNvPr id="15" name="Group 14"/>
          <p:cNvGrpSpPr/>
          <p:nvPr/>
        </p:nvGrpSpPr>
        <p:grpSpPr>
          <a:xfrm>
            <a:off x="12284310" y="3212874"/>
            <a:ext cx="1389888" cy="1233768"/>
            <a:chOff x="9215268" y="3023356"/>
            <a:chExt cx="1389888" cy="1233768"/>
          </a:xfrm>
        </p:grpSpPr>
        <p:sp>
          <p:nvSpPr>
            <p:cNvPr id="16" name="Rectangle 15"/>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7" name="Rectangle 16"/>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18" name="Rectangle 17">
            <a:extLst>
              <a:ext uri="{FF2B5EF4-FFF2-40B4-BE49-F238E27FC236}">
                <a16:creationId xmlns:a16="http://schemas.microsoft.com/office/drawing/2014/main" id="{98148959-78C3-40F7-832D-4786422BCFC7}"/>
              </a:ext>
            </a:extLst>
          </p:cNvPr>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No subtitle</a:t>
            </a:r>
          </a:p>
          <a:p>
            <a:pPr algn="l"/>
            <a:r>
              <a:rPr lang="en-US" sz="1000" b="0" baseline="0" dirty="0">
                <a:solidFill>
                  <a:schemeClr val="tx1"/>
                </a:solidFill>
              </a:rPr>
              <a:t>Level 1 has a bullet turned on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p:txBody>
      </p:sp>
      <p:pic>
        <p:nvPicPr>
          <p:cNvPr id="19" name="bullets">
            <a:extLst>
              <a:ext uri="{FF2B5EF4-FFF2-40B4-BE49-F238E27FC236}">
                <a16:creationId xmlns:a16="http://schemas.microsoft.com/office/drawing/2014/main" id="{70E04050-86A7-4008-A01A-6DD9F3FC4CE5}"/>
              </a:ext>
            </a:extLst>
          </p:cNvPr>
          <p:cNvPicPr>
            <a:picLocks noChangeAspect="1"/>
          </p:cNvPicPr>
          <p:nvPr userDrawn="1"/>
        </p:nvPicPr>
        <p:blipFill rotWithShape="1">
          <a:blip r:embed="rId4"/>
          <a:srcRect l="3717" t="5566" r="8072" b="8645"/>
          <a:stretch/>
        </p:blipFill>
        <p:spPr>
          <a:xfrm>
            <a:off x="12345151" y="1307765"/>
            <a:ext cx="277342" cy="241890"/>
          </a:xfrm>
          <a:prstGeom prst="rect">
            <a:avLst/>
          </a:prstGeom>
          <a:ln>
            <a:noFill/>
          </a:ln>
        </p:spPr>
      </p:pic>
      <p:pic>
        <p:nvPicPr>
          <p:cNvPr id="20" name="increase list level">
            <a:extLst>
              <a:ext uri="{FF2B5EF4-FFF2-40B4-BE49-F238E27FC236}">
                <a16:creationId xmlns:a16="http://schemas.microsoft.com/office/drawing/2014/main" id="{0181993C-6514-4F2A-9B1E-3C3379AEA987}"/>
              </a:ext>
            </a:extLst>
          </p:cNvPr>
          <p:cNvPicPr>
            <a:picLocks noChangeAspect="1"/>
          </p:cNvPicPr>
          <p:nvPr userDrawn="1"/>
        </p:nvPicPr>
        <p:blipFill rotWithShape="1">
          <a:blip r:embed="rId5"/>
          <a:srcRect l="3946" t="825" r="7728" b="5818"/>
          <a:stretch/>
        </p:blipFill>
        <p:spPr>
          <a:xfrm>
            <a:off x="12342987" y="2222893"/>
            <a:ext cx="391318" cy="241890"/>
          </a:xfrm>
          <a:prstGeom prst="rect">
            <a:avLst/>
          </a:prstGeom>
        </p:spPr>
      </p:pic>
      <p:grpSp>
        <p:nvGrpSpPr>
          <p:cNvPr id="21" name="Group 20">
            <a:extLst>
              <a:ext uri="{FF2B5EF4-FFF2-40B4-BE49-F238E27FC236}">
                <a16:creationId xmlns:a16="http://schemas.microsoft.com/office/drawing/2014/main" id="{4B3218B2-A1EE-4CFE-8E3F-1CA8B85558FB}"/>
              </a:ext>
            </a:extLst>
          </p:cNvPr>
          <p:cNvGrpSpPr/>
          <p:nvPr userDrawn="1"/>
        </p:nvGrpSpPr>
        <p:grpSpPr>
          <a:xfrm>
            <a:off x="12284310" y="3212874"/>
            <a:ext cx="1389888" cy="1233768"/>
            <a:chOff x="9215268" y="3023356"/>
            <a:chExt cx="1389888" cy="1233768"/>
          </a:xfrm>
        </p:grpSpPr>
        <p:sp>
          <p:nvSpPr>
            <p:cNvPr id="22" name="Rectangle 21">
              <a:extLst>
                <a:ext uri="{FF2B5EF4-FFF2-40B4-BE49-F238E27FC236}">
                  <a16:creationId xmlns:a16="http://schemas.microsoft.com/office/drawing/2014/main" id="{1088D1E9-C6F8-4926-BB4F-2D8BFBA4063C}"/>
                </a:ext>
              </a:extLst>
            </p:cNvPr>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3" name="Rectangle 22">
              <a:extLst>
                <a:ext uri="{FF2B5EF4-FFF2-40B4-BE49-F238E27FC236}">
                  <a16:creationId xmlns:a16="http://schemas.microsoft.com/office/drawing/2014/main" id="{5FAD87C5-9549-4624-8D78-1C4A912AC2EB}"/>
                </a:ext>
              </a:extLst>
            </p:cNvPr>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Tree>
    <p:extLst>
      <p:ext uri="{BB962C8B-B14F-4D97-AF65-F5344CB8AC3E}">
        <p14:creationId xmlns:p14="http://schemas.microsoft.com/office/powerpoint/2010/main" val="18637223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6E459A96-0BD7-4FB1-BF0C-448C3D40AD42}" type="datetimeFigureOut">
              <a:rPr lang="en-US" smtClean="0"/>
              <a:t>6/1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BFB8594-E5CF-4F53-A0C3-9D4A8812D9A2}" type="slidenum">
              <a:rPr lang="en-US" smtClean="0"/>
              <a:t>‹#›</a:t>
            </a:fld>
            <a:endParaRPr lang="en-US"/>
          </a:p>
        </p:txBody>
      </p:sp>
    </p:spTree>
    <p:extLst>
      <p:ext uri="{BB962C8B-B14F-4D97-AF65-F5344CB8AC3E}">
        <p14:creationId xmlns:p14="http://schemas.microsoft.com/office/powerpoint/2010/main" val="24037166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E459A96-0BD7-4FB1-BF0C-448C3D40AD42}" type="datetimeFigureOut">
              <a:rPr lang="en-US" smtClean="0"/>
              <a:t>6/1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BFB8594-E5CF-4F53-A0C3-9D4A8812D9A2}" type="slidenum">
              <a:rPr lang="en-US" smtClean="0"/>
              <a:t>‹#›</a:t>
            </a:fld>
            <a:endParaRPr lang="en-US"/>
          </a:p>
        </p:txBody>
      </p:sp>
    </p:spTree>
    <p:extLst>
      <p:ext uri="{BB962C8B-B14F-4D97-AF65-F5344CB8AC3E}">
        <p14:creationId xmlns:p14="http://schemas.microsoft.com/office/powerpoint/2010/main" val="4653791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6E459A96-0BD7-4FB1-BF0C-448C3D40AD42}" type="datetimeFigureOut">
              <a:rPr lang="en-US" smtClean="0"/>
              <a:t>6/1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BFB8594-E5CF-4F53-A0C3-9D4A8812D9A2}" type="slidenum">
              <a:rPr lang="en-US" smtClean="0"/>
              <a:t>‹#›</a:t>
            </a:fld>
            <a:endParaRPr lang="en-US"/>
          </a:p>
        </p:txBody>
      </p:sp>
    </p:spTree>
    <p:extLst>
      <p:ext uri="{BB962C8B-B14F-4D97-AF65-F5344CB8AC3E}">
        <p14:creationId xmlns:p14="http://schemas.microsoft.com/office/powerpoint/2010/main" val="40846450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E459A96-0BD7-4FB1-BF0C-448C3D40AD42}" type="datetimeFigureOut">
              <a:rPr lang="en-US" smtClean="0"/>
              <a:t>6/18/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BFB8594-E5CF-4F53-A0C3-9D4A8812D9A2}" type="slidenum">
              <a:rPr lang="en-US" smtClean="0"/>
              <a:t>‹#›</a:t>
            </a:fld>
            <a:endParaRPr lang="en-US"/>
          </a:p>
        </p:txBody>
      </p:sp>
    </p:spTree>
    <p:extLst>
      <p:ext uri="{BB962C8B-B14F-4D97-AF65-F5344CB8AC3E}">
        <p14:creationId xmlns:p14="http://schemas.microsoft.com/office/powerpoint/2010/main" val="17273614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E459A96-0BD7-4FB1-BF0C-448C3D40AD42}" type="datetimeFigureOut">
              <a:rPr lang="en-US" smtClean="0"/>
              <a:t>6/18/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BFB8594-E5CF-4F53-A0C3-9D4A8812D9A2}" type="slidenum">
              <a:rPr lang="en-US" smtClean="0"/>
              <a:t>‹#›</a:t>
            </a:fld>
            <a:endParaRPr lang="en-US"/>
          </a:p>
        </p:txBody>
      </p:sp>
    </p:spTree>
    <p:extLst>
      <p:ext uri="{BB962C8B-B14F-4D97-AF65-F5344CB8AC3E}">
        <p14:creationId xmlns:p14="http://schemas.microsoft.com/office/powerpoint/2010/main" val="32609048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E459A96-0BD7-4FB1-BF0C-448C3D40AD42}" type="datetimeFigureOut">
              <a:rPr lang="en-US" smtClean="0"/>
              <a:t>6/18/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BFB8594-E5CF-4F53-A0C3-9D4A8812D9A2}" type="slidenum">
              <a:rPr lang="en-US" smtClean="0"/>
              <a:t>‹#›</a:t>
            </a:fld>
            <a:endParaRPr lang="en-US"/>
          </a:p>
        </p:txBody>
      </p:sp>
    </p:spTree>
    <p:extLst>
      <p:ext uri="{BB962C8B-B14F-4D97-AF65-F5344CB8AC3E}">
        <p14:creationId xmlns:p14="http://schemas.microsoft.com/office/powerpoint/2010/main" val="33888579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E459A96-0BD7-4FB1-BF0C-448C3D40AD42}" type="datetimeFigureOut">
              <a:rPr lang="en-US" smtClean="0"/>
              <a:t>6/18/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BFB8594-E5CF-4F53-A0C3-9D4A8812D9A2}" type="slidenum">
              <a:rPr lang="en-US" smtClean="0"/>
              <a:t>‹#›</a:t>
            </a:fld>
            <a:endParaRPr lang="en-US"/>
          </a:p>
        </p:txBody>
      </p:sp>
    </p:spTree>
    <p:extLst>
      <p:ext uri="{BB962C8B-B14F-4D97-AF65-F5344CB8AC3E}">
        <p14:creationId xmlns:p14="http://schemas.microsoft.com/office/powerpoint/2010/main" val="34149761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3151BF-31FC-C243-A58F-07DDB6F3CA6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9810A29-0336-7B4C-B264-90B31389F65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03BD51F-0BEB-214A-B467-905D8F1F9739}"/>
              </a:ext>
            </a:extLst>
          </p:cNvPr>
          <p:cNvSpPr>
            <a:spLocks noGrp="1"/>
          </p:cNvSpPr>
          <p:nvPr>
            <p:ph type="dt" sz="half" idx="10"/>
          </p:nvPr>
        </p:nvSpPr>
        <p:spPr/>
        <p:txBody>
          <a:bodyPr/>
          <a:lstStyle/>
          <a:p>
            <a:fld id="{92F427D0-34EB-7F4F-A4A2-2357E7D45014}" type="datetimeFigureOut">
              <a:rPr lang="en-US" smtClean="0"/>
              <a:t>6/18/2020</a:t>
            </a:fld>
            <a:endParaRPr lang="en-US" dirty="0"/>
          </a:p>
        </p:txBody>
      </p:sp>
      <p:sp>
        <p:nvSpPr>
          <p:cNvPr id="5" name="Footer Placeholder 4">
            <a:extLst>
              <a:ext uri="{FF2B5EF4-FFF2-40B4-BE49-F238E27FC236}">
                <a16:creationId xmlns:a16="http://schemas.microsoft.com/office/drawing/2014/main" id="{D6A48CC7-58B1-DD49-A29A-A15E6771056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19F400A-E874-FD44-967D-1F03A0B1D794}"/>
              </a:ext>
            </a:extLst>
          </p:cNvPr>
          <p:cNvSpPr>
            <a:spLocks noGrp="1"/>
          </p:cNvSpPr>
          <p:nvPr>
            <p:ph type="sldNum" sz="quarter" idx="12"/>
          </p:nvPr>
        </p:nvSpPr>
        <p:spPr/>
        <p:txBody>
          <a:bodyPr/>
          <a:lstStyle/>
          <a:p>
            <a:fld id="{3C02FF7F-7EE0-DE4E-B4BA-8D5E63CE8E28}" type="slidenum">
              <a:rPr lang="en-US" smtClean="0"/>
              <a:t>‹#›</a:t>
            </a:fld>
            <a:endParaRPr lang="en-US" dirty="0"/>
          </a:p>
        </p:txBody>
      </p:sp>
      <p:sp>
        <p:nvSpPr>
          <p:cNvPr id="7" name="AutoShape 2" descr="Who Made That Twitter Bird? - The New York Times"/>
          <p:cNvSpPr>
            <a:spLocks noChangeAspect="1" noChangeArrowheads="1"/>
          </p:cNvSpPr>
          <p:nvPr userDrawn="1"/>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8" name="Picture 7"/>
          <p:cNvPicPr>
            <a:picLocks noChangeAspect="1"/>
          </p:cNvPicPr>
          <p:nvPr userDrawn="1"/>
        </p:nvPicPr>
        <p:blipFill>
          <a:blip r:embed="rId2"/>
          <a:stretch>
            <a:fillRect/>
          </a:stretch>
        </p:blipFill>
        <p:spPr>
          <a:xfrm>
            <a:off x="8610600" y="6378992"/>
            <a:ext cx="524435" cy="380863"/>
          </a:xfrm>
          <a:prstGeom prst="rect">
            <a:avLst/>
          </a:prstGeom>
        </p:spPr>
      </p:pic>
      <p:sp>
        <p:nvSpPr>
          <p:cNvPr id="9" name="TextBox 8"/>
          <p:cNvSpPr txBox="1"/>
          <p:nvPr userDrawn="1"/>
        </p:nvSpPr>
        <p:spPr>
          <a:xfrm>
            <a:off x="9054352" y="6374785"/>
            <a:ext cx="1351139" cy="369332"/>
          </a:xfrm>
          <a:prstGeom prst="rect">
            <a:avLst/>
          </a:prstGeom>
          <a:noFill/>
        </p:spPr>
        <p:txBody>
          <a:bodyPr wrap="none" rtlCol="0">
            <a:spAutoFit/>
          </a:bodyPr>
          <a:lstStyle/>
          <a:p>
            <a:r>
              <a:rPr lang="en-US" dirty="0" smtClean="0"/>
              <a:t>adbechtle71</a:t>
            </a:r>
            <a:endParaRPr lang="en-US" dirty="0"/>
          </a:p>
        </p:txBody>
      </p:sp>
    </p:spTree>
    <p:extLst>
      <p:ext uri="{BB962C8B-B14F-4D97-AF65-F5344CB8AC3E}">
        <p14:creationId xmlns:p14="http://schemas.microsoft.com/office/powerpoint/2010/main" val="27075652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E459A96-0BD7-4FB1-BF0C-448C3D40AD42}" type="datetimeFigureOut">
              <a:rPr lang="en-US" smtClean="0"/>
              <a:t>6/18/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BFB8594-E5CF-4F53-A0C3-9D4A8812D9A2}" type="slidenum">
              <a:rPr lang="en-US" smtClean="0"/>
              <a:t>‹#›</a:t>
            </a:fld>
            <a:endParaRPr lang="en-US"/>
          </a:p>
        </p:txBody>
      </p:sp>
    </p:spTree>
    <p:extLst>
      <p:ext uri="{BB962C8B-B14F-4D97-AF65-F5344CB8AC3E}">
        <p14:creationId xmlns:p14="http://schemas.microsoft.com/office/powerpoint/2010/main" val="19334707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E459A96-0BD7-4FB1-BF0C-448C3D40AD42}" type="datetimeFigureOut">
              <a:rPr lang="en-US" smtClean="0"/>
              <a:t>6/18/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BFB8594-E5CF-4F53-A0C3-9D4A8812D9A2}" type="slidenum">
              <a:rPr lang="en-US" smtClean="0"/>
              <a:t>‹#›</a:t>
            </a:fld>
            <a:endParaRPr lang="en-US"/>
          </a:p>
        </p:txBody>
      </p:sp>
    </p:spTree>
    <p:extLst>
      <p:ext uri="{BB962C8B-B14F-4D97-AF65-F5344CB8AC3E}">
        <p14:creationId xmlns:p14="http://schemas.microsoft.com/office/powerpoint/2010/main" val="18944197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E459A96-0BD7-4FB1-BF0C-448C3D40AD42}" type="datetimeFigureOut">
              <a:rPr lang="en-US" smtClean="0"/>
              <a:t>6/1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BFB8594-E5CF-4F53-A0C3-9D4A8812D9A2}" type="slidenum">
              <a:rPr lang="en-US" smtClean="0"/>
              <a:t>‹#›</a:t>
            </a:fld>
            <a:endParaRPr lang="en-US"/>
          </a:p>
        </p:txBody>
      </p:sp>
    </p:spTree>
    <p:extLst>
      <p:ext uri="{BB962C8B-B14F-4D97-AF65-F5344CB8AC3E}">
        <p14:creationId xmlns:p14="http://schemas.microsoft.com/office/powerpoint/2010/main" val="30285353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E459A96-0BD7-4FB1-BF0C-448C3D40AD42}" type="datetimeFigureOut">
              <a:rPr lang="en-US" smtClean="0"/>
              <a:t>6/1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BFB8594-E5CF-4F53-A0C3-9D4A8812D9A2}" type="slidenum">
              <a:rPr lang="en-US" smtClean="0"/>
              <a:t>‹#›</a:t>
            </a:fld>
            <a:endParaRPr lang="en-US"/>
          </a:p>
        </p:txBody>
      </p:sp>
    </p:spTree>
    <p:extLst>
      <p:ext uri="{BB962C8B-B14F-4D97-AF65-F5344CB8AC3E}">
        <p14:creationId xmlns:p14="http://schemas.microsoft.com/office/powerpoint/2010/main" val="169672523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Cover white plain">
    <p:spTree>
      <p:nvGrpSpPr>
        <p:cNvPr id="1" name=""/>
        <p:cNvGrpSpPr/>
        <p:nvPr/>
      </p:nvGrpSpPr>
      <p:grpSpPr>
        <a:xfrm>
          <a:off x="0" y="0"/>
          <a:ext cx="0" cy="0"/>
          <a:chOff x="0" y="0"/>
          <a:chExt cx="0" cy="0"/>
        </a:xfrm>
      </p:grpSpPr>
      <p:grpSp>
        <p:nvGrpSpPr>
          <p:cNvPr id="23" name="Group 22"/>
          <p:cNvGrpSpPr/>
          <p:nvPr userDrawn="1"/>
        </p:nvGrpSpPr>
        <p:grpSpPr>
          <a:xfrm>
            <a:off x="12284310" y="2497574"/>
            <a:ext cx="1389888" cy="1233768"/>
            <a:chOff x="9215268" y="3023356"/>
            <a:chExt cx="1389888" cy="1233768"/>
          </a:xfrm>
        </p:grpSpPr>
        <p:sp>
          <p:nvSpPr>
            <p:cNvPr id="24" name="Rectangle 23"/>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5" name="Rectangle 24"/>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
        <p:nvSpPr>
          <p:cNvPr id="2" name="Title 1"/>
          <p:cNvSpPr>
            <a:spLocks noGrp="1"/>
          </p:cNvSpPr>
          <p:nvPr>
            <p:ph type="ctrTitle" hasCustomPrompt="1"/>
          </p:nvPr>
        </p:nvSpPr>
        <p:spPr>
          <a:xfrm>
            <a:off x="408436" y="143622"/>
            <a:ext cx="7231529" cy="2576289"/>
          </a:xfrm>
        </p:spPr>
        <p:txBody>
          <a:bodyPr tIns="0" rIns="0" anchor="t">
            <a:noAutofit/>
          </a:bodyPr>
          <a:lstStyle>
            <a:lvl1pPr algn="l">
              <a:defRPr sz="4400" b="1" baseline="0"/>
            </a:lvl1pPr>
          </a:lstStyle>
          <a:p>
            <a:r>
              <a:rPr lang="en-US" dirty="0"/>
              <a:t>Click to insert Presentation Title</a:t>
            </a:r>
          </a:p>
        </p:txBody>
      </p:sp>
      <p:sp>
        <p:nvSpPr>
          <p:cNvPr id="3" name="Subtitle 2"/>
          <p:cNvSpPr>
            <a:spLocks noGrp="1"/>
          </p:cNvSpPr>
          <p:nvPr>
            <p:ph type="subTitle" idx="1" hasCustomPrompt="1"/>
          </p:nvPr>
        </p:nvSpPr>
        <p:spPr>
          <a:xfrm>
            <a:off x="414879" y="2719911"/>
            <a:ext cx="7207623" cy="1181195"/>
          </a:xfrm>
        </p:spPr>
        <p:txBody>
          <a:bodyPr/>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15"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Alternative 2: Click to insert Presenter Name(s)</a:t>
            </a:r>
            <a:br>
              <a:rPr lang="en-US" dirty="0"/>
            </a:br>
            <a:r>
              <a:rPr lang="en-US" dirty="0"/>
              <a:t>Job Title</a:t>
            </a:r>
            <a:br>
              <a:rPr lang="en-US" dirty="0"/>
            </a:br>
            <a:r>
              <a:rPr lang="en-US" dirty="0"/>
              <a:t>Department / Sector</a:t>
            </a:r>
          </a:p>
        </p:txBody>
      </p:sp>
      <p:sp>
        <p:nvSpPr>
          <p:cNvPr id="16" name="Text Placeholder 5"/>
          <p:cNvSpPr>
            <a:spLocks noGrp="1"/>
          </p:cNvSpPr>
          <p:nvPr>
            <p:ph type="body" sz="quarter" idx="11" hasCustomPrompt="1"/>
          </p:nvPr>
        </p:nvSpPr>
        <p:spPr>
          <a:xfrm>
            <a:off x="8618071" y="1111722"/>
            <a:ext cx="3169920" cy="259884"/>
          </a:xfrm>
        </p:spPr>
        <p:txBody>
          <a:bodyPr>
            <a:noAutofit/>
          </a:bodyPr>
          <a:lstStyle>
            <a:lvl1pPr marL="0" indent="0">
              <a:buNone/>
              <a:defRPr sz="1050" b="0"/>
            </a:lvl1pPr>
          </a:lstStyle>
          <a:p>
            <a:pPr lvl="0"/>
            <a:r>
              <a:rPr lang="en-US" dirty="0"/>
              <a:t>Click to insert date</a:t>
            </a:r>
          </a:p>
        </p:txBody>
      </p:sp>
      <p:sp>
        <p:nvSpPr>
          <p:cNvPr id="10" name="Rectangle 9"/>
          <p:cNvSpPr/>
          <p:nvPr userDrawn="1"/>
        </p:nvSpPr>
        <p:spPr>
          <a:xfrm>
            <a:off x="12287025" y="-4041"/>
            <a:ext cx="1386247" cy="24310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ver</a:t>
            </a:r>
            <a:endParaRPr lang="en-US" sz="1000" b="1" baseline="0" dirty="0">
              <a:solidFill>
                <a:schemeClr val="tx1"/>
              </a:solidFill>
            </a:endParaRPr>
          </a:p>
          <a:p>
            <a:pPr algn="l"/>
            <a:r>
              <a:rPr lang="en-US" sz="1000" baseline="0" dirty="0">
                <a:solidFill>
                  <a:schemeClr val="tx1"/>
                </a:solidFill>
              </a:rPr>
              <a:t>Do not change the size of the title. Keep the title short and use the subtitle area for longer descriptions if needed. </a:t>
            </a:r>
          </a:p>
          <a:p>
            <a:pPr algn="l"/>
            <a:endParaRPr lang="en-US" sz="1000" baseline="0" dirty="0">
              <a:solidFill>
                <a:schemeClr val="tx1"/>
              </a:solidFill>
            </a:endParaRPr>
          </a:p>
          <a:p>
            <a:pPr algn="l"/>
            <a:r>
              <a:rPr lang="en-US" sz="1000" baseline="0" dirty="0">
                <a:solidFill>
                  <a:schemeClr val="tx1"/>
                </a:solidFill>
              </a:rPr>
              <a:t>Choose where to add presenter name(s) – upper right corner och under title/ subtitle. Remove unused placeholders. </a:t>
            </a:r>
          </a:p>
        </p:txBody>
      </p:sp>
      <p:sp>
        <p:nvSpPr>
          <p:cNvPr id="11" name="Text Placeholder 5"/>
          <p:cNvSpPr>
            <a:spLocks noGrp="1"/>
          </p:cNvSpPr>
          <p:nvPr>
            <p:ph type="body" sz="quarter" idx="13" hasCustomPrompt="1"/>
          </p:nvPr>
        </p:nvSpPr>
        <p:spPr>
          <a:xfrm>
            <a:off x="408434" y="4196049"/>
            <a:ext cx="7231529" cy="896287"/>
          </a:xfrm>
        </p:spPr>
        <p:txBody>
          <a:bodyPr>
            <a:noAutofit/>
          </a:bodyPr>
          <a:lstStyle>
            <a:lvl1pPr marL="0" indent="0">
              <a:spcBef>
                <a:spcPts val="300"/>
              </a:spcBef>
              <a:spcAft>
                <a:spcPts val="0"/>
              </a:spcAft>
              <a:buNone/>
              <a:defRPr sz="1100" b="1" baseline="0"/>
            </a:lvl1pPr>
          </a:lstStyle>
          <a:p>
            <a:pPr lvl="0"/>
            <a:r>
              <a:rPr lang="en-US" dirty="0"/>
              <a:t>Alternative 1: Click to insert Presenter Name(s)</a:t>
            </a:r>
            <a:br>
              <a:rPr lang="en-US" dirty="0"/>
            </a:br>
            <a:r>
              <a:rPr lang="en-US" dirty="0"/>
              <a:t>Job Title</a:t>
            </a:r>
            <a:br>
              <a:rPr lang="en-US" dirty="0"/>
            </a:br>
            <a:r>
              <a:rPr lang="en-US" dirty="0"/>
              <a:t>Department / Sector</a:t>
            </a:r>
          </a:p>
        </p:txBody>
      </p:sp>
      <p:sp>
        <p:nvSpPr>
          <p:cNvPr id="12" name="Text Placeholder 5"/>
          <p:cNvSpPr>
            <a:spLocks noGrp="1"/>
          </p:cNvSpPr>
          <p:nvPr>
            <p:ph type="body" sz="quarter" idx="14" hasCustomPrompt="1"/>
          </p:nvPr>
        </p:nvSpPr>
        <p:spPr>
          <a:xfrm>
            <a:off x="408435" y="5155186"/>
            <a:ext cx="3169920" cy="259884"/>
          </a:xfrm>
        </p:spPr>
        <p:txBody>
          <a:bodyPr>
            <a:noAutofit/>
          </a:bodyPr>
          <a:lstStyle>
            <a:lvl1pPr marL="0" indent="0">
              <a:buNone/>
              <a:defRPr sz="1050" b="0"/>
            </a:lvl1pPr>
          </a:lstStyle>
          <a:p>
            <a:pPr lvl="0"/>
            <a:r>
              <a:rPr lang="en-US" dirty="0"/>
              <a:t>Click to insert date</a:t>
            </a:r>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14879" y="5771962"/>
            <a:ext cx="1697778" cy="372552"/>
          </a:xfrm>
          <a:prstGeom prst="rect">
            <a:avLst/>
          </a:prstGeom>
        </p:spPr>
      </p:pic>
      <p:sp>
        <p:nvSpPr>
          <p:cNvPr id="18" name="Rectangle 17"/>
          <p:cNvSpPr/>
          <p:nvPr userDrawn="1"/>
        </p:nvSpPr>
        <p:spPr>
          <a:xfrm>
            <a:off x="0" y="6874278"/>
            <a:ext cx="12192000" cy="342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22" name="Text Placeholder 5"/>
          <p:cNvSpPr>
            <a:spLocks noGrp="1"/>
          </p:cNvSpPr>
          <p:nvPr>
            <p:ph type="body" sz="quarter" idx="12" hasCustomPrompt="1"/>
          </p:nvPr>
        </p:nvSpPr>
        <p:spPr>
          <a:xfrm>
            <a:off x="6096000" y="5781625"/>
            <a:ext cx="5689600" cy="730656"/>
          </a:xfrm>
        </p:spPr>
        <p:txBody>
          <a:bodyPr tIns="0" rIns="0" bIns="0">
            <a:noAutofit/>
          </a:bodyPr>
          <a:lstStyle>
            <a:lvl1pPr marL="0" indent="0" algn="r">
              <a:buNone/>
              <a:defRPr sz="900" b="0">
                <a:solidFill>
                  <a:schemeClr val="bg1">
                    <a:lumMod val="50000"/>
                  </a:schemeClr>
                </a:solidFill>
                <a:latin typeface="Arial Narrow" panose="020B0606020202030204" pitchFamily="34" charset="0"/>
              </a:defRPr>
            </a:lvl1pPr>
          </a:lstStyle>
          <a:p>
            <a:pPr lvl="0"/>
            <a:r>
              <a:rPr lang="en-US" dirty="0"/>
              <a:t>Click to insert disclaimer paragraph</a:t>
            </a:r>
          </a:p>
        </p:txBody>
      </p:sp>
    </p:spTree>
    <p:extLst>
      <p:ext uri="{BB962C8B-B14F-4D97-AF65-F5344CB8AC3E}">
        <p14:creationId xmlns:p14="http://schemas.microsoft.com/office/powerpoint/2010/main" val="49770408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Divider Image Big title">
    <p:spTree>
      <p:nvGrpSpPr>
        <p:cNvPr id="1" name=""/>
        <p:cNvGrpSpPr/>
        <p:nvPr/>
      </p:nvGrpSpPr>
      <p:grpSpPr>
        <a:xfrm>
          <a:off x="0" y="0"/>
          <a:ext cx="0" cy="0"/>
          <a:chOff x="0" y="0"/>
          <a:chExt cx="0" cy="0"/>
        </a:xfrm>
      </p:grpSpPr>
      <p:sp>
        <p:nvSpPr>
          <p:cNvPr id="2" name="Title 1"/>
          <p:cNvSpPr>
            <a:spLocks noGrp="1"/>
          </p:cNvSpPr>
          <p:nvPr>
            <p:ph type="title"/>
          </p:nvPr>
        </p:nvSpPr>
        <p:spPr>
          <a:xfrm>
            <a:off x="411480" y="206376"/>
            <a:ext cx="9490635" cy="2115484"/>
          </a:xfrm>
        </p:spPr>
        <p:txBody>
          <a:bodyPr tIns="0" anchor="t"/>
          <a:lstStyle>
            <a:lvl1pPr>
              <a:defRPr sz="4400" b="1"/>
            </a:lvl1pPr>
          </a:lstStyle>
          <a:p>
            <a:r>
              <a:rPr lang="en-US"/>
              <a:t>Click to edit Master title style</a:t>
            </a:r>
            <a:endParaRPr lang="en-US" dirty="0"/>
          </a:p>
        </p:txBody>
      </p:sp>
      <p:sp>
        <p:nvSpPr>
          <p:cNvPr id="5" name="Picture Placeholder 4"/>
          <p:cNvSpPr>
            <a:spLocks noGrp="1"/>
          </p:cNvSpPr>
          <p:nvPr>
            <p:ph type="pic" sz="quarter" idx="10" hasCustomPrompt="1"/>
          </p:nvPr>
        </p:nvSpPr>
        <p:spPr>
          <a:xfrm>
            <a:off x="411480" y="2411508"/>
            <a:ext cx="11379200" cy="3390900"/>
          </a:xfrm>
        </p:spPr>
        <p:txBody>
          <a:bodyPr anchor="ctr"/>
          <a:lstStyle>
            <a:lvl1pPr marL="0" indent="0" algn="ctr">
              <a:buNone/>
              <a:defRPr b="1"/>
            </a:lvl1pPr>
          </a:lstStyle>
          <a:p>
            <a:r>
              <a:rPr lang="en-US" dirty="0"/>
              <a:t>Click to add image</a:t>
            </a:r>
          </a:p>
        </p:txBody>
      </p:sp>
      <p:sp>
        <p:nvSpPr>
          <p:cNvPr id="4" name="Rectangle 3"/>
          <p:cNvSpPr/>
          <p:nvPr userDrawn="1"/>
        </p:nvSpPr>
        <p:spPr>
          <a:xfrm>
            <a:off x="12287025" y="-4043"/>
            <a:ext cx="1386247" cy="24291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Divider + Image</a:t>
            </a:r>
            <a:endParaRPr lang="en-US" sz="1000" b="1" baseline="0" dirty="0">
              <a:solidFill>
                <a:schemeClr val="tx1"/>
              </a:solidFill>
            </a:endParaRPr>
          </a:p>
          <a:p>
            <a:pPr algn="l"/>
            <a:r>
              <a:rPr lang="en-US" sz="1000" baseline="0" dirty="0">
                <a:solidFill>
                  <a:schemeClr val="tx1"/>
                </a:solidFill>
              </a:rPr>
              <a:t>Click image icon to insert rectangular image. </a:t>
            </a:r>
            <a:endParaRPr lang="en-US" sz="1000" dirty="0">
              <a:solidFill>
                <a:schemeClr val="tx1"/>
              </a:solidFill>
            </a:endParaRPr>
          </a:p>
        </p:txBody>
      </p:sp>
      <p:grpSp>
        <p:nvGrpSpPr>
          <p:cNvPr id="7" name="Group 6"/>
          <p:cNvGrpSpPr/>
          <p:nvPr userDrawn="1"/>
        </p:nvGrpSpPr>
        <p:grpSpPr>
          <a:xfrm>
            <a:off x="12284310" y="2497574"/>
            <a:ext cx="1389888" cy="1233768"/>
            <a:chOff x="9215268" y="3023356"/>
            <a:chExt cx="1389888" cy="1233768"/>
          </a:xfrm>
        </p:grpSpPr>
        <p:sp>
          <p:nvSpPr>
            <p:cNvPr id="8" name="Rectangle 7"/>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9" name="Rectangle 8"/>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Tree>
    <p:extLst>
      <p:ext uri="{BB962C8B-B14F-4D97-AF65-F5344CB8AC3E}">
        <p14:creationId xmlns:p14="http://schemas.microsoft.com/office/powerpoint/2010/main" val="380194502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 no subtitle">
    <p:spTree>
      <p:nvGrpSpPr>
        <p:cNvPr id="1" name=""/>
        <p:cNvGrpSpPr/>
        <p:nvPr/>
      </p:nvGrpSpPr>
      <p:grpSpPr>
        <a:xfrm>
          <a:off x="0" y="0"/>
          <a:ext cx="0" cy="0"/>
          <a:chOff x="0" y="0"/>
          <a:chExt cx="0" cy="0"/>
        </a:xfrm>
      </p:grpSpPr>
      <p:sp>
        <p:nvSpPr>
          <p:cNvPr id="2" name="Title 1"/>
          <p:cNvSpPr>
            <a:spLocks noGrp="1"/>
          </p:cNvSpPr>
          <p:nvPr>
            <p:ph type="title"/>
          </p:nvPr>
        </p:nvSpPr>
        <p:spPr>
          <a:xfrm>
            <a:off x="411480" y="219457"/>
            <a:ext cx="11358880" cy="865273"/>
          </a:xfrm>
        </p:spPr>
        <p:txBody>
          <a:bodyPr/>
          <a:lstStyle>
            <a:lvl1pPr>
              <a:defRPr baseline="0"/>
            </a:lvl1pPr>
          </a:lstStyle>
          <a:p>
            <a:r>
              <a:rPr lang="en-US"/>
              <a:t>Click to edit Master title style</a:t>
            </a:r>
            <a:endParaRPr lang="en-US" dirty="0"/>
          </a:p>
        </p:txBody>
      </p:sp>
      <p:sp>
        <p:nvSpPr>
          <p:cNvPr id="3" name="Content Placeholder 2"/>
          <p:cNvSpPr>
            <a:spLocks noGrp="1"/>
          </p:cNvSpPr>
          <p:nvPr>
            <p:ph idx="1"/>
          </p:nvPr>
        </p:nvSpPr>
        <p:spPr>
          <a:xfrm>
            <a:off x="411480" y="1371600"/>
            <a:ext cx="11367253" cy="4381500"/>
          </a:xfrm>
        </p:spPr>
        <p:txBody>
          <a:bodyPr/>
          <a:lstStyle>
            <a:lvl3pPr>
              <a:spcAft>
                <a:spcPts val="0"/>
              </a:spcAft>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10B3196-BA0F-4058-ADFF-E750F6B2D935}" type="datetime1">
              <a:rPr lang="en-US" smtClean="0"/>
              <a:t>6/18/2020</a:t>
            </a:fld>
            <a:endParaRPr lang="en-US" dirty="0"/>
          </a:p>
        </p:txBody>
      </p:sp>
      <p:sp>
        <p:nvSpPr>
          <p:cNvPr id="5" name="Footer Placeholder 4"/>
          <p:cNvSpPr>
            <a:spLocks noGrp="1"/>
          </p:cNvSpPr>
          <p:nvPr>
            <p:ph type="ftr" sz="quarter" idx="11"/>
          </p:nvPr>
        </p:nvSpPr>
        <p:spPr/>
        <p:txBody>
          <a:bodyPr/>
          <a:lstStyle/>
          <a:p>
            <a:r>
              <a:rPr lang="en-US" dirty="0"/>
              <a:t>To change, turn on or off footer: Inser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dirty="0"/>
          </a:p>
        </p:txBody>
      </p:sp>
      <p:sp>
        <p:nvSpPr>
          <p:cNvPr id="8" name="Rectangle 7"/>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No subtitle</a:t>
            </a:r>
          </a:p>
          <a:p>
            <a:pPr algn="l"/>
            <a:r>
              <a:rPr lang="en-US" sz="1000" b="0" baseline="0" dirty="0">
                <a:solidFill>
                  <a:schemeClr val="tx1"/>
                </a:solidFill>
              </a:rPr>
              <a:t>Level 1 has a bullet turned on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p:txBody>
      </p:sp>
      <p:sp>
        <p:nvSpPr>
          <p:cNvPr id="9" name="Text Placeholder 11"/>
          <p:cNvSpPr>
            <a:spLocks noGrp="1"/>
          </p:cNvSpPr>
          <p:nvPr>
            <p:ph type="body" sz="quarter" idx="15"/>
          </p:nvPr>
        </p:nvSpPr>
        <p:spPr>
          <a:xfrm>
            <a:off x="414529" y="5753100"/>
            <a:ext cx="11358880" cy="419100"/>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pic>
        <p:nvPicPr>
          <p:cNvPr id="10" name="bullets"/>
          <p:cNvPicPr>
            <a:picLocks noChangeAspect="1"/>
          </p:cNvPicPr>
          <p:nvPr userDrawn="1"/>
        </p:nvPicPr>
        <p:blipFill rotWithShape="1">
          <a:blip r:embed="rId2"/>
          <a:srcRect l="3717" t="5566" r="8072" b="8645"/>
          <a:stretch/>
        </p:blipFill>
        <p:spPr>
          <a:xfrm>
            <a:off x="12345151" y="1307765"/>
            <a:ext cx="277342" cy="241890"/>
          </a:xfrm>
          <a:prstGeom prst="rect">
            <a:avLst/>
          </a:prstGeom>
          <a:ln>
            <a:noFill/>
          </a:ln>
        </p:spPr>
      </p:pic>
      <p:pic>
        <p:nvPicPr>
          <p:cNvPr id="11" name="increase list level"/>
          <p:cNvPicPr>
            <a:picLocks noChangeAspect="1"/>
          </p:cNvPicPr>
          <p:nvPr userDrawn="1"/>
        </p:nvPicPr>
        <p:blipFill rotWithShape="1">
          <a:blip r:embed="rId3"/>
          <a:srcRect l="3946" t="825" r="7728" b="5818"/>
          <a:stretch/>
        </p:blipFill>
        <p:spPr>
          <a:xfrm>
            <a:off x="12342987" y="2222893"/>
            <a:ext cx="391318" cy="241890"/>
          </a:xfrm>
          <a:prstGeom prst="rect">
            <a:avLst/>
          </a:prstGeom>
        </p:spPr>
      </p:pic>
      <p:grpSp>
        <p:nvGrpSpPr>
          <p:cNvPr id="13" name="Group 12"/>
          <p:cNvGrpSpPr/>
          <p:nvPr userDrawn="1"/>
        </p:nvGrpSpPr>
        <p:grpSpPr>
          <a:xfrm>
            <a:off x="12284310" y="3212874"/>
            <a:ext cx="1389888" cy="1233768"/>
            <a:chOff x="9215268" y="3023356"/>
            <a:chExt cx="1389888" cy="1233768"/>
          </a:xfrm>
        </p:grpSpPr>
        <p:sp>
          <p:nvSpPr>
            <p:cNvPr id="14" name="Rectangle 13"/>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5" name="Rectangle 14"/>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Tree>
    <p:extLst>
      <p:ext uri="{BB962C8B-B14F-4D97-AF65-F5344CB8AC3E}">
        <p14:creationId xmlns:p14="http://schemas.microsoft.com/office/powerpoint/2010/main" val="245727731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Cover white plain">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1482" y="143623"/>
            <a:ext cx="7231529" cy="2576289"/>
          </a:xfrm>
        </p:spPr>
        <p:txBody>
          <a:bodyPr tIns="0" rIns="0" anchor="t">
            <a:noAutofit/>
          </a:bodyPr>
          <a:lstStyle>
            <a:lvl1pPr algn="l">
              <a:defRPr sz="4400" b="1" baseline="0"/>
            </a:lvl1pPr>
          </a:lstStyle>
          <a:p>
            <a:r>
              <a:rPr lang="en-US" dirty="0"/>
              <a:t>Click to insert Presentation Title</a:t>
            </a:r>
          </a:p>
        </p:txBody>
      </p:sp>
      <p:sp>
        <p:nvSpPr>
          <p:cNvPr id="3" name="Subtitle 2"/>
          <p:cNvSpPr>
            <a:spLocks noGrp="1"/>
          </p:cNvSpPr>
          <p:nvPr>
            <p:ph type="subTitle" idx="1" hasCustomPrompt="1"/>
          </p:nvPr>
        </p:nvSpPr>
        <p:spPr>
          <a:xfrm>
            <a:off x="411481" y="2719911"/>
            <a:ext cx="7207623" cy="1181195"/>
          </a:xfrm>
        </p:spPr>
        <p:txBody>
          <a:bodyPr/>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8" name="Text Placeholder 5"/>
          <p:cNvSpPr>
            <a:spLocks noGrp="1"/>
          </p:cNvSpPr>
          <p:nvPr>
            <p:ph type="body" sz="quarter" idx="12" hasCustomPrompt="1"/>
          </p:nvPr>
        </p:nvSpPr>
        <p:spPr>
          <a:xfrm>
            <a:off x="6096000" y="5781625"/>
            <a:ext cx="5689600" cy="730656"/>
          </a:xfrm>
        </p:spPr>
        <p:txBody>
          <a:bodyPr tIns="0" rIns="0" bIns="0">
            <a:noAutofit/>
          </a:bodyPr>
          <a:lstStyle>
            <a:lvl1pPr marL="0" indent="0" algn="r">
              <a:buNone/>
              <a:defRPr sz="900" b="0">
                <a:solidFill>
                  <a:schemeClr val="bg1">
                    <a:lumMod val="50000"/>
                  </a:schemeClr>
                </a:solidFill>
                <a:latin typeface="Arial Narrow" panose="020B0606020202030204" pitchFamily="34" charset="0"/>
              </a:defRPr>
            </a:lvl1pPr>
          </a:lstStyle>
          <a:p>
            <a:r>
              <a:rPr lang="en-US" dirty="0"/>
              <a:t>Permission to reprint or distribute any content from this presentation requires the prior written approval of S&amp;P Global Market Intelligence.</a:t>
            </a:r>
            <a:br>
              <a:rPr lang="en-US" dirty="0"/>
            </a:br>
            <a:r>
              <a:rPr lang="en-US" dirty="0"/>
              <a:t>Not for distribution to the public. </a:t>
            </a:r>
          </a:p>
          <a:p>
            <a:r>
              <a:rPr lang="en-US" dirty="0"/>
              <a:t>Copyright © 2017 by S&amp;P Global</a:t>
            </a:r>
            <a:br>
              <a:rPr lang="en-US" dirty="0"/>
            </a:br>
            <a:r>
              <a:rPr lang="en-US" dirty="0"/>
              <a:t>Market Intelligence. All rights reserved.</a:t>
            </a:r>
          </a:p>
        </p:txBody>
      </p:sp>
      <p:sp>
        <p:nvSpPr>
          <p:cNvPr id="10" name="Rectangle 9"/>
          <p:cNvSpPr/>
          <p:nvPr/>
        </p:nvSpPr>
        <p:spPr>
          <a:xfrm>
            <a:off x="12287026" y="-4041"/>
            <a:ext cx="1386247" cy="24310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ver</a:t>
            </a:r>
            <a:endParaRPr lang="en-US" sz="1000" b="1" baseline="0" dirty="0">
              <a:solidFill>
                <a:schemeClr val="tx1"/>
              </a:solidFill>
            </a:endParaRPr>
          </a:p>
          <a:p>
            <a:pPr algn="l"/>
            <a:r>
              <a:rPr lang="en-US" sz="1000" baseline="0" dirty="0">
                <a:solidFill>
                  <a:schemeClr val="tx1"/>
                </a:solidFill>
              </a:rPr>
              <a:t>Do not change the size of the title. Keep the title short and use the subtitle area for longer descriptions if needed. </a:t>
            </a:r>
          </a:p>
          <a:p>
            <a:pPr algn="l"/>
            <a:endParaRPr lang="en-US" sz="1000" baseline="0" dirty="0">
              <a:solidFill>
                <a:schemeClr val="tx1"/>
              </a:solidFill>
            </a:endParaRPr>
          </a:p>
          <a:p>
            <a:pPr algn="l"/>
            <a:r>
              <a:rPr lang="en-US" sz="1000" baseline="0" dirty="0">
                <a:solidFill>
                  <a:schemeClr val="tx1"/>
                </a:solidFill>
              </a:rPr>
              <a:t>Choose where to add presenter name(s) – upper right corner and under title/ subtitle. Remove unused placeholders. </a:t>
            </a:r>
          </a:p>
        </p:txBody>
      </p:sp>
      <p:sp>
        <p:nvSpPr>
          <p:cNvPr id="11" name="Text Placeholder 5"/>
          <p:cNvSpPr>
            <a:spLocks noGrp="1"/>
          </p:cNvSpPr>
          <p:nvPr>
            <p:ph type="body" sz="quarter" idx="13" hasCustomPrompt="1"/>
          </p:nvPr>
        </p:nvSpPr>
        <p:spPr>
          <a:xfrm>
            <a:off x="411482" y="4196050"/>
            <a:ext cx="7231529" cy="896287"/>
          </a:xfrm>
        </p:spPr>
        <p:txBody>
          <a:bodyPr>
            <a:noAutofit/>
          </a:bodyPr>
          <a:lstStyle>
            <a:lvl1pPr marL="0" indent="0">
              <a:spcBef>
                <a:spcPts val="300"/>
              </a:spcBef>
              <a:spcAft>
                <a:spcPts val="0"/>
              </a:spcAft>
              <a:buNone/>
              <a:defRPr sz="1100" b="1" baseline="0"/>
            </a:lvl1pPr>
          </a:lstStyle>
          <a:p>
            <a:pPr lvl="0"/>
            <a:r>
              <a:rPr lang="en-US" dirty="0"/>
              <a:t>Alternative 1: Click to insert Presenter Name(s)</a:t>
            </a:r>
            <a:br>
              <a:rPr lang="en-US" dirty="0"/>
            </a:br>
            <a:r>
              <a:rPr lang="en-US" dirty="0"/>
              <a:t>Job Title</a:t>
            </a:r>
            <a:br>
              <a:rPr lang="en-US" dirty="0"/>
            </a:br>
            <a:r>
              <a:rPr lang="en-US" dirty="0"/>
              <a:t>Department / Sector</a:t>
            </a:r>
          </a:p>
        </p:txBody>
      </p:sp>
      <p:sp>
        <p:nvSpPr>
          <p:cNvPr id="12" name="Text Placeholder 5"/>
          <p:cNvSpPr>
            <a:spLocks noGrp="1"/>
          </p:cNvSpPr>
          <p:nvPr>
            <p:ph type="body" sz="quarter" idx="14" hasCustomPrompt="1"/>
          </p:nvPr>
        </p:nvSpPr>
        <p:spPr>
          <a:xfrm>
            <a:off x="411481" y="5155186"/>
            <a:ext cx="3169920" cy="259884"/>
          </a:xfrm>
        </p:spPr>
        <p:txBody>
          <a:bodyPr>
            <a:noAutofit/>
          </a:bodyPr>
          <a:lstStyle>
            <a:lvl1pPr marL="0" indent="0">
              <a:buNone/>
              <a:defRPr sz="1050" b="0"/>
            </a:lvl1pPr>
          </a:lstStyle>
          <a:p>
            <a:pPr lvl="0"/>
            <a:r>
              <a:rPr lang="en-US" dirty="0"/>
              <a:t>Click to insert date</a:t>
            </a:r>
          </a:p>
        </p:txBody>
      </p:sp>
      <p:sp>
        <p:nvSpPr>
          <p:cNvPr id="13" name="Rectangle 12"/>
          <p:cNvSpPr/>
          <p:nvPr/>
        </p:nvSpPr>
        <p:spPr>
          <a:xfrm>
            <a:off x="-13252" y="6878697"/>
            <a:ext cx="12205252"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schemeClr val="tx1"/>
              </a:solidFill>
            </a:endParaRPr>
          </a:p>
        </p:txBody>
      </p:sp>
      <p:grpSp>
        <p:nvGrpSpPr>
          <p:cNvPr id="20" name="Group 19"/>
          <p:cNvGrpSpPr/>
          <p:nvPr/>
        </p:nvGrpSpPr>
        <p:grpSpPr>
          <a:xfrm>
            <a:off x="12284309" y="2497574"/>
            <a:ext cx="1389888" cy="1233768"/>
            <a:chOff x="9215268" y="3023356"/>
            <a:chExt cx="1389888" cy="1233768"/>
          </a:xfrm>
        </p:grpSpPr>
        <p:sp>
          <p:nvSpPr>
            <p:cNvPr id="21" name="Rectangle 20"/>
            <p:cNvSpPr/>
            <p:nvPr/>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2" name="Rectangle 21"/>
            <p:cNvSpPr/>
            <p:nvPr/>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pic>
        <p:nvPicPr>
          <p:cNvPr id="26" name="Market Intelligence"/>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449" y="5512976"/>
            <a:ext cx="3489932" cy="1258284"/>
          </a:xfrm>
          <a:prstGeom prst="rect">
            <a:avLst/>
          </a:prstGeom>
        </p:spPr>
      </p:pic>
      <p:pic>
        <p:nvPicPr>
          <p:cNvPr id="17" name="Picture 1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529907" y="-29440"/>
            <a:ext cx="3349801" cy="1849369"/>
          </a:xfrm>
          <a:prstGeom prst="rect">
            <a:avLst/>
          </a:prstGeom>
        </p:spPr>
      </p:pic>
    </p:spTree>
    <p:extLst>
      <p:ext uri="{BB962C8B-B14F-4D97-AF65-F5344CB8AC3E}">
        <p14:creationId xmlns:p14="http://schemas.microsoft.com/office/powerpoint/2010/main" val="1757988430"/>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Cover black plain">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1481" y="146304"/>
            <a:ext cx="7205472" cy="2578608"/>
          </a:xfrm>
        </p:spPr>
        <p:txBody>
          <a:bodyPr tIns="0" anchor="t">
            <a:noAutofit/>
          </a:bodyPr>
          <a:lstStyle>
            <a:lvl1pPr algn="l">
              <a:defRPr sz="4400" b="1" baseline="0"/>
            </a:lvl1pPr>
          </a:lstStyle>
          <a:p>
            <a:r>
              <a:rPr lang="en-US" dirty="0"/>
              <a:t>Click to insert Presentation Title</a:t>
            </a:r>
          </a:p>
        </p:txBody>
      </p:sp>
      <p:sp>
        <p:nvSpPr>
          <p:cNvPr id="3" name="Subtitle 2"/>
          <p:cNvSpPr>
            <a:spLocks noGrp="1"/>
          </p:cNvSpPr>
          <p:nvPr>
            <p:ph type="subTitle" idx="1" hasCustomPrompt="1"/>
          </p:nvPr>
        </p:nvSpPr>
        <p:spPr>
          <a:xfrm>
            <a:off x="411481" y="2743200"/>
            <a:ext cx="7205472" cy="1179576"/>
          </a:xfrm>
        </p:spPr>
        <p:txBody>
          <a:bodyPr/>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9" name="Rectangle 8"/>
          <p:cNvSpPr/>
          <p:nvPr/>
        </p:nvSpPr>
        <p:spPr>
          <a:xfrm>
            <a:off x="12287026" y="-4042"/>
            <a:ext cx="1386247" cy="243104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dirty="0">
                <a:solidFill>
                  <a:schemeClr val="bg1"/>
                </a:solidFill>
              </a:rPr>
              <a:t>Cover</a:t>
            </a:r>
          </a:p>
          <a:p>
            <a:pPr algn="l"/>
            <a:r>
              <a:rPr lang="en-US" sz="1000" baseline="0" dirty="0">
                <a:solidFill>
                  <a:schemeClr val="bg1"/>
                </a:solidFill>
              </a:rPr>
              <a:t>Do not change the size of the title. Keep the title short and use the subtitle area for longer descriptions if needed. </a:t>
            </a:r>
            <a:endParaRPr lang="en-US" sz="1000" dirty="0">
              <a:solidFill>
                <a:schemeClr val="bg1"/>
              </a:solidFill>
            </a:endParaRPr>
          </a:p>
        </p:txBody>
      </p:sp>
      <p:sp>
        <p:nvSpPr>
          <p:cNvPr id="11" name="Text Placeholder 5"/>
          <p:cNvSpPr>
            <a:spLocks noGrp="1"/>
          </p:cNvSpPr>
          <p:nvPr>
            <p:ph type="body" sz="quarter" idx="12" hasCustomPrompt="1"/>
          </p:nvPr>
        </p:nvSpPr>
        <p:spPr>
          <a:xfrm>
            <a:off x="6096000" y="5764754"/>
            <a:ext cx="5689600" cy="738818"/>
          </a:xfrm>
        </p:spPr>
        <p:txBody>
          <a:bodyPr tIns="0" rIns="0" bIns="0">
            <a:noAutofit/>
          </a:bodyPr>
          <a:lstStyle>
            <a:lvl1pPr marL="0" indent="0" algn="r">
              <a:buNone/>
              <a:defRPr sz="900" b="0">
                <a:solidFill>
                  <a:schemeClr val="tx1"/>
                </a:solidFill>
                <a:latin typeface="Arial Narrow" panose="020B0606020202030204" pitchFamily="34" charset="0"/>
              </a:defRPr>
            </a:lvl1pPr>
          </a:lstStyle>
          <a:p>
            <a:r>
              <a:rPr lang="en-US" dirty="0"/>
              <a:t>Permission to reprint or distribute any content from this presentation requires the prior written approval of S&amp;P Global Market Intelligence.</a:t>
            </a:r>
            <a:br>
              <a:rPr lang="en-US" dirty="0"/>
            </a:br>
            <a:r>
              <a:rPr lang="en-US" dirty="0"/>
              <a:t>Not for distribution to the public. </a:t>
            </a:r>
          </a:p>
          <a:p>
            <a:r>
              <a:rPr lang="en-US" dirty="0"/>
              <a:t>Copyright © 2017 by S&amp;P Global</a:t>
            </a:r>
            <a:br>
              <a:rPr lang="en-US" dirty="0"/>
            </a:br>
            <a:r>
              <a:rPr lang="en-US" dirty="0"/>
              <a:t>Market Intelligence. All rights reserved.</a:t>
            </a:r>
          </a:p>
        </p:txBody>
      </p:sp>
      <p:sp>
        <p:nvSpPr>
          <p:cNvPr id="12" name="Text Placeholder 5"/>
          <p:cNvSpPr>
            <a:spLocks noGrp="1"/>
          </p:cNvSpPr>
          <p:nvPr>
            <p:ph type="body" sz="quarter" idx="13" hasCustomPrompt="1"/>
          </p:nvPr>
        </p:nvSpPr>
        <p:spPr>
          <a:xfrm>
            <a:off x="411482" y="4196050"/>
            <a:ext cx="7231529" cy="896287"/>
          </a:xfrm>
        </p:spPr>
        <p:txBody>
          <a:bodyPr>
            <a:noAutofit/>
          </a:bodyPr>
          <a:lstStyle>
            <a:lvl1pPr marL="0" indent="0">
              <a:spcBef>
                <a:spcPts val="300"/>
              </a:spcBef>
              <a:spcAft>
                <a:spcPts val="0"/>
              </a:spcAft>
              <a:buNone/>
              <a:defRPr sz="1100" b="1" baseline="0"/>
            </a:lvl1pPr>
          </a:lstStyle>
          <a:p>
            <a:pPr lvl="0"/>
            <a:r>
              <a:rPr lang="en-US" dirty="0"/>
              <a:t>Alternative 1: Click to insert Presenter Name(s)</a:t>
            </a:r>
            <a:br>
              <a:rPr lang="en-US" dirty="0"/>
            </a:br>
            <a:r>
              <a:rPr lang="en-US" dirty="0"/>
              <a:t>Job Title</a:t>
            </a:r>
            <a:br>
              <a:rPr lang="en-US" dirty="0"/>
            </a:br>
            <a:r>
              <a:rPr lang="en-US" dirty="0"/>
              <a:t>Department / Sector</a:t>
            </a:r>
          </a:p>
        </p:txBody>
      </p:sp>
      <p:sp>
        <p:nvSpPr>
          <p:cNvPr id="14" name="Text Placeholder 5"/>
          <p:cNvSpPr>
            <a:spLocks noGrp="1"/>
          </p:cNvSpPr>
          <p:nvPr>
            <p:ph type="body" sz="quarter" idx="14" hasCustomPrompt="1"/>
          </p:nvPr>
        </p:nvSpPr>
        <p:spPr>
          <a:xfrm>
            <a:off x="411481" y="5155186"/>
            <a:ext cx="3169920" cy="259884"/>
          </a:xfrm>
        </p:spPr>
        <p:txBody>
          <a:bodyPr>
            <a:noAutofit/>
          </a:bodyPr>
          <a:lstStyle>
            <a:lvl1pPr marL="0" indent="0">
              <a:buNone/>
              <a:defRPr sz="1050" b="0"/>
            </a:lvl1pPr>
          </a:lstStyle>
          <a:p>
            <a:pPr lvl="0"/>
            <a:r>
              <a:rPr lang="en-US" dirty="0"/>
              <a:t>Click to insert date</a:t>
            </a:r>
          </a:p>
        </p:txBody>
      </p:sp>
      <p:sp>
        <p:nvSpPr>
          <p:cNvPr id="15" name="Rectangle 14"/>
          <p:cNvSpPr/>
          <p:nvPr/>
        </p:nvSpPr>
        <p:spPr>
          <a:xfrm>
            <a:off x="-13252"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schemeClr val="tx1"/>
              </a:solidFill>
            </a:endParaRPr>
          </a:p>
        </p:txBody>
      </p:sp>
      <p:grpSp>
        <p:nvGrpSpPr>
          <p:cNvPr id="24" name="Group 23"/>
          <p:cNvGrpSpPr/>
          <p:nvPr/>
        </p:nvGrpSpPr>
        <p:grpSpPr>
          <a:xfrm>
            <a:off x="12284309" y="2497574"/>
            <a:ext cx="1389888" cy="1233768"/>
            <a:chOff x="9215268" y="3023356"/>
            <a:chExt cx="1389888" cy="1233768"/>
          </a:xfrm>
        </p:grpSpPr>
        <p:sp>
          <p:nvSpPr>
            <p:cNvPr id="25" name="Rectangle 24"/>
            <p:cNvSpPr/>
            <p:nvPr/>
          </p:nvSpPr>
          <p:spPr>
            <a:xfrm>
              <a:off x="9215268" y="3023356"/>
              <a:ext cx="1389888" cy="1233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text high-lights, not shapes or charts. </a:t>
              </a:r>
              <a:br>
                <a:rPr lang="en-US" sz="1000" b="0" baseline="0" dirty="0">
                  <a:solidFill>
                    <a:schemeClr val="bg1"/>
                  </a:solidFill>
                </a:rPr>
              </a:br>
              <a:r>
                <a:rPr lang="en-US" sz="1000" b="0" baseline="0" dirty="0">
                  <a:solidFill>
                    <a:schemeClr val="bg1"/>
                  </a:solidFill>
                </a:rPr>
                <a:t>It’s available in the custom color palette</a:t>
              </a:r>
              <a:r>
                <a:rPr lang="en-US" sz="1000" b="0" baseline="0" dirty="0">
                  <a:solidFill>
                    <a:schemeClr val="tx1"/>
                  </a:solidFill>
                </a:rPr>
                <a:t>. </a:t>
              </a:r>
            </a:p>
          </p:txBody>
        </p:sp>
        <p:sp>
          <p:nvSpPr>
            <p:cNvPr id="26" name="Rectangle 25"/>
            <p:cNvSpPr/>
            <p:nvPr/>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pic>
        <p:nvPicPr>
          <p:cNvPr id="4" name="Market Intelligence"/>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7858" y="5508180"/>
            <a:ext cx="3499886" cy="1261872"/>
          </a:xfrm>
          <a:prstGeom prst="rect">
            <a:avLst/>
          </a:prstGeom>
        </p:spPr>
      </p:pic>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529905" y="-29441"/>
            <a:ext cx="3349801" cy="1849369"/>
          </a:xfrm>
          <a:prstGeom prst="rect">
            <a:avLst/>
          </a:prstGeom>
        </p:spPr>
      </p:pic>
    </p:spTree>
    <p:extLst>
      <p:ext uri="{BB962C8B-B14F-4D97-AF65-F5344CB8AC3E}">
        <p14:creationId xmlns:p14="http://schemas.microsoft.com/office/powerpoint/2010/main" val="15453600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Cover white Slim image">
    <p:spTree>
      <p:nvGrpSpPr>
        <p:cNvPr id="1" name=""/>
        <p:cNvGrpSpPr/>
        <p:nvPr/>
      </p:nvGrpSpPr>
      <p:grpSpPr>
        <a:xfrm>
          <a:off x="0" y="0"/>
          <a:ext cx="0" cy="0"/>
          <a:chOff x="0" y="0"/>
          <a:chExt cx="0" cy="0"/>
        </a:xfrm>
      </p:grpSpPr>
      <p:pic>
        <p:nvPicPr>
          <p:cNvPr id="15" name="Picture 1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529907" y="-29440"/>
            <a:ext cx="3349801" cy="1849369"/>
          </a:xfrm>
          <a:prstGeom prst="rect">
            <a:avLst/>
          </a:prstGeom>
        </p:spPr>
      </p:pic>
      <p:sp>
        <p:nvSpPr>
          <p:cNvPr id="2" name="Title 1"/>
          <p:cNvSpPr>
            <a:spLocks noGrp="1"/>
          </p:cNvSpPr>
          <p:nvPr>
            <p:ph type="ctrTitle" hasCustomPrompt="1"/>
          </p:nvPr>
        </p:nvSpPr>
        <p:spPr>
          <a:xfrm>
            <a:off x="411481" y="164236"/>
            <a:ext cx="6705600" cy="1568639"/>
          </a:xfrm>
        </p:spPr>
        <p:txBody>
          <a:bodyPr tIns="0" anchor="t">
            <a:normAutofit/>
          </a:bodyPr>
          <a:lstStyle>
            <a:lvl1pPr algn="l">
              <a:defRPr sz="3600" b="1" baseline="0"/>
            </a:lvl1pPr>
          </a:lstStyle>
          <a:p>
            <a:r>
              <a:rPr lang="en-US" dirty="0"/>
              <a:t>Click to insert Presentation Title </a:t>
            </a:r>
          </a:p>
        </p:txBody>
      </p:sp>
      <p:sp>
        <p:nvSpPr>
          <p:cNvPr id="3" name="Subtitle 2"/>
          <p:cNvSpPr>
            <a:spLocks noGrp="1"/>
          </p:cNvSpPr>
          <p:nvPr>
            <p:ph type="subTitle" idx="1" hasCustomPrompt="1"/>
          </p:nvPr>
        </p:nvSpPr>
        <p:spPr>
          <a:xfrm>
            <a:off x="411481" y="1751715"/>
            <a:ext cx="67056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8618069" y="2515134"/>
            <a:ext cx="3169920" cy="259884"/>
          </a:xfrm>
        </p:spPr>
        <p:txBody>
          <a:bodyPr>
            <a:noAutofit/>
          </a:bodyPr>
          <a:lstStyle>
            <a:lvl1pPr marL="0" indent="0">
              <a:buNone/>
              <a:defRPr sz="1050" b="0"/>
            </a:lvl1pPr>
          </a:lstStyle>
          <a:p>
            <a:pPr lvl="0"/>
            <a:r>
              <a:rPr lang="en-US" dirty="0"/>
              <a:t>Click to insert date</a:t>
            </a:r>
          </a:p>
        </p:txBody>
      </p:sp>
      <p:sp>
        <p:nvSpPr>
          <p:cNvPr id="5" name="Picture Placeholder 4"/>
          <p:cNvSpPr>
            <a:spLocks noGrp="1"/>
          </p:cNvSpPr>
          <p:nvPr>
            <p:ph type="pic" sz="quarter" idx="13" hasCustomPrompt="1"/>
          </p:nvPr>
        </p:nvSpPr>
        <p:spPr>
          <a:xfrm>
            <a:off x="411479" y="2966148"/>
            <a:ext cx="11379200" cy="2542032"/>
          </a:xfrm>
        </p:spPr>
        <p:txBody>
          <a:bodyPr anchor="ctr"/>
          <a:lstStyle>
            <a:lvl1pPr marL="0" indent="0" algn="ctr">
              <a:buNone/>
              <a:defRPr/>
            </a:lvl1pPr>
          </a:lstStyle>
          <a:p>
            <a:r>
              <a:rPr lang="en-US" dirty="0"/>
              <a:t>Click to insert cover image</a:t>
            </a:r>
          </a:p>
        </p:txBody>
      </p:sp>
      <p:sp>
        <p:nvSpPr>
          <p:cNvPr id="12" name="Text Placeholder 5"/>
          <p:cNvSpPr>
            <a:spLocks noGrp="1"/>
          </p:cNvSpPr>
          <p:nvPr>
            <p:ph type="body" sz="quarter" idx="10" hasCustomPrompt="1"/>
          </p:nvPr>
        </p:nvSpPr>
        <p:spPr>
          <a:xfrm>
            <a:off x="8618071" y="1916372"/>
            <a:ext cx="3169920" cy="535913"/>
          </a:xfrm>
        </p:spPr>
        <p:txBody>
          <a:bodyPr>
            <a:noAutofit/>
          </a:bodyPr>
          <a:lstStyle>
            <a:lvl1pPr marL="0" indent="0">
              <a:spcBef>
                <a:spcPts val="300"/>
              </a:spcBef>
              <a:spcAft>
                <a:spcPts val="0"/>
              </a:spcAft>
              <a:buNone/>
              <a:defRPr sz="1100" b="1" baseline="0"/>
            </a:lvl1pPr>
          </a:lstStyle>
          <a:p>
            <a:pPr lvl="0"/>
            <a:r>
              <a:rPr lang="en-US" dirty="0"/>
              <a:t>Click to insert Presenter Name(s)</a:t>
            </a:r>
            <a:br>
              <a:rPr lang="en-US" dirty="0"/>
            </a:br>
            <a:r>
              <a:rPr lang="en-US" dirty="0"/>
              <a:t>Job Title</a:t>
            </a:r>
            <a:br>
              <a:rPr lang="en-US" dirty="0"/>
            </a:br>
            <a:r>
              <a:rPr lang="en-US" dirty="0"/>
              <a:t>Department / Sector</a:t>
            </a:r>
          </a:p>
        </p:txBody>
      </p:sp>
      <p:sp>
        <p:nvSpPr>
          <p:cNvPr id="9" name="Rectangle 8"/>
          <p:cNvSpPr/>
          <p:nvPr/>
        </p:nvSpPr>
        <p:spPr>
          <a:xfrm>
            <a:off x="12287026" y="-4042"/>
            <a:ext cx="1386247" cy="24297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ver</a:t>
            </a:r>
            <a:r>
              <a:rPr lang="en-US" sz="1000" b="1" baseline="0" dirty="0">
                <a:solidFill>
                  <a:schemeClr val="tx1"/>
                </a:solidFill>
              </a:rPr>
              <a:t> + Image</a:t>
            </a:r>
          </a:p>
          <a:p>
            <a:pPr algn="l"/>
            <a:r>
              <a:rPr lang="en-US" sz="1000" baseline="0" dirty="0">
                <a:solidFill>
                  <a:schemeClr val="tx1"/>
                </a:solidFill>
              </a:rPr>
              <a:t>Do not change the size of the title. Keep the title short and use the subtitle area for longer descriptions if needed. Insert rectangular image by clicking the image icon. </a:t>
            </a:r>
            <a:endParaRPr lang="en-US" sz="1000" dirty="0">
              <a:solidFill>
                <a:schemeClr val="tx1"/>
              </a:solidFill>
            </a:endParaRPr>
          </a:p>
        </p:txBody>
      </p:sp>
      <p:sp>
        <p:nvSpPr>
          <p:cNvPr id="14" name="Rectangle 13"/>
          <p:cNvSpPr/>
          <p:nvPr/>
        </p:nvSpPr>
        <p:spPr>
          <a:xfrm>
            <a:off x="-13252" y="6878697"/>
            <a:ext cx="12205252"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schemeClr val="tx1"/>
              </a:solidFill>
            </a:endParaRPr>
          </a:p>
        </p:txBody>
      </p:sp>
      <p:sp>
        <p:nvSpPr>
          <p:cNvPr id="36" name="Text Placeholder 5"/>
          <p:cNvSpPr>
            <a:spLocks noGrp="1"/>
          </p:cNvSpPr>
          <p:nvPr>
            <p:ph type="body" sz="quarter" idx="12" hasCustomPrompt="1"/>
          </p:nvPr>
        </p:nvSpPr>
        <p:spPr>
          <a:xfrm>
            <a:off x="6096000" y="5920969"/>
            <a:ext cx="5689600" cy="730656"/>
          </a:xfrm>
        </p:spPr>
        <p:txBody>
          <a:bodyPr tIns="0" rIns="0" bIns="0">
            <a:noAutofit/>
          </a:bodyPr>
          <a:lstStyle>
            <a:lvl1pPr marL="0" indent="0" algn="r">
              <a:buNone/>
              <a:defRPr sz="900" b="0">
                <a:solidFill>
                  <a:schemeClr val="bg1">
                    <a:lumMod val="50000"/>
                  </a:schemeClr>
                </a:solidFill>
                <a:latin typeface="Arial Narrow" panose="020B0606020202030204" pitchFamily="34" charset="0"/>
              </a:defRPr>
            </a:lvl1pPr>
          </a:lstStyle>
          <a:p>
            <a:r>
              <a:rPr lang="en-US" dirty="0"/>
              <a:t>Permission to reprint or distribute any content from this presentation requires the prior written approval of S&amp;P Global Market Intelligence.</a:t>
            </a:r>
            <a:br>
              <a:rPr lang="en-US" dirty="0"/>
            </a:br>
            <a:r>
              <a:rPr lang="en-US" dirty="0"/>
              <a:t>Not for distribution to the public. </a:t>
            </a:r>
          </a:p>
          <a:p>
            <a:r>
              <a:rPr lang="en-US" dirty="0"/>
              <a:t>Copyright © 2017 by S&amp;P Global</a:t>
            </a:r>
            <a:br>
              <a:rPr lang="en-US" dirty="0"/>
            </a:br>
            <a:r>
              <a:rPr lang="en-US" dirty="0"/>
              <a:t>Market Intelligence. All rights reserved.</a:t>
            </a:r>
          </a:p>
        </p:txBody>
      </p:sp>
      <p:grpSp>
        <p:nvGrpSpPr>
          <p:cNvPr id="24" name="Group 23"/>
          <p:cNvGrpSpPr/>
          <p:nvPr/>
        </p:nvGrpSpPr>
        <p:grpSpPr>
          <a:xfrm>
            <a:off x="12284309" y="2497574"/>
            <a:ext cx="1389888" cy="1233768"/>
            <a:chOff x="9215268" y="3023356"/>
            <a:chExt cx="1389888" cy="1233768"/>
          </a:xfrm>
        </p:grpSpPr>
        <p:sp>
          <p:nvSpPr>
            <p:cNvPr id="25" name="Rectangle 24"/>
            <p:cNvSpPr/>
            <p:nvPr/>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6" name="Rectangle 25"/>
            <p:cNvSpPr/>
            <p:nvPr/>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pic>
        <p:nvPicPr>
          <p:cNvPr id="19" name="Market Intelligence"/>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8449" y="5512976"/>
            <a:ext cx="3489932" cy="1258284"/>
          </a:xfrm>
          <a:prstGeom prst="rect">
            <a:avLst/>
          </a:prstGeom>
        </p:spPr>
      </p:pic>
      <p:sp>
        <p:nvSpPr>
          <p:cNvPr id="16" name="Rectangle 15"/>
          <p:cNvSpPr/>
          <p:nvPr userDrawn="1"/>
        </p:nvSpPr>
        <p:spPr>
          <a:xfrm>
            <a:off x="12287025" y="-4043"/>
            <a:ext cx="1386247" cy="24297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ver</a:t>
            </a:r>
            <a:r>
              <a:rPr lang="en-US" sz="1000" b="1" baseline="0" dirty="0">
                <a:solidFill>
                  <a:schemeClr val="tx1"/>
                </a:solidFill>
              </a:rPr>
              <a:t> + Image</a:t>
            </a:r>
          </a:p>
          <a:p>
            <a:pPr algn="l"/>
            <a:r>
              <a:rPr lang="en-US" sz="1000" baseline="0" dirty="0">
                <a:solidFill>
                  <a:schemeClr val="tx1"/>
                </a:solidFill>
              </a:rPr>
              <a:t>Do not change the size of the title. Keep the title short and use the subtitle area for longer descriptions if needed. Insert rectangular image by clicking the image icon. </a:t>
            </a:r>
            <a:endParaRPr lang="en-US" sz="1000" dirty="0">
              <a:solidFill>
                <a:schemeClr val="tx1"/>
              </a:solidFill>
            </a:endParaRPr>
          </a:p>
        </p:txBody>
      </p:sp>
      <p:sp>
        <p:nvSpPr>
          <p:cNvPr id="17" name="Rectangle 16"/>
          <p:cNvSpPr/>
          <p:nvPr userDrawn="1"/>
        </p:nvSpPr>
        <p:spPr>
          <a:xfrm>
            <a:off x="-13251" y="6878697"/>
            <a:ext cx="12205252"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solidFill>
                <a:schemeClr val="tx1"/>
              </a:solidFill>
            </a:endParaRPr>
          </a:p>
        </p:txBody>
      </p:sp>
      <p:grpSp>
        <p:nvGrpSpPr>
          <p:cNvPr id="18" name="Group 17"/>
          <p:cNvGrpSpPr/>
          <p:nvPr userDrawn="1"/>
        </p:nvGrpSpPr>
        <p:grpSpPr>
          <a:xfrm>
            <a:off x="12284310" y="2497574"/>
            <a:ext cx="1389888" cy="1233768"/>
            <a:chOff x="9215268" y="3023356"/>
            <a:chExt cx="1389888" cy="1233768"/>
          </a:xfrm>
        </p:grpSpPr>
        <p:sp>
          <p:nvSpPr>
            <p:cNvPr id="20" name="Rectangle 19"/>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1" name="Rectangle 20"/>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pic>
        <p:nvPicPr>
          <p:cNvPr id="22" name="Platts"/>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48447" y="5512975"/>
            <a:ext cx="2214885" cy="1257096"/>
          </a:xfrm>
          <a:prstGeom prst="rect">
            <a:avLst/>
          </a:prstGeom>
        </p:spPr>
      </p:pic>
    </p:spTree>
    <p:extLst>
      <p:ext uri="{BB962C8B-B14F-4D97-AF65-F5344CB8AC3E}">
        <p14:creationId xmlns:p14="http://schemas.microsoft.com/office/powerpoint/2010/main" val="1498424370"/>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373FB-C58F-874B-BBAB-F63067F7826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6F6FFB7-0044-B346-8D1A-F55797F1DEE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5C44A95-B073-254E-ACC7-E131AE394C02}"/>
              </a:ext>
            </a:extLst>
          </p:cNvPr>
          <p:cNvSpPr>
            <a:spLocks noGrp="1"/>
          </p:cNvSpPr>
          <p:nvPr>
            <p:ph type="dt" sz="half" idx="10"/>
          </p:nvPr>
        </p:nvSpPr>
        <p:spPr/>
        <p:txBody>
          <a:bodyPr/>
          <a:lstStyle/>
          <a:p>
            <a:fld id="{92F427D0-34EB-7F4F-A4A2-2357E7D45014}" type="datetimeFigureOut">
              <a:rPr lang="en-US" smtClean="0"/>
              <a:t>6/18/2020</a:t>
            </a:fld>
            <a:endParaRPr lang="en-US" dirty="0"/>
          </a:p>
        </p:txBody>
      </p:sp>
      <p:sp>
        <p:nvSpPr>
          <p:cNvPr id="5" name="Footer Placeholder 4">
            <a:extLst>
              <a:ext uri="{FF2B5EF4-FFF2-40B4-BE49-F238E27FC236}">
                <a16:creationId xmlns:a16="http://schemas.microsoft.com/office/drawing/2014/main" id="{F458C6D8-82CF-324F-9C45-1E608130DDB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26EC362-6BA8-284D-B8CD-B3166AEF0912}"/>
              </a:ext>
            </a:extLst>
          </p:cNvPr>
          <p:cNvSpPr>
            <a:spLocks noGrp="1"/>
          </p:cNvSpPr>
          <p:nvPr>
            <p:ph type="sldNum" sz="quarter" idx="12"/>
          </p:nvPr>
        </p:nvSpPr>
        <p:spPr/>
        <p:txBody>
          <a:bodyPr/>
          <a:lstStyle/>
          <a:p>
            <a:fld id="{3C02FF7F-7EE0-DE4E-B4BA-8D5E63CE8E28}" type="slidenum">
              <a:rPr lang="en-US" smtClean="0"/>
              <a:t>‹#›</a:t>
            </a:fld>
            <a:endParaRPr lang="en-US" dirty="0"/>
          </a:p>
        </p:txBody>
      </p:sp>
    </p:spTree>
    <p:extLst>
      <p:ext uri="{BB962C8B-B14F-4D97-AF65-F5344CB8AC3E}">
        <p14:creationId xmlns:p14="http://schemas.microsoft.com/office/powerpoint/2010/main" val="413575290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Cover black Slim imag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1481" y="164593"/>
            <a:ext cx="6705600" cy="1568639"/>
          </a:xfrm>
        </p:spPr>
        <p:txBody>
          <a:bodyPr tIns="0" anchor="t">
            <a:normAutofit/>
          </a:bodyPr>
          <a:lstStyle>
            <a:lvl1pPr algn="l">
              <a:defRPr sz="3600" b="1" baseline="0"/>
            </a:lvl1pPr>
          </a:lstStyle>
          <a:p>
            <a:r>
              <a:rPr lang="en-US" dirty="0"/>
              <a:t>Click to insert Presentation Title</a:t>
            </a:r>
          </a:p>
        </p:txBody>
      </p:sp>
      <p:sp>
        <p:nvSpPr>
          <p:cNvPr id="3" name="Subtitle 2"/>
          <p:cNvSpPr>
            <a:spLocks noGrp="1"/>
          </p:cNvSpPr>
          <p:nvPr>
            <p:ph type="subTitle" idx="1" hasCustomPrompt="1"/>
          </p:nvPr>
        </p:nvSpPr>
        <p:spPr>
          <a:xfrm>
            <a:off x="411481" y="1755648"/>
            <a:ext cx="67056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9" name="Rectangle 8"/>
          <p:cNvSpPr/>
          <p:nvPr/>
        </p:nvSpPr>
        <p:spPr>
          <a:xfrm>
            <a:off x="12287026" y="-4042"/>
            <a:ext cx="1386247" cy="24297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bg1"/>
                </a:solidFill>
              </a:rPr>
              <a:t>Cover</a:t>
            </a:r>
            <a:r>
              <a:rPr lang="en-US" sz="1000" b="1" baseline="0" dirty="0">
                <a:solidFill>
                  <a:schemeClr val="bg1"/>
                </a:solidFill>
              </a:rPr>
              <a:t> + Image</a:t>
            </a:r>
          </a:p>
          <a:p>
            <a:pPr algn="l"/>
            <a:r>
              <a:rPr lang="en-US" sz="1000" baseline="0" dirty="0">
                <a:solidFill>
                  <a:schemeClr val="bg1"/>
                </a:solidFill>
              </a:rPr>
              <a:t>Do not change the size of the title. Keep the title short and use the subtitle area for longer descriptions if needed. Insert rectangular image by clicking the image icon. </a:t>
            </a:r>
            <a:endParaRPr lang="en-US" sz="1000" dirty="0">
              <a:solidFill>
                <a:schemeClr val="bg1"/>
              </a:solidFill>
            </a:endParaRPr>
          </a:p>
        </p:txBody>
      </p:sp>
      <p:grpSp>
        <p:nvGrpSpPr>
          <p:cNvPr id="24" name="Group 23"/>
          <p:cNvGrpSpPr/>
          <p:nvPr/>
        </p:nvGrpSpPr>
        <p:grpSpPr>
          <a:xfrm>
            <a:off x="12284309" y="2497574"/>
            <a:ext cx="1389888" cy="1233768"/>
            <a:chOff x="9215268" y="3023356"/>
            <a:chExt cx="1389888" cy="1233768"/>
          </a:xfrm>
        </p:grpSpPr>
        <p:sp>
          <p:nvSpPr>
            <p:cNvPr id="25" name="Rectangle 24"/>
            <p:cNvSpPr/>
            <p:nvPr/>
          </p:nvSpPr>
          <p:spPr>
            <a:xfrm>
              <a:off x="9215268" y="3023356"/>
              <a:ext cx="1389888" cy="1233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text high-lights, not shapes or charts. </a:t>
              </a:r>
              <a:br>
                <a:rPr lang="en-US" sz="1000" b="0" baseline="0" dirty="0">
                  <a:solidFill>
                    <a:schemeClr val="bg1"/>
                  </a:solidFill>
                </a:rPr>
              </a:br>
              <a:r>
                <a:rPr lang="en-US" sz="1000" b="0" baseline="0" dirty="0">
                  <a:solidFill>
                    <a:schemeClr val="bg1"/>
                  </a:solidFill>
                </a:rPr>
                <a:t>It’s available in the custom color palette</a:t>
              </a:r>
              <a:r>
                <a:rPr lang="en-US" sz="1000" b="0" baseline="0" dirty="0">
                  <a:solidFill>
                    <a:schemeClr val="tx1"/>
                  </a:solidFill>
                </a:rPr>
                <a:t>. </a:t>
              </a:r>
            </a:p>
          </p:txBody>
        </p:sp>
        <p:sp>
          <p:nvSpPr>
            <p:cNvPr id="26" name="Rectangle 25"/>
            <p:cNvSpPr/>
            <p:nvPr/>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pic>
        <p:nvPicPr>
          <p:cNvPr id="16" name="Market Intelligence"/>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1659" y="5934700"/>
            <a:ext cx="2138142" cy="770900"/>
          </a:xfrm>
          <a:prstGeom prst="rect">
            <a:avLst/>
          </a:prstGeom>
        </p:spPr>
      </p:pic>
      <p:sp>
        <p:nvSpPr>
          <p:cNvPr id="19" name="Picture Placeholder 4"/>
          <p:cNvSpPr>
            <a:spLocks noGrp="1"/>
          </p:cNvSpPr>
          <p:nvPr>
            <p:ph type="pic" sz="quarter" idx="14" hasCustomPrompt="1"/>
          </p:nvPr>
        </p:nvSpPr>
        <p:spPr>
          <a:xfrm>
            <a:off x="411479" y="2966148"/>
            <a:ext cx="11379200" cy="2542032"/>
          </a:xfrm>
        </p:spPr>
        <p:txBody>
          <a:bodyPr anchor="ctr"/>
          <a:lstStyle>
            <a:lvl1pPr marL="0" indent="0" algn="ctr">
              <a:buNone/>
              <a:defRPr/>
            </a:lvl1pPr>
          </a:lstStyle>
          <a:p>
            <a:r>
              <a:rPr lang="en-US" dirty="0"/>
              <a:t>Click to insert cover image</a:t>
            </a:r>
          </a:p>
        </p:txBody>
      </p:sp>
      <p:sp>
        <p:nvSpPr>
          <p:cNvPr id="21" name="Text Placeholder 5"/>
          <p:cNvSpPr>
            <a:spLocks noGrp="1"/>
          </p:cNvSpPr>
          <p:nvPr>
            <p:ph type="body" sz="quarter" idx="11" hasCustomPrompt="1"/>
          </p:nvPr>
        </p:nvSpPr>
        <p:spPr>
          <a:xfrm>
            <a:off x="8618069" y="2515134"/>
            <a:ext cx="3169920" cy="259884"/>
          </a:xfrm>
        </p:spPr>
        <p:txBody>
          <a:bodyPr>
            <a:noAutofit/>
          </a:bodyPr>
          <a:lstStyle>
            <a:lvl1pPr marL="0" indent="0">
              <a:buNone/>
              <a:defRPr sz="1050" b="0"/>
            </a:lvl1pPr>
          </a:lstStyle>
          <a:p>
            <a:pPr lvl="0"/>
            <a:r>
              <a:rPr lang="en-US" dirty="0"/>
              <a:t>Click to insert date</a:t>
            </a:r>
          </a:p>
        </p:txBody>
      </p:sp>
      <p:sp>
        <p:nvSpPr>
          <p:cNvPr id="22" name="Text Placeholder 5"/>
          <p:cNvSpPr>
            <a:spLocks noGrp="1"/>
          </p:cNvSpPr>
          <p:nvPr>
            <p:ph type="body" sz="quarter" idx="10" hasCustomPrompt="1"/>
          </p:nvPr>
        </p:nvSpPr>
        <p:spPr>
          <a:xfrm>
            <a:off x="8618071" y="1916372"/>
            <a:ext cx="3169920" cy="535913"/>
          </a:xfrm>
        </p:spPr>
        <p:txBody>
          <a:bodyPr>
            <a:noAutofit/>
          </a:bodyPr>
          <a:lstStyle>
            <a:lvl1pPr marL="0" indent="0">
              <a:spcBef>
                <a:spcPts val="300"/>
              </a:spcBef>
              <a:spcAft>
                <a:spcPts val="0"/>
              </a:spcAft>
              <a:buNone/>
              <a:defRPr sz="1100" b="1" baseline="0"/>
            </a:lvl1pPr>
          </a:lstStyle>
          <a:p>
            <a:pPr lvl="0"/>
            <a:r>
              <a:rPr lang="en-US" dirty="0"/>
              <a:t>Click to insert Presenter Name(s)</a:t>
            </a:r>
            <a:br>
              <a:rPr lang="en-US" dirty="0"/>
            </a:br>
            <a:r>
              <a:rPr lang="en-US" dirty="0"/>
              <a:t>Job Title</a:t>
            </a:r>
            <a:br>
              <a:rPr lang="en-US" dirty="0"/>
            </a:br>
            <a:r>
              <a:rPr lang="en-US" dirty="0"/>
              <a:t>Department / Sector</a:t>
            </a:r>
          </a:p>
        </p:txBody>
      </p:sp>
    </p:spTree>
    <p:extLst>
      <p:ext uri="{BB962C8B-B14F-4D97-AF65-F5344CB8AC3E}">
        <p14:creationId xmlns:p14="http://schemas.microsoft.com/office/powerpoint/2010/main" val="7187383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Divider white plain">
    <p:spTree>
      <p:nvGrpSpPr>
        <p:cNvPr id="1" name=""/>
        <p:cNvGrpSpPr/>
        <p:nvPr/>
      </p:nvGrpSpPr>
      <p:grpSpPr>
        <a:xfrm>
          <a:off x="0" y="0"/>
          <a:ext cx="0" cy="0"/>
          <a:chOff x="0" y="0"/>
          <a:chExt cx="0" cy="0"/>
        </a:xfrm>
      </p:grpSpPr>
      <p:sp>
        <p:nvSpPr>
          <p:cNvPr id="2" name="Title 1"/>
          <p:cNvSpPr>
            <a:spLocks noGrp="1"/>
          </p:cNvSpPr>
          <p:nvPr>
            <p:ph type="title"/>
          </p:nvPr>
        </p:nvSpPr>
        <p:spPr>
          <a:xfrm>
            <a:off x="411481" y="206375"/>
            <a:ext cx="9490635" cy="4249084"/>
          </a:xfrm>
        </p:spPr>
        <p:txBody>
          <a:bodyPr tIns="0" anchor="t"/>
          <a:lstStyle>
            <a:lvl1pPr>
              <a:defRPr sz="5400" b="1"/>
            </a:lvl1pPr>
          </a:lstStyle>
          <a:p>
            <a:r>
              <a:rPr lang="en-US"/>
              <a:t>Click to edit Master title style</a:t>
            </a:r>
            <a:endParaRPr lang="en-US" dirty="0"/>
          </a:p>
        </p:txBody>
      </p:sp>
      <p:sp>
        <p:nvSpPr>
          <p:cNvPr id="3" name="Text Placeholder 2"/>
          <p:cNvSpPr>
            <a:spLocks noGrp="1"/>
          </p:cNvSpPr>
          <p:nvPr>
            <p:ph type="body" idx="1"/>
          </p:nvPr>
        </p:nvSpPr>
        <p:spPr>
          <a:xfrm>
            <a:off x="411481" y="4574876"/>
            <a:ext cx="9490635" cy="1516362"/>
          </a:xfrm>
        </p:spPr>
        <p:txBody>
          <a:bodyPr anchor="t"/>
          <a:lstStyle>
            <a:lvl1pPr marL="0" indent="0">
              <a:spcBef>
                <a:spcPts val="0"/>
              </a:spcBef>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Rectangle 3"/>
          <p:cNvSpPr/>
          <p:nvPr/>
        </p:nvSpPr>
        <p:spPr>
          <a:xfrm>
            <a:off x="12287026" y="-4042"/>
            <a:ext cx="1386247" cy="24297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Divider</a:t>
            </a:r>
            <a:endParaRPr lang="en-US" sz="1000" b="1" baseline="0" dirty="0">
              <a:solidFill>
                <a:schemeClr val="tx1"/>
              </a:solidFill>
            </a:endParaRPr>
          </a:p>
          <a:p>
            <a:pPr algn="l"/>
            <a:r>
              <a:rPr lang="en-US" sz="1000" baseline="0" dirty="0">
                <a:solidFill>
                  <a:schemeClr val="tx1"/>
                </a:solidFill>
              </a:rPr>
              <a:t>Remove subtitle placeholder if not needed. </a:t>
            </a:r>
            <a:endParaRPr lang="en-US" sz="1000" dirty="0">
              <a:solidFill>
                <a:schemeClr val="tx1"/>
              </a:solidFill>
            </a:endParaRPr>
          </a:p>
        </p:txBody>
      </p:sp>
      <p:grpSp>
        <p:nvGrpSpPr>
          <p:cNvPr id="6" name="Group 5"/>
          <p:cNvGrpSpPr/>
          <p:nvPr/>
        </p:nvGrpSpPr>
        <p:grpSpPr>
          <a:xfrm>
            <a:off x="12284309" y="2497574"/>
            <a:ext cx="1389888" cy="1233768"/>
            <a:chOff x="9215268" y="3023356"/>
            <a:chExt cx="1389888" cy="1233768"/>
          </a:xfrm>
        </p:grpSpPr>
        <p:sp>
          <p:nvSpPr>
            <p:cNvPr id="7" name="Rectangle 6"/>
            <p:cNvSpPr/>
            <p:nvPr/>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8" name="Rectangle 7"/>
            <p:cNvSpPr/>
            <p:nvPr/>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9" name="Rectangle 8"/>
          <p:cNvSpPr/>
          <p:nvPr userDrawn="1"/>
        </p:nvSpPr>
        <p:spPr>
          <a:xfrm>
            <a:off x="12287025" y="-4043"/>
            <a:ext cx="1386247" cy="24297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Divider</a:t>
            </a:r>
            <a:endParaRPr lang="en-US" sz="1000" b="1" baseline="0" dirty="0">
              <a:solidFill>
                <a:schemeClr val="tx1"/>
              </a:solidFill>
            </a:endParaRPr>
          </a:p>
          <a:p>
            <a:pPr algn="l"/>
            <a:r>
              <a:rPr lang="en-US" sz="1000" baseline="0" dirty="0">
                <a:solidFill>
                  <a:schemeClr val="tx1"/>
                </a:solidFill>
              </a:rPr>
              <a:t>Remove subtitle placeholder if not needed. </a:t>
            </a:r>
            <a:endParaRPr lang="en-US" sz="1000" dirty="0">
              <a:solidFill>
                <a:schemeClr val="tx1"/>
              </a:solidFill>
            </a:endParaRPr>
          </a:p>
        </p:txBody>
      </p:sp>
      <p:grpSp>
        <p:nvGrpSpPr>
          <p:cNvPr id="10" name="Group 9"/>
          <p:cNvGrpSpPr/>
          <p:nvPr userDrawn="1"/>
        </p:nvGrpSpPr>
        <p:grpSpPr>
          <a:xfrm>
            <a:off x="12284310" y="2497574"/>
            <a:ext cx="1389888" cy="1233768"/>
            <a:chOff x="9215268" y="3023356"/>
            <a:chExt cx="1389888" cy="1233768"/>
          </a:xfrm>
        </p:grpSpPr>
        <p:sp>
          <p:nvSpPr>
            <p:cNvPr id="11" name="Rectangle 10"/>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2" name="Rectangle 11"/>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721217345"/>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Divider black plain">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11481" y="206375"/>
            <a:ext cx="9490635" cy="4249084"/>
          </a:xfrm>
        </p:spPr>
        <p:txBody>
          <a:bodyPr tIns="0" anchor="t"/>
          <a:lstStyle>
            <a:lvl1pPr>
              <a:defRPr sz="5400" b="1"/>
            </a:lvl1pPr>
          </a:lstStyle>
          <a:p>
            <a:r>
              <a:rPr lang="en-US"/>
              <a:t>Click to edit Master title style</a:t>
            </a:r>
            <a:endParaRPr lang="en-US" dirty="0"/>
          </a:p>
        </p:txBody>
      </p:sp>
      <p:sp>
        <p:nvSpPr>
          <p:cNvPr id="3" name="Text Placeholder 2"/>
          <p:cNvSpPr>
            <a:spLocks noGrp="1"/>
          </p:cNvSpPr>
          <p:nvPr>
            <p:ph type="body" idx="1"/>
          </p:nvPr>
        </p:nvSpPr>
        <p:spPr>
          <a:xfrm>
            <a:off x="411481" y="4574876"/>
            <a:ext cx="9490635" cy="1516362"/>
          </a:xfrm>
        </p:spPr>
        <p:txBody>
          <a:bodyPr anchor="t"/>
          <a:lstStyle>
            <a:lvl1pPr marL="0" indent="0">
              <a:spcBef>
                <a:spcPts val="0"/>
              </a:spcBef>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7" name="Rectangle 6"/>
          <p:cNvSpPr/>
          <p:nvPr/>
        </p:nvSpPr>
        <p:spPr>
          <a:xfrm>
            <a:off x="12287026" y="-4042"/>
            <a:ext cx="1386247" cy="24310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bg1"/>
                </a:solidFill>
              </a:rPr>
              <a:t>Divider</a:t>
            </a:r>
            <a:endParaRPr lang="en-US" sz="1000" b="1" baseline="0" dirty="0">
              <a:solidFill>
                <a:schemeClr val="bg1"/>
              </a:solidFill>
            </a:endParaRPr>
          </a:p>
          <a:p>
            <a:pPr algn="l"/>
            <a:r>
              <a:rPr lang="en-US" sz="1000" baseline="0" dirty="0">
                <a:solidFill>
                  <a:schemeClr val="bg1"/>
                </a:solidFill>
              </a:rPr>
              <a:t>Remove subtitle placeholder if not needed. </a:t>
            </a:r>
          </a:p>
          <a:p>
            <a:pPr algn="l"/>
            <a:endParaRPr lang="en-US" sz="1000" baseline="0" dirty="0">
              <a:solidFill>
                <a:schemeClr val="bg1"/>
              </a:solidFill>
            </a:endParaRPr>
          </a:p>
        </p:txBody>
      </p:sp>
      <p:sp>
        <p:nvSpPr>
          <p:cNvPr id="9" name="Rectangle 8"/>
          <p:cNvSpPr/>
          <p:nvPr/>
        </p:nvSpPr>
        <p:spPr>
          <a:xfrm>
            <a:off x="-13252" y="6878697"/>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schemeClr val="tx1"/>
              </a:solidFill>
            </a:endParaRPr>
          </a:p>
        </p:txBody>
      </p:sp>
      <p:sp>
        <p:nvSpPr>
          <p:cNvPr id="18" name="TextBox 17"/>
          <p:cNvSpPr txBox="1"/>
          <p:nvPr/>
        </p:nvSpPr>
        <p:spPr>
          <a:xfrm>
            <a:off x="12287024" y="5975775"/>
            <a:ext cx="1706880" cy="142555"/>
          </a:xfrm>
          <a:prstGeom prst="rect">
            <a:avLst/>
          </a:prstGeom>
          <a:noFill/>
        </p:spPr>
        <p:txBody>
          <a:bodyPr wrap="square" lIns="0" tIns="0" rIns="0" bIns="0" rtlCol="0">
            <a:noAutofit/>
          </a:bodyPr>
          <a:lstStyle/>
          <a:p>
            <a:pPr algn="l"/>
            <a:r>
              <a:rPr lang="en-US" sz="800" dirty="0">
                <a:solidFill>
                  <a:schemeClr val="tx1">
                    <a:lumMod val="65000"/>
                  </a:schemeClr>
                </a:solidFill>
                <a:latin typeface="Arial Narrow" panose="020B0606020202030204" pitchFamily="34" charset="0"/>
              </a:rPr>
              <a:t>No content below the line</a:t>
            </a:r>
          </a:p>
        </p:txBody>
      </p:sp>
      <p:sp>
        <p:nvSpPr>
          <p:cNvPr id="19" name="TextBox 18"/>
          <p:cNvSpPr txBox="1"/>
          <p:nvPr/>
        </p:nvSpPr>
        <p:spPr>
          <a:xfrm>
            <a:off x="-1786823" y="5987533"/>
            <a:ext cx="1706880" cy="142555"/>
          </a:xfrm>
          <a:prstGeom prst="rect">
            <a:avLst/>
          </a:prstGeom>
          <a:noFill/>
        </p:spPr>
        <p:txBody>
          <a:bodyPr wrap="square" lIns="0" tIns="0" rIns="0" bIns="0" rtlCol="0">
            <a:noAutofit/>
          </a:bodyPr>
          <a:lstStyle/>
          <a:p>
            <a:pPr algn="r"/>
            <a:r>
              <a:rPr lang="en-US" sz="800" dirty="0">
                <a:solidFill>
                  <a:schemeClr val="tx1">
                    <a:lumMod val="65000"/>
                  </a:schemeClr>
                </a:solidFill>
                <a:latin typeface="Arial Narrow" panose="020B0606020202030204" pitchFamily="34" charset="0"/>
              </a:rPr>
              <a:t>No content below the line</a:t>
            </a:r>
          </a:p>
        </p:txBody>
      </p:sp>
      <p:cxnSp>
        <p:nvCxnSpPr>
          <p:cNvPr id="20" name="Straight Connector 19"/>
          <p:cNvCxnSpPr/>
          <p:nvPr/>
        </p:nvCxnSpPr>
        <p:spPr>
          <a:xfrm>
            <a:off x="-395620" y="6090880"/>
            <a:ext cx="395621" cy="0"/>
          </a:xfrm>
          <a:prstGeom prst="line">
            <a:avLst/>
          </a:prstGeom>
          <a:ln w="3175">
            <a:solidFill>
              <a:schemeClr val="tx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2192001" y="6091822"/>
            <a:ext cx="395621" cy="0"/>
          </a:xfrm>
          <a:prstGeom prst="line">
            <a:avLst/>
          </a:prstGeom>
          <a:ln w="3175">
            <a:solidFill>
              <a:schemeClr val="tx1">
                <a:lumMod val="65000"/>
              </a:schemeClr>
            </a:solidFill>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12284309" y="2497574"/>
            <a:ext cx="1389888" cy="1233768"/>
            <a:chOff x="9215268" y="3023356"/>
            <a:chExt cx="1389888" cy="1233768"/>
          </a:xfrm>
        </p:grpSpPr>
        <p:sp>
          <p:nvSpPr>
            <p:cNvPr id="23" name="Rectangle 22"/>
            <p:cNvSpPr/>
            <p:nvPr/>
          </p:nvSpPr>
          <p:spPr>
            <a:xfrm>
              <a:off x="9215268" y="3023356"/>
              <a:ext cx="1389888" cy="1233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text high-lights, not shapes or charts. </a:t>
              </a:r>
              <a:br>
                <a:rPr lang="en-US" sz="1000" b="0" baseline="0" dirty="0">
                  <a:solidFill>
                    <a:schemeClr val="bg1"/>
                  </a:solidFill>
                </a:rPr>
              </a:br>
              <a:r>
                <a:rPr lang="en-US" sz="1000" b="0" baseline="0" dirty="0">
                  <a:solidFill>
                    <a:schemeClr val="bg1"/>
                  </a:solidFill>
                </a:rPr>
                <a:t>It’s available in the custom color palette</a:t>
              </a:r>
              <a:r>
                <a:rPr lang="en-US" sz="1000" b="0" baseline="0" dirty="0">
                  <a:solidFill>
                    <a:schemeClr val="tx1"/>
                  </a:solidFill>
                </a:rPr>
                <a:t>. </a:t>
              </a:r>
            </a:p>
          </p:txBody>
        </p:sp>
        <p:sp>
          <p:nvSpPr>
            <p:cNvPr id="24" name="Rectangle 23"/>
            <p:cNvSpPr/>
            <p:nvPr/>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pic>
        <p:nvPicPr>
          <p:cNvPr id="15" name="Market Intelligence"/>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67575" y="6081748"/>
            <a:ext cx="1978197" cy="713232"/>
          </a:xfrm>
          <a:prstGeom prst="rect">
            <a:avLst/>
          </a:prstGeom>
        </p:spPr>
      </p:pic>
      <p:sp>
        <p:nvSpPr>
          <p:cNvPr id="14" name="Rectangle 13"/>
          <p:cNvSpPr/>
          <p:nvPr/>
        </p:nvSpPr>
        <p:spPr>
          <a:xfrm>
            <a:off x="-13252" y="6878697"/>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schemeClr val="tx1"/>
              </a:solidFill>
            </a:endParaRPr>
          </a:p>
        </p:txBody>
      </p:sp>
      <p:sp>
        <p:nvSpPr>
          <p:cNvPr id="16" name="Rectangle 15"/>
          <p:cNvSpPr/>
          <p:nvPr/>
        </p:nvSpPr>
        <p:spPr>
          <a:xfrm>
            <a:off x="0" y="6874279"/>
            <a:ext cx="12192000" cy="3428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cxnSp>
        <p:nvCxnSpPr>
          <p:cNvPr id="17" name="Straight Connector 16"/>
          <p:cNvCxnSpPr/>
          <p:nvPr/>
        </p:nvCxnSpPr>
        <p:spPr>
          <a:xfrm rot="5400000" flipH="1" flipV="1">
            <a:off x="5947644"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rot="5400000" flipH="1" flipV="1">
            <a:off x="11637249"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6311591" y="6892980"/>
            <a:ext cx="5880409"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dirty="0">
                <a:solidFill>
                  <a:schemeClr val="bg1"/>
                </a:solidFill>
              </a:rPr>
              <a:t>Footer :  </a:t>
            </a:r>
            <a:r>
              <a:rPr lang="en-US" sz="1000" baseline="0" dirty="0">
                <a:solidFill>
                  <a:schemeClr val="bg1"/>
                </a:solidFill>
                <a:sym typeface="Wingdings 3" panose="05040102010807070707" pitchFamily="18" charset="2"/>
              </a:rPr>
              <a:t>Never change the footer text on individual slides. Change, t</a:t>
            </a:r>
            <a:r>
              <a:rPr lang="en-US" sz="1000" baseline="0" dirty="0">
                <a:solidFill>
                  <a:schemeClr val="bg1"/>
                </a:solidFill>
              </a:rPr>
              <a:t>urn on or off footer by using </a:t>
            </a:r>
            <a:br>
              <a:rPr lang="en-US" sz="1000" baseline="0" dirty="0">
                <a:solidFill>
                  <a:schemeClr val="bg1"/>
                </a:solidFill>
              </a:rPr>
            </a:br>
            <a:r>
              <a:rPr lang="en-US" sz="1000" baseline="0" dirty="0">
                <a:solidFill>
                  <a:schemeClr val="bg1"/>
                </a:solidFill>
              </a:rPr>
              <a:t>Insert </a:t>
            </a:r>
            <a:r>
              <a:rPr lang="en-US" sz="1000" baseline="0" dirty="0">
                <a:solidFill>
                  <a:schemeClr val="bg1"/>
                </a:solidFill>
                <a:sym typeface="Wingdings 3" panose="05040102010807070707" pitchFamily="18" charset="2"/>
              </a:rPr>
              <a:t> Header &amp; Footer Enter / change text  Click Apply All. </a:t>
            </a:r>
            <a:endParaRPr lang="en-US" sz="1000" baseline="0" dirty="0">
              <a:solidFill>
                <a:schemeClr val="bg1"/>
              </a:solidFill>
            </a:endParaRPr>
          </a:p>
        </p:txBody>
      </p:sp>
      <p:sp>
        <p:nvSpPr>
          <p:cNvPr id="27" name="TextBox 26"/>
          <p:cNvSpPr txBox="1"/>
          <p:nvPr/>
        </p:nvSpPr>
        <p:spPr>
          <a:xfrm>
            <a:off x="55814" y="6883560"/>
            <a:ext cx="903163"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Data color order</a:t>
            </a:r>
            <a:r>
              <a:rPr lang="en-US" sz="800" baseline="0" dirty="0">
                <a:solidFill>
                  <a:schemeClr val="bg1"/>
                </a:solidFill>
                <a:latin typeface="Arial Narrow" panose="020B0606020202030204" pitchFamily="34" charset="0"/>
              </a:rPr>
              <a:t>:</a:t>
            </a:r>
            <a:endParaRPr lang="en-US" sz="800" dirty="0">
              <a:solidFill>
                <a:schemeClr val="bg1"/>
              </a:solidFill>
              <a:latin typeface="Arial Narrow" panose="020B0606020202030204" pitchFamily="34" charset="0"/>
            </a:endParaRPr>
          </a:p>
        </p:txBody>
      </p:sp>
      <p:sp>
        <p:nvSpPr>
          <p:cNvPr id="28" name="TextBox 27"/>
          <p:cNvSpPr txBox="1"/>
          <p:nvPr/>
        </p:nvSpPr>
        <p:spPr>
          <a:xfrm>
            <a:off x="2804798" y="7042641"/>
            <a:ext cx="1320629" cy="136444"/>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Used with accent colors: </a:t>
            </a:r>
          </a:p>
        </p:txBody>
      </p:sp>
      <p:grpSp>
        <p:nvGrpSpPr>
          <p:cNvPr id="29" name="Group 28"/>
          <p:cNvGrpSpPr/>
          <p:nvPr/>
        </p:nvGrpSpPr>
        <p:grpSpPr>
          <a:xfrm>
            <a:off x="731575" y="6907927"/>
            <a:ext cx="1601607" cy="100584"/>
            <a:chOff x="914339" y="6913770"/>
            <a:chExt cx="1558450" cy="100584"/>
          </a:xfrm>
        </p:grpSpPr>
        <p:sp>
          <p:nvSpPr>
            <p:cNvPr id="30" name="Rectangle 29"/>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1" name="Rectangle 30"/>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32" name="Rectangle 31"/>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3" name="Rectangle 32"/>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4" name="Rectangle 33"/>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5" name="Rectangle 34"/>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6" name="Rectangle 35"/>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7" name="Rectangle 36"/>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38" name="Rectangle 37"/>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39" name="Rectangle 38"/>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sp>
          <p:nvSpPr>
            <p:cNvPr id="40" name="Rectangle 39"/>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41" name="Rectangle 40"/>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42" name="Rectangle 41"/>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43" name="Rectangle 42"/>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grpSp>
      <p:sp>
        <p:nvSpPr>
          <p:cNvPr id="44" name="TextBox 43"/>
          <p:cNvSpPr txBox="1"/>
          <p:nvPr/>
        </p:nvSpPr>
        <p:spPr>
          <a:xfrm>
            <a:off x="2535079" y="6883560"/>
            <a:ext cx="907900"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Complimentary colors:</a:t>
            </a:r>
          </a:p>
        </p:txBody>
      </p:sp>
      <p:grpSp>
        <p:nvGrpSpPr>
          <p:cNvPr id="45" name="Group 44"/>
          <p:cNvGrpSpPr/>
          <p:nvPr/>
        </p:nvGrpSpPr>
        <p:grpSpPr>
          <a:xfrm>
            <a:off x="2551547" y="7022893"/>
            <a:ext cx="218964" cy="91440"/>
            <a:chOff x="2279174" y="7027888"/>
            <a:chExt cx="164223" cy="91440"/>
          </a:xfrm>
        </p:grpSpPr>
        <p:cxnSp>
          <p:nvCxnSpPr>
            <p:cNvPr id="46" name="Straight Arrow Connector 45"/>
            <p:cNvCxnSpPr>
              <a:cxnSpLocks/>
            </p:cNvCxnSpPr>
            <p:nvPr/>
          </p:nvCxnSpPr>
          <p:spPr>
            <a:xfrm>
              <a:off x="2279174" y="7114593"/>
              <a:ext cx="164223" cy="0"/>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a:cxnSpLocks/>
            </p:cNvCxnSpPr>
            <p:nvPr/>
          </p:nvCxnSpPr>
          <p:spPr>
            <a:xfrm flipV="1">
              <a:off x="2281672" y="7027888"/>
              <a:ext cx="0" cy="9144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48" name="Group 47"/>
          <p:cNvGrpSpPr/>
          <p:nvPr/>
        </p:nvGrpSpPr>
        <p:grpSpPr>
          <a:xfrm>
            <a:off x="3760820" y="7063094"/>
            <a:ext cx="778165" cy="100584"/>
            <a:chOff x="1566748" y="7022234"/>
            <a:chExt cx="778165" cy="100584"/>
          </a:xfrm>
        </p:grpSpPr>
        <p:sp>
          <p:nvSpPr>
            <p:cNvPr id="49" name="Rectangle 48"/>
            <p:cNvSpPr/>
            <p:nvPr/>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0" name="Rectangle 49"/>
            <p:cNvSpPr/>
            <p:nvPr/>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51" name="Rectangle 50"/>
            <p:cNvSpPr/>
            <p:nvPr/>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2" name="Rectangle 51"/>
            <p:cNvSpPr/>
            <p:nvPr/>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3" name="Rectangle 52"/>
            <p:cNvSpPr/>
            <p:nvPr/>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4" name="Rectangle 53"/>
            <p:cNvSpPr/>
            <p:nvPr/>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5" name="Rectangle 54"/>
            <p:cNvSpPr/>
            <p:nvPr/>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56" name="Group 55"/>
          <p:cNvGrpSpPr/>
          <p:nvPr/>
        </p:nvGrpSpPr>
        <p:grpSpPr>
          <a:xfrm>
            <a:off x="3475604" y="6905748"/>
            <a:ext cx="549776" cy="100584"/>
            <a:chOff x="3141899" y="6907927"/>
            <a:chExt cx="549776" cy="100584"/>
          </a:xfrm>
        </p:grpSpPr>
        <p:sp>
          <p:nvSpPr>
            <p:cNvPr id="57" name="Rectangle 56"/>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8" name="Rectangle 57"/>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59" name="Rectangle 58"/>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0" name="Rectangle 59"/>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1" name="Rectangle 60"/>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62" name="Group 61"/>
          <p:cNvGrpSpPr/>
          <p:nvPr/>
        </p:nvGrpSpPr>
        <p:grpSpPr>
          <a:xfrm>
            <a:off x="4110315" y="6905748"/>
            <a:ext cx="549778" cy="100584"/>
            <a:chOff x="2057435" y="7026985"/>
            <a:chExt cx="549777" cy="100584"/>
          </a:xfrm>
        </p:grpSpPr>
        <p:sp>
          <p:nvSpPr>
            <p:cNvPr id="63" name="Rectangle 62"/>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4" name="Rectangle 63"/>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65" name="Rectangle 64"/>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6" name="Rectangle 65"/>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7" name="Rectangle 66"/>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sp>
        <p:nvSpPr>
          <p:cNvPr id="68" name="Rectangle 67"/>
          <p:cNvSpPr/>
          <p:nvPr userDrawn="1"/>
        </p:nvSpPr>
        <p:spPr>
          <a:xfrm>
            <a:off x="12287025" y="-4043"/>
            <a:ext cx="1386247" cy="24310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bg1"/>
                </a:solidFill>
              </a:rPr>
              <a:t>Divider</a:t>
            </a:r>
            <a:endParaRPr lang="en-US" sz="1000" b="1" baseline="0" dirty="0">
              <a:solidFill>
                <a:schemeClr val="bg1"/>
              </a:solidFill>
            </a:endParaRPr>
          </a:p>
          <a:p>
            <a:pPr algn="l"/>
            <a:r>
              <a:rPr lang="en-US" sz="1000" baseline="0" dirty="0">
                <a:solidFill>
                  <a:schemeClr val="bg1"/>
                </a:solidFill>
              </a:rPr>
              <a:t>Remove subtitle placeholder if not needed. </a:t>
            </a:r>
          </a:p>
          <a:p>
            <a:pPr algn="l"/>
            <a:endParaRPr lang="en-US" sz="1000" baseline="0" dirty="0">
              <a:solidFill>
                <a:schemeClr val="bg1"/>
              </a:solidFill>
            </a:endParaRPr>
          </a:p>
        </p:txBody>
      </p:sp>
      <p:sp>
        <p:nvSpPr>
          <p:cNvPr id="69" name="Rectangle 68"/>
          <p:cNvSpPr/>
          <p:nvPr userDrawn="1"/>
        </p:nvSpPr>
        <p:spPr>
          <a:xfrm>
            <a:off x="-13251" y="6878697"/>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solidFill>
                <a:schemeClr val="tx1"/>
              </a:solidFill>
            </a:endParaRPr>
          </a:p>
        </p:txBody>
      </p:sp>
      <p:sp>
        <p:nvSpPr>
          <p:cNvPr id="70" name="TextBox 69"/>
          <p:cNvSpPr txBox="1"/>
          <p:nvPr userDrawn="1"/>
        </p:nvSpPr>
        <p:spPr>
          <a:xfrm>
            <a:off x="12287024" y="5975774"/>
            <a:ext cx="1706880" cy="142555"/>
          </a:xfrm>
          <a:prstGeom prst="rect">
            <a:avLst/>
          </a:prstGeom>
          <a:noFill/>
        </p:spPr>
        <p:txBody>
          <a:bodyPr wrap="square" lIns="0" tIns="0" rIns="0" bIns="0" rtlCol="0">
            <a:noAutofit/>
          </a:bodyPr>
          <a:lstStyle/>
          <a:p>
            <a:pPr algn="l"/>
            <a:r>
              <a:rPr lang="en-US" sz="800" dirty="0">
                <a:solidFill>
                  <a:schemeClr val="tx1">
                    <a:lumMod val="65000"/>
                  </a:schemeClr>
                </a:solidFill>
                <a:latin typeface="Arial Narrow" panose="020B0606020202030204" pitchFamily="34" charset="0"/>
              </a:rPr>
              <a:t>No content below the line</a:t>
            </a:r>
          </a:p>
        </p:txBody>
      </p:sp>
      <p:sp>
        <p:nvSpPr>
          <p:cNvPr id="71" name="TextBox 70"/>
          <p:cNvSpPr txBox="1"/>
          <p:nvPr userDrawn="1"/>
        </p:nvSpPr>
        <p:spPr>
          <a:xfrm>
            <a:off x="-1786823" y="5987532"/>
            <a:ext cx="1706880" cy="142555"/>
          </a:xfrm>
          <a:prstGeom prst="rect">
            <a:avLst/>
          </a:prstGeom>
          <a:noFill/>
        </p:spPr>
        <p:txBody>
          <a:bodyPr wrap="square" lIns="0" tIns="0" rIns="0" bIns="0" rtlCol="0">
            <a:noAutofit/>
          </a:bodyPr>
          <a:lstStyle/>
          <a:p>
            <a:pPr algn="r"/>
            <a:r>
              <a:rPr lang="en-US" sz="800" dirty="0">
                <a:solidFill>
                  <a:schemeClr val="tx1">
                    <a:lumMod val="65000"/>
                  </a:schemeClr>
                </a:solidFill>
                <a:latin typeface="Arial Narrow" panose="020B0606020202030204" pitchFamily="34" charset="0"/>
              </a:rPr>
              <a:t>No content below the line</a:t>
            </a:r>
          </a:p>
        </p:txBody>
      </p:sp>
      <p:cxnSp>
        <p:nvCxnSpPr>
          <p:cNvPr id="72" name="Straight Connector 71"/>
          <p:cNvCxnSpPr/>
          <p:nvPr userDrawn="1"/>
        </p:nvCxnSpPr>
        <p:spPr>
          <a:xfrm>
            <a:off x="-395621" y="6090880"/>
            <a:ext cx="395621" cy="0"/>
          </a:xfrm>
          <a:prstGeom prst="line">
            <a:avLst/>
          </a:prstGeom>
          <a:ln w="3175">
            <a:solidFill>
              <a:schemeClr val="tx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userDrawn="1"/>
        </p:nvCxnSpPr>
        <p:spPr>
          <a:xfrm>
            <a:off x="12192000" y="6091822"/>
            <a:ext cx="395621" cy="0"/>
          </a:xfrm>
          <a:prstGeom prst="line">
            <a:avLst/>
          </a:prstGeom>
          <a:ln w="3175">
            <a:solidFill>
              <a:schemeClr val="tx1">
                <a:lumMod val="65000"/>
              </a:schemeClr>
            </a:solidFill>
          </a:ln>
        </p:spPr>
        <p:style>
          <a:lnRef idx="1">
            <a:schemeClr val="accent1"/>
          </a:lnRef>
          <a:fillRef idx="0">
            <a:schemeClr val="accent1"/>
          </a:fillRef>
          <a:effectRef idx="0">
            <a:schemeClr val="accent1"/>
          </a:effectRef>
          <a:fontRef idx="minor">
            <a:schemeClr val="tx1"/>
          </a:fontRef>
        </p:style>
      </p:cxnSp>
      <p:grpSp>
        <p:nvGrpSpPr>
          <p:cNvPr id="74" name="Group 73"/>
          <p:cNvGrpSpPr/>
          <p:nvPr userDrawn="1"/>
        </p:nvGrpSpPr>
        <p:grpSpPr>
          <a:xfrm>
            <a:off x="12284310" y="2497574"/>
            <a:ext cx="1389888" cy="1233768"/>
            <a:chOff x="9215268" y="3023356"/>
            <a:chExt cx="1389888" cy="1233768"/>
          </a:xfrm>
        </p:grpSpPr>
        <p:sp>
          <p:nvSpPr>
            <p:cNvPr id="75" name="Rectangle 74"/>
            <p:cNvSpPr/>
            <p:nvPr userDrawn="1"/>
          </p:nvSpPr>
          <p:spPr>
            <a:xfrm>
              <a:off x="9215268" y="3023356"/>
              <a:ext cx="1389888" cy="1233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text high-lights, not shapes or charts. </a:t>
              </a:r>
              <a:br>
                <a:rPr lang="en-US" sz="1000" b="0" baseline="0" dirty="0">
                  <a:solidFill>
                    <a:schemeClr val="bg1"/>
                  </a:solidFill>
                </a:rPr>
              </a:br>
              <a:r>
                <a:rPr lang="en-US" sz="1000" b="0" baseline="0" dirty="0">
                  <a:solidFill>
                    <a:schemeClr val="bg1"/>
                  </a:solidFill>
                </a:rPr>
                <a:t>It’s available in the custom color palette</a:t>
              </a:r>
              <a:r>
                <a:rPr lang="en-US" sz="1000" b="0" baseline="0" dirty="0">
                  <a:solidFill>
                    <a:schemeClr val="tx1"/>
                  </a:solidFill>
                </a:rPr>
                <a:t>. </a:t>
              </a:r>
            </a:p>
          </p:txBody>
        </p:sp>
        <p:sp>
          <p:nvSpPr>
            <p:cNvPr id="76" name="Rectangle 75"/>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pic>
        <p:nvPicPr>
          <p:cNvPr id="77" name="Platts"/>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7575" y="6081748"/>
            <a:ext cx="1255954" cy="713232"/>
          </a:xfrm>
          <a:prstGeom prst="rect">
            <a:avLst/>
          </a:prstGeom>
        </p:spPr>
      </p:pic>
      <p:sp>
        <p:nvSpPr>
          <p:cNvPr id="78" name="Rectangle 77"/>
          <p:cNvSpPr/>
          <p:nvPr userDrawn="1"/>
        </p:nvSpPr>
        <p:spPr>
          <a:xfrm>
            <a:off x="0" y="6874278"/>
            <a:ext cx="12192000" cy="3428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cxnSp>
        <p:nvCxnSpPr>
          <p:cNvPr id="79" name="Straight Connector 78"/>
          <p:cNvCxnSpPr/>
          <p:nvPr userDrawn="1"/>
        </p:nvCxnSpPr>
        <p:spPr>
          <a:xfrm rot="5400000" flipH="1" flipV="1">
            <a:off x="5947642"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userDrawn="1"/>
        </p:nvCxnSpPr>
        <p:spPr>
          <a:xfrm rot="5400000" flipH="1" flipV="1">
            <a:off x="11637249"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81" name="Rectangle 80"/>
          <p:cNvSpPr/>
          <p:nvPr userDrawn="1"/>
        </p:nvSpPr>
        <p:spPr>
          <a:xfrm>
            <a:off x="6311590" y="6892980"/>
            <a:ext cx="5880409"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dirty="0">
                <a:solidFill>
                  <a:schemeClr val="bg1"/>
                </a:solidFill>
              </a:rPr>
              <a:t>Footer :  </a:t>
            </a:r>
            <a:r>
              <a:rPr lang="en-US" sz="1000" baseline="0" dirty="0">
                <a:solidFill>
                  <a:schemeClr val="bg1"/>
                </a:solidFill>
                <a:sym typeface="Wingdings 3" panose="05040102010807070707" pitchFamily="18" charset="2"/>
              </a:rPr>
              <a:t>Never change the footer text on individual slides. Change, t</a:t>
            </a:r>
            <a:r>
              <a:rPr lang="en-US" sz="1000" baseline="0" dirty="0">
                <a:solidFill>
                  <a:schemeClr val="bg1"/>
                </a:solidFill>
              </a:rPr>
              <a:t>urn on or off footer by using </a:t>
            </a:r>
            <a:br>
              <a:rPr lang="en-US" sz="1000" baseline="0" dirty="0">
                <a:solidFill>
                  <a:schemeClr val="bg1"/>
                </a:solidFill>
              </a:rPr>
            </a:br>
            <a:r>
              <a:rPr lang="en-US" sz="1000" baseline="0" dirty="0">
                <a:solidFill>
                  <a:schemeClr val="bg1"/>
                </a:solidFill>
              </a:rPr>
              <a:t>Insert </a:t>
            </a:r>
            <a:r>
              <a:rPr lang="en-US" sz="1000" baseline="0" dirty="0">
                <a:solidFill>
                  <a:schemeClr val="bg1"/>
                </a:solidFill>
                <a:sym typeface="Wingdings 3" panose="05040102010807070707" pitchFamily="18" charset="2"/>
              </a:rPr>
              <a:t> Header &amp; Footer Enter / change text  Click Apply All. </a:t>
            </a:r>
            <a:endParaRPr lang="en-US" sz="1000" baseline="0" dirty="0">
              <a:solidFill>
                <a:schemeClr val="bg1"/>
              </a:solidFill>
            </a:endParaRPr>
          </a:p>
        </p:txBody>
      </p:sp>
      <p:sp>
        <p:nvSpPr>
          <p:cNvPr id="82" name="TextBox 81"/>
          <p:cNvSpPr txBox="1"/>
          <p:nvPr userDrawn="1"/>
        </p:nvSpPr>
        <p:spPr>
          <a:xfrm>
            <a:off x="55813" y="6883559"/>
            <a:ext cx="903163"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Data color order</a:t>
            </a:r>
            <a:r>
              <a:rPr lang="en-US" sz="800" baseline="0" dirty="0">
                <a:solidFill>
                  <a:schemeClr val="bg1"/>
                </a:solidFill>
                <a:latin typeface="Arial Narrow" panose="020B0606020202030204" pitchFamily="34" charset="0"/>
              </a:rPr>
              <a:t>:</a:t>
            </a:r>
            <a:endParaRPr lang="en-US" sz="800" dirty="0">
              <a:solidFill>
                <a:schemeClr val="bg1"/>
              </a:solidFill>
              <a:latin typeface="Arial Narrow" panose="020B0606020202030204" pitchFamily="34" charset="0"/>
            </a:endParaRPr>
          </a:p>
        </p:txBody>
      </p:sp>
      <p:sp>
        <p:nvSpPr>
          <p:cNvPr id="83" name="TextBox 82"/>
          <p:cNvSpPr txBox="1"/>
          <p:nvPr userDrawn="1"/>
        </p:nvSpPr>
        <p:spPr>
          <a:xfrm>
            <a:off x="2804797" y="7042641"/>
            <a:ext cx="1320629" cy="136444"/>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Used with accent colors: </a:t>
            </a:r>
          </a:p>
        </p:txBody>
      </p:sp>
      <p:grpSp>
        <p:nvGrpSpPr>
          <p:cNvPr id="84" name="Group 83"/>
          <p:cNvGrpSpPr/>
          <p:nvPr userDrawn="1"/>
        </p:nvGrpSpPr>
        <p:grpSpPr>
          <a:xfrm>
            <a:off x="731575" y="6907927"/>
            <a:ext cx="1601607" cy="100584"/>
            <a:chOff x="914339" y="6913770"/>
            <a:chExt cx="1558450" cy="100584"/>
          </a:xfrm>
        </p:grpSpPr>
        <p:sp>
          <p:nvSpPr>
            <p:cNvPr id="85" name="Rectangle 84"/>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6" name="Rectangle 85"/>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87" name="Rectangle 86"/>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8" name="Rectangle 87"/>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9" name="Rectangle 88"/>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0" name="Rectangle 89"/>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1" name="Rectangle 90"/>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2" name="Rectangle 91"/>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93" name="Rectangle 92"/>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94" name="Rectangle 93"/>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sp>
          <p:nvSpPr>
            <p:cNvPr id="95" name="Rectangle 94"/>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6" name="Rectangle 95"/>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97" name="Rectangle 96"/>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98" name="Rectangle 97"/>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grpSp>
      <p:sp>
        <p:nvSpPr>
          <p:cNvPr id="99" name="TextBox 98"/>
          <p:cNvSpPr txBox="1"/>
          <p:nvPr userDrawn="1"/>
        </p:nvSpPr>
        <p:spPr>
          <a:xfrm>
            <a:off x="2535078" y="6883559"/>
            <a:ext cx="907901"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Complimentary colors:</a:t>
            </a:r>
          </a:p>
        </p:txBody>
      </p:sp>
      <p:grpSp>
        <p:nvGrpSpPr>
          <p:cNvPr id="100" name="Group 99"/>
          <p:cNvGrpSpPr/>
          <p:nvPr userDrawn="1"/>
        </p:nvGrpSpPr>
        <p:grpSpPr>
          <a:xfrm>
            <a:off x="2551546" y="7022893"/>
            <a:ext cx="218964" cy="91440"/>
            <a:chOff x="2279174" y="7027888"/>
            <a:chExt cx="164223" cy="91440"/>
          </a:xfrm>
        </p:grpSpPr>
        <p:cxnSp>
          <p:nvCxnSpPr>
            <p:cNvPr id="101" name="Straight Arrow Connector 100"/>
            <p:cNvCxnSpPr>
              <a:cxnSpLocks/>
            </p:cNvCxnSpPr>
            <p:nvPr userDrawn="1"/>
          </p:nvCxnSpPr>
          <p:spPr>
            <a:xfrm>
              <a:off x="2279174" y="7114593"/>
              <a:ext cx="164223" cy="0"/>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a:cxnSpLocks/>
            </p:cNvCxnSpPr>
            <p:nvPr userDrawn="1"/>
          </p:nvCxnSpPr>
          <p:spPr>
            <a:xfrm flipV="1">
              <a:off x="2281672" y="7027888"/>
              <a:ext cx="0" cy="9144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03" name="Group 102"/>
          <p:cNvGrpSpPr/>
          <p:nvPr userDrawn="1"/>
        </p:nvGrpSpPr>
        <p:grpSpPr>
          <a:xfrm>
            <a:off x="3760820" y="7063094"/>
            <a:ext cx="778165" cy="100584"/>
            <a:chOff x="1566748" y="7022234"/>
            <a:chExt cx="778165" cy="100584"/>
          </a:xfrm>
        </p:grpSpPr>
        <p:sp>
          <p:nvSpPr>
            <p:cNvPr id="104" name="Rectangle 103"/>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5" name="Rectangle 104"/>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06" name="Rectangle 105"/>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7" name="Rectangle 106"/>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8" name="Rectangle 107"/>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9" name="Rectangle 108"/>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0" name="Rectangle 109"/>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111" name="Group 110"/>
          <p:cNvGrpSpPr/>
          <p:nvPr userDrawn="1"/>
        </p:nvGrpSpPr>
        <p:grpSpPr>
          <a:xfrm>
            <a:off x="3475603" y="6905748"/>
            <a:ext cx="549776" cy="100584"/>
            <a:chOff x="3141899" y="6907927"/>
            <a:chExt cx="549776" cy="100584"/>
          </a:xfrm>
        </p:grpSpPr>
        <p:sp>
          <p:nvSpPr>
            <p:cNvPr id="112" name="Rectangle 111"/>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3" name="Rectangle 112"/>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14" name="Rectangle 113"/>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5" name="Rectangle 114"/>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6" name="Rectangle 115"/>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117" name="Group 116"/>
          <p:cNvGrpSpPr/>
          <p:nvPr userDrawn="1"/>
        </p:nvGrpSpPr>
        <p:grpSpPr>
          <a:xfrm>
            <a:off x="4110314" y="6905748"/>
            <a:ext cx="549777" cy="100584"/>
            <a:chOff x="2057435" y="7026985"/>
            <a:chExt cx="549777" cy="100584"/>
          </a:xfrm>
        </p:grpSpPr>
        <p:sp>
          <p:nvSpPr>
            <p:cNvPr id="118" name="Rectangle 117"/>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9" name="Rectangle 118"/>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20" name="Rectangle 119"/>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1" name="Rectangle 120"/>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2" name="Rectangle 121"/>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123" name="Group 122"/>
          <p:cNvGrpSpPr/>
          <p:nvPr userDrawn="1"/>
        </p:nvGrpSpPr>
        <p:grpSpPr>
          <a:xfrm>
            <a:off x="12229770" y="6237765"/>
            <a:ext cx="739028" cy="978343"/>
            <a:chOff x="9173426" y="6237765"/>
            <a:chExt cx="739028" cy="978343"/>
          </a:xfrm>
        </p:grpSpPr>
        <p:sp>
          <p:nvSpPr>
            <p:cNvPr id="124" name="Rectangle 123"/>
            <p:cNvSpPr/>
            <p:nvPr userDrawn="1"/>
          </p:nvSpPr>
          <p:spPr>
            <a:xfrm>
              <a:off x="9173426" y="6237765"/>
              <a:ext cx="739028" cy="97834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nvGrpSpPr>
            <p:cNvPr id="125" name="Group 124"/>
            <p:cNvGrpSpPr/>
            <p:nvPr userDrawn="1"/>
          </p:nvGrpSpPr>
          <p:grpSpPr>
            <a:xfrm>
              <a:off x="9218311" y="6565676"/>
              <a:ext cx="609784" cy="615127"/>
              <a:chOff x="9218311" y="6565676"/>
              <a:chExt cx="609784" cy="615127"/>
            </a:xfrm>
          </p:grpSpPr>
          <p:sp>
            <p:nvSpPr>
              <p:cNvPr id="127" name="Rectangle 126"/>
              <p:cNvSpPr/>
              <p:nvPr/>
            </p:nvSpPr>
            <p:spPr>
              <a:xfrm>
                <a:off x="9218311" y="6565676"/>
                <a:ext cx="100584" cy="10058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8" name="Rectangle 127"/>
              <p:cNvSpPr/>
              <p:nvPr/>
            </p:nvSpPr>
            <p:spPr>
              <a:xfrm>
                <a:off x="949323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29" name="Rectangle 128"/>
              <p:cNvSpPr/>
              <p:nvPr/>
            </p:nvSpPr>
            <p:spPr>
              <a:xfrm>
                <a:off x="9376091" y="6565676"/>
                <a:ext cx="100584" cy="100584"/>
              </a:xfrm>
              <a:prstGeom prst="rect">
                <a:avLst/>
              </a:prstGeom>
              <a:solidFill>
                <a:srgbClr val="2B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30" name="Rectangle 129"/>
              <p:cNvSpPr/>
              <p:nvPr/>
            </p:nvSpPr>
            <p:spPr>
              <a:xfrm>
                <a:off x="961037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31" name="Rectangle 130"/>
              <p:cNvSpPr/>
              <p:nvPr/>
            </p:nvSpPr>
            <p:spPr>
              <a:xfrm>
                <a:off x="9727511" y="6565676"/>
                <a:ext cx="100584" cy="100584"/>
              </a:xfrm>
              <a:prstGeom prst="rect">
                <a:avLst/>
              </a:prstGeom>
              <a:solidFill>
                <a:srgbClr val="C5D5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32" name="Rectangle 131"/>
              <p:cNvSpPr/>
              <p:nvPr userDrawn="1"/>
            </p:nvSpPr>
            <p:spPr>
              <a:xfrm>
                <a:off x="9218311" y="6694312"/>
                <a:ext cx="100584" cy="10058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33" name="Rectangle 132"/>
              <p:cNvSpPr/>
              <p:nvPr userDrawn="1"/>
            </p:nvSpPr>
            <p:spPr>
              <a:xfrm>
                <a:off x="9493231" y="6694312"/>
                <a:ext cx="100584" cy="100584"/>
              </a:xfrm>
              <a:prstGeom prst="rect">
                <a:avLst/>
              </a:prstGeom>
              <a:solidFill>
                <a:srgbClr val="D0588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34" name="Rectangle 133"/>
              <p:cNvSpPr/>
              <p:nvPr userDrawn="1"/>
            </p:nvSpPr>
            <p:spPr>
              <a:xfrm>
                <a:off x="9376091" y="6694312"/>
                <a:ext cx="100584" cy="100584"/>
              </a:xfrm>
              <a:prstGeom prst="rect">
                <a:avLst/>
              </a:prstGeom>
              <a:solidFill>
                <a:srgbClr val="6902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35" name="Rectangle 134"/>
              <p:cNvSpPr/>
              <p:nvPr userDrawn="1"/>
            </p:nvSpPr>
            <p:spPr>
              <a:xfrm>
                <a:off x="9610371" y="6694312"/>
                <a:ext cx="100584" cy="100584"/>
              </a:xfrm>
              <a:prstGeom prst="rect">
                <a:avLst/>
              </a:prstGeom>
              <a:solidFill>
                <a:srgbClr val="DD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36" name="Rectangle 135"/>
              <p:cNvSpPr/>
              <p:nvPr userDrawn="1"/>
            </p:nvSpPr>
            <p:spPr>
              <a:xfrm>
                <a:off x="9727511" y="6694312"/>
                <a:ext cx="100584" cy="100584"/>
              </a:xfrm>
              <a:prstGeom prst="rect">
                <a:avLst/>
              </a:prstGeom>
              <a:solidFill>
                <a:srgbClr val="ECC0C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37" name="Rectangle 136"/>
              <p:cNvSpPr/>
              <p:nvPr userDrawn="1"/>
            </p:nvSpPr>
            <p:spPr>
              <a:xfrm>
                <a:off x="9218311" y="6822948"/>
                <a:ext cx="100584" cy="10058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38" name="Rectangle 137"/>
              <p:cNvSpPr/>
              <p:nvPr userDrawn="1"/>
            </p:nvSpPr>
            <p:spPr>
              <a:xfrm>
                <a:off x="9493231" y="6822948"/>
                <a:ext cx="100584" cy="100584"/>
              </a:xfrm>
              <a:prstGeom prst="rect">
                <a:avLst/>
              </a:prstGeom>
              <a:solidFill>
                <a:srgbClr val="BD461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39" name="Rectangle 138"/>
              <p:cNvSpPr/>
              <p:nvPr userDrawn="1"/>
            </p:nvSpPr>
            <p:spPr>
              <a:xfrm>
                <a:off x="9376091" y="6822948"/>
                <a:ext cx="100584" cy="100584"/>
              </a:xfrm>
              <a:prstGeom prst="rect">
                <a:avLst/>
              </a:prstGeom>
              <a:solidFill>
                <a:srgbClr val="7122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0" name="Rectangle 139"/>
              <p:cNvSpPr/>
              <p:nvPr userDrawn="1"/>
            </p:nvSpPr>
            <p:spPr>
              <a:xfrm>
                <a:off x="9610371" y="6822948"/>
                <a:ext cx="100584" cy="100584"/>
              </a:xfrm>
              <a:prstGeom prst="rect">
                <a:avLst/>
              </a:prstGeom>
              <a:solidFill>
                <a:srgbClr val="F695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1" name="Rectangle 140"/>
              <p:cNvSpPr/>
              <p:nvPr userDrawn="1"/>
            </p:nvSpPr>
            <p:spPr>
              <a:xfrm>
                <a:off x="9727511" y="6822948"/>
                <a:ext cx="100584" cy="100584"/>
              </a:xfrm>
              <a:prstGeom prst="rect">
                <a:avLst/>
              </a:prstGeom>
              <a:solidFill>
                <a:srgbClr val="FABD9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2" name="Rectangle 141"/>
              <p:cNvSpPr/>
              <p:nvPr userDrawn="1"/>
            </p:nvSpPr>
            <p:spPr>
              <a:xfrm>
                <a:off x="9218311" y="6951584"/>
                <a:ext cx="100584" cy="10058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3" name="Rectangle 142"/>
              <p:cNvSpPr/>
              <p:nvPr userDrawn="1"/>
            </p:nvSpPr>
            <p:spPr>
              <a:xfrm>
                <a:off x="949323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44" name="Rectangle 143"/>
              <p:cNvSpPr/>
              <p:nvPr userDrawn="1"/>
            </p:nvSpPr>
            <p:spPr>
              <a:xfrm>
                <a:off x="9376091" y="6951584"/>
                <a:ext cx="100584" cy="100584"/>
              </a:xfrm>
              <a:prstGeom prst="rect">
                <a:avLst/>
              </a:prstGeom>
              <a:solidFill>
                <a:srgbClr val="002B5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5" name="Rectangle 144"/>
              <p:cNvSpPr/>
              <p:nvPr userDrawn="1"/>
            </p:nvSpPr>
            <p:spPr>
              <a:xfrm>
                <a:off x="961037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6" name="Rectangle 145"/>
              <p:cNvSpPr/>
              <p:nvPr userDrawn="1"/>
            </p:nvSpPr>
            <p:spPr>
              <a:xfrm>
                <a:off x="9727511" y="6951584"/>
                <a:ext cx="100584" cy="100584"/>
              </a:xfrm>
              <a:prstGeom prst="rect">
                <a:avLst/>
              </a:prstGeom>
              <a:solidFill>
                <a:srgbClr val="A0C3D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7" name="Rectangle 146"/>
              <p:cNvSpPr/>
              <p:nvPr userDrawn="1"/>
            </p:nvSpPr>
            <p:spPr>
              <a:xfrm>
                <a:off x="9218311" y="7080219"/>
                <a:ext cx="100584" cy="100584"/>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8" name="Rectangle 147"/>
              <p:cNvSpPr/>
              <p:nvPr userDrawn="1"/>
            </p:nvSpPr>
            <p:spPr>
              <a:xfrm>
                <a:off x="9493231" y="7080219"/>
                <a:ext cx="100584" cy="100584"/>
              </a:xfrm>
              <a:prstGeom prst="rect">
                <a:avLst/>
              </a:prstGeom>
              <a:solidFill>
                <a:srgbClr val="534F9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49" name="Rectangle 148"/>
              <p:cNvSpPr/>
              <p:nvPr userDrawn="1"/>
            </p:nvSpPr>
            <p:spPr>
              <a:xfrm>
                <a:off x="9376091" y="7080219"/>
                <a:ext cx="100584" cy="100584"/>
              </a:xfrm>
              <a:prstGeom prst="rect">
                <a:avLst/>
              </a:prstGeom>
              <a:solidFill>
                <a:srgbClr val="37227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50" name="Rectangle 149"/>
              <p:cNvSpPr/>
              <p:nvPr userDrawn="1"/>
            </p:nvSpPr>
            <p:spPr>
              <a:xfrm>
                <a:off x="9610371" y="7080219"/>
                <a:ext cx="100584" cy="100584"/>
              </a:xfrm>
              <a:prstGeom prst="rect">
                <a:avLst/>
              </a:prstGeom>
              <a:solidFill>
                <a:srgbClr val="908D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51" name="Rectangle 150"/>
              <p:cNvSpPr/>
              <p:nvPr userDrawn="1"/>
            </p:nvSpPr>
            <p:spPr>
              <a:xfrm>
                <a:off x="9727511" y="7080219"/>
                <a:ext cx="100584" cy="100584"/>
              </a:xfrm>
              <a:prstGeom prst="rect">
                <a:avLst/>
              </a:prstGeom>
              <a:solidFill>
                <a:srgbClr val="BBB9D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sp>
          <p:nvSpPr>
            <p:cNvPr id="126" name="TextBox 125"/>
            <p:cNvSpPr txBox="1"/>
            <p:nvPr userDrawn="1"/>
          </p:nvSpPr>
          <p:spPr>
            <a:xfrm>
              <a:off x="9203119" y="6283237"/>
              <a:ext cx="677372" cy="142555"/>
            </a:xfrm>
            <a:prstGeom prst="rect">
              <a:avLst/>
            </a:prstGeom>
            <a:noFill/>
          </p:spPr>
          <p:txBody>
            <a:bodyPr wrap="square" lIns="0" tIns="0" rIns="0" bIns="0" rtlCol="0">
              <a:noAutofit/>
            </a:bodyPr>
            <a:lstStyle/>
            <a:p>
              <a:pPr algn="l"/>
              <a:r>
                <a:rPr lang="en-US" sz="800" dirty="0" err="1">
                  <a:solidFill>
                    <a:schemeClr val="bg1"/>
                  </a:solidFill>
                  <a:latin typeface="Arial Narrow" panose="020B0606020202030204" pitchFamily="34" charset="0"/>
                </a:rPr>
                <a:t>Platts</a:t>
              </a:r>
              <a:r>
                <a:rPr lang="en-US" sz="800" dirty="0">
                  <a:solidFill>
                    <a:schemeClr val="bg1"/>
                  </a:solidFill>
                  <a:latin typeface="Arial Narrow" panose="020B0606020202030204" pitchFamily="34" charset="0"/>
                </a:rPr>
                <a:t> Commodity Colors: </a:t>
              </a:r>
            </a:p>
          </p:txBody>
        </p:sp>
      </p:grpSp>
    </p:spTree>
    <p:extLst>
      <p:ext uri="{BB962C8B-B14F-4D97-AF65-F5344CB8AC3E}">
        <p14:creationId xmlns:p14="http://schemas.microsoft.com/office/powerpoint/2010/main" val="1340191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ivider Image Big title">
    <p:spTree>
      <p:nvGrpSpPr>
        <p:cNvPr id="1" name=""/>
        <p:cNvGrpSpPr/>
        <p:nvPr/>
      </p:nvGrpSpPr>
      <p:grpSpPr>
        <a:xfrm>
          <a:off x="0" y="0"/>
          <a:ext cx="0" cy="0"/>
          <a:chOff x="0" y="0"/>
          <a:chExt cx="0" cy="0"/>
        </a:xfrm>
      </p:grpSpPr>
      <p:sp>
        <p:nvSpPr>
          <p:cNvPr id="2" name="Title 1"/>
          <p:cNvSpPr>
            <a:spLocks noGrp="1"/>
          </p:cNvSpPr>
          <p:nvPr>
            <p:ph type="title"/>
          </p:nvPr>
        </p:nvSpPr>
        <p:spPr>
          <a:xfrm>
            <a:off x="411481" y="206376"/>
            <a:ext cx="9490635" cy="2115484"/>
          </a:xfrm>
        </p:spPr>
        <p:txBody>
          <a:bodyPr tIns="0" anchor="t"/>
          <a:lstStyle>
            <a:lvl1pPr>
              <a:defRPr sz="4400" b="1"/>
            </a:lvl1pPr>
          </a:lstStyle>
          <a:p>
            <a:r>
              <a:rPr lang="en-US"/>
              <a:t>Click to edit Master title style</a:t>
            </a:r>
            <a:endParaRPr lang="en-US" dirty="0"/>
          </a:p>
        </p:txBody>
      </p:sp>
      <p:sp>
        <p:nvSpPr>
          <p:cNvPr id="5" name="Picture Placeholder 4"/>
          <p:cNvSpPr>
            <a:spLocks noGrp="1"/>
          </p:cNvSpPr>
          <p:nvPr>
            <p:ph type="pic" sz="quarter" idx="10" hasCustomPrompt="1"/>
          </p:nvPr>
        </p:nvSpPr>
        <p:spPr>
          <a:xfrm>
            <a:off x="411479" y="2411508"/>
            <a:ext cx="11379200" cy="3390900"/>
          </a:xfrm>
        </p:spPr>
        <p:txBody>
          <a:bodyPr anchor="ctr"/>
          <a:lstStyle>
            <a:lvl1pPr marL="0" indent="0" algn="ctr">
              <a:buNone/>
              <a:defRPr b="1"/>
            </a:lvl1pPr>
          </a:lstStyle>
          <a:p>
            <a:r>
              <a:rPr lang="en-US" dirty="0"/>
              <a:t>Click to add image</a:t>
            </a:r>
          </a:p>
        </p:txBody>
      </p:sp>
      <p:sp>
        <p:nvSpPr>
          <p:cNvPr id="4" name="Rectangle 3"/>
          <p:cNvSpPr/>
          <p:nvPr/>
        </p:nvSpPr>
        <p:spPr>
          <a:xfrm>
            <a:off x="12287026" y="-4042"/>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Divider + Image</a:t>
            </a:r>
            <a:endParaRPr lang="en-US" sz="1000" b="1" baseline="0" dirty="0">
              <a:solidFill>
                <a:schemeClr val="tx1"/>
              </a:solidFill>
            </a:endParaRPr>
          </a:p>
          <a:p>
            <a:pPr algn="l"/>
            <a:r>
              <a:rPr lang="en-US" sz="1000" baseline="0" dirty="0">
                <a:solidFill>
                  <a:schemeClr val="tx1"/>
                </a:solidFill>
              </a:rPr>
              <a:t>Click image icon to insert rectangular image. </a:t>
            </a:r>
            <a:endParaRPr lang="en-US" sz="1000" dirty="0">
              <a:solidFill>
                <a:schemeClr val="tx1"/>
              </a:solidFill>
            </a:endParaRPr>
          </a:p>
        </p:txBody>
      </p:sp>
      <p:grpSp>
        <p:nvGrpSpPr>
          <p:cNvPr id="7" name="Group 6"/>
          <p:cNvGrpSpPr/>
          <p:nvPr/>
        </p:nvGrpSpPr>
        <p:grpSpPr>
          <a:xfrm>
            <a:off x="12284309" y="2497574"/>
            <a:ext cx="1389888" cy="1233768"/>
            <a:chOff x="9215268" y="3023356"/>
            <a:chExt cx="1389888" cy="1233768"/>
          </a:xfrm>
        </p:grpSpPr>
        <p:sp>
          <p:nvSpPr>
            <p:cNvPr id="8" name="Rectangle 7"/>
            <p:cNvSpPr/>
            <p:nvPr/>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9" name="Rectangle 8"/>
            <p:cNvSpPr/>
            <p:nvPr/>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10" name="Rectangle 9"/>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Divider + Image</a:t>
            </a:r>
            <a:endParaRPr lang="en-US" sz="1000" b="1" baseline="0" dirty="0">
              <a:solidFill>
                <a:schemeClr val="tx1"/>
              </a:solidFill>
            </a:endParaRPr>
          </a:p>
          <a:p>
            <a:pPr algn="l"/>
            <a:r>
              <a:rPr lang="en-US" sz="1000" baseline="0" dirty="0">
                <a:solidFill>
                  <a:schemeClr val="tx1"/>
                </a:solidFill>
              </a:rPr>
              <a:t>Click image icon to insert rectangular image. </a:t>
            </a:r>
            <a:endParaRPr lang="en-US" sz="1000" dirty="0">
              <a:solidFill>
                <a:schemeClr val="tx1"/>
              </a:solidFill>
            </a:endParaRPr>
          </a:p>
        </p:txBody>
      </p:sp>
      <p:grpSp>
        <p:nvGrpSpPr>
          <p:cNvPr id="11" name="Group 10"/>
          <p:cNvGrpSpPr/>
          <p:nvPr userDrawn="1"/>
        </p:nvGrpSpPr>
        <p:grpSpPr>
          <a:xfrm>
            <a:off x="12284310" y="2497574"/>
            <a:ext cx="1389888" cy="1233768"/>
            <a:chOff x="9215268" y="3023356"/>
            <a:chExt cx="1389888" cy="1233768"/>
          </a:xfrm>
        </p:grpSpPr>
        <p:sp>
          <p:nvSpPr>
            <p:cNvPr id="12" name="Rectangle 11"/>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3" name="Rectangle 12"/>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325466769"/>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Divider Black Image Small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11481" y="206376"/>
            <a:ext cx="9490635" cy="2115484"/>
          </a:xfrm>
        </p:spPr>
        <p:txBody>
          <a:bodyPr tIns="0" anchor="t"/>
          <a:lstStyle>
            <a:lvl1pPr>
              <a:defRPr sz="4400" b="1"/>
            </a:lvl1pPr>
          </a:lstStyle>
          <a:p>
            <a:r>
              <a:rPr lang="en-US"/>
              <a:t>Click to edit Master title style</a:t>
            </a:r>
            <a:endParaRPr lang="en-US" dirty="0"/>
          </a:p>
        </p:txBody>
      </p:sp>
      <p:sp>
        <p:nvSpPr>
          <p:cNvPr id="5" name="Picture Placeholder 4"/>
          <p:cNvSpPr>
            <a:spLocks noGrp="1"/>
          </p:cNvSpPr>
          <p:nvPr>
            <p:ph type="pic" sz="quarter" idx="10" hasCustomPrompt="1"/>
          </p:nvPr>
        </p:nvSpPr>
        <p:spPr>
          <a:xfrm>
            <a:off x="411479" y="2411508"/>
            <a:ext cx="11379200" cy="3390900"/>
          </a:xfrm>
        </p:spPr>
        <p:txBody>
          <a:bodyPr anchor="ctr"/>
          <a:lstStyle>
            <a:lvl1pPr marL="0" indent="0" algn="ctr">
              <a:buNone/>
              <a:defRPr b="1"/>
            </a:lvl1pPr>
          </a:lstStyle>
          <a:p>
            <a:r>
              <a:rPr lang="en-US" dirty="0"/>
              <a:t>Click to add image</a:t>
            </a:r>
          </a:p>
        </p:txBody>
      </p:sp>
      <p:sp>
        <p:nvSpPr>
          <p:cNvPr id="8" name="Rectangle 7"/>
          <p:cNvSpPr/>
          <p:nvPr/>
        </p:nvSpPr>
        <p:spPr>
          <a:xfrm>
            <a:off x="12287026" y="-4042"/>
            <a:ext cx="1386247" cy="24310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bg1"/>
                </a:solidFill>
              </a:rPr>
              <a:t>Divider + Image</a:t>
            </a:r>
            <a:endParaRPr lang="en-US" sz="1000" b="1" baseline="0" dirty="0">
              <a:solidFill>
                <a:schemeClr val="bg1"/>
              </a:solidFill>
            </a:endParaRPr>
          </a:p>
          <a:p>
            <a:pPr algn="l"/>
            <a:r>
              <a:rPr lang="en-US" sz="1000" baseline="0" dirty="0">
                <a:solidFill>
                  <a:schemeClr val="bg1"/>
                </a:solidFill>
              </a:rPr>
              <a:t>Click image icon to insert rectangular image. </a:t>
            </a:r>
            <a:endParaRPr lang="en-US" sz="1000" dirty="0">
              <a:solidFill>
                <a:schemeClr val="bg1"/>
              </a:solidFill>
            </a:endParaRPr>
          </a:p>
        </p:txBody>
      </p:sp>
      <p:sp>
        <p:nvSpPr>
          <p:cNvPr id="10" name="Rectangle 9"/>
          <p:cNvSpPr/>
          <p:nvPr/>
        </p:nvSpPr>
        <p:spPr>
          <a:xfrm>
            <a:off x="-13252" y="6889455"/>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schemeClr val="tx1"/>
              </a:solidFill>
            </a:endParaRPr>
          </a:p>
        </p:txBody>
      </p:sp>
      <p:sp>
        <p:nvSpPr>
          <p:cNvPr id="21" name="TextBox 20"/>
          <p:cNvSpPr txBox="1"/>
          <p:nvPr/>
        </p:nvSpPr>
        <p:spPr>
          <a:xfrm>
            <a:off x="12287024" y="5975775"/>
            <a:ext cx="1706880" cy="142555"/>
          </a:xfrm>
          <a:prstGeom prst="rect">
            <a:avLst/>
          </a:prstGeom>
          <a:noFill/>
        </p:spPr>
        <p:txBody>
          <a:bodyPr wrap="square" lIns="0" tIns="0" rIns="0" bIns="0" rtlCol="0">
            <a:noAutofit/>
          </a:bodyPr>
          <a:lstStyle/>
          <a:p>
            <a:pPr algn="l"/>
            <a:r>
              <a:rPr lang="en-US" sz="800" dirty="0">
                <a:solidFill>
                  <a:schemeClr val="tx1">
                    <a:lumMod val="65000"/>
                  </a:schemeClr>
                </a:solidFill>
                <a:latin typeface="Arial Narrow" panose="020B0606020202030204" pitchFamily="34" charset="0"/>
              </a:rPr>
              <a:t>No content below the line</a:t>
            </a:r>
          </a:p>
        </p:txBody>
      </p:sp>
      <p:sp>
        <p:nvSpPr>
          <p:cNvPr id="22" name="TextBox 21"/>
          <p:cNvSpPr txBox="1"/>
          <p:nvPr/>
        </p:nvSpPr>
        <p:spPr>
          <a:xfrm>
            <a:off x="-1786823" y="5987533"/>
            <a:ext cx="1706880" cy="142555"/>
          </a:xfrm>
          <a:prstGeom prst="rect">
            <a:avLst/>
          </a:prstGeom>
          <a:noFill/>
        </p:spPr>
        <p:txBody>
          <a:bodyPr wrap="square" lIns="0" tIns="0" rIns="0" bIns="0" rtlCol="0">
            <a:noAutofit/>
          </a:bodyPr>
          <a:lstStyle/>
          <a:p>
            <a:pPr algn="r"/>
            <a:r>
              <a:rPr lang="en-US" sz="800" dirty="0">
                <a:solidFill>
                  <a:schemeClr val="tx1">
                    <a:lumMod val="65000"/>
                  </a:schemeClr>
                </a:solidFill>
                <a:latin typeface="Arial Narrow" panose="020B0606020202030204" pitchFamily="34" charset="0"/>
              </a:rPr>
              <a:t>No content below the line</a:t>
            </a:r>
          </a:p>
        </p:txBody>
      </p:sp>
      <p:cxnSp>
        <p:nvCxnSpPr>
          <p:cNvPr id="23" name="Straight Connector 22"/>
          <p:cNvCxnSpPr/>
          <p:nvPr/>
        </p:nvCxnSpPr>
        <p:spPr>
          <a:xfrm>
            <a:off x="-395620" y="6090880"/>
            <a:ext cx="395621" cy="0"/>
          </a:xfrm>
          <a:prstGeom prst="line">
            <a:avLst/>
          </a:prstGeom>
          <a:ln w="3175">
            <a:solidFill>
              <a:schemeClr val="tx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12192001" y="6091822"/>
            <a:ext cx="395621" cy="0"/>
          </a:xfrm>
          <a:prstGeom prst="line">
            <a:avLst/>
          </a:prstGeom>
          <a:ln w="3175">
            <a:solidFill>
              <a:schemeClr val="tx1">
                <a:lumMod val="65000"/>
              </a:schemeClr>
            </a:solidFill>
          </a:ln>
        </p:spPr>
        <p:style>
          <a:lnRef idx="1">
            <a:schemeClr val="accent1"/>
          </a:lnRef>
          <a:fillRef idx="0">
            <a:schemeClr val="accent1"/>
          </a:fillRef>
          <a:effectRef idx="0">
            <a:schemeClr val="accent1"/>
          </a:effectRef>
          <a:fontRef idx="minor">
            <a:schemeClr val="tx1"/>
          </a:fontRef>
        </p:style>
      </p:cxnSp>
      <p:grpSp>
        <p:nvGrpSpPr>
          <p:cNvPr id="25" name="Group 24"/>
          <p:cNvGrpSpPr/>
          <p:nvPr/>
        </p:nvGrpSpPr>
        <p:grpSpPr>
          <a:xfrm>
            <a:off x="12284309" y="2497574"/>
            <a:ext cx="1389888" cy="1233768"/>
            <a:chOff x="9215268" y="3023356"/>
            <a:chExt cx="1389888" cy="1233768"/>
          </a:xfrm>
        </p:grpSpPr>
        <p:sp>
          <p:nvSpPr>
            <p:cNvPr id="26" name="Rectangle 25"/>
            <p:cNvSpPr/>
            <p:nvPr/>
          </p:nvSpPr>
          <p:spPr>
            <a:xfrm>
              <a:off x="9215268" y="3023356"/>
              <a:ext cx="1389888" cy="1233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text high-lights, not shapes or charts. </a:t>
              </a:r>
              <a:br>
                <a:rPr lang="en-US" sz="1000" b="0" baseline="0" dirty="0">
                  <a:solidFill>
                    <a:schemeClr val="bg1"/>
                  </a:solidFill>
                </a:rPr>
              </a:br>
              <a:r>
                <a:rPr lang="en-US" sz="1000" b="0" baseline="0" dirty="0">
                  <a:solidFill>
                    <a:schemeClr val="bg1"/>
                  </a:solidFill>
                </a:rPr>
                <a:t>It’s available in the custom color palette</a:t>
              </a:r>
              <a:r>
                <a:rPr lang="en-US" sz="1000" b="0" baseline="0" dirty="0">
                  <a:solidFill>
                    <a:schemeClr val="tx1"/>
                  </a:solidFill>
                </a:rPr>
                <a:t>. </a:t>
              </a:r>
            </a:p>
          </p:txBody>
        </p:sp>
        <p:sp>
          <p:nvSpPr>
            <p:cNvPr id="27" name="Rectangle 26"/>
            <p:cNvSpPr/>
            <p:nvPr/>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pic>
        <p:nvPicPr>
          <p:cNvPr id="18" name="Market Intelligence"/>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67575" y="6081748"/>
            <a:ext cx="1978197" cy="713232"/>
          </a:xfrm>
          <a:prstGeom prst="rect">
            <a:avLst/>
          </a:prstGeom>
        </p:spPr>
      </p:pic>
      <p:sp>
        <p:nvSpPr>
          <p:cNvPr id="14" name="Rectangle 13"/>
          <p:cNvSpPr/>
          <p:nvPr/>
        </p:nvSpPr>
        <p:spPr>
          <a:xfrm>
            <a:off x="-13252" y="6878697"/>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schemeClr val="tx1"/>
              </a:solidFill>
            </a:endParaRPr>
          </a:p>
        </p:txBody>
      </p:sp>
      <p:sp>
        <p:nvSpPr>
          <p:cNvPr id="15" name="Rectangle 14"/>
          <p:cNvSpPr/>
          <p:nvPr/>
        </p:nvSpPr>
        <p:spPr>
          <a:xfrm>
            <a:off x="0" y="6874279"/>
            <a:ext cx="12192000" cy="3428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cxnSp>
        <p:nvCxnSpPr>
          <p:cNvPr id="16" name="Straight Connector 15"/>
          <p:cNvCxnSpPr/>
          <p:nvPr/>
        </p:nvCxnSpPr>
        <p:spPr>
          <a:xfrm rot="5400000" flipH="1" flipV="1">
            <a:off x="5947644"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rot="5400000" flipH="1" flipV="1">
            <a:off x="11637249"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6311591" y="6892980"/>
            <a:ext cx="5880409"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dirty="0">
                <a:solidFill>
                  <a:schemeClr val="bg1"/>
                </a:solidFill>
              </a:rPr>
              <a:t>Footer :  </a:t>
            </a:r>
            <a:r>
              <a:rPr lang="en-US" sz="1000" baseline="0" dirty="0">
                <a:solidFill>
                  <a:schemeClr val="bg1"/>
                </a:solidFill>
                <a:sym typeface="Wingdings 3" panose="05040102010807070707" pitchFamily="18" charset="2"/>
              </a:rPr>
              <a:t>Never change the footer text on individual slides. Change, t</a:t>
            </a:r>
            <a:r>
              <a:rPr lang="en-US" sz="1000" baseline="0" dirty="0">
                <a:solidFill>
                  <a:schemeClr val="bg1"/>
                </a:solidFill>
              </a:rPr>
              <a:t>urn on or off footer by using </a:t>
            </a:r>
            <a:br>
              <a:rPr lang="en-US" sz="1000" baseline="0" dirty="0">
                <a:solidFill>
                  <a:schemeClr val="bg1"/>
                </a:solidFill>
              </a:rPr>
            </a:br>
            <a:r>
              <a:rPr lang="en-US" sz="1000" baseline="0" dirty="0">
                <a:solidFill>
                  <a:schemeClr val="bg1"/>
                </a:solidFill>
              </a:rPr>
              <a:t>Insert </a:t>
            </a:r>
            <a:r>
              <a:rPr lang="en-US" sz="1000" baseline="0" dirty="0">
                <a:solidFill>
                  <a:schemeClr val="bg1"/>
                </a:solidFill>
                <a:sym typeface="Wingdings 3" panose="05040102010807070707" pitchFamily="18" charset="2"/>
              </a:rPr>
              <a:t> Header &amp; Footer Enter / change text  Click Apply All. </a:t>
            </a:r>
            <a:endParaRPr lang="en-US" sz="1000" baseline="0" dirty="0">
              <a:solidFill>
                <a:schemeClr val="bg1"/>
              </a:solidFill>
            </a:endParaRPr>
          </a:p>
        </p:txBody>
      </p:sp>
      <p:sp>
        <p:nvSpPr>
          <p:cNvPr id="20" name="TextBox 19"/>
          <p:cNvSpPr txBox="1"/>
          <p:nvPr/>
        </p:nvSpPr>
        <p:spPr>
          <a:xfrm>
            <a:off x="55814" y="6883560"/>
            <a:ext cx="903163"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Data color order</a:t>
            </a:r>
            <a:r>
              <a:rPr lang="en-US" sz="800" baseline="0" dirty="0">
                <a:solidFill>
                  <a:schemeClr val="bg1"/>
                </a:solidFill>
                <a:latin typeface="Arial Narrow" panose="020B0606020202030204" pitchFamily="34" charset="0"/>
              </a:rPr>
              <a:t>:</a:t>
            </a:r>
            <a:endParaRPr lang="en-US" sz="800" dirty="0">
              <a:solidFill>
                <a:schemeClr val="bg1"/>
              </a:solidFill>
              <a:latin typeface="Arial Narrow" panose="020B0606020202030204" pitchFamily="34" charset="0"/>
            </a:endParaRPr>
          </a:p>
        </p:txBody>
      </p:sp>
      <p:sp>
        <p:nvSpPr>
          <p:cNvPr id="28" name="TextBox 27"/>
          <p:cNvSpPr txBox="1"/>
          <p:nvPr/>
        </p:nvSpPr>
        <p:spPr>
          <a:xfrm>
            <a:off x="2804798" y="7042641"/>
            <a:ext cx="1320629" cy="136444"/>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Used with accent colors: </a:t>
            </a:r>
          </a:p>
        </p:txBody>
      </p:sp>
      <p:grpSp>
        <p:nvGrpSpPr>
          <p:cNvPr id="29" name="Group 28"/>
          <p:cNvGrpSpPr/>
          <p:nvPr/>
        </p:nvGrpSpPr>
        <p:grpSpPr>
          <a:xfrm>
            <a:off x="731575" y="6907927"/>
            <a:ext cx="1601607" cy="100584"/>
            <a:chOff x="914339" y="6913770"/>
            <a:chExt cx="1558450" cy="100584"/>
          </a:xfrm>
        </p:grpSpPr>
        <p:sp>
          <p:nvSpPr>
            <p:cNvPr id="30" name="Rectangle 29"/>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1" name="Rectangle 30"/>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32" name="Rectangle 31"/>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3" name="Rectangle 32"/>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4" name="Rectangle 33"/>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5" name="Rectangle 34"/>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6" name="Rectangle 35"/>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7" name="Rectangle 36"/>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38" name="Rectangle 37"/>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39" name="Rectangle 38"/>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sp>
          <p:nvSpPr>
            <p:cNvPr id="40" name="Rectangle 39"/>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41" name="Rectangle 40"/>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42" name="Rectangle 41"/>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43" name="Rectangle 42"/>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grpSp>
      <p:sp>
        <p:nvSpPr>
          <p:cNvPr id="44" name="TextBox 43"/>
          <p:cNvSpPr txBox="1"/>
          <p:nvPr/>
        </p:nvSpPr>
        <p:spPr>
          <a:xfrm>
            <a:off x="2535079" y="6883560"/>
            <a:ext cx="907900"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Complimentary colors:</a:t>
            </a:r>
          </a:p>
        </p:txBody>
      </p:sp>
      <p:grpSp>
        <p:nvGrpSpPr>
          <p:cNvPr id="45" name="Group 44"/>
          <p:cNvGrpSpPr/>
          <p:nvPr/>
        </p:nvGrpSpPr>
        <p:grpSpPr>
          <a:xfrm>
            <a:off x="2551547" y="7022893"/>
            <a:ext cx="218964" cy="91440"/>
            <a:chOff x="2279174" y="7027888"/>
            <a:chExt cx="164223" cy="91440"/>
          </a:xfrm>
        </p:grpSpPr>
        <p:cxnSp>
          <p:nvCxnSpPr>
            <p:cNvPr id="46" name="Straight Arrow Connector 45"/>
            <p:cNvCxnSpPr>
              <a:cxnSpLocks/>
            </p:cNvCxnSpPr>
            <p:nvPr/>
          </p:nvCxnSpPr>
          <p:spPr>
            <a:xfrm>
              <a:off x="2279174" y="7114593"/>
              <a:ext cx="164223" cy="0"/>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a:cxnSpLocks/>
            </p:cNvCxnSpPr>
            <p:nvPr/>
          </p:nvCxnSpPr>
          <p:spPr>
            <a:xfrm flipV="1">
              <a:off x="2281672" y="7027888"/>
              <a:ext cx="0" cy="9144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48" name="Group 47"/>
          <p:cNvGrpSpPr/>
          <p:nvPr/>
        </p:nvGrpSpPr>
        <p:grpSpPr>
          <a:xfrm>
            <a:off x="3760820" y="7063094"/>
            <a:ext cx="778165" cy="100584"/>
            <a:chOff x="1566748" y="7022234"/>
            <a:chExt cx="778165" cy="100584"/>
          </a:xfrm>
        </p:grpSpPr>
        <p:sp>
          <p:nvSpPr>
            <p:cNvPr id="49" name="Rectangle 48"/>
            <p:cNvSpPr/>
            <p:nvPr/>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0" name="Rectangle 49"/>
            <p:cNvSpPr/>
            <p:nvPr/>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51" name="Rectangle 50"/>
            <p:cNvSpPr/>
            <p:nvPr/>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2" name="Rectangle 51"/>
            <p:cNvSpPr/>
            <p:nvPr/>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3" name="Rectangle 52"/>
            <p:cNvSpPr/>
            <p:nvPr/>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4" name="Rectangle 53"/>
            <p:cNvSpPr/>
            <p:nvPr/>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5" name="Rectangle 54"/>
            <p:cNvSpPr/>
            <p:nvPr/>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56" name="Group 55"/>
          <p:cNvGrpSpPr/>
          <p:nvPr/>
        </p:nvGrpSpPr>
        <p:grpSpPr>
          <a:xfrm>
            <a:off x="3475604" y="6905748"/>
            <a:ext cx="549776" cy="100584"/>
            <a:chOff x="3141899" y="6907927"/>
            <a:chExt cx="549776" cy="100584"/>
          </a:xfrm>
        </p:grpSpPr>
        <p:sp>
          <p:nvSpPr>
            <p:cNvPr id="57" name="Rectangle 56"/>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8" name="Rectangle 57"/>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59" name="Rectangle 58"/>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0" name="Rectangle 59"/>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1" name="Rectangle 60"/>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62" name="Group 61"/>
          <p:cNvGrpSpPr/>
          <p:nvPr/>
        </p:nvGrpSpPr>
        <p:grpSpPr>
          <a:xfrm>
            <a:off x="4110315" y="6905748"/>
            <a:ext cx="549778" cy="100584"/>
            <a:chOff x="2057435" y="7026985"/>
            <a:chExt cx="549777" cy="100584"/>
          </a:xfrm>
        </p:grpSpPr>
        <p:sp>
          <p:nvSpPr>
            <p:cNvPr id="63" name="Rectangle 62"/>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4" name="Rectangle 63"/>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65" name="Rectangle 64"/>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6" name="Rectangle 65"/>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7" name="Rectangle 66"/>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sp>
        <p:nvSpPr>
          <p:cNvPr id="68" name="Rectangle 67"/>
          <p:cNvSpPr/>
          <p:nvPr userDrawn="1"/>
        </p:nvSpPr>
        <p:spPr>
          <a:xfrm>
            <a:off x="12287025" y="-4043"/>
            <a:ext cx="1386247" cy="24310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bg1"/>
                </a:solidFill>
              </a:rPr>
              <a:t>Divider + Image</a:t>
            </a:r>
            <a:endParaRPr lang="en-US" sz="1000" b="1" baseline="0" dirty="0">
              <a:solidFill>
                <a:schemeClr val="bg1"/>
              </a:solidFill>
            </a:endParaRPr>
          </a:p>
          <a:p>
            <a:pPr algn="l"/>
            <a:r>
              <a:rPr lang="en-US" sz="1000" baseline="0" dirty="0">
                <a:solidFill>
                  <a:schemeClr val="bg1"/>
                </a:solidFill>
              </a:rPr>
              <a:t>Click image icon to insert rectangular image. </a:t>
            </a:r>
            <a:endParaRPr lang="en-US" sz="1000" dirty="0">
              <a:solidFill>
                <a:schemeClr val="bg1"/>
              </a:solidFill>
            </a:endParaRPr>
          </a:p>
        </p:txBody>
      </p:sp>
      <p:sp>
        <p:nvSpPr>
          <p:cNvPr id="69" name="Rectangle 68"/>
          <p:cNvSpPr/>
          <p:nvPr userDrawn="1"/>
        </p:nvSpPr>
        <p:spPr>
          <a:xfrm>
            <a:off x="-13251" y="6889455"/>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solidFill>
                <a:schemeClr val="tx1"/>
              </a:solidFill>
            </a:endParaRPr>
          </a:p>
        </p:txBody>
      </p:sp>
      <p:sp>
        <p:nvSpPr>
          <p:cNvPr id="70" name="TextBox 69"/>
          <p:cNvSpPr txBox="1"/>
          <p:nvPr userDrawn="1"/>
        </p:nvSpPr>
        <p:spPr>
          <a:xfrm>
            <a:off x="12287024" y="5975774"/>
            <a:ext cx="1706880" cy="142555"/>
          </a:xfrm>
          <a:prstGeom prst="rect">
            <a:avLst/>
          </a:prstGeom>
          <a:noFill/>
        </p:spPr>
        <p:txBody>
          <a:bodyPr wrap="square" lIns="0" tIns="0" rIns="0" bIns="0" rtlCol="0">
            <a:noAutofit/>
          </a:bodyPr>
          <a:lstStyle/>
          <a:p>
            <a:pPr algn="l"/>
            <a:r>
              <a:rPr lang="en-US" sz="800" dirty="0">
                <a:solidFill>
                  <a:schemeClr val="tx1">
                    <a:lumMod val="65000"/>
                  </a:schemeClr>
                </a:solidFill>
                <a:latin typeface="Arial Narrow" panose="020B0606020202030204" pitchFamily="34" charset="0"/>
              </a:rPr>
              <a:t>No content below the line</a:t>
            </a:r>
          </a:p>
        </p:txBody>
      </p:sp>
      <p:sp>
        <p:nvSpPr>
          <p:cNvPr id="71" name="TextBox 70"/>
          <p:cNvSpPr txBox="1"/>
          <p:nvPr userDrawn="1"/>
        </p:nvSpPr>
        <p:spPr>
          <a:xfrm>
            <a:off x="-1786823" y="5987532"/>
            <a:ext cx="1706880" cy="142555"/>
          </a:xfrm>
          <a:prstGeom prst="rect">
            <a:avLst/>
          </a:prstGeom>
          <a:noFill/>
        </p:spPr>
        <p:txBody>
          <a:bodyPr wrap="square" lIns="0" tIns="0" rIns="0" bIns="0" rtlCol="0">
            <a:noAutofit/>
          </a:bodyPr>
          <a:lstStyle/>
          <a:p>
            <a:pPr algn="r"/>
            <a:r>
              <a:rPr lang="en-US" sz="800" dirty="0">
                <a:solidFill>
                  <a:schemeClr val="tx1">
                    <a:lumMod val="65000"/>
                  </a:schemeClr>
                </a:solidFill>
                <a:latin typeface="Arial Narrow" panose="020B0606020202030204" pitchFamily="34" charset="0"/>
              </a:rPr>
              <a:t>No content below the line</a:t>
            </a:r>
          </a:p>
        </p:txBody>
      </p:sp>
      <p:cxnSp>
        <p:nvCxnSpPr>
          <p:cNvPr id="72" name="Straight Connector 71"/>
          <p:cNvCxnSpPr/>
          <p:nvPr userDrawn="1"/>
        </p:nvCxnSpPr>
        <p:spPr>
          <a:xfrm>
            <a:off x="-395621" y="6090880"/>
            <a:ext cx="395621" cy="0"/>
          </a:xfrm>
          <a:prstGeom prst="line">
            <a:avLst/>
          </a:prstGeom>
          <a:ln w="3175">
            <a:solidFill>
              <a:schemeClr val="tx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userDrawn="1"/>
        </p:nvCxnSpPr>
        <p:spPr>
          <a:xfrm>
            <a:off x="12192000" y="6091822"/>
            <a:ext cx="395621" cy="0"/>
          </a:xfrm>
          <a:prstGeom prst="line">
            <a:avLst/>
          </a:prstGeom>
          <a:ln w="3175">
            <a:solidFill>
              <a:schemeClr val="tx1">
                <a:lumMod val="65000"/>
              </a:schemeClr>
            </a:solidFill>
          </a:ln>
        </p:spPr>
        <p:style>
          <a:lnRef idx="1">
            <a:schemeClr val="accent1"/>
          </a:lnRef>
          <a:fillRef idx="0">
            <a:schemeClr val="accent1"/>
          </a:fillRef>
          <a:effectRef idx="0">
            <a:schemeClr val="accent1"/>
          </a:effectRef>
          <a:fontRef idx="minor">
            <a:schemeClr val="tx1"/>
          </a:fontRef>
        </p:style>
      </p:cxnSp>
      <p:grpSp>
        <p:nvGrpSpPr>
          <p:cNvPr id="74" name="Group 73"/>
          <p:cNvGrpSpPr/>
          <p:nvPr userDrawn="1"/>
        </p:nvGrpSpPr>
        <p:grpSpPr>
          <a:xfrm>
            <a:off x="12284310" y="2497574"/>
            <a:ext cx="1389888" cy="1233768"/>
            <a:chOff x="9215268" y="3023356"/>
            <a:chExt cx="1389888" cy="1233768"/>
          </a:xfrm>
        </p:grpSpPr>
        <p:sp>
          <p:nvSpPr>
            <p:cNvPr id="75" name="Rectangle 74"/>
            <p:cNvSpPr/>
            <p:nvPr userDrawn="1"/>
          </p:nvSpPr>
          <p:spPr>
            <a:xfrm>
              <a:off x="9215268" y="3023356"/>
              <a:ext cx="1389888" cy="1233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text high-lights, not shapes or charts. </a:t>
              </a:r>
              <a:br>
                <a:rPr lang="en-US" sz="1000" b="0" baseline="0" dirty="0">
                  <a:solidFill>
                    <a:schemeClr val="bg1"/>
                  </a:solidFill>
                </a:rPr>
              </a:br>
              <a:r>
                <a:rPr lang="en-US" sz="1000" b="0" baseline="0" dirty="0">
                  <a:solidFill>
                    <a:schemeClr val="bg1"/>
                  </a:solidFill>
                </a:rPr>
                <a:t>It’s available in the custom color palette</a:t>
              </a:r>
              <a:r>
                <a:rPr lang="en-US" sz="1000" b="0" baseline="0" dirty="0">
                  <a:solidFill>
                    <a:schemeClr val="tx1"/>
                  </a:solidFill>
                </a:rPr>
                <a:t>. </a:t>
              </a:r>
            </a:p>
          </p:txBody>
        </p:sp>
        <p:sp>
          <p:nvSpPr>
            <p:cNvPr id="76" name="Rectangle 75"/>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pic>
        <p:nvPicPr>
          <p:cNvPr id="77" name="Platts"/>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7575" y="6081748"/>
            <a:ext cx="1255954" cy="713232"/>
          </a:xfrm>
          <a:prstGeom prst="rect">
            <a:avLst/>
          </a:prstGeom>
        </p:spPr>
      </p:pic>
      <p:sp>
        <p:nvSpPr>
          <p:cNvPr id="78" name="Rectangle 77"/>
          <p:cNvSpPr/>
          <p:nvPr userDrawn="1"/>
        </p:nvSpPr>
        <p:spPr>
          <a:xfrm>
            <a:off x="-13251" y="6878697"/>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solidFill>
                <a:schemeClr val="tx1"/>
              </a:solidFill>
            </a:endParaRPr>
          </a:p>
        </p:txBody>
      </p:sp>
      <p:sp>
        <p:nvSpPr>
          <p:cNvPr id="79" name="Rectangle 78"/>
          <p:cNvSpPr/>
          <p:nvPr userDrawn="1"/>
        </p:nvSpPr>
        <p:spPr>
          <a:xfrm>
            <a:off x="0" y="6874278"/>
            <a:ext cx="12192000" cy="3428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cxnSp>
        <p:nvCxnSpPr>
          <p:cNvPr id="80" name="Straight Connector 79"/>
          <p:cNvCxnSpPr/>
          <p:nvPr userDrawn="1"/>
        </p:nvCxnSpPr>
        <p:spPr>
          <a:xfrm rot="5400000" flipH="1" flipV="1">
            <a:off x="5947642"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userDrawn="1"/>
        </p:nvCxnSpPr>
        <p:spPr>
          <a:xfrm rot="5400000" flipH="1" flipV="1">
            <a:off x="11637249"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82" name="Rectangle 81"/>
          <p:cNvSpPr/>
          <p:nvPr userDrawn="1"/>
        </p:nvSpPr>
        <p:spPr>
          <a:xfrm>
            <a:off x="6311590" y="6892980"/>
            <a:ext cx="5880409"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dirty="0">
                <a:solidFill>
                  <a:schemeClr val="bg1"/>
                </a:solidFill>
              </a:rPr>
              <a:t>Footer :  </a:t>
            </a:r>
            <a:r>
              <a:rPr lang="en-US" sz="1000" baseline="0" dirty="0">
                <a:solidFill>
                  <a:schemeClr val="bg1"/>
                </a:solidFill>
                <a:sym typeface="Wingdings 3" panose="05040102010807070707" pitchFamily="18" charset="2"/>
              </a:rPr>
              <a:t>Never change the footer text on individual slides. Change, t</a:t>
            </a:r>
            <a:r>
              <a:rPr lang="en-US" sz="1000" baseline="0" dirty="0">
                <a:solidFill>
                  <a:schemeClr val="bg1"/>
                </a:solidFill>
              </a:rPr>
              <a:t>urn on or off footer by using </a:t>
            </a:r>
            <a:br>
              <a:rPr lang="en-US" sz="1000" baseline="0" dirty="0">
                <a:solidFill>
                  <a:schemeClr val="bg1"/>
                </a:solidFill>
              </a:rPr>
            </a:br>
            <a:r>
              <a:rPr lang="en-US" sz="1000" baseline="0" dirty="0">
                <a:solidFill>
                  <a:schemeClr val="bg1"/>
                </a:solidFill>
              </a:rPr>
              <a:t>Insert </a:t>
            </a:r>
            <a:r>
              <a:rPr lang="en-US" sz="1000" baseline="0" dirty="0">
                <a:solidFill>
                  <a:schemeClr val="bg1"/>
                </a:solidFill>
                <a:sym typeface="Wingdings 3" panose="05040102010807070707" pitchFamily="18" charset="2"/>
              </a:rPr>
              <a:t> Header &amp; Footer Enter / change text  Click Apply All. </a:t>
            </a:r>
            <a:endParaRPr lang="en-US" sz="1000" baseline="0" dirty="0">
              <a:solidFill>
                <a:schemeClr val="bg1"/>
              </a:solidFill>
            </a:endParaRPr>
          </a:p>
        </p:txBody>
      </p:sp>
      <p:sp>
        <p:nvSpPr>
          <p:cNvPr id="83" name="TextBox 82"/>
          <p:cNvSpPr txBox="1"/>
          <p:nvPr userDrawn="1"/>
        </p:nvSpPr>
        <p:spPr>
          <a:xfrm>
            <a:off x="55813" y="6883559"/>
            <a:ext cx="903163"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Data color order</a:t>
            </a:r>
            <a:r>
              <a:rPr lang="en-US" sz="800" baseline="0" dirty="0">
                <a:solidFill>
                  <a:schemeClr val="bg1"/>
                </a:solidFill>
                <a:latin typeface="Arial Narrow" panose="020B0606020202030204" pitchFamily="34" charset="0"/>
              </a:rPr>
              <a:t>:</a:t>
            </a:r>
            <a:endParaRPr lang="en-US" sz="800" dirty="0">
              <a:solidFill>
                <a:schemeClr val="bg1"/>
              </a:solidFill>
              <a:latin typeface="Arial Narrow" panose="020B0606020202030204" pitchFamily="34" charset="0"/>
            </a:endParaRPr>
          </a:p>
        </p:txBody>
      </p:sp>
      <p:sp>
        <p:nvSpPr>
          <p:cNvPr id="84" name="TextBox 83"/>
          <p:cNvSpPr txBox="1"/>
          <p:nvPr userDrawn="1"/>
        </p:nvSpPr>
        <p:spPr>
          <a:xfrm>
            <a:off x="2804797" y="7042641"/>
            <a:ext cx="1320629" cy="136444"/>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Used with accent colors: </a:t>
            </a:r>
          </a:p>
        </p:txBody>
      </p:sp>
      <p:grpSp>
        <p:nvGrpSpPr>
          <p:cNvPr id="85" name="Group 84"/>
          <p:cNvGrpSpPr/>
          <p:nvPr userDrawn="1"/>
        </p:nvGrpSpPr>
        <p:grpSpPr>
          <a:xfrm>
            <a:off x="731575" y="6907927"/>
            <a:ext cx="1601607" cy="100584"/>
            <a:chOff x="914339" y="6913770"/>
            <a:chExt cx="1558450" cy="100584"/>
          </a:xfrm>
        </p:grpSpPr>
        <p:sp>
          <p:nvSpPr>
            <p:cNvPr id="86" name="Rectangle 85"/>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7" name="Rectangle 86"/>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88" name="Rectangle 87"/>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9" name="Rectangle 88"/>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0" name="Rectangle 89"/>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1" name="Rectangle 90"/>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2" name="Rectangle 91"/>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3" name="Rectangle 92"/>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94" name="Rectangle 93"/>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95" name="Rectangle 94"/>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sp>
          <p:nvSpPr>
            <p:cNvPr id="96" name="Rectangle 95"/>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7" name="Rectangle 96"/>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98" name="Rectangle 97"/>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99" name="Rectangle 98"/>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grpSp>
      <p:sp>
        <p:nvSpPr>
          <p:cNvPr id="100" name="TextBox 99"/>
          <p:cNvSpPr txBox="1"/>
          <p:nvPr userDrawn="1"/>
        </p:nvSpPr>
        <p:spPr>
          <a:xfrm>
            <a:off x="2535078" y="6883559"/>
            <a:ext cx="907901"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Complimentary colors:</a:t>
            </a:r>
          </a:p>
        </p:txBody>
      </p:sp>
      <p:grpSp>
        <p:nvGrpSpPr>
          <p:cNvPr id="101" name="Group 100"/>
          <p:cNvGrpSpPr/>
          <p:nvPr userDrawn="1"/>
        </p:nvGrpSpPr>
        <p:grpSpPr>
          <a:xfrm>
            <a:off x="2551546" y="7022893"/>
            <a:ext cx="218964" cy="91440"/>
            <a:chOff x="2279174" y="7027888"/>
            <a:chExt cx="164223" cy="91440"/>
          </a:xfrm>
        </p:grpSpPr>
        <p:cxnSp>
          <p:nvCxnSpPr>
            <p:cNvPr id="102" name="Straight Arrow Connector 101"/>
            <p:cNvCxnSpPr>
              <a:cxnSpLocks/>
            </p:cNvCxnSpPr>
            <p:nvPr userDrawn="1"/>
          </p:nvCxnSpPr>
          <p:spPr>
            <a:xfrm>
              <a:off x="2279174" y="7114593"/>
              <a:ext cx="164223" cy="0"/>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a:cxnSpLocks/>
            </p:cNvCxnSpPr>
            <p:nvPr userDrawn="1"/>
          </p:nvCxnSpPr>
          <p:spPr>
            <a:xfrm flipV="1">
              <a:off x="2281672" y="7027888"/>
              <a:ext cx="0" cy="9144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04" name="Group 103"/>
          <p:cNvGrpSpPr/>
          <p:nvPr userDrawn="1"/>
        </p:nvGrpSpPr>
        <p:grpSpPr>
          <a:xfrm>
            <a:off x="3760820" y="7063094"/>
            <a:ext cx="778165" cy="100584"/>
            <a:chOff x="1566748" y="7022234"/>
            <a:chExt cx="778165" cy="100584"/>
          </a:xfrm>
        </p:grpSpPr>
        <p:sp>
          <p:nvSpPr>
            <p:cNvPr id="105" name="Rectangle 104"/>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6" name="Rectangle 105"/>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07" name="Rectangle 106"/>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8" name="Rectangle 107"/>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9" name="Rectangle 108"/>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0" name="Rectangle 109"/>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1" name="Rectangle 110"/>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112" name="Group 111"/>
          <p:cNvGrpSpPr/>
          <p:nvPr userDrawn="1"/>
        </p:nvGrpSpPr>
        <p:grpSpPr>
          <a:xfrm>
            <a:off x="3475603" y="6905748"/>
            <a:ext cx="549776" cy="100584"/>
            <a:chOff x="3141899" y="6907927"/>
            <a:chExt cx="549776" cy="100584"/>
          </a:xfrm>
        </p:grpSpPr>
        <p:sp>
          <p:nvSpPr>
            <p:cNvPr id="113" name="Rectangle 112"/>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4" name="Rectangle 113"/>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15" name="Rectangle 114"/>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6" name="Rectangle 115"/>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7" name="Rectangle 116"/>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118" name="Group 117"/>
          <p:cNvGrpSpPr/>
          <p:nvPr userDrawn="1"/>
        </p:nvGrpSpPr>
        <p:grpSpPr>
          <a:xfrm>
            <a:off x="4110314" y="6905748"/>
            <a:ext cx="549777" cy="100584"/>
            <a:chOff x="2057435" y="7026985"/>
            <a:chExt cx="549777" cy="100584"/>
          </a:xfrm>
        </p:grpSpPr>
        <p:sp>
          <p:nvSpPr>
            <p:cNvPr id="119" name="Rectangle 118"/>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0" name="Rectangle 119"/>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21" name="Rectangle 120"/>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2" name="Rectangle 121"/>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3" name="Rectangle 122"/>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124" name="Group 123"/>
          <p:cNvGrpSpPr/>
          <p:nvPr userDrawn="1"/>
        </p:nvGrpSpPr>
        <p:grpSpPr>
          <a:xfrm>
            <a:off x="12229770" y="6237765"/>
            <a:ext cx="739028" cy="978343"/>
            <a:chOff x="9173426" y="6237765"/>
            <a:chExt cx="739028" cy="978343"/>
          </a:xfrm>
        </p:grpSpPr>
        <p:sp>
          <p:nvSpPr>
            <p:cNvPr id="125" name="Rectangle 124"/>
            <p:cNvSpPr/>
            <p:nvPr userDrawn="1"/>
          </p:nvSpPr>
          <p:spPr>
            <a:xfrm>
              <a:off x="9173426" y="6237765"/>
              <a:ext cx="739028" cy="97834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nvGrpSpPr>
            <p:cNvPr id="126" name="Group 125"/>
            <p:cNvGrpSpPr/>
            <p:nvPr userDrawn="1"/>
          </p:nvGrpSpPr>
          <p:grpSpPr>
            <a:xfrm>
              <a:off x="9218311" y="6565676"/>
              <a:ext cx="609784" cy="615127"/>
              <a:chOff x="9218311" y="6565676"/>
              <a:chExt cx="609784" cy="615127"/>
            </a:xfrm>
          </p:grpSpPr>
          <p:sp>
            <p:nvSpPr>
              <p:cNvPr id="128" name="Rectangle 127"/>
              <p:cNvSpPr/>
              <p:nvPr/>
            </p:nvSpPr>
            <p:spPr>
              <a:xfrm>
                <a:off x="9218311" y="6565676"/>
                <a:ext cx="100584" cy="10058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9" name="Rectangle 128"/>
              <p:cNvSpPr/>
              <p:nvPr/>
            </p:nvSpPr>
            <p:spPr>
              <a:xfrm>
                <a:off x="949323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30" name="Rectangle 129"/>
              <p:cNvSpPr/>
              <p:nvPr/>
            </p:nvSpPr>
            <p:spPr>
              <a:xfrm>
                <a:off x="9376091" y="6565676"/>
                <a:ext cx="100584" cy="100584"/>
              </a:xfrm>
              <a:prstGeom prst="rect">
                <a:avLst/>
              </a:prstGeom>
              <a:solidFill>
                <a:srgbClr val="2B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31" name="Rectangle 130"/>
              <p:cNvSpPr/>
              <p:nvPr/>
            </p:nvSpPr>
            <p:spPr>
              <a:xfrm>
                <a:off x="9610371" y="6565676"/>
                <a:ext cx="100584" cy="100584"/>
              </a:xfrm>
              <a:prstGeom prst="rect">
                <a:avLst/>
              </a:prstGeom>
              <a:solidFill>
                <a:srgbClr val="7B91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32" name="Rectangle 131"/>
              <p:cNvSpPr/>
              <p:nvPr/>
            </p:nvSpPr>
            <p:spPr>
              <a:xfrm>
                <a:off x="9727511" y="6565676"/>
                <a:ext cx="100584" cy="100584"/>
              </a:xfrm>
              <a:prstGeom prst="rect">
                <a:avLst/>
              </a:prstGeom>
              <a:solidFill>
                <a:srgbClr val="C5D5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33" name="Rectangle 132"/>
              <p:cNvSpPr/>
              <p:nvPr userDrawn="1"/>
            </p:nvSpPr>
            <p:spPr>
              <a:xfrm>
                <a:off x="9218311" y="6694312"/>
                <a:ext cx="100584" cy="10058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34" name="Rectangle 133"/>
              <p:cNvSpPr/>
              <p:nvPr userDrawn="1"/>
            </p:nvSpPr>
            <p:spPr>
              <a:xfrm>
                <a:off x="9493231" y="6694312"/>
                <a:ext cx="100584" cy="100584"/>
              </a:xfrm>
              <a:prstGeom prst="rect">
                <a:avLst/>
              </a:prstGeom>
              <a:solidFill>
                <a:srgbClr val="D0588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35" name="Rectangle 134"/>
              <p:cNvSpPr/>
              <p:nvPr userDrawn="1"/>
            </p:nvSpPr>
            <p:spPr>
              <a:xfrm>
                <a:off x="9376091" y="6694312"/>
                <a:ext cx="100584" cy="100584"/>
              </a:xfrm>
              <a:prstGeom prst="rect">
                <a:avLst/>
              </a:prstGeom>
              <a:solidFill>
                <a:srgbClr val="6902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36" name="Rectangle 135"/>
              <p:cNvSpPr/>
              <p:nvPr userDrawn="1"/>
            </p:nvSpPr>
            <p:spPr>
              <a:xfrm>
                <a:off x="9610371" y="6694312"/>
                <a:ext cx="100584" cy="100584"/>
              </a:xfrm>
              <a:prstGeom prst="rect">
                <a:avLst/>
              </a:prstGeom>
              <a:solidFill>
                <a:srgbClr val="DD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37" name="Rectangle 136"/>
              <p:cNvSpPr/>
              <p:nvPr userDrawn="1"/>
            </p:nvSpPr>
            <p:spPr>
              <a:xfrm>
                <a:off x="9727511" y="6694312"/>
                <a:ext cx="100584" cy="100584"/>
              </a:xfrm>
              <a:prstGeom prst="rect">
                <a:avLst/>
              </a:prstGeom>
              <a:solidFill>
                <a:srgbClr val="ECC0C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38" name="Rectangle 137"/>
              <p:cNvSpPr/>
              <p:nvPr userDrawn="1"/>
            </p:nvSpPr>
            <p:spPr>
              <a:xfrm>
                <a:off x="9218311" y="6822948"/>
                <a:ext cx="100584" cy="10058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39" name="Rectangle 138"/>
              <p:cNvSpPr/>
              <p:nvPr userDrawn="1"/>
            </p:nvSpPr>
            <p:spPr>
              <a:xfrm>
                <a:off x="9493231" y="6822948"/>
                <a:ext cx="100584" cy="100584"/>
              </a:xfrm>
              <a:prstGeom prst="rect">
                <a:avLst/>
              </a:prstGeom>
              <a:solidFill>
                <a:srgbClr val="BD461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40" name="Rectangle 139"/>
              <p:cNvSpPr/>
              <p:nvPr userDrawn="1"/>
            </p:nvSpPr>
            <p:spPr>
              <a:xfrm>
                <a:off x="9376091" y="6822948"/>
                <a:ext cx="100584" cy="100584"/>
              </a:xfrm>
              <a:prstGeom prst="rect">
                <a:avLst/>
              </a:prstGeom>
              <a:solidFill>
                <a:srgbClr val="7122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1" name="Rectangle 140"/>
              <p:cNvSpPr/>
              <p:nvPr userDrawn="1"/>
            </p:nvSpPr>
            <p:spPr>
              <a:xfrm>
                <a:off x="9610371" y="6822948"/>
                <a:ext cx="100584" cy="100584"/>
              </a:xfrm>
              <a:prstGeom prst="rect">
                <a:avLst/>
              </a:prstGeom>
              <a:solidFill>
                <a:srgbClr val="F695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2" name="Rectangle 141"/>
              <p:cNvSpPr/>
              <p:nvPr userDrawn="1"/>
            </p:nvSpPr>
            <p:spPr>
              <a:xfrm>
                <a:off x="9727511" y="6822948"/>
                <a:ext cx="100584" cy="100584"/>
              </a:xfrm>
              <a:prstGeom prst="rect">
                <a:avLst/>
              </a:prstGeom>
              <a:solidFill>
                <a:srgbClr val="FABD9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3" name="Rectangle 142"/>
              <p:cNvSpPr/>
              <p:nvPr userDrawn="1"/>
            </p:nvSpPr>
            <p:spPr>
              <a:xfrm>
                <a:off x="9218311" y="6951584"/>
                <a:ext cx="100584" cy="10058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4" name="Rectangle 143"/>
              <p:cNvSpPr/>
              <p:nvPr userDrawn="1"/>
            </p:nvSpPr>
            <p:spPr>
              <a:xfrm>
                <a:off x="949323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45" name="Rectangle 144"/>
              <p:cNvSpPr/>
              <p:nvPr userDrawn="1"/>
            </p:nvSpPr>
            <p:spPr>
              <a:xfrm>
                <a:off x="9376091" y="6951584"/>
                <a:ext cx="100584" cy="100584"/>
              </a:xfrm>
              <a:prstGeom prst="rect">
                <a:avLst/>
              </a:prstGeom>
              <a:solidFill>
                <a:srgbClr val="002B5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6" name="Rectangle 145"/>
              <p:cNvSpPr/>
              <p:nvPr userDrawn="1"/>
            </p:nvSpPr>
            <p:spPr>
              <a:xfrm>
                <a:off x="9610371" y="6951584"/>
                <a:ext cx="100584" cy="100584"/>
              </a:xfrm>
              <a:prstGeom prst="rect">
                <a:avLst/>
              </a:prstGeom>
              <a:solidFill>
                <a:srgbClr val="4F99C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7" name="Rectangle 146"/>
              <p:cNvSpPr/>
              <p:nvPr userDrawn="1"/>
            </p:nvSpPr>
            <p:spPr>
              <a:xfrm>
                <a:off x="9727511" y="6951584"/>
                <a:ext cx="100584" cy="100584"/>
              </a:xfrm>
              <a:prstGeom prst="rect">
                <a:avLst/>
              </a:prstGeom>
              <a:solidFill>
                <a:srgbClr val="A0C3D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8" name="Rectangle 147"/>
              <p:cNvSpPr/>
              <p:nvPr userDrawn="1"/>
            </p:nvSpPr>
            <p:spPr>
              <a:xfrm>
                <a:off x="9218311" y="7080219"/>
                <a:ext cx="100584" cy="100584"/>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9" name="Rectangle 148"/>
              <p:cNvSpPr/>
              <p:nvPr userDrawn="1"/>
            </p:nvSpPr>
            <p:spPr>
              <a:xfrm>
                <a:off x="9493231" y="7080219"/>
                <a:ext cx="100584" cy="100584"/>
              </a:xfrm>
              <a:prstGeom prst="rect">
                <a:avLst/>
              </a:prstGeom>
              <a:solidFill>
                <a:srgbClr val="534F9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50" name="Rectangle 149"/>
              <p:cNvSpPr/>
              <p:nvPr userDrawn="1"/>
            </p:nvSpPr>
            <p:spPr>
              <a:xfrm>
                <a:off x="9376091" y="7080219"/>
                <a:ext cx="100584" cy="100584"/>
              </a:xfrm>
              <a:prstGeom prst="rect">
                <a:avLst/>
              </a:prstGeom>
              <a:solidFill>
                <a:srgbClr val="37227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51" name="Rectangle 150"/>
              <p:cNvSpPr/>
              <p:nvPr userDrawn="1"/>
            </p:nvSpPr>
            <p:spPr>
              <a:xfrm>
                <a:off x="9610371" y="7080219"/>
                <a:ext cx="100584" cy="100584"/>
              </a:xfrm>
              <a:prstGeom prst="rect">
                <a:avLst/>
              </a:prstGeom>
              <a:solidFill>
                <a:srgbClr val="908D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52" name="Rectangle 151"/>
              <p:cNvSpPr/>
              <p:nvPr userDrawn="1"/>
            </p:nvSpPr>
            <p:spPr>
              <a:xfrm>
                <a:off x="9727511" y="7080219"/>
                <a:ext cx="100584" cy="100584"/>
              </a:xfrm>
              <a:prstGeom prst="rect">
                <a:avLst/>
              </a:prstGeom>
              <a:solidFill>
                <a:srgbClr val="BBB9D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sp>
          <p:nvSpPr>
            <p:cNvPr id="127" name="TextBox 126"/>
            <p:cNvSpPr txBox="1"/>
            <p:nvPr userDrawn="1"/>
          </p:nvSpPr>
          <p:spPr>
            <a:xfrm>
              <a:off x="9203119" y="6283237"/>
              <a:ext cx="677372" cy="142555"/>
            </a:xfrm>
            <a:prstGeom prst="rect">
              <a:avLst/>
            </a:prstGeom>
            <a:noFill/>
          </p:spPr>
          <p:txBody>
            <a:bodyPr wrap="square" lIns="0" tIns="0" rIns="0" bIns="0" rtlCol="0">
              <a:noAutofit/>
            </a:bodyPr>
            <a:lstStyle/>
            <a:p>
              <a:pPr algn="l"/>
              <a:r>
                <a:rPr lang="en-US" sz="800" dirty="0" err="1">
                  <a:solidFill>
                    <a:schemeClr val="bg1"/>
                  </a:solidFill>
                  <a:latin typeface="Arial Narrow" panose="020B0606020202030204" pitchFamily="34" charset="0"/>
                </a:rPr>
                <a:t>Platts</a:t>
              </a:r>
              <a:r>
                <a:rPr lang="en-US" sz="800" dirty="0">
                  <a:solidFill>
                    <a:schemeClr val="bg1"/>
                  </a:solidFill>
                  <a:latin typeface="Arial Narrow" panose="020B0606020202030204" pitchFamily="34" charset="0"/>
                </a:rPr>
                <a:t> Commodity Colors: </a:t>
              </a:r>
            </a:p>
          </p:txBody>
        </p:sp>
      </p:grpSp>
    </p:spTree>
    <p:extLst>
      <p:ext uri="{BB962C8B-B14F-4D97-AF65-F5344CB8AC3E}">
        <p14:creationId xmlns:p14="http://schemas.microsoft.com/office/powerpoint/2010/main" val="29003934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ontent -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3" name="Content Placeholder 2"/>
          <p:cNvSpPr>
            <a:spLocks noGrp="1"/>
          </p:cNvSpPr>
          <p:nvPr>
            <p:ph idx="1"/>
          </p:nvPr>
        </p:nvSpPr>
        <p:spPr>
          <a:xfrm>
            <a:off x="414528" y="1371600"/>
            <a:ext cx="11367253" cy="43005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Rectangle 7"/>
          <p:cNvSpPr/>
          <p:nvPr/>
        </p:nvSpPr>
        <p:spPr>
          <a:xfrm>
            <a:off x="12287026"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No subtitle</a:t>
            </a:r>
          </a:p>
          <a:p>
            <a:pPr algn="l"/>
            <a:r>
              <a:rPr lang="en-US" sz="1000" b="0" baseline="0" dirty="0">
                <a:solidFill>
                  <a:schemeClr val="tx1"/>
                </a:solidFill>
              </a:rPr>
              <a:t>Level 1 has a bullet turned on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p:txBody>
      </p:sp>
      <p:sp>
        <p:nvSpPr>
          <p:cNvPr id="9" name="Text Placeholder 11"/>
          <p:cNvSpPr>
            <a:spLocks noGrp="1"/>
          </p:cNvSpPr>
          <p:nvPr>
            <p:ph type="body" sz="quarter" idx="15"/>
          </p:nvPr>
        </p:nvSpPr>
        <p:spPr>
          <a:xfrm>
            <a:off x="414530"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pic>
        <p:nvPicPr>
          <p:cNvPr id="13" name="bullets"/>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2345151" y="1307765"/>
            <a:ext cx="277342" cy="241890"/>
          </a:xfrm>
          <a:prstGeom prst="rect">
            <a:avLst/>
          </a:prstGeom>
          <a:ln>
            <a:noFill/>
          </a:ln>
        </p:spPr>
      </p:pic>
      <p:pic>
        <p:nvPicPr>
          <p:cNvPr id="14" name="increase list level"/>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2342987" y="2222894"/>
            <a:ext cx="391317" cy="241890"/>
          </a:xfrm>
          <a:prstGeom prst="rect">
            <a:avLst/>
          </a:prstGeom>
        </p:spPr>
      </p:pic>
      <p:grpSp>
        <p:nvGrpSpPr>
          <p:cNvPr id="15" name="Group 14"/>
          <p:cNvGrpSpPr/>
          <p:nvPr/>
        </p:nvGrpSpPr>
        <p:grpSpPr>
          <a:xfrm>
            <a:off x="12284309" y="3212874"/>
            <a:ext cx="1389888" cy="1233768"/>
            <a:chOff x="9215268" y="3023356"/>
            <a:chExt cx="1389888" cy="1233768"/>
          </a:xfrm>
        </p:grpSpPr>
        <p:sp>
          <p:nvSpPr>
            <p:cNvPr id="16" name="Rectangle 15"/>
            <p:cNvSpPr/>
            <p:nvPr/>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7" name="Rectangle 16"/>
            <p:cNvSpPr/>
            <p:nvPr/>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18" name="Rectangle 17"/>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No subtitle</a:t>
            </a:r>
          </a:p>
          <a:p>
            <a:pPr algn="l"/>
            <a:r>
              <a:rPr lang="en-US" sz="1000" b="0" baseline="0" dirty="0">
                <a:solidFill>
                  <a:schemeClr val="tx1"/>
                </a:solidFill>
              </a:rPr>
              <a:t>Level 1 has a bullet turned on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p:txBody>
      </p:sp>
      <p:pic>
        <p:nvPicPr>
          <p:cNvPr id="19" name="bullets"/>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2345151" y="1307765"/>
            <a:ext cx="277342" cy="241890"/>
          </a:xfrm>
          <a:prstGeom prst="rect">
            <a:avLst/>
          </a:prstGeom>
          <a:ln>
            <a:noFill/>
          </a:ln>
        </p:spPr>
      </p:pic>
      <p:pic>
        <p:nvPicPr>
          <p:cNvPr id="20" name="increase list level"/>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342987" y="2222893"/>
            <a:ext cx="391318" cy="241890"/>
          </a:xfrm>
          <a:prstGeom prst="rect">
            <a:avLst/>
          </a:prstGeom>
        </p:spPr>
      </p:pic>
      <p:grpSp>
        <p:nvGrpSpPr>
          <p:cNvPr id="21" name="Group 20"/>
          <p:cNvGrpSpPr/>
          <p:nvPr userDrawn="1"/>
        </p:nvGrpSpPr>
        <p:grpSpPr>
          <a:xfrm>
            <a:off x="12284310" y="3212874"/>
            <a:ext cx="1389888" cy="1233768"/>
            <a:chOff x="9215268" y="3023356"/>
            <a:chExt cx="1389888" cy="1233768"/>
          </a:xfrm>
        </p:grpSpPr>
        <p:sp>
          <p:nvSpPr>
            <p:cNvPr id="22" name="Rectangle 21"/>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3" name="Rectangle 22"/>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
        <p:nvSpPr>
          <p:cNvPr id="24" name="Footer Placeholder 5">
            <a:extLst>
              <a:ext uri="{FF2B5EF4-FFF2-40B4-BE49-F238E27FC236}">
                <a16:creationId xmlns:a16="http://schemas.microsoft.com/office/drawing/2014/main" id="{5B78E020-795E-DD48-B847-62D62A391ED6}"/>
              </a:ext>
            </a:extLst>
          </p:cNvPr>
          <p:cNvSpPr>
            <a:spLocks noGrp="1"/>
          </p:cNvSpPr>
          <p:nvPr>
            <p:ph type="ftr" sz="quarter" idx="11"/>
          </p:nvPr>
        </p:nvSpPr>
        <p:spPr>
          <a:xfrm>
            <a:off x="3440004" y="6316981"/>
            <a:ext cx="7733456" cy="365113"/>
          </a:xfrm>
        </p:spPr>
        <p:txBody>
          <a:bodyPr/>
          <a:lstStyle/>
          <a:p>
            <a:r>
              <a:rPr lang="en-US"/>
              <a:t>Private &amp; Confidential</a:t>
            </a:r>
          </a:p>
        </p:txBody>
      </p:sp>
    </p:spTree>
    <p:extLst>
      <p:ext uri="{BB962C8B-B14F-4D97-AF65-F5344CB8AC3E}">
        <p14:creationId xmlns:p14="http://schemas.microsoft.com/office/powerpoint/2010/main" val="3308881286"/>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Content 2 columns -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11481" y="1371602"/>
            <a:ext cx="5491388" cy="4300539"/>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99207" y="1371602"/>
            <a:ext cx="5491388" cy="4300539"/>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0" name="Rectangle 9"/>
          <p:cNvSpPr/>
          <p:nvPr/>
        </p:nvSpPr>
        <p:spPr>
          <a:xfrm>
            <a:off x="12287026"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2</a:t>
            </a:r>
            <a:r>
              <a:rPr lang="en-US" sz="1000" b="1" baseline="0" dirty="0">
                <a:solidFill>
                  <a:schemeClr val="tx1"/>
                </a:solidFill>
              </a:rPr>
              <a:t> columns</a:t>
            </a:r>
            <a:endParaRPr lang="en-US" sz="1000" b="1" dirty="0">
              <a:solidFill>
                <a:schemeClr val="tx1"/>
              </a:solidFill>
            </a:endParaRPr>
          </a:p>
          <a:p>
            <a:pPr algn="l"/>
            <a:r>
              <a:rPr lang="en-US" sz="1000" b="0" baseline="0" dirty="0">
                <a:solidFill>
                  <a:schemeClr val="tx1"/>
                </a:solidFill>
              </a:rPr>
              <a:t>Level 1 has a bullet turned on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p:txBody>
      </p:sp>
      <p:sp>
        <p:nvSpPr>
          <p:cNvPr id="14" name="Text Placeholder 11"/>
          <p:cNvSpPr>
            <a:spLocks noGrp="1"/>
          </p:cNvSpPr>
          <p:nvPr>
            <p:ph type="body" sz="quarter" idx="15"/>
          </p:nvPr>
        </p:nvSpPr>
        <p:spPr>
          <a:xfrm>
            <a:off x="414530"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pic>
        <p:nvPicPr>
          <p:cNvPr id="15" name="bullets"/>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2345151" y="1307765"/>
            <a:ext cx="277342" cy="241890"/>
          </a:xfrm>
          <a:prstGeom prst="rect">
            <a:avLst/>
          </a:prstGeom>
          <a:ln>
            <a:noFill/>
          </a:ln>
        </p:spPr>
      </p:pic>
      <p:pic>
        <p:nvPicPr>
          <p:cNvPr id="16" name="increase list level"/>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2342987" y="2222894"/>
            <a:ext cx="391317" cy="241890"/>
          </a:xfrm>
          <a:prstGeom prst="rect">
            <a:avLst/>
          </a:prstGeom>
        </p:spPr>
      </p:pic>
      <p:grpSp>
        <p:nvGrpSpPr>
          <p:cNvPr id="17" name="Group 16"/>
          <p:cNvGrpSpPr/>
          <p:nvPr/>
        </p:nvGrpSpPr>
        <p:grpSpPr>
          <a:xfrm>
            <a:off x="12284309" y="3212874"/>
            <a:ext cx="1389888" cy="1233768"/>
            <a:chOff x="9215268" y="3023356"/>
            <a:chExt cx="1389888" cy="1233768"/>
          </a:xfrm>
        </p:grpSpPr>
        <p:sp>
          <p:nvSpPr>
            <p:cNvPr id="18" name="Rectangle 17"/>
            <p:cNvSpPr/>
            <p:nvPr/>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9" name="Rectangle 18"/>
            <p:cNvSpPr/>
            <p:nvPr/>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20" name="Rectangle 19"/>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2</a:t>
            </a:r>
            <a:r>
              <a:rPr lang="en-US" sz="1000" b="1" baseline="0" dirty="0">
                <a:solidFill>
                  <a:schemeClr val="tx1"/>
                </a:solidFill>
              </a:rPr>
              <a:t> columns</a:t>
            </a:r>
            <a:endParaRPr lang="en-US" sz="1000" b="1" dirty="0">
              <a:solidFill>
                <a:schemeClr val="tx1"/>
              </a:solidFill>
            </a:endParaRPr>
          </a:p>
          <a:p>
            <a:pPr algn="l"/>
            <a:r>
              <a:rPr lang="en-US" sz="1000" b="0" baseline="0" dirty="0">
                <a:solidFill>
                  <a:schemeClr val="tx1"/>
                </a:solidFill>
              </a:rPr>
              <a:t>Level 1 has a bullet turned on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p:txBody>
      </p:sp>
      <p:pic>
        <p:nvPicPr>
          <p:cNvPr id="21" name="bullets"/>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2345151" y="1307765"/>
            <a:ext cx="277342" cy="241890"/>
          </a:xfrm>
          <a:prstGeom prst="rect">
            <a:avLst/>
          </a:prstGeom>
          <a:ln>
            <a:noFill/>
          </a:ln>
        </p:spPr>
      </p:pic>
      <p:pic>
        <p:nvPicPr>
          <p:cNvPr id="22" name="increase list level"/>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342987" y="2222893"/>
            <a:ext cx="391318" cy="241890"/>
          </a:xfrm>
          <a:prstGeom prst="rect">
            <a:avLst/>
          </a:prstGeom>
        </p:spPr>
      </p:pic>
      <p:grpSp>
        <p:nvGrpSpPr>
          <p:cNvPr id="23" name="Group 22"/>
          <p:cNvGrpSpPr/>
          <p:nvPr userDrawn="1"/>
        </p:nvGrpSpPr>
        <p:grpSpPr>
          <a:xfrm>
            <a:off x="12284310" y="3212874"/>
            <a:ext cx="1389888" cy="1233768"/>
            <a:chOff x="9215268" y="3023356"/>
            <a:chExt cx="1389888" cy="1233768"/>
          </a:xfrm>
        </p:grpSpPr>
        <p:sp>
          <p:nvSpPr>
            <p:cNvPr id="24" name="Rectangle 23"/>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5" name="Rectangle 24"/>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300855315"/>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Agenda - Takeaway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hasCustomPrompt="1"/>
          </p:nvPr>
        </p:nvSpPr>
        <p:spPr>
          <a:xfrm>
            <a:off x="1046788" y="1814929"/>
            <a:ext cx="10738812" cy="558010"/>
          </a:xfrm>
        </p:spPr>
        <p:txBody>
          <a:bodyPr tIns="0" rIns="0" bIns="0" anchor="ctr"/>
          <a:lstStyle>
            <a:lvl1pPr marL="0" indent="0">
              <a:spcBef>
                <a:spcPts val="200"/>
              </a:spcBef>
              <a:spcAft>
                <a:spcPts val="0"/>
              </a:spcAft>
              <a:buFont typeface="Arial" panose="020B0604020202020204" pitchFamily="34" charset="0"/>
              <a:buNone/>
              <a:defRPr sz="1800" b="1" baseline="0"/>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1" name="Text Placeholder 10"/>
          <p:cNvSpPr>
            <a:spLocks noGrp="1"/>
          </p:cNvSpPr>
          <p:nvPr>
            <p:ph type="body" sz="quarter" idx="17" hasCustomPrompt="1"/>
          </p:nvPr>
        </p:nvSpPr>
        <p:spPr>
          <a:xfrm>
            <a:off x="406403" y="181493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12" name="Text Placeholder 10"/>
          <p:cNvSpPr>
            <a:spLocks noGrp="1"/>
          </p:cNvSpPr>
          <p:nvPr>
            <p:ph type="body" sz="quarter" idx="18" hasCustomPrompt="1"/>
          </p:nvPr>
        </p:nvSpPr>
        <p:spPr>
          <a:xfrm>
            <a:off x="406401" y="255859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13" name="Text Placeholder 10"/>
          <p:cNvSpPr>
            <a:spLocks noGrp="1"/>
          </p:cNvSpPr>
          <p:nvPr>
            <p:ph type="body" sz="quarter" idx="19" hasCustomPrompt="1"/>
          </p:nvPr>
        </p:nvSpPr>
        <p:spPr>
          <a:xfrm>
            <a:off x="406403" y="3302251"/>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14" name="Text Placeholder 10"/>
          <p:cNvSpPr>
            <a:spLocks noGrp="1"/>
          </p:cNvSpPr>
          <p:nvPr>
            <p:ph type="body" sz="quarter" idx="20" hasCustomPrompt="1"/>
          </p:nvPr>
        </p:nvSpPr>
        <p:spPr>
          <a:xfrm>
            <a:off x="406399" y="4045911"/>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15" name="Text Placeholder 8"/>
          <p:cNvSpPr>
            <a:spLocks noGrp="1"/>
          </p:cNvSpPr>
          <p:nvPr>
            <p:ph type="body" sz="quarter" idx="21" hasCustomPrompt="1"/>
          </p:nvPr>
        </p:nvSpPr>
        <p:spPr>
          <a:xfrm>
            <a:off x="1046788" y="255858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6" name="Text Placeholder 8"/>
          <p:cNvSpPr>
            <a:spLocks noGrp="1"/>
          </p:cNvSpPr>
          <p:nvPr>
            <p:ph type="body" sz="quarter" idx="22" hasCustomPrompt="1"/>
          </p:nvPr>
        </p:nvSpPr>
        <p:spPr>
          <a:xfrm>
            <a:off x="1046788" y="330224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7" name="Text Placeholder 8"/>
          <p:cNvSpPr>
            <a:spLocks noGrp="1"/>
          </p:cNvSpPr>
          <p:nvPr>
            <p:ph type="body" sz="quarter" idx="23" hasCustomPrompt="1"/>
          </p:nvPr>
        </p:nvSpPr>
        <p:spPr>
          <a:xfrm>
            <a:off x="1046788" y="404590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8" name="Text Placeholder 8"/>
          <p:cNvSpPr>
            <a:spLocks noGrp="1"/>
          </p:cNvSpPr>
          <p:nvPr>
            <p:ph type="body" sz="quarter" idx="24" hasCustomPrompt="1"/>
          </p:nvPr>
        </p:nvSpPr>
        <p:spPr>
          <a:xfrm>
            <a:off x="1046788" y="478956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20" name="Text Placeholder 10"/>
          <p:cNvSpPr>
            <a:spLocks noGrp="1"/>
          </p:cNvSpPr>
          <p:nvPr>
            <p:ph type="body" sz="quarter" idx="25" hasCustomPrompt="1"/>
          </p:nvPr>
        </p:nvSpPr>
        <p:spPr>
          <a:xfrm>
            <a:off x="408764" y="4789571"/>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21" name="Text Placeholder 8"/>
          <p:cNvSpPr>
            <a:spLocks noGrp="1"/>
          </p:cNvSpPr>
          <p:nvPr>
            <p:ph type="body" sz="quarter" idx="26" hasCustomPrompt="1"/>
          </p:nvPr>
        </p:nvSpPr>
        <p:spPr>
          <a:xfrm>
            <a:off x="1046788" y="553322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baseline="0"/>
            </a:lvl2pPr>
          </a:lstStyle>
          <a:p>
            <a:pPr lvl="0"/>
            <a:r>
              <a:rPr lang="en-US" dirty="0"/>
              <a:t>Click to add agenda item/takeaway/text – max two rows</a:t>
            </a:r>
          </a:p>
          <a:p>
            <a:pPr lvl="1"/>
            <a:r>
              <a:rPr lang="en-US" dirty="0"/>
              <a:t>Second level</a:t>
            </a:r>
          </a:p>
        </p:txBody>
      </p:sp>
      <p:sp>
        <p:nvSpPr>
          <p:cNvPr id="22" name="Text Placeholder 10"/>
          <p:cNvSpPr>
            <a:spLocks noGrp="1"/>
          </p:cNvSpPr>
          <p:nvPr>
            <p:ph type="body" sz="quarter" idx="27" hasCustomPrompt="1"/>
          </p:nvPr>
        </p:nvSpPr>
        <p:spPr>
          <a:xfrm>
            <a:off x="408764" y="553323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23" name="Text Placeholder 7"/>
          <p:cNvSpPr>
            <a:spLocks noGrp="1"/>
          </p:cNvSpPr>
          <p:nvPr>
            <p:ph type="body" sz="quarter" idx="13" hasCustomPrompt="1"/>
          </p:nvPr>
        </p:nvSpPr>
        <p:spPr>
          <a:xfrm>
            <a:off x="411479" y="1084264"/>
            <a:ext cx="11379200" cy="706437"/>
          </a:xfrm>
        </p:spPr>
        <p:txBody>
          <a:bodyPr/>
          <a:lstStyle>
            <a:lvl1pPr marL="0" indent="0">
              <a:buNone/>
              <a:defRPr sz="1800" b="0" baseline="0"/>
            </a:lvl1pPr>
            <a:lvl2pPr marL="169863" indent="0">
              <a:buNone/>
              <a:defRPr/>
            </a:lvl2pPr>
          </a:lstStyle>
          <a:p>
            <a:pPr lvl="0"/>
            <a:r>
              <a:rPr lang="en-US" dirty="0"/>
              <a:t>Click to edit date, place or introduction / summary</a:t>
            </a:r>
          </a:p>
        </p:txBody>
      </p:sp>
      <p:sp>
        <p:nvSpPr>
          <p:cNvPr id="19" name="Rectangle 18"/>
          <p:cNvSpPr/>
          <p:nvPr/>
        </p:nvSpPr>
        <p:spPr>
          <a:xfrm>
            <a:off x="12287026" y="-4042"/>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Agenda &amp; Takeaways</a:t>
            </a:r>
          </a:p>
          <a:p>
            <a:pPr algn="l"/>
            <a:r>
              <a:rPr lang="en-US" sz="1000" b="0" baseline="0" dirty="0">
                <a:solidFill>
                  <a:schemeClr val="tx1"/>
                </a:solidFill>
              </a:rPr>
              <a:t>Replace # with number or letter in left placeholders and explanatory text in right placeholders. Max one row of text.  Remove placeholders not in use. </a:t>
            </a:r>
          </a:p>
        </p:txBody>
      </p:sp>
      <p:grpSp>
        <p:nvGrpSpPr>
          <p:cNvPr id="25" name="Group 24"/>
          <p:cNvGrpSpPr/>
          <p:nvPr/>
        </p:nvGrpSpPr>
        <p:grpSpPr>
          <a:xfrm>
            <a:off x="12284309" y="2497574"/>
            <a:ext cx="1389888" cy="1233768"/>
            <a:chOff x="9215268" y="3023356"/>
            <a:chExt cx="1389888" cy="1233768"/>
          </a:xfrm>
        </p:grpSpPr>
        <p:sp>
          <p:nvSpPr>
            <p:cNvPr id="26" name="Rectangle 25"/>
            <p:cNvSpPr/>
            <p:nvPr/>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32" name="Rectangle 31"/>
            <p:cNvSpPr/>
            <p:nvPr/>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nvGrpSpPr>
          <p:cNvPr id="33" name="Group 32"/>
          <p:cNvGrpSpPr/>
          <p:nvPr/>
        </p:nvGrpSpPr>
        <p:grpSpPr>
          <a:xfrm>
            <a:off x="12287026" y="3841032"/>
            <a:ext cx="1388612" cy="1588569"/>
            <a:chOff x="13673268" y="2618012"/>
            <a:chExt cx="3060457" cy="3501159"/>
          </a:xfrm>
        </p:grpSpPr>
        <p:pic>
          <p:nvPicPr>
            <p:cNvPr id="34" name="Picture 3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3673268" y="4393853"/>
              <a:ext cx="3060457" cy="1725318"/>
            </a:xfrm>
            <a:prstGeom prst="rect">
              <a:avLst/>
            </a:prstGeom>
          </p:spPr>
        </p:pic>
        <p:pic>
          <p:nvPicPr>
            <p:cNvPr id="35" name="Picture 3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673268" y="2618012"/>
              <a:ext cx="3060457" cy="1725318"/>
            </a:xfrm>
            <a:prstGeom prst="rect">
              <a:avLst/>
            </a:prstGeom>
          </p:spPr>
        </p:pic>
      </p:grpSp>
      <p:sp>
        <p:nvSpPr>
          <p:cNvPr id="27" name="Rectangle 26"/>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Agenda &amp; Takeaways</a:t>
            </a:r>
          </a:p>
          <a:p>
            <a:pPr algn="l"/>
            <a:r>
              <a:rPr lang="en-US" sz="1000" b="0" baseline="0" dirty="0">
                <a:solidFill>
                  <a:schemeClr val="tx1"/>
                </a:solidFill>
              </a:rPr>
              <a:t>Replace # with number or letter in left placeholders and explanatory text in right placeholders. Max one row of text.  Remove placeholders not in use. </a:t>
            </a:r>
          </a:p>
        </p:txBody>
      </p:sp>
      <p:grpSp>
        <p:nvGrpSpPr>
          <p:cNvPr id="28" name="Group 27"/>
          <p:cNvGrpSpPr/>
          <p:nvPr userDrawn="1"/>
        </p:nvGrpSpPr>
        <p:grpSpPr>
          <a:xfrm>
            <a:off x="12284310" y="2497574"/>
            <a:ext cx="1389888" cy="1233768"/>
            <a:chOff x="9215268" y="3023356"/>
            <a:chExt cx="1389888" cy="1233768"/>
          </a:xfrm>
        </p:grpSpPr>
        <p:sp>
          <p:nvSpPr>
            <p:cNvPr id="29" name="Rectangle 28"/>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30" name="Rectangle 29"/>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grpSp>
        <p:nvGrpSpPr>
          <p:cNvPr id="31" name="Group 30"/>
          <p:cNvGrpSpPr/>
          <p:nvPr userDrawn="1"/>
        </p:nvGrpSpPr>
        <p:grpSpPr>
          <a:xfrm>
            <a:off x="12287025" y="3841031"/>
            <a:ext cx="1388611" cy="1588569"/>
            <a:chOff x="13673268" y="2618012"/>
            <a:chExt cx="3060457" cy="3501159"/>
          </a:xfrm>
        </p:grpSpPr>
        <p:pic>
          <p:nvPicPr>
            <p:cNvPr id="36" name="Picture 3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673268" y="4393853"/>
              <a:ext cx="3060457" cy="1725318"/>
            </a:xfrm>
            <a:prstGeom prst="rect">
              <a:avLst/>
            </a:prstGeom>
          </p:spPr>
        </p:pic>
        <p:pic>
          <p:nvPicPr>
            <p:cNvPr id="37" name="Picture 3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3673268" y="2618012"/>
              <a:ext cx="3060457" cy="1725318"/>
            </a:xfrm>
            <a:prstGeom prst="rect">
              <a:avLst/>
            </a:prstGeom>
          </p:spPr>
        </p:pic>
      </p:grpSp>
    </p:spTree>
    <p:extLst>
      <p:ext uri="{BB962C8B-B14F-4D97-AF65-F5344CB8AC3E}">
        <p14:creationId xmlns:p14="http://schemas.microsoft.com/office/powerpoint/2010/main" val="2650078471"/>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ontact / Auth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6" name="Text Placeholder 7"/>
          <p:cNvSpPr>
            <a:spLocks noGrp="1"/>
          </p:cNvSpPr>
          <p:nvPr>
            <p:ph type="body" sz="quarter" idx="13" hasCustomPrompt="1"/>
          </p:nvPr>
        </p:nvSpPr>
        <p:spPr>
          <a:xfrm>
            <a:off x="411480" y="4249619"/>
            <a:ext cx="5512297" cy="332160"/>
          </a:xfrm>
        </p:spPr>
        <p:txBody>
          <a:bodyPr anchor="ctr">
            <a:noAutofit/>
          </a:bodyPr>
          <a:lstStyle>
            <a:lvl1pPr marL="0" indent="0">
              <a:spcBef>
                <a:spcPts val="0"/>
              </a:spcBef>
              <a:spcAft>
                <a:spcPts val="0"/>
              </a:spcAft>
              <a:buNone/>
              <a:defRPr sz="1800" b="1"/>
            </a:lvl1pPr>
            <a:lvl2pPr marL="169863" indent="0">
              <a:buNone/>
              <a:defRPr/>
            </a:lvl2pPr>
          </a:lstStyle>
          <a:p>
            <a:pPr lvl="0"/>
            <a:r>
              <a:rPr lang="en-US" dirty="0"/>
              <a:t>Click to add name</a:t>
            </a:r>
          </a:p>
        </p:txBody>
      </p:sp>
      <p:sp>
        <p:nvSpPr>
          <p:cNvPr id="8" name="Text Placeholder 7"/>
          <p:cNvSpPr>
            <a:spLocks noGrp="1"/>
          </p:cNvSpPr>
          <p:nvPr>
            <p:ph type="body" sz="quarter" idx="14" hasCustomPrompt="1"/>
          </p:nvPr>
        </p:nvSpPr>
        <p:spPr>
          <a:xfrm>
            <a:off x="414529" y="4506881"/>
            <a:ext cx="5512297" cy="640744"/>
          </a:xfrm>
        </p:spPr>
        <p:txBody>
          <a:bodyPr anchor="t">
            <a:noAutofit/>
          </a:bodyPr>
          <a:lstStyle>
            <a:lvl1pPr marL="0" indent="0">
              <a:spcBef>
                <a:spcPts val="0"/>
              </a:spcBef>
              <a:spcAft>
                <a:spcPts val="0"/>
              </a:spcAft>
              <a:buNone/>
              <a:defRPr sz="1400" b="0" i="0"/>
            </a:lvl1pPr>
            <a:lvl2pPr marL="169863" indent="0">
              <a:buNone/>
              <a:defRPr/>
            </a:lvl2pPr>
          </a:lstStyle>
          <a:p>
            <a:pPr lvl="0"/>
            <a:r>
              <a:rPr lang="en-US" dirty="0"/>
              <a:t>Click to add title</a:t>
            </a:r>
          </a:p>
        </p:txBody>
      </p:sp>
      <p:sp>
        <p:nvSpPr>
          <p:cNvPr id="9" name="Text Placeholder 7"/>
          <p:cNvSpPr>
            <a:spLocks noGrp="1"/>
          </p:cNvSpPr>
          <p:nvPr>
            <p:ph type="body" sz="quarter" idx="15" hasCustomPrompt="1"/>
          </p:nvPr>
        </p:nvSpPr>
        <p:spPr>
          <a:xfrm>
            <a:off x="411480" y="5244905"/>
            <a:ext cx="5512297"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0" name="Text Placeholder 7"/>
          <p:cNvSpPr>
            <a:spLocks noGrp="1"/>
          </p:cNvSpPr>
          <p:nvPr>
            <p:ph type="body" sz="quarter" idx="16" hasCustomPrompt="1"/>
          </p:nvPr>
        </p:nvSpPr>
        <p:spPr>
          <a:xfrm>
            <a:off x="411482" y="5545454"/>
            <a:ext cx="5512297"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1" name="Text Placeholder 7"/>
          <p:cNvSpPr>
            <a:spLocks noGrp="1"/>
          </p:cNvSpPr>
          <p:nvPr>
            <p:ph type="body" sz="quarter" idx="17" hasCustomPrompt="1"/>
          </p:nvPr>
        </p:nvSpPr>
        <p:spPr>
          <a:xfrm>
            <a:off x="6105962" y="4249619"/>
            <a:ext cx="5512297" cy="332160"/>
          </a:xfrm>
        </p:spPr>
        <p:txBody>
          <a:bodyPr anchor="ctr">
            <a:noAutofit/>
          </a:bodyPr>
          <a:lstStyle>
            <a:lvl1pPr marL="0" indent="0">
              <a:spcBef>
                <a:spcPts val="0"/>
              </a:spcBef>
              <a:spcAft>
                <a:spcPts val="0"/>
              </a:spcAft>
              <a:buNone/>
              <a:defRPr sz="1800" b="1"/>
            </a:lvl1pPr>
            <a:lvl2pPr marL="169863" indent="0">
              <a:buNone/>
              <a:defRPr/>
            </a:lvl2pPr>
          </a:lstStyle>
          <a:p>
            <a:pPr lvl="0"/>
            <a:r>
              <a:rPr lang="en-US" dirty="0"/>
              <a:t>Click to add name</a:t>
            </a:r>
          </a:p>
        </p:txBody>
      </p:sp>
      <p:sp>
        <p:nvSpPr>
          <p:cNvPr id="12" name="Text Placeholder 7"/>
          <p:cNvSpPr>
            <a:spLocks noGrp="1"/>
          </p:cNvSpPr>
          <p:nvPr>
            <p:ph type="body" sz="quarter" idx="18" hasCustomPrompt="1"/>
          </p:nvPr>
        </p:nvSpPr>
        <p:spPr>
          <a:xfrm>
            <a:off x="6105962" y="4506881"/>
            <a:ext cx="5512297" cy="640744"/>
          </a:xfrm>
        </p:spPr>
        <p:txBody>
          <a:bodyPr anchor="t">
            <a:noAutofit/>
          </a:bodyPr>
          <a:lstStyle>
            <a:lvl1pPr marL="0" indent="0">
              <a:spcBef>
                <a:spcPts val="0"/>
              </a:spcBef>
              <a:spcAft>
                <a:spcPts val="0"/>
              </a:spcAft>
              <a:buNone/>
              <a:defRPr sz="1400" b="0" i="0"/>
            </a:lvl1pPr>
            <a:lvl2pPr marL="169863" indent="0">
              <a:buNone/>
              <a:defRPr/>
            </a:lvl2pPr>
          </a:lstStyle>
          <a:p>
            <a:pPr lvl="0"/>
            <a:r>
              <a:rPr lang="en-US" dirty="0"/>
              <a:t>Click to add title</a:t>
            </a:r>
          </a:p>
        </p:txBody>
      </p:sp>
      <p:sp>
        <p:nvSpPr>
          <p:cNvPr id="13" name="Text Placeholder 7"/>
          <p:cNvSpPr>
            <a:spLocks noGrp="1"/>
          </p:cNvSpPr>
          <p:nvPr>
            <p:ph type="body" sz="quarter" idx="19" hasCustomPrompt="1"/>
          </p:nvPr>
        </p:nvSpPr>
        <p:spPr>
          <a:xfrm>
            <a:off x="6105962" y="5244905"/>
            <a:ext cx="5512297"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4" name="Text Placeholder 7"/>
          <p:cNvSpPr>
            <a:spLocks noGrp="1"/>
          </p:cNvSpPr>
          <p:nvPr>
            <p:ph type="body" sz="quarter" idx="20" hasCustomPrompt="1"/>
          </p:nvPr>
        </p:nvSpPr>
        <p:spPr>
          <a:xfrm>
            <a:off x="6105964" y="5545454"/>
            <a:ext cx="5512297"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5" name="Text Placeholder 7"/>
          <p:cNvSpPr>
            <a:spLocks noGrp="1"/>
          </p:cNvSpPr>
          <p:nvPr>
            <p:ph type="body" sz="quarter" idx="21" hasCustomPrompt="1"/>
          </p:nvPr>
        </p:nvSpPr>
        <p:spPr>
          <a:xfrm>
            <a:off x="411482" y="5846003"/>
            <a:ext cx="5512297"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6" name="Text Placeholder 7"/>
          <p:cNvSpPr>
            <a:spLocks noGrp="1"/>
          </p:cNvSpPr>
          <p:nvPr>
            <p:ph type="body" sz="quarter" idx="22" hasCustomPrompt="1"/>
          </p:nvPr>
        </p:nvSpPr>
        <p:spPr>
          <a:xfrm>
            <a:off x="6105964" y="5846003"/>
            <a:ext cx="5512297"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8" name="Picture Placeholder 17"/>
          <p:cNvSpPr>
            <a:spLocks noGrp="1"/>
          </p:cNvSpPr>
          <p:nvPr>
            <p:ph type="pic" sz="quarter" idx="23" hasCustomPrompt="1"/>
          </p:nvPr>
        </p:nvSpPr>
        <p:spPr>
          <a:xfrm>
            <a:off x="411479" y="1903422"/>
            <a:ext cx="2233084" cy="2187575"/>
          </a:xfrm>
          <a:pattFill prst="pct5">
            <a:fgClr>
              <a:schemeClr val="accent1"/>
            </a:fgClr>
            <a:bgClr>
              <a:schemeClr val="bg1"/>
            </a:bgClr>
          </a:pattFill>
        </p:spPr>
        <p:txBody>
          <a:bodyPr anchor="ctr"/>
          <a:lstStyle>
            <a:lvl1pPr marL="0" indent="0" algn="ctr">
              <a:buNone/>
              <a:defRPr b="1"/>
            </a:lvl1pPr>
          </a:lstStyle>
          <a:p>
            <a:r>
              <a:rPr lang="en-US" dirty="0"/>
              <a:t>Click to add portrait photo or remove</a:t>
            </a:r>
          </a:p>
        </p:txBody>
      </p:sp>
      <p:sp>
        <p:nvSpPr>
          <p:cNvPr id="19" name="Picture Placeholder 17"/>
          <p:cNvSpPr>
            <a:spLocks noGrp="1"/>
          </p:cNvSpPr>
          <p:nvPr>
            <p:ph type="pic" sz="quarter" idx="24" hasCustomPrompt="1"/>
          </p:nvPr>
        </p:nvSpPr>
        <p:spPr>
          <a:xfrm>
            <a:off x="6093968" y="1901254"/>
            <a:ext cx="2233084" cy="2187575"/>
          </a:xfrm>
          <a:pattFill prst="pct5">
            <a:fgClr>
              <a:schemeClr val="accent1"/>
            </a:fgClr>
            <a:bgClr>
              <a:schemeClr val="bg1"/>
            </a:bgClr>
          </a:pattFill>
        </p:spPr>
        <p:txBody>
          <a:bodyPr anchor="ctr"/>
          <a:lstStyle>
            <a:lvl1pPr marL="0" indent="0" algn="ctr">
              <a:buNone/>
              <a:defRPr b="1" baseline="0"/>
            </a:lvl1pPr>
          </a:lstStyle>
          <a:p>
            <a:r>
              <a:rPr lang="en-US" dirty="0"/>
              <a:t>Click to add portrait photo or remove</a:t>
            </a:r>
          </a:p>
        </p:txBody>
      </p:sp>
      <p:sp>
        <p:nvSpPr>
          <p:cNvPr id="20" name="Rectangle 19"/>
          <p:cNvSpPr/>
          <p:nvPr/>
        </p:nvSpPr>
        <p:spPr>
          <a:xfrm>
            <a:off x="12287026" y="-4042"/>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act</a:t>
            </a:r>
          </a:p>
          <a:p>
            <a:pPr algn="l"/>
            <a:r>
              <a:rPr lang="en-US" sz="1000" b="0" baseline="0" dirty="0">
                <a:solidFill>
                  <a:schemeClr val="tx1"/>
                </a:solidFill>
              </a:rPr>
              <a:t>Use for contact or author information. </a:t>
            </a:r>
          </a:p>
          <a:p>
            <a:pPr algn="l"/>
            <a:r>
              <a:rPr lang="en-US" sz="1000" b="0" baseline="0" dirty="0">
                <a:solidFill>
                  <a:schemeClr val="tx1"/>
                </a:solidFill>
              </a:rPr>
              <a:t>Remove placeholders not used. </a:t>
            </a:r>
          </a:p>
        </p:txBody>
      </p:sp>
      <p:grpSp>
        <p:nvGrpSpPr>
          <p:cNvPr id="21" name="Group 20"/>
          <p:cNvGrpSpPr/>
          <p:nvPr/>
        </p:nvGrpSpPr>
        <p:grpSpPr>
          <a:xfrm>
            <a:off x="12284309" y="2497574"/>
            <a:ext cx="1389888" cy="1233768"/>
            <a:chOff x="9215268" y="3023356"/>
            <a:chExt cx="1389888" cy="1233768"/>
          </a:xfrm>
        </p:grpSpPr>
        <p:sp>
          <p:nvSpPr>
            <p:cNvPr id="23" name="Rectangle 22"/>
            <p:cNvSpPr/>
            <p:nvPr/>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4" name="Rectangle 23"/>
            <p:cNvSpPr/>
            <p:nvPr/>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22" name="Rectangle 21"/>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act</a:t>
            </a:r>
          </a:p>
          <a:p>
            <a:pPr algn="l"/>
            <a:r>
              <a:rPr lang="en-US" sz="1000" b="0" baseline="0" dirty="0">
                <a:solidFill>
                  <a:schemeClr val="tx1"/>
                </a:solidFill>
              </a:rPr>
              <a:t>Use for contact or author information. </a:t>
            </a:r>
          </a:p>
          <a:p>
            <a:pPr algn="l"/>
            <a:r>
              <a:rPr lang="en-US" sz="1000" b="0" baseline="0" dirty="0">
                <a:solidFill>
                  <a:schemeClr val="tx1"/>
                </a:solidFill>
              </a:rPr>
              <a:t>Remove placeholders not used. </a:t>
            </a:r>
          </a:p>
        </p:txBody>
      </p:sp>
      <p:grpSp>
        <p:nvGrpSpPr>
          <p:cNvPr id="25" name="Group 24"/>
          <p:cNvGrpSpPr/>
          <p:nvPr userDrawn="1"/>
        </p:nvGrpSpPr>
        <p:grpSpPr>
          <a:xfrm>
            <a:off x="12284310" y="2497574"/>
            <a:ext cx="1389888" cy="1233768"/>
            <a:chOff x="9215268" y="3023356"/>
            <a:chExt cx="1389888" cy="1233768"/>
          </a:xfrm>
        </p:grpSpPr>
        <p:sp>
          <p:nvSpPr>
            <p:cNvPr id="26" name="Rectangle 25"/>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7" name="Rectangle 26"/>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98996047"/>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ontent Big point">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6"/>
            <a:ext cx="11371072" cy="868680"/>
          </a:xfrm>
        </p:spPr>
        <p:txBody>
          <a:bodyPr anchor="t"/>
          <a:lstStyle>
            <a:lvl1pPr>
              <a:defRPr sz="2800"/>
            </a:lvl1pPr>
          </a:lstStyle>
          <a:p>
            <a:r>
              <a:rPr lang="en-US"/>
              <a:t>Click to edit Master title style</a:t>
            </a:r>
            <a:endParaRPr lang="en-US" dirty="0"/>
          </a:p>
        </p:txBody>
      </p:sp>
      <p:sp>
        <p:nvSpPr>
          <p:cNvPr id="3" name="Content Placeholder 2"/>
          <p:cNvSpPr>
            <a:spLocks noGrp="1"/>
          </p:cNvSpPr>
          <p:nvPr>
            <p:ph idx="1"/>
          </p:nvPr>
        </p:nvSpPr>
        <p:spPr>
          <a:xfrm>
            <a:off x="6789033" y="1290638"/>
            <a:ext cx="4984377" cy="4381500"/>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11482" y="1290638"/>
            <a:ext cx="6012329" cy="4381500"/>
          </a:xfrm>
        </p:spPr>
        <p:txBody>
          <a:bodyPr>
            <a:normAutofit/>
          </a:bodyPr>
          <a:lstStyle>
            <a:lvl1pPr marL="0" indent="0">
              <a:buNone/>
              <a:defRPr sz="4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Private &amp; Confidential</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4" name="Text Placeholder 11"/>
          <p:cNvSpPr>
            <a:spLocks noGrp="1"/>
          </p:cNvSpPr>
          <p:nvPr>
            <p:ph type="body" sz="quarter" idx="15"/>
          </p:nvPr>
        </p:nvSpPr>
        <p:spPr>
          <a:xfrm>
            <a:off x="414530"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2" name="Rectangle 11"/>
          <p:cNvSpPr/>
          <p:nvPr/>
        </p:nvSpPr>
        <p:spPr>
          <a:xfrm>
            <a:off x="12287026" y="-4041"/>
            <a:ext cx="1386247" cy="36247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Big Point</a:t>
            </a:r>
          </a:p>
          <a:p>
            <a:pPr algn="l"/>
            <a:r>
              <a:rPr lang="en-US" sz="1000" b="0" baseline="0" dirty="0">
                <a:solidFill>
                  <a:schemeClr val="tx1"/>
                </a:solidFill>
              </a:rPr>
              <a:t>Level 1 has a bullet turned on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a:p>
            <a:pPr algn="l"/>
            <a:endParaRPr lang="sv-SE" sz="1000" b="0" baseline="0" dirty="0">
              <a:solidFill>
                <a:schemeClr val="tx1"/>
              </a:solidFill>
            </a:endParaRPr>
          </a:p>
          <a:p>
            <a:pPr algn="l"/>
            <a:endParaRPr lang="sv-SE" sz="1000" b="0" baseline="0" dirty="0">
              <a:solidFill>
                <a:schemeClr val="tx1"/>
              </a:solidFill>
            </a:endParaRPr>
          </a:p>
          <a:p>
            <a:pPr algn="l"/>
            <a:endParaRPr lang="sv-SE" sz="1000" b="0" baseline="0" dirty="0">
              <a:solidFill>
                <a:schemeClr val="tx1"/>
              </a:solidFill>
            </a:endParaRPr>
          </a:p>
          <a:p>
            <a:pPr algn="l"/>
            <a:r>
              <a:rPr lang="sv-SE" sz="1000" b="0" baseline="0" dirty="0">
                <a:solidFill>
                  <a:schemeClr val="tx1"/>
                </a:solidFill>
              </a:rPr>
              <a:t>U</a:t>
            </a:r>
            <a:r>
              <a:rPr lang="en-US" sz="1000" b="0" baseline="0" dirty="0">
                <a:solidFill>
                  <a:schemeClr val="tx1"/>
                </a:solidFill>
              </a:rPr>
              <a:t>se </a:t>
            </a:r>
            <a:r>
              <a:rPr lang="en-US" sz="1000" b="0" baseline="0" dirty="0">
                <a:solidFill>
                  <a:srgbClr val="D6002A"/>
                </a:solidFill>
              </a:rPr>
              <a:t>S&amp;P Global Red </a:t>
            </a:r>
            <a:r>
              <a:rPr lang="en-US" sz="1000" b="0" baseline="0" dirty="0">
                <a:solidFill>
                  <a:schemeClr val="tx1"/>
                </a:solidFill>
              </a:rPr>
              <a:t>to highlight key words in your point. </a:t>
            </a:r>
          </a:p>
          <a:p>
            <a:pPr algn="l"/>
            <a:r>
              <a:rPr lang="en-US" sz="1000" b="0" baseline="0" dirty="0">
                <a:solidFill>
                  <a:schemeClr val="tx1"/>
                </a:solidFill>
              </a:rPr>
              <a:t>It’s available in the custom color palette.</a:t>
            </a:r>
          </a:p>
        </p:txBody>
      </p:sp>
      <p:pic>
        <p:nvPicPr>
          <p:cNvPr id="13" name="bullets"/>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2345151" y="1307765"/>
            <a:ext cx="277342" cy="241890"/>
          </a:xfrm>
          <a:prstGeom prst="rect">
            <a:avLst/>
          </a:prstGeom>
          <a:ln>
            <a:noFill/>
          </a:ln>
        </p:spPr>
      </p:pic>
      <p:pic>
        <p:nvPicPr>
          <p:cNvPr id="17" name="increase list level"/>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2342987" y="2222894"/>
            <a:ext cx="391317" cy="241890"/>
          </a:xfrm>
          <a:prstGeom prst="rect">
            <a:avLst/>
          </a:prstGeom>
        </p:spPr>
      </p:pic>
      <p:sp>
        <p:nvSpPr>
          <p:cNvPr id="18" name="Rectangle 17"/>
          <p:cNvSpPr/>
          <p:nvPr/>
        </p:nvSpPr>
        <p:spPr>
          <a:xfrm>
            <a:off x="12342989" y="3429001"/>
            <a:ext cx="126396"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5" name="Rectangle 14"/>
          <p:cNvSpPr/>
          <p:nvPr userDrawn="1"/>
        </p:nvSpPr>
        <p:spPr>
          <a:xfrm>
            <a:off x="12287025" y="-4042"/>
            <a:ext cx="1386247" cy="36247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Big Point</a:t>
            </a:r>
          </a:p>
          <a:p>
            <a:pPr algn="l"/>
            <a:r>
              <a:rPr lang="en-US" sz="1000" b="0" baseline="0" dirty="0">
                <a:solidFill>
                  <a:schemeClr val="tx1"/>
                </a:solidFill>
              </a:rPr>
              <a:t>Level 1 has a bullet turned on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a:p>
            <a:pPr algn="l"/>
            <a:endParaRPr lang="sv-SE" sz="1000" b="0" baseline="0" dirty="0">
              <a:solidFill>
                <a:schemeClr val="tx1"/>
              </a:solidFill>
            </a:endParaRPr>
          </a:p>
          <a:p>
            <a:pPr algn="l"/>
            <a:endParaRPr lang="sv-SE" sz="1000" b="0" baseline="0" dirty="0">
              <a:solidFill>
                <a:schemeClr val="tx1"/>
              </a:solidFill>
            </a:endParaRPr>
          </a:p>
          <a:p>
            <a:pPr algn="l"/>
            <a:endParaRPr lang="sv-SE" sz="1000" b="0" baseline="0" dirty="0">
              <a:solidFill>
                <a:schemeClr val="tx1"/>
              </a:solidFill>
            </a:endParaRPr>
          </a:p>
          <a:p>
            <a:pPr algn="l"/>
            <a:r>
              <a:rPr lang="sv-SE" sz="1000" b="0" baseline="0" dirty="0">
                <a:solidFill>
                  <a:schemeClr val="tx1"/>
                </a:solidFill>
              </a:rPr>
              <a:t>U</a:t>
            </a:r>
            <a:r>
              <a:rPr lang="en-US" sz="1000" b="0" baseline="0" dirty="0">
                <a:solidFill>
                  <a:schemeClr val="tx1"/>
                </a:solidFill>
              </a:rPr>
              <a:t>se </a:t>
            </a:r>
            <a:r>
              <a:rPr lang="en-US" sz="1000" b="0" baseline="0" dirty="0">
                <a:solidFill>
                  <a:srgbClr val="D6002A"/>
                </a:solidFill>
              </a:rPr>
              <a:t>S&amp;P Global Red </a:t>
            </a:r>
            <a:r>
              <a:rPr lang="en-US" sz="1000" b="0" baseline="0" dirty="0">
                <a:solidFill>
                  <a:schemeClr val="tx1"/>
                </a:solidFill>
              </a:rPr>
              <a:t>to highlight key words in your point. </a:t>
            </a:r>
          </a:p>
          <a:p>
            <a:pPr algn="l"/>
            <a:r>
              <a:rPr lang="en-US" sz="1000" b="0" baseline="0" dirty="0">
                <a:solidFill>
                  <a:schemeClr val="tx1"/>
                </a:solidFill>
              </a:rPr>
              <a:t>It’s available in the custom color palette.</a:t>
            </a:r>
          </a:p>
        </p:txBody>
      </p:sp>
      <p:pic>
        <p:nvPicPr>
          <p:cNvPr id="16" name="bullets"/>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2345151" y="1307765"/>
            <a:ext cx="277342" cy="241890"/>
          </a:xfrm>
          <a:prstGeom prst="rect">
            <a:avLst/>
          </a:prstGeom>
          <a:ln>
            <a:noFill/>
          </a:ln>
        </p:spPr>
      </p:pic>
      <p:pic>
        <p:nvPicPr>
          <p:cNvPr id="19" name="increase list level"/>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342987" y="2222893"/>
            <a:ext cx="391318" cy="241890"/>
          </a:xfrm>
          <a:prstGeom prst="rect">
            <a:avLst/>
          </a:prstGeom>
        </p:spPr>
      </p:pic>
      <p:sp>
        <p:nvSpPr>
          <p:cNvPr id="20" name="Rectangle 19"/>
          <p:cNvSpPr/>
          <p:nvPr userDrawn="1"/>
        </p:nvSpPr>
        <p:spPr>
          <a:xfrm>
            <a:off x="12342987" y="3429000"/>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4180656195"/>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95FF20-8A8D-E947-9AC5-AD169581488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033510D-1B14-B847-A21E-168F8D93740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3370413-F253-6841-BF6B-351C6A12E1F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78E7982-DB3B-8E4A-AD40-67DA093CD51F}"/>
              </a:ext>
            </a:extLst>
          </p:cNvPr>
          <p:cNvSpPr>
            <a:spLocks noGrp="1"/>
          </p:cNvSpPr>
          <p:nvPr>
            <p:ph type="dt" sz="half" idx="10"/>
          </p:nvPr>
        </p:nvSpPr>
        <p:spPr/>
        <p:txBody>
          <a:bodyPr/>
          <a:lstStyle/>
          <a:p>
            <a:fld id="{92F427D0-34EB-7F4F-A4A2-2357E7D45014}" type="datetimeFigureOut">
              <a:rPr lang="en-US" smtClean="0"/>
              <a:t>6/18/2020</a:t>
            </a:fld>
            <a:endParaRPr lang="en-US" dirty="0"/>
          </a:p>
        </p:txBody>
      </p:sp>
      <p:sp>
        <p:nvSpPr>
          <p:cNvPr id="6" name="Footer Placeholder 5">
            <a:extLst>
              <a:ext uri="{FF2B5EF4-FFF2-40B4-BE49-F238E27FC236}">
                <a16:creationId xmlns:a16="http://schemas.microsoft.com/office/drawing/2014/main" id="{923C36C4-DB30-6744-BAF5-523C27876D4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9A6D78B5-17C6-1049-A0C9-16BE6AF1AACD}"/>
              </a:ext>
            </a:extLst>
          </p:cNvPr>
          <p:cNvSpPr>
            <a:spLocks noGrp="1"/>
          </p:cNvSpPr>
          <p:nvPr>
            <p:ph type="sldNum" sz="quarter" idx="12"/>
          </p:nvPr>
        </p:nvSpPr>
        <p:spPr/>
        <p:txBody>
          <a:bodyPr/>
          <a:lstStyle/>
          <a:p>
            <a:fld id="{3C02FF7F-7EE0-DE4E-B4BA-8D5E63CE8E28}" type="slidenum">
              <a:rPr lang="en-US" smtClean="0"/>
              <a:t>‹#›</a:t>
            </a:fld>
            <a:endParaRPr lang="en-US" dirty="0"/>
          </a:p>
        </p:txBody>
      </p:sp>
    </p:spTree>
    <p:extLst>
      <p:ext uri="{BB962C8B-B14F-4D97-AF65-F5344CB8AC3E}">
        <p14:creationId xmlns:p14="http://schemas.microsoft.com/office/powerpoint/2010/main" val="25735841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Quot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1481" y="219456"/>
            <a:ext cx="9490635" cy="5180498"/>
          </a:xfrm>
        </p:spPr>
        <p:txBody>
          <a:bodyPr tIns="0" anchor="t">
            <a:normAutofit/>
          </a:bodyPr>
          <a:lstStyle>
            <a:lvl1pPr>
              <a:defRPr sz="5400" b="1"/>
            </a:lvl1pPr>
          </a:lstStyle>
          <a:p>
            <a:r>
              <a:rPr lang="en-US" dirty="0"/>
              <a:t>Add quote and highlight key word in S&amp;P Global red</a:t>
            </a:r>
          </a:p>
        </p:txBody>
      </p:sp>
      <p:sp>
        <p:nvSpPr>
          <p:cNvPr id="3" name="Text Placeholder 2"/>
          <p:cNvSpPr>
            <a:spLocks noGrp="1"/>
          </p:cNvSpPr>
          <p:nvPr>
            <p:ph type="body" idx="1" hasCustomPrompt="1"/>
          </p:nvPr>
        </p:nvSpPr>
        <p:spPr>
          <a:xfrm>
            <a:off x="411481" y="5399955"/>
            <a:ext cx="9490635" cy="691285"/>
          </a:xfrm>
        </p:spPr>
        <p:txBody>
          <a:bodyPr wrap="square" anchor="t">
            <a:normAutofit/>
          </a:bodyPr>
          <a:lstStyle>
            <a:lvl1pPr marL="0" indent="0">
              <a:spcBef>
                <a:spcPts val="0"/>
              </a:spcBef>
              <a:buNone/>
              <a:defRPr sz="2400" i="1">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source</a:t>
            </a:r>
          </a:p>
        </p:txBody>
      </p:sp>
      <p:sp>
        <p:nvSpPr>
          <p:cNvPr id="5" name="Rectangle 4"/>
          <p:cNvSpPr/>
          <p:nvPr/>
        </p:nvSpPr>
        <p:spPr>
          <a:xfrm>
            <a:off x="12287026" y="-4042"/>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dirty="0">
                <a:solidFill>
                  <a:schemeClr val="tx1"/>
                </a:solidFill>
              </a:rPr>
              <a:t>Quo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aseline="0" dirty="0">
                <a:solidFill>
                  <a:schemeClr val="tx1"/>
                </a:solidFill>
              </a:rPr>
              <a:t>Add quote and highlight key word in </a:t>
            </a:r>
            <a:r>
              <a:rPr lang="en-US" sz="1000" b="0" baseline="0" dirty="0">
                <a:solidFill>
                  <a:srgbClr val="D6002A"/>
                </a:solidFill>
              </a:rPr>
              <a:t>S&amp;P Global Red </a:t>
            </a:r>
            <a:r>
              <a:rPr lang="en-US" sz="1000" b="0" baseline="0" dirty="0">
                <a:solidFill>
                  <a:schemeClr val="tx1"/>
                </a:solidFill>
              </a:rPr>
              <a:t>if needed to make a poin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baseline="0" dirty="0">
                <a:solidFill>
                  <a:schemeClr val="tx1"/>
                </a:solidFill>
              </a:rPr>
              <a:t>It’s available in the custom color palet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0" baseline="0" dirty="0">
              <a:solidFill>
                <a:schemeClr val="tx1"/>
              </a:solidFill>
            </a:endParaRPr>
          </a:p>
          <a:p>
            <a:pPr algn="l"/>
            <a:endParaRPr lang="en-US" sz="1000" dirty="0">
              <a:solidFill>
                <a:schemeClr val="tx1"/>
              </a:solidFill>
            </a:endParaRPr>
          </a:p>
        </p:txBody>
      </p:sp>
      <p:sp>
        <p:nvSpPr>
          <p:cNvPr id="6" name="Rectangle 5"/>
          <p:cNvSpPr/>
          <p:nvPr/>
        </p:nvSpPr>
        <p:spPr>
          <a:xfrm>
            <a:off x="12342989" y="1312107"/>
            <a:ext cx="126396"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 name="Rectangle 6"/>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dirty="0">
                <a:solidFill>
                  <a:schemeClr val="tx1"/>
                </a:solidFill>
              </a:rPr>
              <a:t>Quo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aseline="0" dirty="0">
                <a:solidFill>
                  <a:schemeClr val="tx1"/>
                </a:solidFill>
              </a:rPr>
              <a:t>Add quote and highlight key word in </a:t>
            </a:r>
            <a:r>
              <a:rPr lang="en-US" sz="1000" b="0" baseline="0" dirty="0">
                <a:solidFill>
                  <a:srgbClr val="D6002A"/>
                </a:solidFill>
              </a:rPr>
              <a:t>S&amp;P Global Red </a:t>
            </a:r>
            <a:r>
              <a:rPr lang="en-US" sz="1000" b="0" baseline="0" dirty="0">
                <a:solidFill>
                  <a:schemeClr val="tx1"/>
                </a:solidFill>
              </a:rPr>
              <a:t>if needed to make a poin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baseline="0" dirty="0">
                <a:solidFill>
                  <a:schemeClr val="tx1"/>
                </a:solidFill>
              </a:rPr>
              <a:t>It’s available in the custom color palet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0" baseline="0" dirty="0">
              <a:solidFill>
                <a:schemeClr val="tx1"/>
              </a:solidFill>
            </a:endParaRPr>
          </a:p>
          <a:p>
            <a:pPr algn="l"/>
            <a:endParaRPr lang="en-US" sz="1000" dirty="0">
              <a:solidFill>
                <a:schemeClr val="tx1"/>
              </a:solidFill>
            </a:endParaRPr>
          </a:p>
        </p:txBody>
      </p:sp>
      <p:sp>
        <p:nvSpPr>
          <p:cNvPr id="8" name="Rectangle 7"/>
          <p:cNvSpPr/>
          <p:nvPr userDrawn="1"/>
        </p:nvSpPr>
        <p:spPr>
          <a:xfrm>
            <a:off x="12342987" y="1312106"/>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2235849811"/>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hart &amp; Table + chart title">
    <p:spTree>
      <p:nvGrpSpPr>
        <p:cNvPr id="1" name=""/>
        <p:cNvGrpSpPr/>
        <p:nvPr/>
      </p:nvGrpSpPr>
      <p:grpSpPr>
        <a:xfrm>
          <a:off x="0" y="0"/>
          <a:ext cx="0" cy="0"/>
          <a:chOff x="0" y="0"/>
          <a:chExt cx="0" cy="0"/>
        </a:xfrm>
      </p:grpSpPr>
      <p:sp>
        <p:nvSpPr>
          <p:cNvPr id="8" name="Text Placeholder 7"/>
          <p:cNvSpPr>
            <a:spLocks noGrp="1"/>
          </p:cNvSpPr>
          <p:nvPr>
            <p:ph type="body" sz="quarter" idx="17" hasCustomPrompt="1"/>
          </p:nvPr>
        </p:nvSpPr>
        <p:spPr>
          <a:xfrm>
            <a:off x="411481" y="1103201"/>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800" baseline="0"/>
            </a:lvl1pPr>
          </a:lstStyle>
          <a:p>
            <a:pPr lvl="0"/>
            <a:r>
              <a:rPr lang="en-US" dirty="0"/>
              <a:t>Add chart headline                         (max 2 rows)</a:t>
            </a:r>
          </a:p>
        </p:txBody>
      </p:sp>
      <p:sp>
        <p:nvSpPr>
          <p:cNvPr id="11" name="Text Placeholder 7"/>
          <p:cNvSpPr>
            <a:spLocks noGrp="1"/>
          </p:cNvSpPr>
          <p:nvPr>
            <p:ph type="body" sz="quarter" idx="18" hasCustomPrompt="1"/>
          </p:nvPr>
        </p:nvSpPr>
        <p:spPr>
          <a:xfrm>
            <a:off x="6547468" y="1103201"/>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800" baseline="0"/>
            </a:lvl1pPr>
          </a:lstStyle>
          <a:p>
            <a:pPr lvl="0"/>
            <a:r>
              <a:rPr lang="en-US" dirty="0"/>
              <a:t>Add chart headline or remove       (max 2 rows)</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hasCustomPrompt="1"/>
          </p:nvPr>
        </p:nvSpPr>
        <p:spPr>
          <a:xfrm>
            <a:off x="411482" y="1884219"/>
            <a:ext cx="5246626" cy="3787921"/>
          </a:xfrm>
        </p:spPr>
        <p:txBody>
          <a:bodyPr>
            <a:noAutofit/>
          </a:bodyPr>
          <a:lstStyle>
            <a:lvl1pPr>
              <a:defRPr sz="1800"/>
            </a:lvl1pPr>
            <a:lvl2pPr>
              <a:defRPr sz="1600"/>
            </a:lvl2pPr>
            <a:lvl3pPr>
              <a:defRPr sz="1400"/>
            </a:lvl3pPr>
            <a:lvl4pPr>
              <a:defRPr sz="1400"/>
            </a:lvl4pPr>
            <a:lvl5pPr>
              <a:defRPr sz="1400"/>
            </a:lvl5pPr>
          </a:lstStyle>
          <a:p>
            <a:pPr lvl="0"/>
            <a:r>
              <a:rPr lang="en-US" dirty="0"/>
              <a:t>Click to add text, chart, table or SmartArt and resize right as needed</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2" name="Content Placeholder 2"/>
          <p:cNvSpPr>
            <a:spLocks noGrp="1"/>
          </p:cNvSpPr>
          <p:nvPr>
            <p:ph sz="half" idx="19" hasCustomPrompt="1"/>
          </p:nvPr>
        </p:nvSpPr>
        <p:spPr>
          <a:xfrm>
            <a:off x="6543405" y="1884219"/>
            <a:ext cx="5246626" cy="3787921"/>
          </a:xfrm>
        </p:spPr>
        <p:txBody>
          <a:bodyPr>
            <a:noAutofit/>
          </a:bodyPr>
          <a:lstStyle>
            <a:lvl1pPr>
              <a:defRPr sz="1800" baseline="0"/>
            </a:lvl1pPr>
            <a:lvl2pPr>
              <a:defRPr sz="1600"/>
            </a:lvl2pPr>
            <a:lvl3pPr>
              <a:defRPr sz="1400"/>
            </a:lvl3pPr>
            <a:lvl4pPr>
              <a:defRPr sz="1400"/>
            </a:lvl4pPr>
            <a:lvl5pPr>
              <a:defRPr sz="1400"/>
            </a:lvl5pPr>
          </a:lstStyle>
          <a:p>
            <a:pPr lvl="0"/>
            <a:r>
              <a:rPr lang="en-US" dirty="0"/>
              <a:t>Click to add text, chart, table or SmartArt or remov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Rectangle 13"/>
          <p:cNvSpPr/>
          <p:nvPr/>
        </p:nvSpPr>
        <p:spPr>
          <a:xfrm>
            <a:off x="12287026" y="-4042"/>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hart &amp; Tables</a:t>
            </a:r>
          </a:p>
          <a:p>
            <a:pPr algn="l"/>
            <a:r>
              <a:rPr lang="en-US" sz="1000" b="0" baseline="0" dirty="0">
                <a:solidFill>
                  <a:schemeClr val="tx1"/>
                </a:solidFill>
              </a:rPr>
              <a:t>Add chart/table title above chart/table.  Remove second subtitle and placeholder if not needed.  </a:t>
            </a:r>
          </a:p>
          <a:p>
            <a:pPr algn="l"/>
            <a:r>
              <a:rPr lang="en-US" sz="1000" b="0" baseline="0" dirty="0">
                <a:solidFill>
                  <a:schemeClr val="tx1"/>
                </a:solidFill>
              </a:rPr>
              <a:t>Chart title should stay the same size. </a:t>
            </a:r>
          </a:p>
        </p:txBody>
      </p:sp>
      <p:sp>
        <p:nvSpPr>
          <p:cNvPr id="17" name="Text Placeholder 11"/>
          <p:cNvSpPr>
            <a:spLocks noGrp="1"/>
          </p:cNvSpPr>
          <p:nvPr>
            <p:ph type="body" sz="quarter" idx="15"/>
          </p:nvPr>
        </p:nvSpPr>
        <p:spPr>
          <a:xfrm>
            <a:off x="414530"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6" name="Group 15"/>
          <p:cNvGrpSpPr/>
          <p:nvPr/>
        </p:nvGrpSpPr>
        <p:grpSpPr>
          <a:xfrm>
            <a:off x="12287024" y="3811044"/>
            <a:ext cx="1386247" cy="1595885"/>
            <a:chOff x="15158743" y="3372787"/>
            <a:chExt cx="3060457" cy="3523279"/>
          </a:xfrm>
        </p:grpSpPr>
        <p:pic>
          <p:nvPicPr>
            <p:cNvPr id="21" name="Picture 2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5158743" y="3372787"/>
              <a:ext cx="3060457" cy="1725318"/>
            </a:xfrm>
            <a:prstGeom prst="rect">
              <a:avLst/>
            </a:prstGeom>
          </p:spPr>
        </p:pic>
        <p:pic>
          <p:nvPicPr>
            <p:cNvPr id="22" name="Picture 2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5158743" y="5164652"/>
              <a:ext cx="3060457" cy="1731414"/>
            </a:xfrm>
            <a:prstGeom prst="rect">
              <a:avLst/>
            </a:prstGeom>
          </p:spPr>
        </p:pic>
      </p:grpSp>
      <p:grpSp>
        <p:nvGrpSpPr>
          <p:cNvPr id="23" name="Group 22"/>
          <p:cNvGrpSpPr/>
          <p:nvPr/>
        </p:nvGrpSpPr>
        <p:grpSpPr>
          <a:xfrm>
            <a:off x="12284309" y="2497574"/>
            <a:ext cx="1389888" cy="1233768"/>
            <a:chOff x="9215268" y="3023356"/>
            <a:chExt cx="1389888" cy="1233768"/>
          </a:xfrm>
        </p:grpSpPr>
        <p:sp>
          <p:nvSpPr>
            <p:cNvPr id="24" name="Rectangle 23"/>
            <p:cNvSpPr/>
            <p:nvPr/>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5" name="Rectangle 24"/>
            <p:cNvSpPr/>
            <p:nvPr/>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18" name="Rectangle 17"/>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hart &amp; Tables</a:t>
            </a:r>
          </a:p>
          <a:p>
            <a:pPr algn="l"/>
            <a:r>
              <a:rPr lang="en-US" sz="1000" b="0" baseline="0" dirty="0">
                <a:solidFill>
                  <a:schemeClr val="tx1"/>
                </a:solidFill>
              </a:rPr>
              <a:t>Add chart/table title above chart/table.  Remove second subtitle and placeholder if not needed.  </a:t>
            </a:r>
          </a:p>
          <a:p>
            <a:pPr algn="l"/>
            <a:r>
              <a:rPr lang="en-US" sz="1000" b="0" baseline="0" dirty="0">
                <a:solidFill>
                  <a:schemeClr val="tx1"/>
                </a:solidFill>
              </a:rPr>
              <a:t>Chart title should stay the same size. </a:t>
            </a:r>
          </a:p>
        </p:txBody>
      </p:sp>
      <p:grpSp>
        <p:nvGrpSpPr>
          <p:cNvPr id="19" name="Group 18"/>
          <p:cNvGrpSpPr/>
          <p:nvPr userDrawn="1"/>
        </p:nvGrpSpPr>
        <p:grpSpPr>
          <a:xfrm>
            <a:off x="12287024" y="3811043"/>
            <a:ext cx="1386247" cy="1595885"/>
            <a:chOff x="15158743" y="3372787"/>
            <a:chExt cx="3060457" cy="3523279"/>
          </a:xfrm>
        </p:grpSpPr>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158743" y="3372787"/>
              <a:ext cx="3060457" cy="1725318"/>
            </a:xfrm>
            <a:prstGeom prst="rect">
              <a:avLst/>
            </a:prstGeom>
          </p:spPr>
        </p:pic>
        <p:pic>
          <p:nvPicPr>
            <p:cNvPr id="26" name="Picture 2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5158743" y="5164652"/>
              <a:ext cx="3060457" cy="1731414"/>
            </a:xfrm>
            <a:prstGeom prst="rect">
              <a:avLst/>
            </a:prstGeom>
          </p:spPr>
        </p:pic>
      </p:grpSp>
      <p:grpSp>
        <p:nvGrpSpPr>
          <p:cNvPr id="27" name="Group 26"/>
          <p:cNvGrpSpPr/>
          <p:nvPr userDrawn="1"/>
        </p:nvGrpSpPr>
        <p:grpSpPr>
          <a:xfrm>
            <a:off x="12284310" y="2497574"/>
            <a:ext cx="1389888" cy="1233768"/>
            <a:chOff x="9215268" y="3023356"/>
            <a:chExt cx="1389888" cy="1233768"/>
          </a:xfrm>
        </p:grpSpPr>
        <p:sp>
          <p:nvSpPr>
            <p:cNvPr id="28" name="Rectangle 27"/>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9" name="Rectangle 28"/>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801239716"/>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hart wShort copy &amp;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4" name="Date Placeholder 3"/>
          <p:cNvSpPr>
            <a:spLocks noGrp="1"/>
          </p:cNvSpPr>
          <p:nvPr>
            <p:ph type="dt" sz="half" idx="10"/>
          </p:nvPr>
        </p:nvSpPr>
        <p:spPr/>
        <p:txBody>
          <a:bodyPr/>
          <a:lstStyle/>
          <a:p>
            <a:endParaRPr lang="en-US"/>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1479"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9" name="Chart Placeholder 8"/>
          <p:cNvSpPr>
            <a:spLocks noGrp="1"/>
          </p:cNvSpPr>
          <p:nvPr>
            <p:ph type="chart" sz="quarter" idx="16" hasCustomPrompt="1"/>
          </p:nvPr>
        </p:nvSpPr>
        <p:spPr>
          <a:xfrm>
            <a:off x="411479" y="2336800"/>
            <a:ext cx="11379200" cy="3335338"/>
          </a:xfrm>
        </p:spPr>
        <p:txBody>
          <a:bodyPr anchor="ctr"/>
          <a:lstStyle>
            <a:lvl1pPr marL="0" indent="0" algn="ctr">
              <a:buNone/>
              <a:defRPr b="1"/>
            </a:lvl1pPr>
          </a:lstStyle>
          <a:p>
            <a:r>
              <a:rPr lang="en-US" dirty="0"/>
              <a:t>Click to insert chart</a:t>
            </a:r>
          </a:p>
        </p:txBody>
      </p:sp>
      <p:sp>
        <p:nvSpPr>
          <p:cNvPr id="10" name="Text Placeholder 7"/>
          <p:cNvSpPr>
            <a:spLocks noGrp="1"/>
          </p:cNvSpPr>
          <p:nvPr>
            <p:ph type="body" sz="quarter" idx="17" hasCustomPrompt="1"/>
          </p:nvPr>
        </p:nvSpPr>
        <p:spPr>
          <a:xfrm>
            <a:off x="411479" y="1813931"/>
            <a:ext cx="11379200" cy="522870"/>
          </a:xfrm>
        </p:spPr>
        <p:txBody>
          <a:bodyPr/>
          <a:lstStyle>
            <a:lvl1pPr marL="0" indent="0">
              <a:buNone/>
              <a:defRPr sz="1400" b="0"/>
            </a:lvl1pPr>
            <a:lvl2pPr marL="169863" indent="0">
              <a:buNone/>
              <a:defRPr/>
            </a:lvl2pPr>
          </a:lstStyle>
          <a:p>
            <a:pPr lvl="0"/>
            <a:r>
              <a:rPr lang="en-US" dirty="0"/>
              <a:t>Click to add chart introduction </a:t>
            </a:r>
          </a:p>
        </p:txBody>
      </p:sp>
      <p:sp>
        <p:nvSpPr>
          <p:cNvPr id="11" name="Rectangle 10"/>
          <p:cNvSpPr/>
          <p:nvPr/>
        </p:nvSpPr>
        <p:spPr>
          <a:xfrm>
            <a:off x="12287026" y="-4042"/>
            <a:ext cx="1386247" cy="24310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dirty="0">
                <a:solidFill>
                  <a:schemeClr val="tx1"/>
                </a:solidFill>
              </a:rPr>
              <a:t>Chart wShort Copy</a:t>
            </a:r>
          </a:p>
          <a:p>
            <a:pPr algn="l"/>
            <a:r>
              <a:rPr lang="en-US" sz="1000" b="0" baseline="0" dirty="0">
                <a:solidFill>
                  <a:schemeClr val="tx1"/>
                </a:solidFill>
              </a:rPr>
              <a:t>Use for charts and add a chart introduction above the chart. </a:t>
            </a:r>
          </a:p>
        </p:txBody>
      </p:sp>
      <p:sp>
        <p:nvSpPr>
          <p:cNvPr id="13" name="Text Placeholder 11"/>
          <p:cNvSpPr>
            <a:spLocks noGrp="1"/>
          </p:cNvSpPr>
          <p:nvPr>
            <p:ph type="body" sz="quarter" idx="15"/>
          </p:nvPr>
        </p:nvSpPr>
        <p:spPr>
          <a:xfrm>
            <a:off x="414530"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2" name="Group 11"/>
          <p:cNvGrpSpPr/>
          <p:nvPr/>
        </p:nvGrpSpPr>
        <p:grpSpPr>
          <a:xfrm>
            <a:off x="12284309" y="2497574"/>
            <a:ext cx="1389888" cy="1233768"/>
            <a:chOff x="9215268" y="3023356"/>
            <a:chExt cx="1389888" cy="1233768"/>
          </a:xfrm>
        </p:grpSpPr>
        <p:sp>
          <p:nvSpPr>
            <p:cNvPr id="14" name="Rectangle 13"/>
            <p:cNvSpPr/>
            <p:nvPr/>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5" name="Rectangle 14"/>
            <p:cNvSpPr/>
            <p:nvPr/>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16" name="Rectangle 15"/>
          <p:cNvSpPr/>
          <p:nvPr userDrawn="1"/>
        </p:nvSpPr>
        <p:spPr>
          <a:xfrm>
            <a:off x="12287025" y="-4042"/>
            <a:ext cx="1386247" cy="24310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dirty="0">
                <a:solidFill>
                  <a:schemeClr val="tx1"/>
                </a:solidFill>
              </a:rPr>
              <a:t>Chart </a:t>
            </a:r>
            <a:r>
              <a:rPr lang="en-US" sz="1000" b="1" baseline="0" dirty="0" err="1">
                <a:solidFill>
                  <a:schemeClr val="tx1"/>
                </a:solidFill>
              </a:rPr>
              <a:t>wShort</a:t>
            </a:r>
            <a:r>
              <a:rPr lang="en-US" sz="1000" b="1" baseline="0" dirty="0">
                <a:solidFill>
                  <a:schemeClr val="tx1"/>
                </a:solidFill>
              </a:rPr>
              <a:t> Copy</a:t>
            </a:r>
          </a:p>
          <a:p>
            <a:pPr algn="l"/>
            <a:r>
              <a:rPr lang="en-US" sz="1000" b="0" baseline="0" dirty="0">
                <a:solidFill>
                  <a:schemeClr val="tx1"/>
                </a:solidFill>
              </a:rPr>
              <a:t>Use for charts and add a chart introduction above the chart. </a:t>
            </a:r>
          </a:p>
        </p:txBody>
      </p:sp>
      <p:grpSp>
        <p:nvGrpSpPr>
          <p:cNvPr id="17" name="Group 16"/>
          <p:cNvGrpSpPr/>
          <p:nvPr userDrawn="1"/>
        </p:nvGrpSpPr>
        <p:grpSpPr>
          <a:xfrm>
            <a:off x="12284310" y="2497574"/>
            <a:ext cx="1389888" cy="1233768"/>
            <a:chOff x="9215268" y="3023356"/>
            <a:chExt cx="1389888" cy="1233768"/>
          </a:xfrm>
        </p:grpSpPr>
        <p:sp>
          <p:nvSpPr>
            <p:cNvPr id="18" name="Rectangle 17"/>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9" name="Rectangle 18"/>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1460682423"/>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ig Picture with Caption">
    <p:spTree>
      <p:nvGrpSpPr>
        <p:cNvPr id="1" name=""/>
        <p:cNvGrpSpPr/>
        <p:nvPr/>
      </p:nvGrpSpPr>
      <p:grpSpPr>
        <a:xfrm>
          <a:off x="0" y="0"/>
          <a:ext cx="0" cy="0"/>
          <a:chOff x="0" y="0"/>
          <a:chExt cx="0" cy="0"/>
        </a:xfrm>
      </p:grpSpPr>
      <p:sp>
        <p:nvSpPr>
          <p:cNvPr id="6" name="Picture Placeholder 5"/>
          <p:cNvSpPr>
            <a:spLocks noGrp="1"/>
          </p:cNvSpPr>
          <p:nvPr>
            <p:ph type="pic" sz="quarter" idx="19" hasCustomPrompt="1"/>
          </p:nvPr>
        </p:nvSpPr>
        <p:spPr>
          <a:xfrm>
            <a:off x="411479" y="1790701"/>
            <a:ext cx="11379200" cy="3881439"/>
          </a:xfrm>
        </p:spPr>
        <p:txBody>
          <a:bodyPr anchor="ctr"/>
          <a:lstStyle>
            <a:lvl1pPr marL="0" indent="0" algn="ctr">
              <a:buNone/>
              <a:defRPr baseline="0"/>
            </a:lvl1pPr>
          </a:lstStyle>
          <a:p>
            <a:r>
              <a:rPr lang="en-US" dirty="0"/>
              <a:t>Click to insert rectangular image</a:t>
            </a:r>
          </a:p>
        </p:txBody>
      </p:sp>
      <p:sp>
        <p:nvSpPr>
          <p:cNvPr id="2" name="Title 1"/>
          <p:cNvSpPr>
            <a:spLocks noGrp="1"/>
          </p:cNvSpPr>
          <p:nvPr>
            <p:ph type="title"/>
          </p:nvPr>
        </p:nvSpPr>
        <p:spPr/>
        <p:txBody>
          <a:bodyPr/>
          <a:lstStyle>
            <a:lvl1pPr>
              <a:defRPr>
                <a:latin typeface="+mj-lt"/>
              </a:defRPr>
            </a:lvl1pPr>
          </a:lstStyle>
          <a:p>
            <a:r>
              <a:rPr lang="en-US"/>
              <a:t>Click to edit Master title style</a:t>
            </a:r>
            <a:endParaRPr lang="en-US" dirty="0"/>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13" name="Text Placeholder 7"/>
          <p:cNvSpPr>
            <a:spLocks noGrp="1"/>
          </p:cNvSpPr>
          <p:nvPr>
            <p:ph type="body" sz="quarter" idx="17" hasCustomPrompt="1"/>
          </p:nvPr>
        </p:nvSpPr>
        <p:spPr>
          <a:xfrm>
            <a:off x="411479" y="1382284"/>
            <a:ext cx="11379200" cy="404789"/>
          </a:xfrm>
        </p:spPr>
        <p:txBody>
          <a:bodyPr anchor="b"/>
          <a:lstStyle>
            <a:lvl1pPr marL="0" indent="0">
              <a:buNone/>
              <a:defRPr sz="1400" b="0"/>
            </a:lvl1pPr>
            <a:lvl2pPr marL="169863" indent="0">
              <a:buNone/>
              <a:defRPr/>
            </a:lvl2pPr>
          </a:lstStyle>
          <a:p>
            <a:pPr lvl="0"/>
            <a:r>
              <a:rPr lang="en-US" dirty="0"/>
              <a:t>Click to add image caption </a:t>
            </a:r>
          </a:p>
        </p:txBody>
      </p:sp>
      <p:sp>
        <p:nvSpPr>
          <p:cNvPr id="9" name="Rectangle 8"/>
          <p:cNvSpPr/>
          <p:nvPr/>
        </p:nvSpPr>
        <p:spPr>
          <a:xfrm>
            <a:off x="12287026" y="-4042"/>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Big Picture + Caption</a:t>
            </a:r>
            <a:endParaRPr lang="en-US" sz="1000" b="1" baseline="0" dirty="0">
              <a:solidFill>
                <a:schemeClr val="tx1"/>
              </a:solidFill>
            </a:endParaRPr>
          </a:p>
          <a:p>
            <a:pPr algn="l"/>
            <a:r>
              <a:rPr lang="en-US" sz="1000" baseline="0" dirty="0">
                <a:solidFill>
                  <a:schemeClr val="tx1"/>
                </a:solidFill>
              </a:rPr>
              <a:t>Click image icon to insert image to fill the image placeholder. Add image caption above the image. </a:t>
            </a:r>
            <a:endParaRPr lang="en-US" sz="1000" dirty="0">
              <a:solidFill>
                <a:schemeClr val="tx1"/>
              </a:solidFill>
            </a:endParaRPr>
          </a:p>
        </p:txBody>
      </p:sp>
      <p:sp>
        <p:nvSpPr>
          <p:cNvPr id="10" name="Text Placeholder 11"/>
          <p:cNvSpPr>
            <a:spLocks noGrp="1"/>
          </p:cNvSpPr>
          <p:nvPr>
            <p:ph type="body" sz="quarter" idx="15"/>
          </p:nvPr>
        </p:nvSpPr>
        <p:spPr>
          <a:xfrm>
            <a:off x="414530"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2" name="Group 11"/>
          <p:cNvGrpSpPr/>
          <p:nvPr/>
        </p:nvGrpSpPr>
        <p:grpSpPr>
          <a:xfrm>
            <a:off x="12284309" y="2497574"/>
            <a:ext cx="1389888" cy="1233768"/>
            <a:chOff x="9215268" y="3023356"/>
            <a:chExt cx="1389888" cy="1233768"/>
          </a:xfrm>
        </p:grpSpPr>
        <p:sp>
          <p:nvSpPr>
            <p:cNvPr id="14" name="Rectangle 13"/>
            <p:cNvSpPr/>
            <p:nvPr/>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5" name="Rectangle 14"/>
            <p:cNvSpPr/>
            <p:nvPr/>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11" name="Rectangle 10"/>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Big Picture + Caption</a:t>
            </a:r>
            <a:endParaRPr lang="en-US" sz="1000" b="1" baseline="0" dirty="0">
              <a:solidFill>
                <a:schemeClr val="tx1"/>
              </a:solidFill>
            </a:endParaRPr>
          </a:p>
          <a:p>
            <a:pPr algn="l"/>
            <a:r>
              <a:rPr lang="en-US" sz="1000" baseline="0" dirty="0">
                <a:solidFill>
                  <a:schemeClr val="tx1"/>
                </a:solidFill>
              </a:rPr>
              <a:t>Click image icon to insert image to fill the image placeholder. Add image caption above the image. </a:t>
            </a:r>
            <a:endParaRPr lang="en-US" sz="1000" dirty="0">
              <a:solidFill>
                <a:schemeClr val="tx1"/>
              </a:solidFill>
            </a:endParaRPr>
          </a:p>
        </p:txBody>
      </p:sp>
      <p:grpSp>
        <p:nvGrpSpPr>
          <p:cNvPr id="16" name="Group 15"/>
          <p:cNvGrpSpPr/>
          <p:nvPr userDrawn="1"/>
        </p:nvGrpSpPr>
        <p:grpSpPr>
          <a:xfrm>
            <a:off x="12284310" y="2497574"/>
            <a:ext cx="1389888" cy="1233768"/>
            <a:chOff x="9215268" y="3023356"/>
            <a:chExt cx="1389888" cy="1233768"/>
          </a:xfrm>
        </p:grpSpPr>
        <p:sp>
          <p:nvSpPr>
            <p:cNvPr id="17" name="Rectangle 16"/>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8" name="Rectangle 17"/>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1919671698"/>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ontent 2 columns wDisclaim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endParaRPr lang="en-US" dirty="0"/>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16" name="Text Placeholder 15"/>
          <p:cNvSpPr>
            <a:spLocks noGrp="1"/>
          </p:cNvSpPr>
          <p:nvPr>
            <p:ph type="body" sz="quarter" idx="21" hasCustomPrompt="1"/>
          </p:nvPr>
        </p:nvSpPr>
        <p:spPr>
          <a:xfrm>
            <a:off x="411482" y="1085850"/>
            <a:ext cx="11362267" cy="914400"/>
          </a:xfrm>
        </p:spPr>
        <p:txBody>
          <a:bodyPr/>
          <a:lstStyle>
            <a:lvl1pPr marL="0" indent="0">
              <a:buNone/>
              <a:defRPr sz="1600" baseline="0">
                <a:solidFill>
                  <a:schemeClr val="bg1">
                    <a:lumMod val="50000"/>
                  </a:schemeClr>
                </a:solidFill>
              </a:defRPr>
            </a:lvl1pPr>
            <a:lvl2pPr marL="173736" indent="0">
              <a:buNone/>
              <a:defRPr/>
            </a:lvl2pPr>
          </a:lstStyle>
          <a:p>
            <a:pPr lvl="0"/>
            <a:r>
              <a:rPr lang="en-US" dirty="0"/>
              <a:t>Click to add introduction text</a:t>
            </a:r>
          </a:p>
        </p:txBody>
      </p:sp>
      <p:sp>
        <p:nvSpPr>
          <p:cNvPr id="9" name="Content Placeholder 8"/>
          <p:cNvSpPr>
            <a:spLocks noGrp="1"/>
          </p:cNvSpPr>
          <p:nvPr>
            <p:ph sz="quarter" idx="23"/>
          </p:nvPr>
        </p:nvSpPr>
        <p:spPr>
          <a:xfrm>
            <a:off x="411482" y="2850686"/>
            <a:ext cx="5225627" cy="2821466"/>
          </a:xfrm>
        </p:spPr>
        <p:txBody>
          <a:bodyPr/>
          <a:lstStyle>
            <a:lvl1pPr>
              <a:defRPr sz="1800"/>
            </a:lvl1pPr>
            <a:lvl2pPr>
              <a:defRPr sz="16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13"/>
          <p:cNvSpPr>
            <a:spLocks noGrp="1"/>
          </p:cNvSpPr>
          <p:nvPr>
            <p:ph sz="quarter" idx="24"/>
          </p:nvPr>
        </p:nvSpPr>
        <p:spPr>
          <a:xfrm>
            <a:off x="6547467" y="2850206"/>
            <a:ext cx="5238132" cy="2821935"/>
          </a:xfrm>
        </p:spPr>
        <p:txBody>
          <a:bodyPr/>
          <a:lstStyle>
            <a:lvl1pPr>
              <a:defRPr sz="1800"/>
            </a:lvl1pPr>
            <a:lvl2pPr>
              <a:defRPr sz="16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7"/>
          <p:cNvSpPr>
            <a:spLocks noGrp="1"/>
          </p:cNvSpPr>
          <p:nvPr>
            <p:ph type="body" sz="quarter" idx="17" hasCustomPrompt="1"/>
          </p:nvPr>
        </p:nvSpPr>
        <p:spPr>
          <a:xfrm>
            <a:off x="411481" y="2037060"/>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600" baseline="0"/>
            </a:lvl1pPr>
          </a:lstStyle>
          <a:p>
            <a:pPr lvl="0"/>
            <a:r>
              <a:rPr lang="en-US" dirty="0"/>
              <a:t>Add headline (max 2 rows)</a:t>
            </a:r>
          </a:p>
        </p:txBody>
      </p:sp>
      <p:sp>
        <p:nvSpPr>
          <p:cNvPr id="18" name="Text Placeholder 7"/>
          <p:cNvSpPr>
            <a:spLocks noGrp="1"/>
          </p:cNvSpPr>
          <p:nvPr>
            <p:ph type="body" sz="quarter" idx="18" hasCustomPrompt="1"/>
          </p:nvPr>
        </p:nvSpPr>
        <p:spPr>
          <a:xfrm>
            <a:off x="6547468" y="2037060"/>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600" baseline="0"/>
            </a:lvl1pPr>
          </a:lstStyle>
          <a:p>
            <a:pPr lvl="0"/>
            <a:r>
              <a:rPr lang="en-US" dirty="0"/>
              <a:t>Add headline or remove (max 2 rows)</a:t>
            </a:r>
          </a:p>
        </p:txBody>
      </p:sp>
      <p:sp>
        <p:nvSpPr>
          <p:cNvPr id="12" name="Rectangle 11"/>
          <p:cNvSpPr/>
          <p:nvPr/>
        </p:nvSpPr>
        <p:spPr>
          <a:xfrm>
            <a:off x="12287026" y="-4042"/>
            <a:ext cx="1386247" cy="24310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dirty="0">
                <a:solidFill>
                  <a:schemeClr val="tx1"/>
                </a:solidFill>
              </a:rPr>
              <a:t>Content 2 columns</a:t>
            </a:r>
          </a:p>
          <a:p>
            <a:pPr algn="l"/>
            <a:r>
              <a:rPr lang="en-US" sz="1000" b="0" baseline="0" dirty="0">
                <a:solidFill>
                  <a:schemeClr val="tx1"/>
                </a:solidFill>
              </a:rPr>
              <a:t>Use for two parts of content with two headlines. </a:t>
            </a:r>
          </a:p>
        </p:txBody>
      </p:sp>
      <p:sp>
        <p:nvSpPr>
          <p:cNvPr id="13" name="Text Placeholder 11"/>
          <p:cNvSpPr>
            <a:spLocks noGrp="1"/>
          </p:cNvSpPr>
          <p:nvPr>
            <p:ph type="body" sz="quarter" idx="15"/>
          </p:nvPr>
        </p:nvSpPr>
        <p:spPr>
          <a:xfrm>
            <a:off x="414530"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9" name="Group 18"/>
          <p:cNvGrpSpPr/>
          <p:nvPr/>
        </p:nvGrpSpPr>
        <p:grpSpPr>
          <a:xfrm>
            <a:off x="12284309" y="2497574"/>
            <a:ext cx="1389888" cy="1233768"/>
            <a:chOff x="9215268" y="3023356"/>
            <a:chExt cx="1389888" cy="1233768"/>
          </a:xfrm>
        </p:grpSpPr>
        <p:sp>
          <p:nvSpPr>
            <p:cNvPr id="20" name="Rectangle 19"/>
            <p:cNvSpPr/>
            <p:nvPr/>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1" name="Rectangle 20"/>
            <p:cNvSpPr/>
            <p:nvPr/>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15" name="Rectangle 14"/>
          <p:cNvSpPr/>
          <p:nvPr userDrawn="1"/>
        </p:nvSpPr>
        <p:spPr>
          <a:xfrm>
            <a:off x="12287025" y="-4042"/>
            <a:ext cx="1386247" cy="24310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dirty="0">
                <a:solidFill>
                  <a:schemeClr val="tx1"/>
                </a:solidFill>
              </a:rPr>
              <a:t>Content 2 columns</a:t>
            </a:r>
          </a:p>
          <a:p>
            <a:pPr algn="l"/>
            <a:r>
              <a:rPr lang="en-US" sz="1000" b="0" baseline="0" dirty="0">
                <a:solidFill>
                  <a:schemeClr val="tx1"/>
                </a:solidFill>
              </a:rPr>
              <a:t>Use for two parts of content with two headlines. </a:t>
            </a:r>
          </a:p>
        </p:txBody>
      </p:sp>
      <p:grpSp>
        <p:nvGrpSpPr>
          <p:cNvPr id="22" name="Group 21"/>
          <p:cNvGrpSpPr/>
          <p:nvPr userDrawn="1"/>
        </p:nvGrpSpPr>
        <p:grpSpPr>
          <a:xfrm>
            <a:off x="12284310" y="2497574"/>
            <a:ext cx="1389888" cy="1233768"/>
            <a:chOff x="9215268" y="3023356"/>
            <a:chExt cx="1389888" cy="1233768"/>
          </a:xfrm>
        </p:grpSpPr>
        <p:sp>
          <p:nvSpPr>
            <p:cNvPr id="23" name="Rectangle 22"/>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4" name="Rectangle 23"/>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507227461"/>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ontent +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10574" y="1371600"/>
            <a:ext cx="5491388" cy="4300538"/>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Picture Placeholder 8"/>
          <p:cNvSpPr>
            <a:spLocks noGrp="1"/>
          </p:cNvSpPr>
          <p:nvPr>
            <p:ph type="pic" sz="quarter" idx="16" hasCustomPrompt="1"/>
          </p:nvPr>
        </p:nvSpPr>
        <p:spPr>
          <a:xfrm>
            <a:off x="6096002" y="1371600"/>
            <a:ext cx="5676900" cy="4300538"/>
          </a:xfrm>
        </p:spPr>
        <p:txBody>
          <a:bodyPr anchor="ctr"/>
          <a:lstStyle>
            <a:lvl1pPr marL="0" indent="0" algn="ctr">
              <a:buNone/>
              <a:defRPr/>
            </a:lvl1pPr>
          </a:lstStyle>
          <a:p>
            <a:r>
              <a:rPr lang="en-US" dirty="0"/>
              <a:t>Click to insert image</a:t>
            </a:r>
          </a:p>
        </p:txBody>
      </p:sp>
      <p:sp>
        <p:nvSpPr>
          <p:cNvPr id="10" name="Rectangle 9"/>
          <p:cNvSpPr/>
          <p:nvPr/>
        </p:nvSpPr>
        <p:spPr>
          <a:xfrm>
            <a:off x="12287026" y="-4042"/>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Image</a:t>
            </a:r>
            <a:endParaRPr lang="en-US" sz="1000" b="1" baseline="0" dirty="0">
              <a:solidFill>
                <a:schemeClr val="tx1"/>
              </a:solidFill>
            </a:endParaRPr>
          </a:p>
          <a:p>
            <a:pPr algn="l"/>
            <a:r>
              <a:rPr lang="en-US" sz="1000" baseline="0" dirty="0">
                <a:solidFill>
                  <a:schemeClr val="tx1"/>
                </a:solidFill>
              </a:rPr>
              <a:t>Click image icon to insert image to fill the image placeholder. </a:t>
            </a:r>
            <a:endParaRPr lang="en-US" sz="1000" dirty="0">
              <a:solidFill>
                <a:schemeClr val="tx1"/>
              </a:solidFill>
            </a:endParaRPr>
          </a:p>
        </p:txBody>
      </p:sp>
      <p:sp>
        <p:nvSpPr>
          <p:cNvPr id="12" name="Text Placeholder 11"/>
          <p:cNvSpPr>
            <a:spLocks noGrp="1"/>
          </p:cNvSpPr>
          <p:nvPr>
            <p:ph type="body" sz="quarter" idx="15"/>
          </p:nvPr>
        </p:nvSpPr>
        <p:spPr>
          <a:xfrm>
            <a:off x="414530"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1" name="Group 10"/>
          <p:cNvGrpSpPr/>
          <p:nvPr/>
        </p:nvGrpSpPr>
        <p:grpSpPr>
          <a:xfrm>
            <a:off x="12284309" y="2497574"/>
            <a:ext cx="1389888" cy="1233768"/>
            <a:chOff x="9215268" y="3023356"/>
            <a:chExt cx="1389888" cy="1233768"/>
          </a:xfrm>
        </p:grpSpPr>
        <p:sp>
          <p:nvSpPr>
            <p:cNvPr id="14" name="Rectangle 13"/>
            <p:cNvSpPr/>
            <p:nvPr/>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5" name="Rectangle 14"/>
            <p:cNvSpPr/>
            <p:nvPr/>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13" name="Rectangle 12"/>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Image</a:t>
            </a:r>
            <a:endParaRPr lang="en-US" sz="1000" b="1" baseline="0" dirty="0">
              <a:solidFill>
                <a:schemeClr val="tx1"/>
              </a:solidFill>
            </a:endParaRPr>
          </a:p>
          <a:p>
            <a:pPr algn="l"/>
            <a:r>
              <a:rPr lang="en-US" sz="1000" baseline="0" dirty="0">
                <a:solidFill>
                  <a:schemeClr val="tx1"/>
                </a:solidFill>
              </a:rPr>
              <a:t>Click image icon to insert image to fill the image placeholder. </a:t>
            </a:r>
            <a:endParaRPr lang="en-US" sz="1000" dirty="0">
              <a:solidFill>
                <a:schemeClr val="tx1"/>
              </a:solidFill>
            </a:endParaRPr>
          </a:p>
        </p:txBody>
      </p:sp>
      <p:grpSp>
        <p:nvGrpSpPr>
          <p:cNvPr id="16" name="Group 15"/>
          <p:cNvGrpSpPr/>
          <p:nvPr userDrawn="1"/>
        </p:nvGrpSpPr>
        <p:grpSpPr>
          <a:xfrm>
            <a:off x="12284310" y="2497574"/>
            <a:ext cx="1389888" cy="1233768"/>
            <a:chOff x="9215268" y="3023356"/>
            <a:chExt cx="1389888" cy="1233768"/>
          </a:xfrm>
        </p:grpSpPr>
        <p:sp>
          <p:nvSpPr>
            <p:cNvPr id="17" name="Rectangle 16"/>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8" name="Rectangle 17"/>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3953385554"/>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hart wSource">
    <p:spTree>
      <p:nvGrpSpPr>
        <p:cNvPr id="1" name=""/>
        <p:cNvGrpSpPr/>
        <p:nvPr/>
      </p:nvGrpSpPr>
      <p:grpSpPr>
        <a:xfrm>
          <a:off x="0" y="0"/>
          <a:ext cx="0" cy="0"/>
          <a:chOff x="0" y="0"/>
          <a:chExt cx="0" cy="0"/>
        </a:xfrm>
      </p:grpSpPr>
      <p:sp>
        <p:nvSpPr>
          <p:cNvPr id="11" name="Chart Placeholder 10"/>
          <p:cNvSpPr>
            <a:spLocks noGrp="1"/>
          </p:cNvSpPr>
          <p:nvPr>
            <p:ph type="chart" sz="quarter" idx="19" hasCustomPrompt="1"/>
          </p:nvPr>
        </p:nvSpPr>
        <p:spPr>
          <a:xfrm>
            <a:off x="411482" y="1790701"/>
            <a:ext cx="11362466" cy="3881439"/>
          </a:xfrm>
        </p:spPr>
        <p:txBody>
          <a:bodyPr/>
          <a:lstStyle>
            <a:lvl1pPr marL="0" indent="0">
              <a:buNone/>
              <a:defRPr/>
            </a:lvl1pPr>
          </a:lstStyle>
          <a:p>
            <a:r>
              <a:rPr lang="en-US" dirty="0"/>
              <a:t>Click to insert chart</a:t>
            </a:r>
          </a:p>
        </p:txBody>
      </p:sp>
      <p:sp>
        <p:nvSpPr>
          <p:cNvPr id="2" name="Title 1"/>
          <p:cNvSpPr>
            <a:spLocks noGrp="1"/>
          </p:cNvSpPr>
          <p:nvPr>
            <p:ph type="title"/>
          </p:nvPr>
        </p:nvSpPr>
        <p:spPr/>
        <p:txBody>
          <a:bodyPr/>
          <a:lstStyle>
            <a:lvl1pPr>
              <a:defRPr>
                <a:latin typeface="+mj-lt"/>
              </a:defRPr>
            </a:lvl1pPr>
          </a:lstStyle>
          <a:p>
            <a:r>
              <a:rPr lang="en-US"/>
              <a:t>Click to edit Master title style</a:t>
            </a:r>
            <a:endParaRPr lang="en-US" dirty="0"/>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10" name="Text Placeholder 7"/>
          <p:cNvSpPr>
            <a:spLocks noGrp="1"/>
          </p:cNvSpPr>
          <p:nvPr>
            <p:ph type="body" sz="quarter" idx="13" hasCustomPrompt="1"/>
          </p:nvPr>
        </p:nvSpPr>
        <p:spPr>
          <a:xfrm>
            <a:off x="411479"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13" name="Rectangle 12"/>
          <p:cNvSpPr/>
          <p:nvPr/>
        </p:nvSpPr>
        <p:spPr>
          <a:xfrm>
            <a:off x="12287026" y="-4042"/>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hart wSource</a:t>
            </a:r>
            <a:endParaRPr lang="en-US" sz="1000" b="1" baseline="0" dirty="0">
              <a:solidFill>
                <a:schemeClr val="tx1"/>
              </a:solidFill>
            </a:endParaRPr>
          </a:p>
          <a:p>
            <a:pPr algn="l"/>
            <a:r>
              <a:rPr lang="en-US" sz="1000" b="0" baseline="0" dirty="0">
                <a:solidFill>
                  <a:schemeClr val="tx1"/>
                </a:solidFill>
              </a:rPr>
              <a:t>Use for charts.</a:t>
            </a:r>
          </a:p>
        </p:txBody>
      </p:sp>
      <p:sp>
        <p:nvSpPr>
          <p:cNvPr id="12" name="Text Placeholder 11"/>
          <p:cNvSpPr>
            <a:spLocks noGrp="1"/>
          </p:cNvSpPr>
          <p:nvPr>
            <p:ph type="body" sz="quarter" idx="15"/>
          </p:nvPr>
        </p:nvSpPr>
        <p:spPr>
          <a:xfrm>
            <a:off x="414530"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5" name="Group 14"/>
          <p:cNvGrpSpPr/>
          <p:nvPr/>
        </p:nvGrpSpPr>
        <p:grpSpPr>
          <a:xfrm>
            <a:off x="12284309" y="2497574"/>
            <a:ext cx="1389888" cy="1233768"/>
            <a:chOff x="9215268" y="3023356"/>
            <a:chExt cx="1389888" cy="1233768"/>
          </a:xfrm>
        </p:grpSpPr>
        <p:sp>
          <p:nvSpPr>
            <p:cNvPr id="16" name="Rectangle 15"/>
            <p:cNvSpPr/>
            <p:nvPr/>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7" name="Rectangle 16"/>
            <p:cNvSpPr/>
            <p:nvPr/>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14" name="Rectangle 13"/>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hart </a:t>
            </a:r>
            <a:r>
              <a:rPr lang="en-US" sz="1000" b="1" dirty="0" err="1">
                <a:solidFill>
                  <a:schemeClr val="tx1"/>
                </a:solidFill>
              </a:rPr>
              <a:t>wSource</a:t>
            </a:r>
            <a:endParaRPr lang="en-US" sz="1000" b="1" baseline="0" dirty="0">
              <a:solidFill>
                <a:schemeClr val="tx1"/>
              </a:solidFill>
            </a:endParaRPr>
          </a:p>
          <a:p>
            <a:pPr algn="l"/>
            <a:r>
              <a:rPr lang="en-US" sz="1000" b="0" baseline="0" dirty="0">
                <a:solidFill>
                  <a:schemeClr val="tx1"/>
                </a:solidFill>
              </a:rPr>
              <a:t>Use for charts.</a:t>
            </a:r>
          </a:p>
        </p:txBody>
      </p:sp>
      <p:grpSp>
        <p:nvGrpSpPr>
          <p:cNvPr id="18" name="Group 17"/>
          <p:cNvGrpSpPr/>
          <p:nvPr userDrawn="1"/>
        </p:nvGrpSpPr>
        <p:grpSpPr>
          <a:xfrm>
            <a:off x="12284310" y="2497574"/>
            <a:ext cx="1389888" cy="1233768"/>
            <a:chOff x="9215268" y="3023356"/>
            <a:chExt cx="1389888" cy="1233768"/>
          </a:xfrm>
        </p:grpSpPr>
        <p:sp>
          <p:nvSpPr>
            <p:cNvPr id="19" name="Rectangle 18"/>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0" name="Rectangle 19"/>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3944704127"/>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ontent + box,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10573" y="1371600"/>
            <a:ext cx="7109908" cy="4300538"/>
          </a:xfrm>
        </p:spPr>
        <p:txBody>
          <a:bodyPr>
            <a:no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p:nvPr>
        </p:nvSpPr>
        <p:spPr>
          <a:xfrm>
            <a:off x="7713643" y="1371600"/>
            <a:ext cx="4076700" cy="4300538"/>
          </a:xfrm>
          <a:solidFill>
            <a:schemeClr val="bg2"/>
          </a:solidFill>
        </p:spPr>
        <p:txBody>
          <a:bodyPr lIns="91440" tIns="91440" bIns="91440"/>
          <a:lstStyle>
            <a:lvl1pPr>
              <a:defRPr sz="1800"/>
            </a:lvl1pPr>
            <a:lvl2pPr>
              <a:defRPr sz="16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ectangle 9"/>
          <p:cNvSpPr/>
          <p:nvPr/>
        </p:nvSpPr>
        <p:spPr>
          <a:xfrm>
            <a:off x="12287026" y="-4042"/>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box</a:t>
            </a:r>
          </a:p>
          <a:p>
            <a:pPr algn="l"/>
            <a:r>
              <a:rPr lang="en-US" sz="1000" b="0" baseline="0" dirty="0">
                <a:solidFill>
                  <a:schemeClr val="tx1"/>
                </a:solidFill>
              </a:rPr>
              <a:t>Use to create pop-out text/content in the right-hand box. Resize the box as needed. </a:t>
            </a:r>
          </a:p>
        </p:txBody>
      </p:sp>
      <p:sp>
        <p:nvSpPr>
          <p:cNvPr id="13" name="Text Placeholder 11"/>
          <p:cNvSpPr>
            <a:spLocks noGrp="1"/>
          </p:cNvSpPr>
          <p:nvPr>
            <p:ph type="body" sz="quarter" idx="15"/>
          </p:nvPr>
        </p:nvSpPr>
        <p:spPr>
          <a:xfrm>
            <a:off x="414530"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1" name="Group 10"/>
          <p:cNvGrpSpPr/>
          <p:nvPr/>
        </p:nvGrpSpPr>
        <p:grpSpPr>
          <a:xfrm>
            <a:off x="12284309" y="2497574"/>
            <a:ext cx="1389888" cy="1233768"/>
            <a:chOff x="9215268" y="3023356"/>
            <a:chExt cx="1389888" cy="1233768"/>
          </a:xfrm>
        </p:grpSpPr>
        <p:sp>
          <p:nvSpPr>
            <p:cNvPr id="14" name="Rectangle 13"/>
            <p:cNvSpPr/>
            <p:nvPr/>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5" name="Rectangle 14"/>
            <p:cNvSpPr/>
            <p:nvPr/>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12" name="Rectangle 11"/>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box</a:t>
            </a:r>
          </a:p>
          <a:p>
            <a:pPr algn="l"/>
            <a:r>
              <a:rPr lang="en-US" sz="1000" b="0" baseline="0" dirty="0">
                <a:solidFill>
                  <a:schemeClr val="tx1"/>
                </a:solidFill>
              </a:rPr>
              <a:t>Use to create pop-out text/content in the right-hand box. Resize the box as needed. </a:t>
            </a:r>
          </a:p>
        </p:txBody>
      </p:sp>
      <p:grpSp>
        <p:nvGrpSpPr>
          <p:cNvPr id="16" name="Group 15"/>
          <p:cNvGrpSpPr/>
          <p:nvPr userDrawn="1"/>
        </p:nvGrpSpPr>
        <p:grpSpPr>
          <a:xfrm>
            <a:off x="12284310" y="2497574"/>
            <a:ext cx="1389888" cy="1233768"/>
            <a:chOff x="9215268" y="3023356"/>
            <a:chExt cx="1389888" cy="1233768"/>
          </a:xfrm>
        </p:grpSpPr>
        <p:sp>
          <p:nvSpPr>
            <p:cNvPr id="17" name="Rectangle 16"/>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8" name="Rectangle 17"/>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342836922"/>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Gray background for content">
    <p:spTree>
      <p:nvGrpSpPr>
        <p:cNvPr id="1" name=""/>
        <p:cNvGrpSpPr/>
        <p:nvPr/>
      </p:nvGrpSpPr>
      <p:grpSpPr>
        <a:xfrm>
          <a:off x="0" y="0"/>
          <a:ext cx="0" cy="0"/>
          <a:chOff x="0" y="0"/>
          <a:chExt cx="0" cy="0"/>
        </a:xfrm>
      </p:grpSpPr>
      <p:sp>
        <p:nvSpPr>
          <p:cNvPr id="7" name="Rectangle 6"/>
          <p:cNvSpPr/>
          <p:nvPr/>
        </p:nvSpPr>
        <p:spPr>
          <a:xfrm>
            <a:off x="411479" y="1790700"/>
            <a:ext cx="11379200" cy="38813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algn="ctr"/>
            <a:endParaRPr lang="en-US" sz="1800" dirty="0"/>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3" name="Content Placeholder 2"/>
          <p:cNvSpPr>
            <a:spLocks noGrp="1"/>
          </p:cNvSpPr>
          <p:nvPr>
            <p:ph idx="1" hasCustomPrompt="1"/>
          </p:nvPr>
        </p:nvSpPr>
        <p:spPr>
          <a:xfrm>
            <a:off x="411482" y="1794414"/>
            <a:ext cx="4240599" cy="3877724"/>
          </a:xfrm>
        </p:spPr>
        <p:txBody>
          <a:bodyPr lIns="182880" tIns="182880" rIns="182880" bIns="182880"/>
          <a:lstStyle>
            <a:lvl1pPr>
              <a:defRPr sz="1800" baseline="0"/>
            </a:lvl1pPr>
            <a:lvl2pPr>
              <a:defRPr sz="1600"/>
            </a:lvl2pPr>
            <a:lvl3pPr>
              <a:defRPr sz="1400"/>
            </a:lvl3pPr>
            <a:lvl4pPr>
              <a:defRPr sz="1400"/>
            </a:lvl4pPr>
            <a:lvl5pPr>
              <a:defRPr sz="1400"/>
            </a:lvl5pPr>
          </a:lstStyle>
          <a:p>
            <a:pPr lvl="0"/>
            <a:r>
              <a:rPr lang="en-US" dirty="0"/>
              <a:t>Click to add content and resize or remove placeholder as needed or remove.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1479"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11" name="Rectangle 10"/>
          <p:cNvSpPr/>
          <p:nvPr/>
        </p:nvSpPr>
        <p:spPr>
          <a:xfrm>
            <a:off x="12287026" y="-4044"/>
            <a:ext cx="1386247" cy="24323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Gray background for content</a:t>
            </a:r>
            <a:endParaRPr lang="en-US" sz="1000" b="1" baseline="0" dirty="0">
              <a:solidFill>
                <a:schemeClr val="tx1"/>
              </a:solidFill>
            </a:endParaRPr>
          </a:p>
          <a:p>
            <a:pPr algn="l"/>
            <a:r>
              <a:rPr lang="en-US" sz="1000" baseline="0" dirty="0">
                <a:solidFill>
                  <a:schemeClr val="tx1"/>
                </a:solidFill>
              </a:rPr>
              <a:t>Use slide layout to add graphics with explanatory text. </a:t>
            </a:r>
          </a:p>
          <a:p>
            <a:pPr algn="l"/>
            <a:r>
              <a:rPr lang="en-US" sz="1000" baseline="0" dirty="0">
                <a:solidFill>
                  <a:schemeClr val="tx1"/>
                </a:solidFill>
              </a:rPr>
              <a:t>The text placeholder can be moved as needed. </a:t>
            </a:r>
            <a:endParaRPr lang="en-US" sz="1000" dirty="0">
              <a:solidFill>
                <a:schemeClr val="tx1"/>
              </a:solidFill>
            </a:endParaRPr>
          </a:p>
        </p:txBody>
      </p:sp>
      <p:sp>
        <p:nvSpPr>
          <p:cNvPr id="14" name="Text Placeholder 11"/>
          <p:cNvSpPr>
            <a:spLocks noGrp="1"/>
          </p:cNvSpPr>
          <p:nvPr>
            <p:ph type="body" sz="quarter" idx="15"/>
          </p:nvPr>
        </p:nvSpPr>
        <p:spPr>
          <a:xfrm>
            <a:off x="414530"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9" name="Group 18"/>
          <p:cNvGrpSpPr/>
          <p:nvPr/>
        </p:nvGrpSpPr>
        <p:grpSpPr>
          <a:xfrm>
            <a:off x="12287026" y="3813034"/>
            <a:ext cx="1386247" cy="1585033"/>
            <a:chOff x="10058564" y="2630286"/>
            <a:chExt cx="3060457" cy="3499323"/>
          </a:xfrm>
        </p:grpSpPr>
        <p:pic>
          <p:nvPicPr>
            <p:cNvPr id="20" name="Picture 1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058564" y="4398195"/>
              <a:ext cx="3060457" cy="1731414"/>
            </a:xfrm>
            <a:prstGeom prst="rect">
              <a:avLst/>
            </a:prstGeom>
          </p:spPr>
        </p:pic>
        <p:pic>
          <p:nvPicPr>
            <p:cNvPr id="21" name="Picture 2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058564" y="2630286"/>
              <a:ext cx="3060457" cy="1725318"/>
            </a:xfrm>
            <a:prstGeom prst="rect">
              <a:avLst/>
            </a:prstGeom>
          </p:spPr>
        </p:pic>
      </p:grpSp>
      <p:grpSp>
        <p:nvGrpSpPr>
          <p:cNvPr id="22" name="Group 21"/>
          <p:cNvGrpSpPr/>
          <p:nvPr/>
        </p:nvGrpSpPr>
        <p:grpSpPr>
          <a:xfrm>
            <a:off x="12284309" y="2497574"/>
            <a:ext cx="1389888" cy="1233768"/>
            <a:chOff x="9215268" y="3023356"/>
            <a:chExt cx="1389888" cy="1233768"/>
          </a:xfrm>
        </p:grpSpPr>
        <p:sp>
          <p:nvSpPr>
            <p:cNvPr id="23" name="Rectangle 22"/>
            <p:cNvSpPr/>
            <p:nvPr/>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4" name="Rectangle 23"/>
            <p:cNvSpPr/>
            <p:nvPr/>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16" name="Rectangle 15"/>
          <p:cNvSpPr/>
          <p:nvPr userDrawn="1"/>
        </p:nvSpPr>
        <p:spPr>
          <a:xfrm>
            <a:off x="411480" y="1790700"/>
            <a:ext cx="11379200" cy="38813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algn="ctr"/>
            <a:endParaRPr lang="en-US" sz="1800"/>
          </a:p>
        </p:txBody>
      </p:sp>
      <p:sp>
        <p:nvSpPr>
          <p:cNvPr id="17" name="Rectangle 16"/>
          <p:cNvSpPr/>
          <p:nvPr userDrawn="1"/>
        </p:nvSpPr>
        <p:spPr>
          <a:xfrm>
            <a:off x="12287025" y="-4044"/>
            <a:ext cx="1386247" cy="24323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Gray background for content</a:t>
            </a:r>
            <a:endParaRPr lang="en-US" sz="1000" b="1" baseline="0" dirty="0">
              <a:solidFill>
                <a:schemeClr val="tx1"/>
              </a:solidFill>
            </a:endParaRPr>
          </a:p>
          <a:p>
            <a:pPr algn="l"/>
            <a:r>
              <a:rPr lang="en-US" sz="1000" baseline="0" dirty="0">
                <a:solidFill>
                  <a:schemeClr val="tx1"/>
                </a:solidFill>
              </a:rPr>
              <a:t>Use slide layout to add graphics with explanatory text. </a:t>
            </a:r>
          </a:p>
          <a:p>
            <a:pPr algn="l"/>
            <a:r>
              <a:rPr lang="en-US" sz="1000" baseline="0" dirty="0">
                <a:solidFill>
                  <a:schemeClr val="tx1"/>
                </a:solidFill>
              </a:rPr>
              <a:t>The text placeholder can be moved as needed. </a:t>
            </a:r>
            <a:endParaRPr lang="en-US" sz="1000" dirty="0">
              <a:solidFill>
                <a:schemeClr val="tx1"/>
              </a:solidFill>
            </a:endParaRPr>
          </a:p>
        </p:txBody>
      </p:sp>
      <p:grpSp>
        <p:nvGrpSpPr>
          <p:cNvPr id="18" name="Group 17"/>
          <p:cNvGrpSpPr/>
          <p:nvPr userDrawn="1"/>
        </p:nvGrpSpPr>
        <p:grpSpPr>
          <a:xfrm>
            <a:off x="12287025" y="3813034"/>
            <a:ext cx="1386247" cy="1585033"/>
            <a:chOff x="10058564" y="2630286"/>
            <a:chExt cx="3060457" cy="3499323"/>
          </a:xfrm>
        </p:grpSpPr>
        <p:pic>
          <p:nvPicPr>
            <p:cNvPr id="25" name="Picture 2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8564" y="4398195"/>
              <a:ext cx="3060457" cy="1731414"/>
            </a:xfrm>
            <a:prstGeom prst="rect">
              <a:avLst/>
            </a:prstGeom>
          </p:spPr>
        </p:pic>
        <p:pic>
          <p:nvPicPr>
            <p:cNvPr id="26" name="Picture 2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58564" y="2630286"/>
              <a:ext cx="3060457" cy="1725318"/>
            </a:xfrm>
            <a:prstGeom prst="rect">
              <a:avLst/>
            </a:prstGeom>
          </p:spPr>
        </p:pic>
      </p:grpSp>
      <p:grpSp>
        <p:nvGrpSpPr>
          <p:cNvPr id="27" name="Group 26"/>
          <p:cNvGrpSpPr/>
          <p:nvPr userDrawn="1"/>
        </p:nvGrpSpPr>
        <p:grpSpPr>
          <a:xfrm>
            <a:off x="12284310" y="2497574"/>
            <a:ext cx="1389888" cy="1233768"/>
            <a:chOff x="9215268" y="3023356"/>
            <a:chExt cx="1389888" cy="1233768"/>
          </a:xfrm>
        </p:grpSpPr>
        <p:sp>
          <p:nvSpPr>
            <p:cNvPr id="28" name="Rectangle 27"/>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9" name="Rectangle 28"/>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1341833151"/>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ontent 2 columns + intro">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6"/>
            <a:ext cx="11362944" cy="868680"/>
          </a:xfrm>
          <a:ln w="3175">
            <a:noFill/>
            <a:prstDash val="dash"/>
          </a:ln>
        </p:spPr>
        <p:txBody>
          <a:bodyPr vert="horz" lIns="0" tIns="45720" rIns="91440" bIns="45720" rtlCol="0" anchor="t">
            <a:noAutofit/>
          </a:bodyPr>
          <a:lstStyle>
            <a:lvl1pPr>
              <a:defRPr lang="en-US" dirty="0"/>
            </a:lvl1pPr>
          </a:lstStyle>
          <a:p>
            <a:pPr lvl="0"/>
            <a:r>
              <a:rPr lang="en-US"/>
              <a:t>Click to edit Master title style</a:t>
            </a:r>
            <a:endParaRPr lang="en-US" dirty="0"/>
          </a:p>
        </p:txBody>
      </p:sp>
      <p:sp>
        <p:nvSpPr>
          <p:cNvPr id="3" name="Text Placeholder 2"/>
          <p:cNvSpPr>
            <a:spLocks noGrp="1"/>
          </p:cNvSpPr>
          <p:nvPr>
            <p:ph type="body" idx="1"/>
          </p:nvPr>
        </p:nvSpPr>
        <p:spPr>
          <a:xfrm>
            <a:off x="411479" y="1805138"/>
            <a:ext cx="5486400" cy="433949"/>
          </a:xfrm>
          <a:solidFill>
            <a:schemeClr val="tx1"/>
          </a:solidFill>
        </p:spPr>
        <p:txBody>
          <a:bodyPr lIns="91440" rIns="274320" anchor="ctr"/>
          <a:lstStyle>
            <a:lvl1pPr marL="0" indent="0">
              <a:buNone/>
              <a:defRPr sz="1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11479" y="2253522"/>
            <a:ext cx="5486400" cy="3418616"/>
          </a:xfrm>
          <a:solidFill>
            <a:schemeClr val="bg2"/>
          </a:solidFill>
        </p:spPr>
        <p:txBody>
          <a:bodyPr lIns="91440">
            <a:normAutofit/>
          </a:bodyPr>
          <a:lstStyle>
            <a:lvl1pPr>
              <a:defRPr sz="1800"/>
            </a:lvl1pPr>
            <a:lvl2pPr>
              <a:defRPr sz="16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303264" y="1805138"/>
            <a:ext cx="5486400" cy="433949"/>
          </a:xfrm>
          <a:solidFill>
            <a:schemeClr val="tx1"/>
          </a:solidFill>
        </p:spPr>
        <p:txBody>
          <a:bodyPr lIns="91440" rIns="182880" anchor="ctr"/>
          <a:lstStyle>
            <a:lvl1pPr marL="0" indent="0">
              <a:buNone/>
              <a:defRPr sz="1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303264" y="2253522"/>
            <a:ext cx="5486400" cy="3418616"/>
          </a:xfrm>
          <a:solidFill>
            <a:schemeClr val="bg2"/>
          </a:solidFill>
        </p:spPr>
        <p:txBody>
          <a:bodyPr lIns="91440">
            <a:normAutofit/>
          </a:bodyPr>
          <a:lstStyle>
            <a:lvl1pPr>
              <a:defRPr sz="1800"/>
            </a:lvl1pPr>
            <a:lvl2pPr>
              <a:defRPr sz="16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a:p>
        </p:txBody>
      </p:sp>
      <p:sp>
        <p:nvSpPr>
          <p:cNvPr id="9" name="Slide Number Placeholder 8"/>
          <p:cNvSpPr>
            <a:spLocks noGrp="1"/>
          </p:cNvSpPr>
          <p:nvPr>
            <p:ph type="sldNum" sz="quarter" idx="12"/>
          </p:nvPr>
        </p:nvSpPr>
        <p:spPr/>
        <p:txBody>
          <a:bodyPr/>
          <a:lstStyle/>
          <a:p>
            <a:fld id="{5246FB18-5DF1-419A-B975-14AFDDD65B9F}" type="slidenum">
              <a:rPr lang="en-US" smtClean="0"/>
              <a:t>‹#›</a:t>
            </a:fld>
            <a:endParaRPr lang="en-US"/>
          </a:p>
        </p:txBody>
      </p:sp>
      <p:sp>
        <p:nvSpPr>
          <p:cNvPr id="13" name="Text Placeholder 7"/>
          <p:cNvSpPr>
            <a:spLocks noGrp="1"/>
          </p:cNvSpPr>
          <p:nvPr>
            <p:ph type="body" sz="quarter" idx="13" hasCustomPrompt="1"/>
          </p:nvPr>
        </p:nvSpPr>
        <p:spPr>
          <a:xfrm>
            <a:off x="411479" y="1084264"/>
            <a:ext cx="11379200" cy="706437"/>
          </a:xfrm>
        </p:spPr>
        <p:txBody>
          <a:bodyPr/>
          <a:lstStyle>
            <a:lvl1pPr marL="0" indent="0">
              <a:buNone/>
              <a:defRPr sz="1600" b="0">
                <a:solidFill>
                  <a:schemeClr val="bg1">
                    <a:lumMod val="50000"/>
                  </a:schemeClr>
                </a:solidFill>
              </a:defRPr>
            </a:lvl1pPr>
            <a:lvl2pPr marL="169863" indent="0">
              <a:buNone/>
              <a:defRPr/>
            </a:lvl2pPr>
          </a:lstStyle>
          <a:p>
            <a:pPr lvl="0"/>
            <a:r>
              <a:rPr lang="en-US" dirty="0"/>
              <a:t>Click to add introduction</a:t>
            </a:r>
          </a:p>
        </p:txBody>
      </p:sp>
      <p:sp>
        <p:nvSpPr>
          <p:cNvPr id="12" name="Rectangle 11"/>
          <p:cNvSpPr/>
          <p:nvPr/>
        </p:nvSpPr>
        <p:spPr>
          <a:xfrm>
            <a:off x="12287026" y="-4042"/>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2 Content</a:t>
            </a:r>
            <a:r>
              <a:rPr lang="en-US" sz="1000" b="1" baseline="0" dirty="0">
                <a:solidFill>
                  <a:schemeClr val="tx1"/>
                </a:solidFill>
              </a:rPr>
              <a:t> Areas</a:t>
            </a:r>
            <a:endParaRPr lang="en-US" sz="1000" b="1" dirty="0">
              <a:solidFill>
                <a:schemeClr val="tx1"/>
              </a:solidFill>
            </a:endParaRPr>
          </a:p>
          <a:p>
            <a:pPr algn="l"/>
            <a:r>
              <a:rPr lang="en-US" sz="1000" b="0" baseline="0" dirty="0">
                <a:solidFill>
                  <a:schemeClr val="tx1"/>
                </a:solidFill>
              </a:rPr>
              <a:t>Use the subtitle and placeholder as needed and remove or resize them within the grid of the slide. </a:t>
            </a:r>
          </a:p>
        </p:txBody>
      </p:sp>
      <p:sp>
        <p:nvSpPr>
          <p:cNvPr id="16" name="Text Placeholder 11"/>
          <p:cNvSpPr>
            <a:spLocks noGrp="1"/>
          </p:cNvSpPr>
          <p:nvPr>
            <p:ph type="body" sz="quarter" idx="15"/>
          </p:nvPr>
        </p:nvSpPr>
        <p:spPr>
          <a:xfrm>
            <a:off x="414530"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4" name="Group 13"/>
          <p:cNvGrpSpPr/>
          <p:nvPr/>
        </p:nvGrpSpPr>
        <p:grpSpPr>
          <a:xfrm>
            <a:off x="12284309" y="2497574"/>
            <a:ext cx="1389888" cy="1233768"/>
            <a:chOff x="9215268" y="3023356"/>
            <a:chExt cx="1389888" cy="1233768"/>
          </a:xfrm>
        </p:grpSpPr>
        <p:sp>
          <p:nvSpPr>
            <p:cNvPr id="17" name="Rectangle 16"/>
            <p:cNvSpPr/>
            <p:nvPr/>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8" name="Rectangle 17"/>
            <p:cNvSpPr/>
            <p:nvPr/>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15" name="Rectangle 14"/>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2 Content</a:t>
            </a:r>
            <a:r>
              <a:rPr lang="en-US" sz="1000" b="1" baseline="0" dirty="0">
                <a:solidFill>
                  <a:schemeClr val="tx1"/>
                </a:solidFill>
              </a:rPr>
              <a:t> Areas</a:t>
            </a:r>
            <a:endParaRPr lang="en-US" sz="1000" b="1" dirty="0">
              <a:solidFill>
                <a:schemeClr val="tx1"/>
              </a:solidFill>
            </a:endParaRPr>
          </a:p>
          <a:p>
            <a:pPr algn="l"/>
            <a:r>
              <a:rPr lang="en-US" sz="1000" b="0" baseline="0" dirty="0">
                <a:solidFill>
                  <a:schemeClr val="tx1"/>
                </a:solidFill>
              </a:rPr>
              <a:t>Use the subtitle and placeholder as needed and remove or resize them within the grid of the slide. </a:t>
            </a:r>
          </a:p>
        </p:txBody>
      </p:sp>
      <p:grpSp>
        <p:nvGrpSpPr>
          <p:cNvPr id="19" name="Group 18"/>
          <p:cNvGrpSpPr/>
          <p:nvPr userDrawn="1"/>
        </p:nvGrpSpPr>
        <p:grpSpPr>
          <a:xfrm>
            <a:off x="12284310" y="2497574"/>
            <a:ext cx="1389888" cy="1233768"/>
            <a:chOff x="9215268" y="3023356"/>
            <a:chExt cx="1389888" cy="1233768"/>
          </a:xfrm>
        </p:grpSpPr>
        <p:sp>
          <p:nvSpPr>
            <p:cNvPr id="20" name="Rectangle 19"/>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1" name="Rectangle 20"/>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960785442"/>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800172-2B9D-F740-8FC0-026A86FE1DB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6AFDD6E-2EEE-E548-AB98-ECAD7EB55B4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4E37B89-2463-FB48-B976-D9E0D4F5AE4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E1171FF-D74C-7E49-8C69-82F17D0395B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5C46D12-F300-704F-9472-008C01579AA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E31F86B-05DF-E94F-8706-729787D578A5}"/>
              </a:ext>
            </a:extLst>
          </p:cNvPr>
          <p:cNvSpPr>
            <a:spLocks noGrp="1"/>
          </p:cNvSpPr>
          <p:nvPr>
            <p:ph type="dt" sz="half" idx="10"/>
          </p:nvPr>
        </p:nvSpPr>
        <p:spPr/>
        <p:txBody>
          <a:bodyPr/>
          <a:lstStyle/>
          <a:p>
            <a:fld id="{92F427D0-34EB-7F4F-A4A2-2357E7D45014}" type="datetimeFigureOut">
              <a:rPr lang="en-US" smtClean="0"/>
              <a:t>6/18/2020</a:t>
            </a:fld>
            <a:endParaRPr lang="en-US" dirty="0"/>
          </a:p>
        </p:txBody>
      </p:sp>
      <p:sp>
        <p:nvSpPr>
          <p:cNvPr id="8" name="Footer Placeholder 7">
            <a:extLst>
              <a:ext uri="{FF2B5EF4-FFF2-40B4-BE49-F238E27FC236}">
                <a16:creationId xmlns:a16="http://schemas.microsoft.com/office/drawing/2014/main" id="{1D2EAD91-15C8-5549-AB25-8406C2034A0C}"/>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4C4DF7B7-BD0D-F342-A1B9-0A009ACC23CB}"/>
              </a:ext>
            </a:extLst>
          </p:cNvPr>
          <p:cNvSpPr>
            <a:spLocks noGrp="1"/>
          </p:cNvSpPr>
          <p:nvPr>
            <p:ph type="sldNum" sz="quarter" idx="12"/>
          </p:nvPr>
        </p:nvSpPr>
        <p:spPr/>
        <p:txBody>
          <a:bodyPr/>
          <a:lstStyle/>
          <a:p>
            <a:fld id="{3C02FF7F-7EE0-DE4E-B4BA-8D5E63CE8E28}" type="slidenum">
              <a:rPr lang="en-US" smtClean="0"/>
              <a:t>‹#›</a:t>
            </a:fld>
            <a:endParaRPr lang="en-US" dirty="0"/>
          </a:p>
        </p:txBody>
      </p:sp>
    </p:spTree>
    <p:extLst>
      <p:ext uri="{BB962C8B-B14F-4D97-AF65-F5344CB8AC3E}">
        <p14:creationId xmlns:p14="http://schemas.microsoft.com/office/powerpoint/2010/main" val="15679737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3 content area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Date Placeholder 4"/>
          <p:cNvSpPr>
            <a:spLocks noGrp="1"/>
          </p:cNvSpPr>
          <p:nvPr>
            <p:ph type="dt" sz="half" idx="10"/>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hasCustomPrompt="1"/>
          </p:nvPr>
        </p:nvSpPr>
        <p:spPr>
          <a:xfrm>
            <a:off x="8366340" y="1883060"/>
            <a:ext cx="3413760" cy="3789078"/>
          </a:xfrm>
          <a:solidFill>
            <a:schemeClr val="bg2"/>
          </a:solidFill>
        </p:spPr>
        <p:txBody>
          <a:bodyPr lIns="91440" tIns="91440" bIns="91440"/>
          <a:lstStyle>
            <a:lvl1pPr>
              <a:defRPr sz="1600" baseline="0"/>
            </a:lvl1pPr>
            <a:lvl2pPr>
              <a:defRPr sz="1400"/>
            </a:lvl2pPr>
            <a:lvl3pPr>
              <a:defRPr sz="1400"/>
            </a:lvl3pPr>
            <a:lvl4pPr>
              <a:defRPr sz="1100"/>
            </a:lvl4pPr>
            <a:lvl5pPr>
              <a:defRPr sz="1100"/>
            </a:lvl5pPr>
          </a:lstStyle>
          <a:p>
            <a:pPr lvl="0"/>
            <a:r>
              <a:rPr lang="en-US" dirty="0"/>
              <a:t>Click to add content and resize as needed or remove. </a:t>
            </a:r>
          </a:p>
          <a:p>
            <a:pPr lvl="1"/>
            <a:r>
              <a:rPr lang="en-US" dirty="0"/>
              <a:t>Second level</a:t>
            </a:r>
          </a:p>
          <a:p>
            <a:pPr lvl="2"/>
            <a:r>
              <a:rPr lang="en-US" dirty="0"/>
              <a:t>Third level</a:t>
            </a:r>
          </a:p>
        </p:txBody>
      </p:sp>
      <p:sp>
        <p:nvSpPr>
          <p:cNvPr id="11" name="Text Placeholder 8"/>
          <p:cNvSpPr>
            <a:spLocks noGrp="1"/>
          </p:cNvSpPr>
          <p:nvPr>
            <p:ph type="body" sz="quarter" idx="17" hasCustomPrompt="1"/>
          </p:nvPr>
        </p:nvSpPr>
        <p:spPr>
          <a:xfrm>
            <a:off x="411481" y="1883060"/>
            <a:ext cx="3413760" cy="3789078"/>
          </a:xfrm>
          <a:solidFill>
            <a:schemeClr val="bg2"/>
          </a:solidFill>
        </p:spPr>
        <p:txBody>
          <a:bodyPr lIns="91440" tIns="91440" bIns="91440"/>
          <a:lstStyle>
            <a:lvl1pPr>
              <a:defRPr sz="1600" baseline="0"/>
            </a:lvl1pPr>
            <a:lvl2pPr>
              <a:defRPr sz="1400"/>
            </a:lvl2pPr>
            <a:lvl3pPr>
              <a:defRPr sz="1400"/>
            </a:lvl3pPr>
            <a:lvl4pPr>
              <a:defRPr sz="1100"/>
            </a:lvl4pPr>
            <a:lvl5pPr>
              <a:defRPr sz="1100"/>
            </a:lvl5pPr>
          </a:lstStyle>
          <a:p>
            <a:pPr lvl="0"/>
            <a:r>
              <a:rPr lang="en-US" dirty="0"/>
              <a:t>Click to add content and resize as needed. </a:t>
            </a:r>
          </a:p>
          <a:p>
            <a:pPr lvl="1"/>
            <a:r>
              <a:rPr lang="en-US" dirty="0"/>
              <a:t>Second level</a:t>
            </a:r>
          </a:p>
          <a:p>
            <a:pPr lvl="2"/>
            <a:r>
              <a:rPr lang="en-US" dirty="0"/>
              <a:t>Third level</a:t>
            </a:r>
          </a:p>
        </p:txBody>
      </p:sp>
      <p:sp>
        <p:nvSpPr>
          <p:cNvPr id="12" name="Text Placeholder 8"/>
          <p:cNvSpPr>
            <a:spLocks noGrp="1"/>
          </p:cNvSpPr>
          <p:nvPr>
            <p:ph type="body" sz="quarter" idx="18" hasCustomPrompt="1"/>
          </p:nvPr>
        </p:nvSpPr>
        <p:spPr>
          <a:xfrm>
            <a:off x="4390436" y="1883060"/>
            <a:ext cx="3413760" cy="3789078"/>
          </a:xfrm>
          <a:solidFill>
            <a:schemeClr val="bg2"/>
          </a:solidFill>
        </p:spPr>
        <p:txBody>
          <a:bodyPr lIns="91440" tIns="91440" bIns="91440"/>
          <a:lstStyle>
            <a:lvl1pPr>
              <a:defRPr sz="1600"/>
            </a:lvl1pPr>
            <a:lvl2pPr>
              <a:defRPr sz="1400"/>
            </a:lvl2pPr>
            <a:lvl3pPr>
              <a:defRPr sz="1400"/>
            </a:lvl3pPr>
            <a:lvl4pPr>
              <a:defRPr sz="1100"/>
            </a:lvl4pPr>
            <a:lvl5pPr>
              <a:defRPr sz="1100"/>
            </a:lvl5pPr>
          </a:lstStyle>
          <a:p>
            <a:pPr lvl="0"/>
            <a:r>
              <a:rPr lang="en-US" dirty="0"/>
              <a:t>Click to add content and resize as needed or remove. </a:t>
            </a:r>
          </a:p>
          <a:p>
            <a:pPr lvl="1"/>
            <a:r>
              <a:rPr lang="en-US" dirty="0"/>
              <a:t>Second level</a:t>
            </a:r>
          </a:p>
          <a:p>
            <a:pPr lvl="2"/>
            <a:r>
              <a:rPr lang="en-US" dirty="0"/>
              <a:t>Third level</a:t>
            </a:r>
          </a:p>
        </p:txBody>
      </p:sp>
      <p:sp>
        <p:nvSpPr>
          <p:cNvPr id="13" name="Text Placeholder 8"/>
          <p:cNvSpPr>
            <a:spLocks noGrp="1"/>
          </p:cNvSpPr>
          <p:nvPr>
            <p:ph type="body" sz="quarter" idx="19" hasCustomPrompt="1"/>
          </p:nvPr>
        </p:nvSpPr>
        <p:spPr>
          <a:xfrm>
            <a:off x="8371847" y="1385560"/>
            <a:ext cx="3413760" cy="497500"/>
          </a:xfrm>
          <a:solidFill>
            <a:schemeClr val="tx1"/>
          </a:solidFill>
        </p:spPr>
        <p:txBody>
          <a:bodyPr lIns="91440" tIns="91440" bIns="91440" anchor="ctr"/>
          <a:lstStyle>
            <a:lvl1pPr marL="0" indent="0">
              <a:buNone/>
              <a:defRPr sz="1400" b="1">
                <a:solidFill>
                  <a:schemeClr val="bg1"/>
                </a:solidFill>
              </a:defRPr>
            </a:lvl1pPr>
            <a:lvl2pPr marL="169862" indent="0">
              <a:buNone/>
              <a:defRPr sz="1400"/>
            </a:lvl2pPr>
            <a:lvl3pPr>
              <a:defRPr sz="1100"/>
            </a:lvl3pPr>
            <a:lvl4pPr>
              <a:defRPr sz="1100"/>
            </a:lvl4pPr>
            <a:lvl5pPr>
              <a:defRPr sz="1100"/>
            </a:lvl5pPr>
          </a:lstStyle>
          <a:p>
            <a:pPr lvl="0"/>
            <a:r>
              <a:rPr lang="en-US" dirty="0"/>
              <a:t>Click to add subtitle max two rows or remove. </a:t>
            </a:r>
          </a:p>
        </p:txBody>
      </p:sp>
      <p:sp>
        <p:nvSpPr>
          <p:cNvPr id="14" name="Text Placeholder 8"/>
          <p:cNvSpPr>
            <a:spLocks noGrp="1"/>
          </p:cNvSpPr>
          <p:nvPr>
            <p:ph type="body" sz="quarter" idx="20" hasCustomPrompt="1"/>
          </p:nvPr>
        </p:nvSpPr>
        <p:spPr>
          <a:xfrm>
            <a:off x="411481" y="1385560"/>
            <a:ext cx="3413760" cy="497500"/>
          </a:xfrm>
          <a:solidFill>
            <a:schemeClr val="tx1"/>
          </a:solidFill>
        </p:spPr>
        <p:txBody>
          <a:bodyPr lIns="91440" tIns="91440" bIns="91440" anchor="ctr"/>
          <a:lstStyle>
            <a:lvl1pPr marL="0" indent="0">
              <a:buNone/>
              <a:defRPr sz="1400" b="1" baseline="0">
                <a:solidFill>
                  <a:schemeClr val="bg1"/>
                </a:solidFill>
              </a:defRPr>
            </a:lvl1pPr>
            <a:lvl2pPr marL="169862" indent="0">
              <a:buNone/>
              <a:defRPr sz="1400"/>
            </a:lvl2pPr>
            <a:lvl3pPr>
              <a:defRPr sz="1100"/>
            </a:lvl3pPr>
            <a:lvl4pPr>
              <a:defRPr sz="1100"/>
            </a:lvl4pPr>
            <a:lvl5pPr>
              <a:defRPr sz="1100"/>
            </a:lvl5pPr>
          </a:lstStyle>
          <a:p>
            <a:pPr lvl="0"/>
            <a:r>
              <a:rPr lang="en-US" dirty="0"/>
              <a:t>Click to add subtitle max two rows, resize as needed.</a:t>
            </a:r>
          </a:p>
        </p:txBody>
      </p:sp>
      <p:sp>
        <p:nvSpPr>
          <p:cNvPr id="15" name="Text Placeholder 8"/>
          <p:cNvSpPr>
            <a:spLocks noGrp="1"/>
          </p:cNvSpPr>
          <p:nvPr>
            <p:ph type="body" sz="quarter" idx="21" hasCustomPrompt="1"/>
          </p:nvPr>
        </p:nvSpPr>
        <p:spPr>
          <a:xfrm>
            <a:off x="4395941" y="1385560"/>
            <a:ext cx="3413760" cy="497500"/>
          </a:xfrm>
          <a:solidFill>
            <a:schemeClr val="tx1"/>
          </a:solidFill>
        </p:spPr>
        <p:txBody>
          <a:bodyPr lIns="91440" tIns="91440" bIns="91440" anchor="ctr"/>
          <a:lstStyle>
            <a:lvl1pPr marL="0" indent="0">
              <a:buNone/>
              <a:defRPr sz="1400" b="1" baseline="0">
                <a:solidFill>
                  <a:schemeClr val="bg1"/>
                </a:solidFill>
              </a:defRPr>
            </a:lvl1pPr>
            <a:lvl2pPr marL="169862" indent="0">
              <a:buNone/>
              <a:defRPr sz="1400"/>
            </a:lvl2pPr>
            <a:lvl3pPr>
              <a:defRPr sz="1100"/>
            </a:lvl3pPr>
            <a:lvl4pPr>
              <a:defRPr sz="1100"/>
            </a:lvl4pPr>
            <a:lvl5pPr>
              <a:defRPr sz="1100"/>
            </a:lvl5pPr>
          </a:lstStyle>
          <a:p>
            <a:pPr lvl="0"/>
            <a:r>
              <a:rPr lang="en-US" dirty="0"/>
              <a:t>Click to add subtitle max two rows or remove. </a:t>
            </a:r>
          </a:p>
        </p:txBody>
      </p:sp>
      <p:sp>
        <p:nvSpPr>
          <p:cNvPr id="17" name="Rectangle 16"/>
          <p:cNvSpPr/>
          <p:nvPr/>
        </p:nvSpPr>
        <p:spPr>
          <a:xfrm>
            <a:off x="12287026" y="-4042"/>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3 Content</a:t>
            </a:r>
            <a:r>
              <a:rPr lang="en-US" sz="1000" b="1" baseline="0" dirty="0">
                <a:solidFill>
                  <a:schemeClr val="tx1"/>
                </a:solidFill>
              </a:rPr>
              <a:t> Areas</a:t>
            </a:r>
            <a:endParaRPr lang="en-US" sz="1000" b="1" dirty="0">
              <a:solidFill>
                <a:schemeClr val="tx1"/>
              </a:solidFill>
            </a:endParaRPr>
          </a:p>
          <a:p>
            <a:pPr algn="l"/>
            <a:r>
              <a:rPr lang="en-US" sz="1000" b="0" baseline="0" dirty="0">
                <a:solidFill>
                  <a:schemeClr val="tx1"/>
                </a:solidFill>
              </a:rPr>
              <a:t>Use the subtitle and placeholder as needed and remove or resize them within the grid of the slide. </a:t>
            </a:r>
          </a:p>
        </p:txBody>
      </p:sp>
      <p:sp>
        <p:nvSpPr>
          <p:cNvPr id="21" name="Text Placeholder 11"/>
          <p:cNvSpPr>
            <a:spLocks noGrp="1"/>
          </p:cNvSpPr>
          <p:nvPr>
            <p:ph type="body" sz="quarter" idx="15"/>
          </p:nvPr>
        </p:nvSpPr>
        <p:spPr>
          <a:xfrm>
            <a:off x="414530"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9" name="Group 18"/>
          <p:cNvGrpSpPr/>
          <p:nvPr/>
        </p:nvGrpSpPr>
        <p:grpSpPr>
          <a:xfrm>
            <a:off x="12290697" y="3792255"/>
            <a:ext cx="1386482" cy="1597003"/>
            <a:chOff x="10154003" y="3332846"/>
            <a:chExt cx="3060457" cy="3525154"/>
          </a:xfrm>
        </p:grpSpPr>
        <p:pic>
          <p:nvPicPr>
            <p:cNvPr id="20" name="Picture 1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154003" y="5132682"/>
              <a:ext cx="3060457" cy="1725318"/>
            </a:xfrm>
            <a:prstGeom prst="rect">
              <a:avLst/>
            </a:prstGeom>
          </p:spPr>
        </p:pic>
        <p:pic>
          <p:nvPicPr>
            <p:cNvPr id="25" name="Picture 2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154003" y="3332846"/>
              <a:ext cx="3060457" cy="1731414"/>
            </a:xfrm>
            <a:prstGeom prst="rect">
              <a:avLst/>
            </a:prstGeom>
          </p:spPr>
        </p:pic>
      </p:grpSp>
      <p:grpSp>
        <p:nvGrpSpPr>
          <p:cNvPr id="26" name="Group 25"/>
          <p:cNvGrpSpPr/>
          <p:nvPr/>
        </p:nvGrpSpPr>
        <p:grpSpPr>
          <a:xfrm>
            <a:off x="12284309" y="2497574"/>
            <a:ext cx="1389888" cy="1233768"/>
            <a:chOff x="9215268" y="3023356"/>
            <a:chExt cx="1389888" cy="1233768"/>
          </a:xfrm>
        </p:grpSpPr>
        <p:sp>
          <p:nvSpPr>
            <p:cNvPr id="27" name="Rectangle 26"/>
            <p:cNvSpPr/>
            <p:nvPr/>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8" name="Rectangle 27"/>
            <p:cNvSpPr/>
            <p:nvPr/>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22" name="Rectangle 21"/>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3 Content</a:t>
            </a:r>
            <a:r>
              <a:rPr lang="en-US" sz="1000" b="1" baseline="0" dirty="0">
                <a:solidFill>
                  <a:schemeClr val="tx1"/>
                </a:solidFill>
              </a:rPr>
              <a:t> Areas</a:t>
            </a:r>
            <a:endParaRPr lang="en-US" sz="1000" b="1" dirty="0">
              <a:solidFill>
                <a:schemeClr val="tx1"/>
              </a:solidFill>
            </a:endParaRPr>
          </a:p>
          <a:p>
            <a:pPr algn="l"/>
            <a:r>
              <a:rPr lang="en-US" sz="1000" b="0" baseline="0" dirty="0">
                <a:solidFill>
                  <a:schemeClr val="tx1"/>
                </a:solidFill>
              </a:rPr>
              <a:t>Use the subtitle and placeholder as needed and remove or resize them within the grid of the slide. </a:t>
            </a:r>
          </a:p>
        </p:txBody>
      </p:sp>
      <p:grpSp>
        <p:nvGrpSpPr>
          <p:cNvPr id="23" name="Group 22"/>
          <p:cNvGrpSpPr/>
          <p:nvPr userDrawn="1"/>
        </p:nvGrpSpPr>
        <p:grpSpPr>
          <a:xfrm>
            <a:off x="12290696" y="3792254"/>
            <a:ext cx="1386481" cy="1597003"/>
            <a:chOff x="10154003" y="3332846"/>
            <a:chExt cx="3060457" cy="3525154"/>
          </a:xfrm>
        </p:grpSpPr>
        <p:pic>
          <p:nvPicPr>
            <p:cNvPr id="24" name="Picture 2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54003" y="5132682"/>
              <a:ext cx="3060457" cy="1725318"/>
            </a:xfrm>
            <a:prstGeom prst="rect">
              <a:avLst/>
            </a:prstGeom>
          </p:spPr>
        </p:pic>
        <p:pic>
          <p:nvPicPr>
            <p:cNvPr id="29" name="Picture 2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54003" y="3332846"/>
              <a:ext cx="3060457" cy="1731414"/>
            </a:xfrm>
            <a:prstGeom prst="rect">
              <a:avLst/>
            </a:prstGeom>
          </p:spPr>
        </p:pic>
      </p:grpSp>
      <p:grpSp>
        <p:nvGrpSpPr>
          <p:cNvPr id="30" name="Group 29"/>
          <p:cNvGrpSpPr/>
          <p:nvPr userDrawn="1"/>
        </p:nvGrpSpPr>
        <p:grpSpPr>
          <a:xfrm>
            <a:off x="12284310" y="2497574"/>
            <a:ext cx="1389888" cy="1233768"/>
            <a:chOff x="9215268" y="3023356"/>
            <a:chExt cx="1389888" cy="1233768"/>
          </a:xfrm>
        </p:grpSpPr>
        <p:sp>
          <p:nvSpPr>
            <p:cNvPr id="31" name="Rectangle 30"/>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32" name="Rectangle 31"/>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115712043"/>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7" name="Text Placeholder 11"/>
          <p:cNvSpPr>
            <a:spLocks noGrp="1"/>
          </p:cNvSpPr>
          <p:nvPr>
            <p:ph type="body" sz="quarter" idx="15"/>
          </p:nvPr>
        </p:nvSpPr>
        <p:spPr>
          <a:xfrm>
            <a:off x="414530" y="206377"/>
            <a:ext cx="11371079" cy="5884862"/>
          </a:xfrm>
        </p:spPr>
        <p:txBody>
          <a:bodyPr tIns="0" bIns="0" anchor="t">
            <a:normAutofit/>
          </a:bodyPr>
          <a:lstStyle>
            <a:lvl1pPr marL="0" indent="0">
              <a:lnSpc>
                <a:spcPct val="70000"/>
              </a:lnSpc>
              <a:spcBef>
                <a:spcPts val="0"/>
              </a:spcBef>
              <a:spcAft>
                <a:spcPts val="200"/>
              </a:spcAft>
              <a:buSzPct val="25000"/>
              <a:buFont typeface="Arial" panose="020B0604020202020204" pitchFamily="34" charset="0"/>
              <a:buChar char=" "/>
              <a:defRPr sz="105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105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6" name="Rectangle 5"/>
          <p:cNvSpPr/>
          <p:nvPr/>
        </p:nvSpPr>
        <p:spPr>
          <a:xfrm>
            <a:off x="12287026" y="-4042"/>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Disclaimer</a:t>
            </a:r>
          </a:p>
          <a:p>
            <a:pPr algn="l"/>
            <a:r>
              <a:rPr lang="en-US" sz="1000" b="0" baseline="0" dirty="0">
                <a:solidFill>
                  <a:schemeClr val="tx1"/>
                </a:solidFill>
              </a:rPr>
              <a:t>Add disclaimer text to placeholder by copying the text and pasting it as “Keep Text Only” to keep formatting. </a:t>
            </a:r>
          </a:p>
        </p:txBody>
      </p:sp>
      <p:grpSp>
        <p:nvGrpSpPr>
          <p:cNvPr id="9" name="Group 8"/>
          <p:cNvGrpSpPr/>
          <p:nvPr/>
        </p:nvGrpSpPr>
        <p:grpSpPr>
          <a:xfrm>
            <a:off x="12284309" y="2497574"/>
            <a:ext cx="1389888" cy="1233768"/>
            <a:chOff x="9215268" y="3023356"/>
            <a:chExt cx="1389888" cy="1233768"/>
          </a:xfrm>
        </p:grpSpPr>
        <p:sp>
          <p:nvSpPr>
            <p:cNvPr id="10" name="Rectangle 9"/>
            <p:cNvSpPr/>
            <p:nvPr/>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1" name="Rectangle 10"/>
            <p:cNvSpPr/>
            <p:nvPr/>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12" name="Rectangle 11"/>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Disclaimer</a:t>
            </a:r>
          </a:p>
          <a:p>
            <a:pPr algn="l"/>
            <a:r>
              <a:rPr lang="en-US" sz="1000" b="0" baseline="0" dirty="0">
                <a:solidFill>
                  <a:schemeClr val="tx1"/>
                </a:solidFill>
              </a:rPr>
              <a:t>Add disclaimer text to placeholder by copying the text and pasting it as “Keep Text Only” to keep formatting. </a:t>
            </a:r>
          </a:p>
        </p:txBody>
      </p:sp>
      <p:grpSp>
        <p:nvGrpSpPr>
          <p:cNvPr id="13" name="Group 12"/>
          <p:cNvGrpSpPr/>
          <p:nvPr userDrawn="1"/>
        </p:nvGrpSpPr>
        <p:grpSpPr>
          <a:xfrm>
            <a:off x="12284310" y="2497574"/>
            <a:ext cx="1389888" cy="1233768"/>
            <a:chOff x="9215268" y="3023356"/>
            <a:chExt cx="1389888" cy="1233768"/>
          </a:xfrm>
        </p:grpSpPr>
        <p:sp>
          <p:nvSpPr>
            <p:cNvPr id="14" name="Rectangle 13"/>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5" name="Rectangle 14"/>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984394238"/>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3" name="Content Placeholder 2"/>
          <p:cNvSpPr>
            <a:spLocks noGrp="1"/>
          </p:cNvSpPr>
          <p:nvPr>
            <p:ph idx="1"/>
          </p:nvPr>
        </p:nvSpPr>
        <p:spPr>
          <a:xfrm>
            <a:off x="414528" y="1794416"/>
            <a:ext cx="11367253" cy="38777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1479"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15" name="Text Placeholder 11"/>
          <p:cNvSpPr>
            <a:spLocks noGrp="1"/>
          </p:cNvSpPr>
          <p:nvPr>
            <p:ph type="body" sz="quarter" idx="15"/>
          </p:nvPr>
        </p:nvSpPr>
        <p:spPr>
          <a:xfrm>
            <a:off x="414530"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9" name="Rectangle 18"/>
          <p:cNvSpPr/>
          <p:nvPr/>
        </p:nvSpPr>
        <p:spPr>
          <a:xfrm>
            <a:off x="12287026"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a:t>
            </a:r>
          </a:p>
          <a:p>
            <a:pPr algn="l"/>
            <a:r>
              <a:rPr lang="en-US" sz="1000" b="0" baseline="0" dirty="0">
                <a:solidFill>
                  <a:schemeClr val="tx1"/>
                </a:solidFill>
              </a:rPr>
              <a:t>Level 1 has a bullet turned on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p:txBody>
      </p:sp>
      <p:pic>
        <p:nvPicPr>
          <p:cNvPr id="20" name="bullets"/>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2345151" y="1304624"/>
            <a:ext cx="277342" cy="241890"/>
          </a:xfrm>
          <a:prstGeom prst="rect">
            <a:avLst/>
          </a:prstGeom>
          <a:ln>
            <a:noFill/>
          </a:ln>
        </p:spPr>
      </p:pic>
      <p:pic>
        <p:nvPicPr>
          <p:cNvPr id="21" name="increase list level"/>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2342987" y="2219751"/>
            <a:ext cx="391317" cy="241890"/>
          </a:xfrm>
          <a:prstGeom prst="rect">
            <a:avLst/>
          </a:prstGeom>
        </p:spPr>
      </p:pic>
      <p:grpSp>
        <p:nvGrpSpPr>
          <p:cNvPr id="22" name="Group 21"/>
          <p:cNvGrpSpPr/>
          <p:nvPr/>
        </p:nvGrpSpPr>
        <p:grpSpPr>
          <a:xfrm>
            <a:off x="12284309" y="3212874"/>
            <a:ext cx="1389888" cy="1233768"/>
            <a:chOff x="9215268" y="3023356"/>
            <a:chExt cx="1389888" cy="1233768"/>
          </a:xfrm>
        </p:grpSpPr>
        <p:sp>
          <p:nvSpPr>
            <p:cNvPr id="23" name="Rectangle 22"/>
            <p:cNvSpPr/>
            <p:nvPr/>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4" name="Rectangle 23"/>
            <p:cNvSpPr/>
            <p:nvPr/>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14" name="Rectangle 13"/>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a:t>
            </a:r>
          </a:p>
          <a:p>
            <a:pPr algn="l"/>
            <a:r>
              <a:rPr lang="en-US" sz="1000" b="0" baseline="0" dirty="0">
                <a:solidFill>
                  <a:schemeClr val="tx1"/>
                </a:solidFill>
              </a:rPr>
              <a:t>Level 1 has a bullet turned on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p:txBody>
      </p:sp>
      <p:pic>
        <p:nvPicPr>
          <p:cNvPr id="16" name="bullets"/>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2345151" y="1304623"/>
            <a:ext cx="277342" cy="241890"/>
          </a:xfrm>
          <a:prstGeom prst="rect">
            <a:avLst/>
          </a:prstGeom>
          <a:ln>
            <a:noFill/>
          </a:ln>
        </p:spPr>
      </p:pic>
      <p:pic>
        <p:nvPicPr>
          <p:cNvPr id="17" name="increase list level"/>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342987" y="2219751"/>
            <a:ext cx="391318" cy="241890"/>
          </a:xfrm>
          <a:prstGeom prst="rect">
            <a:avLst/>
          </a:prstGeom>
        </p:spPr>
      </p:pic>
      <p:grpSp>
        <p:nvGrpSpPr>
          <p:cNvPr id="18" name="Group 17"/>
          <p:cNvGrpSpPr/>
          <p:nvPr userDrawn="1"/>
        </p:nvGrpSpPr>
        <p:grpSpPr>
          <a:xfrm>
            <a:off x="12284310" y="3212874"/>
            <a:ext cx="1389888" cy="1233768"/>
            <a:chOff x="9215268" y="3023356"/>
            <a:chExt cx="1389888" cy="1233768"/>
          </a:xfrm>
        </p:grpSpPr>
        <p:sp>
          <p:nvSpPr>
            <p:cNvPr id="25" name="Rectangle 24"/>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6" name="Rectangle 25"/>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3478810876"/>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14528" y="1798731"/>
            <a:ext cx="5491388" cy="3873409"/>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99207" y="1798731"/>
            <a:ext cx="5491388" cy="3873409"/>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1479"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10" name="Rectangle 9"/>
          <p:cNvSpPr/>
          <p:nvPr/>
        </p:nvSpPr>
        <p:spPr>
          <a:xfrm>
            <a:off x="12287026"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2 columns </a:t>
            </a:r>
          </a:p>
          <a:p>
            <a:pPr algn="l"/>
            <a:r>
              <a:rPr lang="en-US" sz="1000" b="0" baseline="0" dirty="0">
                <a:solidFill>
                  <a:schemeClr val="tx1"/>
                </a:solidFill>
              </a:rPr>
              <a:t>Level 1 has a bullet turned on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p:txBody>
      </p:sp>
      <p:sp>
        <p:nvSpPr>
          <p:cNvPr id="15" name="Text Placeholder 11"/>
          <p:cNvSpPr>
            <a:spLocks noGrp="1"/>
          </p:cNvSpPr>
          <p:nvPr>
            <p:ph type="body" sz="quarter" idx="15"/>
          </p:nvPr>
        </p:nvSpPr>
        <p:spPr>
          <a:xfrm>
            <a:off x="414530"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pic>
        <p:nvPicPr>
          <p:cNvPr id="16" name="bullets"/>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2345151" y="1307765"/>
            <a:ext cx="277342" cy="241890"/>
          </a:xfrm>
          <a:prstGeom prst="rect">
            <a:avLst/>
          </a:prstGeom>
          <a:ln>
            <a:noFill/>
          </a:ln>
        </p:spPr>
      </p:pic>
      <p:pic>
        <p:nvPicPr>
          <p:cNvPr id="17" name="increase list level"/>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2342987" y="2222894"/>
            <a:ext cx="391317" cy="241890"/>
          </a:xfrm>
          <a:prstGeom prst="rect">
            <a:avLst/>
          </a:prstGeom>
        </p:spPr>
      </p:pic>
      <p:grpSp>
        <p:nvGrpSpPr>
          <p:cNvPr id="18" name="Group 17"/>
          <p:cNvGrpSpPr/>
          <p:nvPr/>
        </p:nvGrpSpPr>
        <p:grpSpPr>
          <a:xfrm>
            <a:off x="12284309" y="3212874"/>
            <a:ext cx="1389888" cy="1233768"/>
            <a:chOff x="9215268" y="3023356"/>
            <a:chExt cx="1389888" cy="1233768"/>
          </a:xfrm>
        </p:grpSpPr>
        <p:sp>
          <p:nvSpPr>
            <p:cNvPr id="19" name="Rectangle 18"/>
            <p:cNvSpPr/>
            <p:nvPr/>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0" name="Rectangle 19"/>
            <p:cNvSpPr/>
            <p:nvPr/>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21" name="Rectangle 20"/>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2 columns </a:t>
            </a:r>
          </a:p>
          <a:p>
            <a:pPr algn="l"/>
            <a:r>
              <a:rPr lang="en-US" sz="1000" b="0" baseline="0" dirty="0">
                <a:solidFill>
                  <a:schemeClr val="tx1"/>
                </a:solidFill>
              </a:rPr>
              <a:t>Level 1 has a bullet turned on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p:txBody>
      </p:sp>
      <p:pic>
        <p:nvPicPr>
          <p:cNvPr id="22" name="bullets"/>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2345151" y="1307765"/>
            <a:ext cx="277342" cy="241890"/>
          </a:xfrm>
          <a:prstGeom prst="rect">
            <a:avLst/>
          </a:prstGeom>
          <a:ln>
            <a:noFill/>
          </a:ln>
        </p:spPr>
      </p:pic>
      <p:pic>
        <p:nvPicPr>
          <p:cNvPr id="23" name="increase list level"/>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342987" y="2222893"/>
            <a:ext cx="391318" cy="241890"/>
          </a:xfrm>
          <a:prstGeom prst="rect">
            <a:avLst/>
          </a:prstGeom>
        </p:spPr>
      </p:pic>
      <p:grpSp>
        <p:nvGrpSpPr>
          <p:cNvPr id="24" name="Group 23"/>
          <p:cNvGrpSpPr/>
          <p:nvPr userDrawn="1"/>
        </p:nvGrpSpPr>
        <p:grpSpPr>
          <a:xfrm>
            <a:off x="12284310" y="3212874"/>
            <a:ext cx="1389888" cy="1233768"/>
            <a:chOff x="9215268" y="3023356"/>
            <a:chExt cx="1389888" cy="1233768"/>
          </a:xfrm>
        </p:grpSpPr>
        <p:sp>
          <p:nvSpPr>
            <p:cNvPr id="25" name="Rectangle 24"/>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6" name="Rectangle 25"/>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3697652124"/>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6" name="Text Placeholder 7"/>
          <p:cNvSpPr>
            <a:spLocks noGrp="1"/>
          </p:cNvSpPr>
          <p:nvPr>
            <p:ph type="body" sz="quarter" idx="13" hasCustomPrompt="1"/>
          </p:nvPr>
        </p:nvSpPr>
        <p:spPr>
          <a:xfrm>
            <a:off x="411479"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8" name="Rectangle 7"/>
          <p:cNvSpPr/>
          <p:nvPr/>
        </p:nvSpPr>
        <p:spPr>
          <a:xfrm>
            <a:off x="12287026" y="-4042"/>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Title Only</a:t>
            </a:r>
          </a:p>
          <a:p>
            <a:pPr algn="l"/>
            <a:r>
              <a:rPr lang="en-US" sz="1000" b="0" baseline="0" dirty="0">
                <a:solidFill>
                  <a:schemeClr val="tx1"/>
                </a:solidFill>
              </a:rPr>
              <a:t>Use to create freehand content within the grid. </a:t>
            </a:r>
          </a:p>
        </p:txBody>
      </p:sp>
      <p:sp>
        <p:nvSpPr>
          <p:cNvPr id="11" name="Text Placeholder 11"/>
          <p:cNvSpPr>
            <a:spLocks noGrp="1"/>
          </p:cNvSpPr>
          <p:nvPr>
            <p:ph type="body" sz="quarter" idx="15"/>
          </p:nvPr>
        </p:nvSpPr>
        <p:spPr>
          <a:xfrm>
            <a:off x="414530"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2" name="Group 11"/>
          <p:cNvGrpSpPr/>
          <p:nvPr/>
        </p:nvGrpSpPr>
        <p:grpSpPr>
          <a:xfrm>
            <a:off x="12284309" y="2497574"/>
            <a:ext cx="1389888" cy="1233768"/>
            <a:chOff x="9215268" y="3023356"/>
            <a:chExt cx="1389888" cy="1233768"/>
          </a:xfrm>
        </p:grpSpPr>
        <p:sp>
          <p:nvSpPr>
            <p:cNvPr id="13" name="Rectangle 12"/>
            <p:cNvSpPr/>
            <p:nvPr/>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4" name="Rectangle 13"/>
            <p:cNvSpPr/>
            <p:nvPr/>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15" name="Rectangle 14"/>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Title Only</a:t>
            </a:r>
          </a:p>
          <a:p>
            <a:pPr algn="l"/>
            <a:r>
              <a:rPr lang="en-US" sz="1000" b="0" baseline="0" dirty="0">
                <a:solidFill>
                  <a:schemeClr val="tx1"/>
                </a:solidFill>
              </a:rPr>
              <a:t>Use to create freehand content within the grid. </a:t>
            </a:r>
          </a:p>
        </p:txBody>
      </p:sp>
      <p:grpSp>
        <p:nvGrpSpPr>
          <p:cNvPr id="16" name="Group 15"/>
          <p:cNvGrpSpPr/>
          <p:nvPr userDrawn="1"/>
        </p:nvGrpSpPr>
        <p:grpSpPr>
          <a:xfrm>
            <a:off x="12284310" y="2497574"/>
            <a:ext cx="1389888" cy="1233768"/>
            <a:chOff x="9215268" y="3023356"/>
            <a:chExt cx="1389888" cy="1233768"/>
          </a:xfrm>
        </p:grpSpPr>
        <p:sp>
          <p:nvSpPr>
            <p:cNvPr id="17" name="Rectangle 16"/>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8" name="Rectangle 17"/>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604683108"/>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4" name="Slide Number Placeholder 3"/>
          <p:cNvSpPr>
            <a:spLocks noGrp="1"/>
          </p:cNvSpPr>
          <p:nvPr>
            <p:ph type="sldNum" sz="quarter" idx="12"/>
          </p:nvPr>
        </p:nvSpPr>
        <p:spPr/>
        <p:txBody>
          <a:bodyPr/>
          <a:lstStyle/>
          <a:p>
            <a:fld id="{5246FB18-5DF1-419A-B975-14AFDDD65B9F}" type="slidenum">
              <a:rPr lang="en-US" smtClean="0"/>
              <a:t>‹#›</a:t>
            </a:fld>
            <a:endParaRPr lang="en-US"/>
          </a:p>
        </p:txBody>
      </p:sp>
      <p:sp>
        <p:nvSpPr>
          <p:cNvPr id="7" name="Rectangle 6"/>
          <p:cNvSpPr/>
          <p:nvPr/>
        </p:nvSpPr>
        <p:spPr>
          <a:xfrm>
            <a:off x="12287026" y="-4042"/>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Blank</a:t>
            </a:r>
          </a:p>
          <a:p>
            <a:pPr algn="l"/>
            <a:r>
              <a:rPr lang="en-US" sz="1000" b="0" baseline="0" dirty="0">
                <a:solidFill>
                  <a:schemeClr val="tx1"/>
                </a:solidFill>
              </a:rPr>
              <a:t>A blank slide layout with no headline, subtitle or content placeholders. </a:t>
            </a:r>
          </a:p>
        </p:txBody>
      </p:sp>
      <p:sp>
        <p:nvSpPr>
          <p:cNvPr id="9" name="Text Placeholder 11"/>
          <p:cNvSpPr>
            <a:spLocks noGrp="1"/>
          </p:cNvSpPr>
          <p:nvPr>
            <p:ph type="body" sz="quarter" idx="15"/>
          </p:nvPr>
        </p:nvSpPr>
        <p:spPr>
          <a:xfrm>
            <a:off x="414530"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0" name="Group 9"/>
          <p:cNvGrpSpPr/>
          <p:nvPr/>
        </p:nvGrpSpPr>
        <p:grpSpPr>
          <a:xfrm>
            <a:off x="12284309" y="2497574"/>
            <a:ext cx="1389888" cy="1233768"/>
            <a:chOff x="9215268" y="3023356"/>
            <a:chExt cx="1389888" cy="1233768"/>
          </a:xfrm>
        </p:grpSpPr>
        <p:sp>
          <p:nvSpPr>
            <p:cNvPr id="11" name="Rectangle 10"/>
            <p:cNvSpPr/>
            <p:nvPr/>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2" name="Rectangle 11"/>
            <p:cNvSpPr/>
            <p:nvPr/>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13" name="Rectangle 12"/>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Blank</a:t>
            </a:r>
          </a:p>
          <a:p>
            <a:pPr algn="l"/>
            <a:r>
              <a:rPr lang="en-US" sz="1000" b="0" baseline="0" dirty="0">
                <a:solidFill>
                  <a:schemeClr val="tx1"/>
                </a:solidFill>
              </a:rPr>
              <a:t>A blank slide layout with no headline, subtitle or content placeholders. </a:t>
            </a:r>
          </a:p>
        </p:txBody>
      </p:sp>
      <p:grpSp>
        <p:nvGrpSpPr>
          <p:cNvPr id="14" name="Group 13"/>
          <p:cNvGrpSpPr/>
          <p:nvPr userDrawn="1"/>
        </p:nvGrpSpPr>
        <p:grpSpPr>
          <a:xfrm>
            <a:off x="12284310" y="2497574"/>
            <a:ext cx="1389888" cy="1233768"/>
            <a:chOff x="9215268" y="3023356"/>
            <a:chExt cx="1389888" cy="1233768"/>
          </a:xfrm>
        </p:grpSpPr>
        <p:sp>
          <p:nvSpPr>
            <p:cNvPr id="15" name="Rectangle 14"/>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6" name="Rectangle 15"/>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4125252516"/>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9" name="Content Placeholder 8"/>
          <p:cNvSpPr>
            <a:spLocks noGrp="1"/>
          </p:cNvSpPr>
          <p:nvPr>
            <p:ph sz="quarter" idx="13"/>
          </p:nvPr>
        </p:nvSpPr>
        <p:spPr>
          <a:xfrm>
            <a:off x="406403" y="1371602"/>
            <a:ext cx="11379205" cy="4300539"/>
          </a:xfrm>
          <a:ln cap="flat">
            <a:miter lim="800000"/>
          </a:ln>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p:cNvSpPr>
            <a:spLocks noGrp="1"/>
          </p:cNvSpPr>
          <p:nvPr>
            <p:ph type="dt" sz="half" idx="14"/>
          </p:nvPr>
        </p:nvSpPr>
        <p:spPr/>
        <p:txBody>
          <a:bodyPr/>
          <a:lstStyle/>
          <a:p>
            <a:endParaRPr lang="en-US"/>
          </a:p>
        </p:txBody>
      </p:sp>
      <p:sp>
        <p:nvSpPr>
          <p:cNvPr id="8" name="Slide Number Placeholder 7"/>
          <p:cNvSpPr>
            <a:spLocks noGrp="1"/>
          </p:cNvSpPr>
          <p:nvPr>
            <p:ph type="sldNum" sz="quarter" idx="16"/>
          </p:nvPr>
        </p:nvSpPr>
        <p:spPr/>
        <p:txBody>
          <a:bodyPr/>
          <a:lstStyle/>
          <a:p>
            <a:fld id="{146682E1-A610-4FB0-BCC6-241ABE41C99B}" type="slidenum">
              <a:rPr lang="en-US" smtClean="0"/>
              <a:t>‹#›</a:t>
            </a:fld>
            <a:endParaRPr lang="en-US"/>
          </a:p>
        </p:txBody>
      </p:sp>
      <p:sp>
        <p:nvSpPr>
          <p:cNvPr id="10" name="Title 9"/>
          <p:cNvSpPr>
            <a:spLocks noGrp="1"/>
          </p:cNvSpPr>
          <p:nvPr>
            <p:ph type="title"/>
          </p:nvPr>
        </p:nvSpPr>
        <p:spPr/>
        <p:txBody>
          <a:bodyPr/>
          <a:lstStyle>
            <a:lvl1pPr>
              <a:defRPr>
                <a:latin typeface="+mj-lt"/>
              </a:defRPr>
            </a:lvl1pPr>
          </a:lstStyle>
          <a:p>
            <a:r>
              <a:rPr lang="en-US"/>
              <a:t>Click to edit Master title style</a:t>
            </a:r>
            <a:endParaRPr lang="en-US" dirty="0"/>
          </a:p>
        </p:txBody>
      </p:sp>
      <p:sp>
        <p:nvSpPr>
          <p:cNvPr id="11" name="Rectangle 10"/>
          <p:cNvSpPr/>
          <p:nvPr/>
        </p:nvSpPr>
        <p:spPr>
          <a:xfrm>
            <a:off x="12287026" y="-4042"/>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Title and Content</a:t>
            </a:r>
          </a:p>
          <a:p>
            <a:pPr algn="l"/>
            <a:r>
              <a:rPr lang="en-US" sz="1000" b="0" baseline="0" dirty="0">
                <a:solidFill>
                  <a:schemeClr val="tx1"/>
                </a:solidFill>
              </a:rPr>
              <a:t>Headline and content layout. </a:t>
            </a:r>
          </a:p>
        </p:txBody>
      </p:sp>
      <p:sp>
        <p:nvSpPr>
          <p:cNvPr id="14" name="Text Placeholder 11"/>
          <p:cNvSpPr>
            <a:spLocks noGrp="1"/>
          </p:cNvSpPr>
          <p:nvPr>
            <p:ph type="body" sz="quarter" idx="17"/>
          </p:nvPr>
        </p:nvSpPr>
        <p:spPr>
          <a:xfrm>
            <a:off x="414530"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2" name="Group 11"/>
          <p:cNvGrpSpPr/>
          <p:nvPr/>
        </p:nvGrpSpPr>
        <p:grpSpPr>
          <a:xfrm>
            <a:off x="12284309" y="2497574"/>
            <a:ext cx="1389888" cy="1233768"/>
            <a:chOff x="9215268" y="3023356"/>
            <a:chExt cx="1389888" cy="1233768"/>
          </a:xfrm>
        </p:grpSpPr>
        <p:sp>
          <p:nvSpPr>
            <p:cNvPr id="15" name="Rectangle 14"/>
            <p:cNvSpPr/>
            <p:nvPr/>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6" name="Rectangle 15"/>
            <p:cNvSpPr/>
            <p:nvPr/>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13" name="Rectangle 12"/>
          <p:cNvSpPr/>
          <p:nvPr userDrawn="1"/>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Title and Content</a:t>
            </a:r>
          </a:p>
          <a:p>
            <a:pPr algn="l"/>
            <a:r>
              <a:rPr lang="en-US" sz="1000" b="0" baseline="0" dirty="0">
                <a:solidFill>
                  <a:schemeClr val="tx1"/>
                </a:solidFill>
              </a:rPr>
              <a:t>Headline and content layout. </a:t>
            </a:r>
          </a:p>
        </p:txBody>
      </p:sp>
      <p:grpSp>
        <p:nvGrpSpPr>
          <p:cNvPr id="17" name="Group 16"/>
          <p:cNvGrpSpPr/>
          <p:nvPr userDrawn="1"/>
        </p:nvGrpSpPr>
        <p:grpSpPr>
          <a:xfrm>
            <a:off x="12284310" y="2497574"/>
            <a:ext cx="1389888" cy="1233768"/>
            <a:chOff x="9215268" y="3023356"/>
            <a:chExt cx="1389888" cy="1233768"/>
          </a:xfrm>
        </p:grpSpPr>
        <p:sp>
          <p:nvSpPr>
            <p:cNvPr id="18" name="Rectangle 17"/>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9" name="Rectangle 18"/>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1611076418"/>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Instruction">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r>
              <a:rPr lang="en-US"/>
              <a:t>Private &amp; Confidential</a:t>
            </a:r>
            <a:endParaRPr lang="en-US" dirty="0"/>
          </a:p>
        </p:txBody>
      </p:sp>
      <p:sp>
        <p:nvSpPr>
          <p:cNvPr id="5" name="Slide Number Placeholder 4"/>
          <p:cNvSpPr>
            <a:spLocks noGrp="1"/>
          </p:cNvSpPr>
          <p:nvPr>
            <p:ph type="sldNum" sz="quarter" idx="12"/>
          </p:nvPr>
        </p:nvSpPr>
        <p:spPr/>
        <p:txBody>
          <a:bodyPr/>
          <a:lstStyle/>
          <a:p>
            <a:fld id="{5246FB18-5DF1-419A-B975-14AFDDD65B9F}" type="slidenum">
              <a:rPr lang="en-US" smtClean="0"/>
              <a:pPr/>
              <a:t>‹#›</a:t>
            </a:fld>
            <a:endParaRPr lang="en-US" dirty="0"/>
          </a:p>
        </p:txBody>
      </p:sp>
      <p:sp>
        <p:nvSpPr>
          <p:cNvPr id="6" name="TextBox 5"/>
          <p:cNvSpPr txBox="1"/>
          <p:nvPr/>
        </p:nvSpPr>
        <p:spPr>
          <a:xfrm>
            <a:off x="406400" y="445570"/>
            <a:ext cx="11078564" cy="3416320"/>
          </a:xfrm>
          <a:prstGeom prst="rect">
            <a:avLst/>
          </a:prstGeom>
          <a:noFill/>
        </p:spPr>
        <p:txBody>
          <a:bodyPr wrap="square" rtlCol="0">
            <a:spAutoFit/>
          </a:bodyPr>
          <a:lstStyle/>
          <a:p>
            <a:pPr>
              <a:lnSpc>
                <a:spcPct val="90000"/>
              </a:lnSpc>
            </a:pPr>
            <a:r>
              <a:rPr lang="en-US" sz="8000" b="1" dirty="0"/>
              <a:t>DO NOT USE ANY SLIDE LAYOUTS AFTER THIS LAYOUT! </a:t>
            </a:r>
          </a:p>
        </p:txBody>
      </p:sp>
      <p:sp>
        <p:nvSpPr>
          <p:cNvPr id="7" name="TextBox 6"/>
          <p:cNvSpPr txBox="1"/>
          <p:nvPr userDrawn="1"/>
        </p:nvSpPr>
        <p:spPr>
          <a:xfrm>
            <a:off x="406400" y="445570"/>
            <a:ext cx="11078563" cy="3416320"/>
          </a:xfrm>
          <a:prstGeom prst="rect">
            <a:avLst/>
          </a:prstGeom>
          <a:noFill/>
        </p:spPr>
        <p:txBody>
          <a:bodyPr wrap="square" rtlCol="0">
            <a:spAutoFit/>
          </a:bodyPr>
          <a:lstStyle/>
          <a:p>
            <a:pPr>
              <a:lnSpc>
                <a:spcPct val="90000"/>
              </a:lnSpc>
            </a:pPr>
            <a:r>
              <a:rPr lang="en-US" sz="8000" b="1" dirty="0"/>
              <a:t>DO NOT USE ANY SLIDE LAYOUTS AFTER THIS LAYOUT! </a:t>
            </a:r>
          </a:p>
        </p:txBody>
      </p:sp>
    </p:spTree>
    <p:extLst>
      <p:ext uri="{BB962C8B-B14F-4D97-AF65-F5344CB8AC3E}">
        <p14:creationId xmlns:p14="http://schemas.microsoft.com/office/powerpoint/2010/main" val="1603775379"/>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414528" y="1371600"/>
            <a:ext cx="11367253" cy="480060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Private &amp; Confidential</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Tree>
    <p:extLst>
      <p:ext uri="{BB962C8B-B14F-4D97-AF65-F5344CB8AC3E}">
        <p14:creationId xmlns:p14="http://schemas.microsoft.com/office/powerpoint/2010/main" val="1262043227"/>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Private &amp; Confidential</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Tree>
    <p:extLst>
      <p:ext uri="{BB962C8B-B14F-4D97-AF65-F5344CB8AC3E}">
        <p14:creationId xmlns:p14="http://schemas.microsoft.com/office/powerpoint/2010/main" val="2943419450"/>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0BD7F9-2BBF-2849-AD61-9783E68B9ED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A0423DE-1F1B-B547-B072-F05DD1BF6AC3}"/>
              </a:ext>
            </a:extLst>
          </p:cNvPr>
          <p:cNvSpPr>
            <a:spLocks noGrp="1"/>
          </p:cNvSpPr>
          <p:nvPr>
            <p:ph type="dt" sz="half" idx="10"/>
          </p:nvPr>
        </p:nvSpPr>
        <p:spPr/>
        <p:txBody>
          <a:bodyPr/>
          <a:lstStyle/>
          <a:p>
            <a:fld id="{92F427D0-34EB-7F4F-A4A2-2357E7D45014}" type="datetimeFigureOut">
              <a:rPr lang="en-US" smtClean="0"/>
              <a:t>6/18/2020</a:t>
            </a:fld>
            <a:endParaRPr lang="en-US" dirty="0"/>
          </a:p>
        </p:txBody>
      </p:sp>
      <p:sp>
        <p:nvSpPr>
          <p:cNvPr id="4" name="Footer Placeholder 3">
            <a:extLst>
              <a:ext uri="{FF2B5EF4-FFF2-40B4-BE49-F238E27FC236}">
                <a16:creationId xmlns:a16="http://schemas.microsoft.com/office/drawing/2014/main" id="{3879ECFE-C162-8A4E-9327-DCA6AC11B17E}"/>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FB5E64B7-F6C4-C049-ADAE-08DFAACA077D}"/>
              </a:ext>
            </a:extLst>
          </p:cNvPr>
          <p:cNvSpPr>
            <a:spLocks noGrp="1"/>
          </p:cNvSpPr>
          <p:nvPr>
            <p:ph type="sldNum" sz="quarter" idx="12"/>
          </p:nvPr>
        </p:nvSpPr>
        <p:spPr/>
        <p:txBody>
          <a:bodyPr/>
          <a:lstStyle/>
          <a:p>
            <a:fld id="{3C02FF7F-7EE0-DE4E-B4BA-8D5E63CE8E28}" type="slidenum">
              <a:rPr lang="en-US" smtClean="0"/>
              <a:t>‹#›</a:t>
            </a:fld>
            <a:endParaRPr lang="en-US" dirty="0"/>
          </a:p>
        </p:txBody>
      </p:sp>
    </p:spTree>
    <p:extLst>
      <p:ext uri="{BB962C8B-B14F-4D97-AF65-F5344CB8AC3E}">
        <p14:creationId xmlns:p14="http://schemas.microsoft.com/office/powerpoint/2010/main" val="247920426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Wide Image">
    <p:spTree>
      <p:nvGrpSpPr>
        <p:cNvPr id="1" name=""/>
        <p:cNvGrpSpPr/>
        <p:nvPr/>
      </p:nvGrpSpPr>
      <p:grpSpPr>
        <a:xfrm>
          <a:off x="0" y="0"/>
          <a:ext cx="0" cy="0"/>
          <a:chOff x="0" y="0"/>
          <a:chExt cx="0" cy="0"/>
        </a:xfrm>
      </p:grpSpPr>
      <p:sp>
        <p:nvSpPr>
          <p:cNvPr id="18" name="Picture Placeholder 3"/>
          <p:cNvSpPr>
            <a:spLocks noGrp="1"/>
          </p:cNvSpPr>
          <p:nvPr>
            <p:ph type="pic" sz="quarter" idx="10"/>
          </p:nvPr>
        </p:nvSpPr>
        <p:spPr>
          <a:xfrm>
            <a:off x="1" y="1"/>
            <a:ext cx="12187009" cy="2924247"/>
          </a:xfrm>
          <a:prstGeom prst="rect">
            <a:avLst/>
          </a:prstGeom>
        </p:spPr>
        <p:txBody>
          <a:bodyPr/>
          <a:lstStyle>
            <a:lvl1pPr>
              <a:defRPr sz="1300" b="0" i="0">
                <a:solidFill>
                  <a:schemeClr val="bg2"/>
                </a:solidFill>
                <a:latin typeface="Lato Light" charset="0"/>
                <a:ea typeface="Lato Light" charset="0"/>
                <a:cs typeface="Lato Light" charset="0"/>
              </a:defRPr>
            </a:lvl1pPr>
          </a:lstStyle>
          <a:p>
            <a:r>
              <a:rPr lang="en-US"/>
              <a:t>Click icon to add picture</a:t>
            </a:r>
            <a:endParaRPr lang="en-US" dirty="0"/>
          </a:p>
        </p:txBody>
      </p:sp>
    </p:spTree>
    <p:extLst>
      <p:ext uri="{BB962C8B-B14F-4D97-AF65-F5344CB8AC3E}">
        <p14:creationId xmlns:p14="http://schemas.microsoft.com/office/powerpoint/2010/main" val="2047731274"/>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Wide Small Image">
    <p:spTree>
      <p:nvGrpSpPr>
        <p:cNvPr id="1" name=""/>
        <p:cNvGrpSpPr/>
        <p:nvPr/>
      </p:nvGrpSpPr>
      <p:grpSpPr>
        <a:xfrm>
          <a:off x="0" y="0"/>
          <a:ext cx="0" cy="0"/>
          <a:chOff x="0" y="0"/>
          <a:chExt cx="0" cy="0"/>
        </a:xfrm>
      </p:grpSpPr>
      <p:sp>
        <p:nvSpPr>
          <p:cNvPr id="18" name="Picture Placeholder 3"/>
          <p:cNvSpPr>
            <a:spLocks noGrp="1"/>
          </p:cNvSpPr>
          <p:nvPr>
            <p:ph type="pic" sz="quarter" idx="10"/>
          </p:nvPr>
        </p:nvSpPr>
        <p:spPr>
          <a:xfrm>
            <a:off x="1337110" y="2749550"/>
            <a:ext cx="4253793" cy="1038679"/>
          </a:xfrm>
          <a:prstGeom prst="rect">
            <a:avLst/>
          </a:prstGeom>
        </p:spPr>
        <p:txBody>
          <a:bodyPr/>
          <a:lstStyle>
            <a:lvl1pPr>
              <a:defRPr sz="1300" b="0" i="0">
                <a:solidFill>
                  <a:schemeClr val="bg2"/>
                </a:solidFill>
                <a:latin typeface="Lato Light" charset="0"/>
                <a:ea typeface="Lato Light" charset="0"/>
                <a:cs typeface="Lato Light" charset="0"/>
              </a:defRPr>
            </a:lvl1pPr>
          </a:lstStyle>
          <a:p>
            <a:r>
              <a:rPr lang="en-US"/>
              <a:t>Click icon to add picture</a:t>
            </a:r>
            <a:endParaRPr lang="en-US" dirty="0"/>
          </a:p>
        </p:txBody>
      </p:sp>
    </p:spTree>
    <p:extLst>
      <p:ext uri="{BB962C8B-B14F-4D97-AF65-F5344CB8AC3E}">
        <p14:creationId xmlns:p14="http://schemas.microsoft.com/office/powerpoint/2010/main" val="4261765464"/>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Square Small Middle Img">
    <p:spTree>
      <p:nvGrpSpPr>
        <p:cNvPr id="1" name=""/>
        <p:cNvGrpSpPr/>
        <p:nvPr/>
      </p:nvGrpSpPr>
      <p:grpSpPr>
        <a:xfrm>
          <a:off x="0" y="0"/>
          <a:ext cx="0" cy="0"/>
          <a:chOff x="0" y="0"/>
          <a:chExt cx="0" cy="0"/>
        </a:xfrm>
      </p:grpSpPr>
      <p:sp>
        <p:nvSpPr>
          <p:cNvPr id="16" name="Picture Placeholder 3"/>
          <p:cNvSpPr>
            <a:spLocks noGrp="1"/>
          </p:cNvSpPr>
          <p:nvPr>
            <p:ph type="pic" sz="quarter" idx="10"/>
          </p:nvPr>
        </p:nvSpPr>
        <p:spPr>
          <a:xfrm>
            <a:off x="4419600" y="1955800"/>
            <a:ext cx="2159000" cy="2153757"/>
          </a:xfrm>
          <a:prstGeom prst="rect">
            <a:avLst/>
          </a:prstGeom>
        </p:spPr>
        <p:txBody>
          <a:bodyPr/>
          <a:lstStyle>
            <a:lvl1pPr>
              <a:defRPr sz="1300" b="0" i="0">
                <a:solidFill>
                  <a:schemeClr val="bg2"/>
                </a:solidFill>
                <a:latin typeface="Lato Light" charset="0"/>
                <a:ea typeface="Lato Light" charset="0"/>
                <a:cs typeface="Lato Light" charset="0"/>
              </a:defRPr>
            </a:lvl1pPr>
          </a:lstStyle>
          <a:p>
            <a:r>
              <a:rPr lang="en-US"/>
              <a:t>Click icon to add picture</a:t>
            </a:r>
            <a:endParaRPr lang="en-US" dirty="0"/>
          </a:p>
        </p:txBody>
      </p:sp>
    </p:spTree>
    <p:extLst>
      <p:ext uri="{BB962C8B-B14F-4D97-AF65-F5344CB8AC3E}">
        <p14:creationId xmlns:p14="http://schemas.microsoft.com/office/powerpoint/2010/main" val="1733351090"/>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Square Small Im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1925565"/>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Generic 4">
    <p:spTree>
      <p:nvGrpSpPr>
        <p:cNvPr id="1" name=""/>
        <p:cNvGrpSpPr/>
        <p:nvPr/>
      </p:nvGrpSpPr>
      <p:grpSpPr>
        <a:xfrm>
          <a:off x="0" y="0"/>
          <a:ext cx="0" cy="0"/>
          <a:chOff x="0" y="0"/>
          <a:chExt cx="0" cy="0"/>
        </a:xfrm>
      </p:grpSpPr>
      <p:sp>
        <p:nvSpPr>
          <p:cNvPr id="16" name="Picture Placeholder 3"/>
          <p:cNvSpPr>
            <a:spLocks noGrp="1"/>
          </p:cNvSpPr>
          <p:nvPr>
            <p:ph type="pic" sz="quarter" idx="15"/>
          </p:nvPr>
        </p:nvSpPr>
        <p:spPr>
          <a:xfrm>
            <a:off x="713946" y="2295573"/>
            <a:ext cx="3723503" cy="3570839"/>
          </a:xfrm>
          <a:prstGeom prst="rect">
            <a:avLst/>
          </a:prstGeom>
        </p:spPr>
        <p:txBody>
          <a:bodyPr/>
          <a:lstStyle>
            <a:lvl1pPr>
              <a:defRPr sz="1300" b="0" i="0">
                <a:solidFill>
                  <a:schemeClr val="bg2"/>
                </a:solidFill>
                <a:latin typeface="Lato Light" charset="0"/>
                <a:ea typeface="Lato Light" charset="0"/>
                <a:cs typeface="Lato Light" charset="0"/>
              </a:defRPr>
            </a:lvl1pPr>
          </a:lstStyle>
          <a:p>
            <a:r>
              <a:rPr lang="en-US"/>
              <a:t>Click icon to add picture</a:t>
            </a:r>
            <a:endParaRPr lang="en-US" dirty="0"/>
          </a:p>
        </p:txBody>
      </p:sp>
    </p:spTree>
    <p:extLst>
      <p:ext uri="{BB962C8B-B14F-4D97-AF65-F5344CB8AC3E}">
        <p14:creationId xmlns:p14="http://schemas.microsoft.com/office/powerpoint/2010/main" val="4284803291"/>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Half BG &amp; Man Img">
    <p:spTree>
      <p:nvGrpSpPr>
        <p:cNvPr id="1" name=""/>
        <p:cNvGrpSpPr/>
        <p:nvPr/>
      </p:nvGrpSpPr>
      <p:grpSpPr>
        <a:xfrm>
          <a:off x="0" y="0"/>
          <a:ext cx="0" cy="0"/>
          <a:chOff x="0" y="0"/>
          <a:chExt cx="0" cy="0"/>
        </a:xfrm>
      </p:grpSpPr>
      <p:sp>
        <p:nvSpPr>
          <p:cNvPr id="16" name="Picture Placeholder 3"/>
          <p:cNvSpPr>
            <a:spLocks noGrp="1"/>
          </p:cNvSpPr>
          <p:nvPr>
            <p:ph type="pic" sz="quarter" idx="15"/>
          </p:nvPr>
        </p:nvSpPr>
        <p:spPr>
          <a:xfrm>
            <a:off x="-9992" y="2452789"/>
            <a:ext cx="12201992" cy="2903697"/>
          </a:xfrm>
          <a:prstGeom prst="rect">
            <a:avLst/>
          </a:prstGeom>
        </p:spPr>
        <p:txBody>
          <a:bodyPr/>
          <a:lstStyle>
            <a:lvl1pPr>
              <a:defRPr sz="1300" b="0" i="0">
                <a:solidFill>
                  <a:schemeClr val="bg2"/>
                </a:solidFill>
                <a:latin typeface="Lato Light" charset="0"/>
                <a:ea typeface="Lato Light" charset="0"/>
                <a:cs typeface="Lato Light" charset="0"/>
              </a:defRPr>
            </a:lvl1pPr>
          </a:lstStyle>
          <a:p>
            <a:r>
              <a:rPr lang="en-US"/>
              <a:t>Click icon to add picture</a:t>
            </a:r>
            <a:endParaRPr lang="en-US" dirty="0"/>
          </a:p>
        </p:txBody>
      </p:sp>
      <p:sp>
        <p:nvSpPr>
          <p:cNvPr id="26" name="Picture Placeholder 3"/>
          <p:cNvSpPr>
            <a:spLocks noGrp="1"/>
          </p:cNvSpPr>
          <p:nvPr>
            <p:ph type="pic" sz="quarter" idx="16"/>
          </p:nvPr>
        </p:nvSpPr>
        <p:spPr>
          <a:xfrm>
            <a:off x="4557009" y="629587"/>
            <a:ext cx="3075161" cy="4726899"/>
          </a:xfrm>
          <a:prstGeom prst="rect">
            <a:avLst/>
          </a:prstGeom>
        </p:spPr>
        <p:txBody>
          <a:bodyPr/>
          <a:lstStyle>
            <a:lvl1pPr>
              <a:defRPr sz="1300" b="0" i="0">
                <a:solidFill>
                  <a:schemeClr val="bg2"/>
                </a:solidFill>
                <a:latin typeface="Lato Light" charset="0"/>
                <a:ea typeface="Lato Light" charset="0"/>
                <a:cs typeface="Lato Light" charset="0"/>
              </a:defRPr>
            </a:lvl1pPr>
          </a:lstStyle>
          <a:p>
            <a:r>
              <a:rPr lang="en-US"/>
              <a:t>Click icon to add picture</a:t>
            </a:r>
            <a:endParaRPr lang="en-US" dirty="0"/>
          </a:p>
        </p:txBody>
      </p:sp>
    </p:spTree>
    <p:extLst>
      <p:ext uri="{BB962C8B-B14F-4D97-AF65-F5344CB8AC3E}">
        <p14:creationId xmlns:p14="http://schemas.microsoft.com/office/powerpoint/2010/main" val="3272926994"/>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Portfolio 3">
    <p:spTree>
      <p:nvGrpSpPr>
        <p:cNvPr id="1" name=""/>
        <p:cNvGrpSpPr/>
        <p:nvPr/>
      </p:nvGrpSpPr>
      <p:grpSpPr>
        <a:xfrm>
          <a:off x="0" y="0"/>
          <a:ext cx="0" cy="0"/>
          <a:chOff x="0" y="0"/>
          <a:chExt cx="0" cy="0"/>
        </a:xfrm>
      </p:grpSpPr>
      <p:sp>
        <p:nvSpPr>
          <p:cNvPr id="26" name="Picture Placeholder 3"/>
          <p:cNvSpPr>
            <a:spLocks noGrp="1"/>
          </p:cNvSpPr>
          <p:nvPr>
            <p:ph type="pic" sz="quarter" idx="14"/>
          </p:nvPr>
        </p:nvSpPr>
        <p:spPr>
          <a:xfrm>
            <a:off x="5556251" y="1854553"/>
            <a:ext cx="2267744" cy="4031544"/>
          </a:xfrm>
          <a:prstGeom prst="rect">
            <a:avLst/>
          </a:prstGeom>
        </p:spPr>
        <p:txBody>
          <a:bodyPr/>
          <a:lstStyle>
            <a:lvl1pPr>
              <a:defRPr sz="1300" b="0" i="0">
                <a:solidFill>
                  <a:schemeClr val="bg2"/>
                </a:solidFill>
                <a:latin typeface="Lato Light" charset="0"/>
                <a:ea typeface="Lato Light" charset="0"/>
                <a:cs typeface="Lato Light" charset="0"/>
              </a:defRPr>
            </a:lvl1pPr>
          </a:lstStyle>
          <a:p>
            <a:r>
              <a:rPr lang="en-US"/>
              <a:t>Click icon to add picture</a:t>
            </a:r>
            <a:endParaRPr lang="en-US" dirty="0"/>
          </a:p>
        </p:txBody>
      </p:sp>
    </p:spTree>
    <p:extLst>
      <p:ext uri="{BB962C8B-B14F-4D97-AF65-F5344CB8AC3E}">
        <p14:creationId xmlns:p14="http://schemas.microsoft.com/office/powerpoint/2010/main" val="3370597456"/>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Blank with all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0728377"/>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1_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Private &amp; Confidential</a:t>
            </a:r>
            <a:endParaRPr lang="en-US" dirty="0"/>
          </a:p>
        </p:txBody>
      </p:sp>
      <p:sp>
        <p:nvSpPr>
          <p:cNvPr id="4" name="Slide Number Placeholder 3"/>
          <p:cNvSpPr>
            <a:spLocks noGrp="1"/>
          </p:cNvSpPr>
          <p:nvPr>
            <p:ph type="sldNum" sz="quarter" idx="11"/>
          </p:nvPr>
        </p:nvSpPr>
        <p:spPr/>
        <p:txBody>
          <a:bodyPr/>
          <a:lstStyle/>
          <a:p>
            <a:fld id="{5246FB18-5DF1-419A-B975-14AFDDD65B9F}" type="slidenum">
              <a:rPr lang="en-US" smtClean="0"/>
              <a:pPr/>
              <a:t>‹#›</a:t>
            </a:fld>
            <a:endParaRPr lang="en-US" dirty="0"/>
          </a:p>
        </p:txBody>
      </p:sp>
      <p:sp>
        <p:nvSpPr>
          <p:cNvPr id="6" name="Content Placeholder 5"/>
          <p:cNvSpPr>
            <a:spLocks noGrp="1"/>
          </p:cNvSpPr>
          <p:nvPr>
            <p:ph sz="quarter" idx="12"/>
          </p:nvPr>
        </p:nvSpPr>
        <p:spPr>
          <a:xfrm>
            <a:off x="423136" y="1529221"/>
            <a:ext cx="11338057" cy="4279005"/>
          </a:xfrm>
        </p:spPr>
        <p:txBody>
          <a:bodyPr/>
          <a:lstStyle>
            <a:lvl1pPr>
              <a:defRPr b="0" i="0">
                <a:latin typeface="Arial Regular" charset="0"/>
                <a:cs typeface="Arial Regular" charset="0"/>
              </a:defRPr>
            </a:lvl1pPr>
            <a:lvl2pPr marL="0" marR="0" indent="0" algn="l" defTabSz="457200" rtl="0" eaLnBrk="1" fontAlgn="auto" latinLnBrk="0" hangingPunct="1">
              <a:lnSpc>
                <a:spcPct val="100000"/>
              </a:lnSpc>
              <a:spcBef>
                <a:spcPts val="500"/>
              </a:spcBef>
              <a:spcAft>
                <a:spcPts val="0"/>
              </a:spcAft>
              <a:buClrTx/>
              <a:buSzTx/>
              <a:buFont typeface="Arial"/>
              <a:buNone/>
              <a:tabLst/>
              <a:defRPr b="0" i="0">
                <a:latin typeface="Arial Regular" charset="0"/>
                <a:cs typeface="Arial Regular" charset="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9"/>
          <p:cNvSpPr>
            <a:spLocks noGrp="1"/>
          </p:cNvSpPr>
          <p:nvPr>
            <p:ph type="body" sz="quarter" idx="13" hasCustomPrompt="1"/>
          </p:nvPr>
        </p:nvSpPr>
        <p:spPr>
          <a:xfrm>
            <a:off x="419099" y="747521"/>
            <a:ext cx="10829879" cy="440834"/>
          </a:xfrm>
        </p:spPr>
        <p:txBody>
          <a:bodyPr lIns="0" tIns="0" rIns="0" bIns="0"/>
          <a:lstStyle>
            <a:lvl1pPr>
              <a:defRPr sz="1900" b="0">
                <a:solidFill>
                  <a:schemeClr val="tx1"/>
                </a:solidFill>
              </a:defRPr>
            </a:lvl1pPr>
          </a:lstStyle>
          <a:p>
            <a:pPr lvl="0"/>
            <a:r>
              <a:rPr lang="en-US" dirty="0"/>
              <a:t>Subtitle</a:t>
            </a:r>
          </a:p>
        </p:txBody>
      </p:sp>
    </p:spTree>
    <p:extLst>
      <p:ext uri="{BB962C8B-B14F-4D97-AF65-F5344CB8AC3E}">
        <p14:creationId xmlns:p14="http://schemas.microsoft.com/office/powerpoint/2010/main" val="488519542"/>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Cover white plain">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23137" y="152200"/>
            <a:ext cx="7096625" cy="2481677"/>
          </a:xfrm>
        </p:spPr>
        <p:txBody>
          <a:bodyPr lIns="0" tIns="0" rIns="0" bIns="0">
            <a:normAutofit/>
          </a:bodyPr>
          <a:lstStyle>
            <a:lvl1pPr>
              <a:lnSpc>
                <a:spcPct val="95000"/>
              </a:lnSpc>
              <a:defRPr sz="5700" b="0" i="0">
                <a:solidFill>
                  <a:schemeClr val="tx1"/>
                </a:solidFill>
                <a:latin typeface="Arial" charset="0"/>
                <a:ea typeface="Arial" charset="0"/>
                <a:cs typeface="Arial" charset="0"/>
              </a:defRPr>
            </a:lvl1pPr>
          </a:lstStyle>
          <a:p>
            <a:r>
              <a:rPr lang="en-US" dirty="0"/>
              <a:t>Presentation</a:t>
            </a:r>
            <a:br>
              <a:rPr lang="en-US" dirty="0"/>
            </a:br>
            <a:r>
              <a:rPr lang="en-US" dirty="0"/>
              <a:t>Title</a:t>
            </a:r>
          </a:p>
        </p:txBody>
      </p:sp>
      <p:sp>
        <p:nvSpPr>
          <p:cNvPr id="10" name="Text Placeholder 9"/>
          <p:cNvSpPr>
            <a:spLocks noGrp="1"/>
          </p:cNvSpPr>
          <p:nvPr>
            <p:ph type="body" sz="quarter" idx="12" hasCustomPrompt="1"/>
          </p:nvPr>
        </p:nvSpPr>
        <p:spPr>
          <a:xfrm>
            <a:off x="427567" y="2719817"/>
            <a:ext cx="5291667" cy="440834"/>
          </a:xfrm>
        </p:spPr>
        <p:txBody>
          <a:bodyPr lIns="0" tIns="0" rIns="0" bIns="0"/>
          <a:lstStyle>
            <a:lvl1pPr>
              <a:defRPr sz="1900">
                <a:solidFill>
                  <a:schemeClr val="tx1"/>
                </a:solidFill>
              </a:defRPr>
            </a:lvl1pPr>
          </a:lstStyle>
          <a:p>
            <a:pPr lvl="0"/>
            <a:r>
              <a:rPr lang="en-US" dirty="0"/>
              <a:t>Subtitle</a:t>
            </a:r>
          </a:p>
        </p:txBody>
      </p:sp>
      <p:sp>
        <p:nvSpPr>
          <p:cNvPr id="11" name="Text Placeholder 9"/>
          <p:cNvSpPr>
            <a:spLocks noGrp="1"/>
          </p:cNvSpPr>
          <p:nvPr>
            <p:ph type="body" sz="quarter" idx="13" hasCustomPrompt="1"/>
          </p:nvPr>
        </p:nvSpPr>
        <p:spPr>
          <a:xfrm>
            <a:off x="8561918" y="284622"/>
            <a:ext cx="3175101" cy="440834"/>
          </a:xfrm>
        </p:spPr>
        <p:txBody>
          <a:bodyPr lIns="0" tIns="0" rIns="0" bIns="0"/>
          <a:lstStyle>
            <a:lvl1pPr>
              <a:spcBef>
                <a:spcPts val="0"/>
              </a:spcBef>
              <a:defRPr sz="1100">
                <a:solidFill>
                  <a:schemeClr val="tx1"/>
                </a:solidFill>
              </a:defRPr>
            </a:lvl1pPr>
          </a:lstStyle>
          <a:p>
            <a:pPr lvl="0"/>
            <a:r>
              <a:rPr lang="en-US" dirty="0"/>
              <a:t>Presenter Name</a:t>
            </a:r>
          </a:p>
        </p:txBody>
      </p:sp>
      <p:sp>
        <p:nvSpPr>
          <p:cNvPr id="13" name="Text Placeholder 9"/>
          <p:cNvSpPr>
            <a:spLocks noGrp="1"/>
          </p:cNvSpPr>
          <p:nvPr>
            <p:ph type="body" sz="quarter" idx="15" hasCustomPrompt="1"/>
          </p:nvPr>
        </p:nvSpPr>
        <p:spPr>
          <a:xfrm>
            <a:off x="8561918" y="1598178"/>
            <a:ext cx="3175101" cy="828861"/>
          </a:xfrm>
        </p:spPr>
        <p:txBody>
          <a:bodyPr lIns="0" tIns="0" rIns="0" bIns="0"/>
          <a:lstStyle>
            <a:lvl1pPr>
              <a:defRPr sz="950" baseline="0">
                <a:solidFill>
                  <a:schemeClr val="bg1">
                    <a:lumMod val="50000"/>
                  </a:schemeClr>
                </a:solidFill>
                <a:latin typeface="Arial Narrow" charset="0"/>
                <a:ea typeface="Arial Narrow" charset="0"/>
                <a:cs typeface="Arial Narrow" charset="0"/>
              </a:defRPr>
            </a:lvl1pPr>
          </a:lstStyle>
          <a:p>
            <a:pPr lvl="0"/>
            <a:r>
              <a:rPr lang="en-US" dirty="0"/>
              <a:t>Disclaimer paragraph</a:t>
            </a:r>
          </a:p>
        </p:txBody>
      </p:sp>
      <p:sp>
        <p:nvSpPr>
          <p:cNvPr id="4" name="Date Placeholder 3"/>
          <p:cNvSpPr>
            <a:spLocks noGrp="1"/>
          </p:cNvSpPr>
          <p:nvPr>
            <p:ph type="dt" sz="half" idx="18"/>
          </p:nvPr>
        </p:nvSpPr>
        <p:spPr>
          <a:xfrm>
            <a:off x="8561918" y="1098983"/>
            <a:ext cx="3175101" cy="223277"/>
          </a:xfrm>
        </p:spPr>
        <p:txBody>
          <a:bodyPr/>
          <a:lstStyle>
            <a:lvl1pPr algn="l">
              <a:defRPr b="0" i="0">
                <a:latin typeface="Arial" charset="0"/>
                <a:ea typeface="Arial" charset="0"/>
                <a:cs typeface="Arial" charset="0"/>
              </a:defRPr>
            </a:lvl1pPr>
          </a:lstStyle>
          <a:p>
            <a:endParaRPr dirty="0"/>
          </a:p>
        </p:txBody>
      </p:sp>
      <p:sp>
        <p:nvSpPr>
          <p:cNvPr id="7" name="Slide Number Placeholder 5"/>
          <p:cNvSpPr>
            <a:spLocks noGrp="1"/>
          </p:cNvSpPr>
          <p:nvPr>
            <p:ph type="sldNum" sz="quarter" idx="4"/>
          </p:nvPr>
        </p:nvSpPr>
        <p:spPr>
          <a:xfrm>
            <a:off x="11486777" y="6435042"/>
            <a:ext cx="274417" cy="254684"/>
          </a:xfrm>
          <a:prstGeom prst="rect">
            <a:avLst/>
          </a:prstGeom>
        </p:spPr>
        <p:txBody>
          <a:bodyPr vert="horz" lIns="0" tIns="0" rIns="0" bIns="0" rtlCol="0" anchor="t"/>
          <a:lstStyle>
            <a:lvl1pPr algn="r">
              <a:defRPr sz="1000" b="0" i="0">
                <a:solidFill>
                  <a:srgbClr val="000000"/>
                </a:solidFill>
                <a:latin typeface="Arial Regular" charset="0"/>
                <a:cs typeface="Arial Regular" charset="0"/>
              </a:defRPr>
            </a:lvl1pPr>
          </a:lstStyle>
          <a:p>
            <a:pPr defTabSz="457200">
              <a:spcBef>
                <a:spcPct val="0"/>
              </a:spcBef>
            </a:pPr>
            <a:fld id="{BDDC3DCF-E0A7-DA4A-BC2C-1EC3743A297B}" type="slidenum">
              <a:rPr lang="en-US" smtClean="0">
                <a:ea typeface="MS PGothic" charset="0"/>
              </a:rPr>
              <a:pPr defTabSz="457200">
                <a:spcBef>
                  <a:spcPct val="0"/>
                </a:spcBef>
              </a:pPr>
              <a:t>‹#›</a:t>
            </a:fld>
            <a:endParaRPr lang="en-US" dirty="0">
              <a:ea typeface="MS PGothic" charset="0"/>
            </a:endParaRPr>
          </a:p>
        </p:txBody>
      </p:sp>
    </p:spTree>
    <p:extLst>
      <p:ext uri="{BB962C8B-B14F-4D97-AF65-F5344CB8AC3E}">
        <p14:creationId xmlns:p14="http://schemas.microsoft.com/office/powerpoint/2010/main" val="12617849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BE44D03-F256-8446-B55F-EAFA2C69B67C}"/>
              </a:ext>
            </a:extLst>
          </p:cNvPr>
          <p:cNvSpPr>
            <a:spLocks noGrp="1"/>
          </p:cNvSpPr>
          <p:nvPr>
            <p:ph type="dt" sz="half" idx="10"/>
          </p:nvPr>
        </p:nvSpPr>
        <p:spPr/>
        <p:txBody>
          <a:bodyPr/>
          <a:lstStyle/>
          <a:p>
            <a:fld id="{92F427D0-34EB-7F4F-A4A2-2357E7D45014}" type="datetimeFigureOut">
              <a:rPr lang="en-US" smtClean="0"/>
              <a:t>6/18/2020</a:t>
            </a:fld>
            <a:endParaRPr lang="en-US" dirty="0"/>
          </a:p>
        </p:txBody>
      </p:sp>
      <p:sp>
        <p:nvSpPr>
          <p:cNvPr id="3" name="Footer Placeholder 2">
            <a:extLst>
              <a:ext uri="{FF2B5EF4-FFF2-40B4-BE49-F238E27FC236}">
                <a16:creationId xmlns:a16="http://schemas.microsoft.com/office/drawing/2014/main" id="{9EEC8528-7299-0E4E-B29F-E04ADA1CA47A}"/>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C541423C-9972-E647-889B-F3E586FCF6E2}"/>
              </a:ext>
            </a:extLst>
          </p:cNvPr>
          <p:cNvSpPr>
            <a:spLocks noGrp="1"/>
          </p:cNvSpPr>
          <p:nvPr>
            <p:ph type="sldNum" sz="quarter" idx="12"/>
          </p:nvPr>
        </p:nvSpPr>
        <p:spPr/>
        <p:txBody>
          <a:bodyPr/>
          <a:lstStyle/>
          <a:p>
            <a:fld id="{3C02FF7F-7EE0-DE4E-B4BA-8D5E63CE8E28}" type="slidenum">
              <a:rPr lang="en-US" smtClean="0"/>
              <a:t>‹#›</a:t>
            </a:fld>
            <a:endParaRPr lang="en-US" dirty="0"/>
          </a:p>
        </p:txBody>
      </p:sp>
    </p:spTree>
    <p:extLst>
      <p:ext uri="{BB962C8B-B14F-4D97-AF65-F5344CB8AC3E}">
        <p14:creationId xmlns:p14="http://schemas.microsoft.com/office/powerpoint/2010/main" val="343749680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Autofit/>
          </a:bodyPr>
          <a:lstStyle>
            <a:lvl1pPr marL="609585" lvl="0" indent="-457189">
              <a:spcBef>
                <a:spcPts val="0"/>
              </a:spcBef>
              <a:spcAft>
                <a:spcPts val="0"/>
              </a:spcAft>
              <a:buSzPts val="1800"/>
              <a:buChar char="●"/>
              <a:defRPr/>
            </a:lvl1pPr>
            <a:lvl2pPr marL="1219170" lvl="1" indent="-423323">
              <a:spcBef>
                <a:spcPts val="2133"/>
              </a:spcBef>
              <a:spcAft>
                <a:spcPts val="0"/>
              </a:spcAft>
              <a:buSzPts val="1400"/>
              <a:buChar char="○"/>
              <a:defRPr/>
            </a:lvl2pPr>
            <a:lvl3pPr marL="1828754" lvl="2" indent="-423323">
              <a:spcBef>
                <a:spcPts val="2133"/>
              </a:spcBef>
              <a:spcAft>
                <a:spcPts val="0"/>
              </a:spcAft>
              <a:buSzPts val="1400"/>
              <a:buChar char="■"/>
              <a:defRPr/>
            </a:lvl3pPr>
            <a:lvl4pPr marL="2438339" lvl="3" indent="-423323">
              <a:spcBef>
                <a:spcPts val="2133"/>
              </a:spcBef>
              <a:spcAft>
                <a:spcPts val="0"/>
              </a:spcAft>
              <a:buSzPts val="1400"/>
              <a:buChar char="●"/>
              <a:defRPr/>
            </a:lvl4pPr>
            <a:lvl5pPr marL="3047924" lvl="4" indent="-423323">
              <a:spcBef>
                <a:spcPts val="2133"/>
              </a:spcBef>
              <a:spcAft>
                <a:spcPts val="0"/>
              </a:spcAft>
              <a:buSzPts val="1400"/>
              <a:buChar char="○"/>
              <a:defRPr/>
            </a:lvl5pPr>
            <a:lvl6pPr marL="3657509" lvl="5" indent="-423323">
              <a:spcBef>
                <a:spcPts val="2133"/>
              </a:spcBef>
              <a:spcAft>
                <a:spcPts val="0"/>
              </a:spcAft>
              <a:buSzPts val="1400"/>
              <a:buChar char="■"/>
              <a:defRPr/>
            </a:lvl6pPr>
            <a:lvl7pPr marL="4267093" lvl="6" indent="-423323">
              <a:spcBef>
                <a:spcPts val="2133"/>
              </a:spcBef>
              <a:spcAft>
                <a:spcPts val="0"/>
              </a:spcAft>
              <a:buSzPts val="1400"/>
              <a:buChar char="●"/>
              <a:defRPr/>
            </a:lvl7pPr>
            <a:lvl8pPr marL="4876678" lvl="7" indent="-423323">
              <a:spcBef>
                <a:spcPts val="2133"/>
              </a:spcBef>
              <a:spcAft>
                <a:spcPts val="0"/>
              </a:spcAft>
              <a:buSzPts val="1400"/>
              <a:buChar char="○"/>
              <a:defRPr/>
            </a:lvl8pPr>
            <a:lvl9pPr marL="5486263" lvl="8" indent="-423323">
              <a:spcBef>
                <a:spcPts val="2133"/>
              </a:spcBef>
              <a:spcAft>
                <a:spcPts val="2133"/>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88316164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1_Cover black Slim imag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1480" y="164593"/>
            <a:ext cx="6705600" cy="1568639"/>
          </a:xfrm>
        </p:spPr>
        <p:txBody>
          <a:bodyPr tIns="0" anchor="t">
            <a:normAutofit/>
          </a:bodyPr>
          <a:lstStyle>
            <a:lvl1pPr algn="l">
              <a:defRPr sz="3600" b="1" baseline="0"/>
            </a:lvl1pPr>
          </a:lstStyle>
          <a:p>
            <a:r>
              <a:rPr lang="en-US" dirty="0"/>
              <a:t>Click to insert Presentation Title</a:t>
            </a:r>
          </a:p>
        </p:txBody>
      </p:sp>
      <p:sp>
        <p:nvSpPr>
          <p:cNvPr id="3" name="Subtitle 2"/>
          <p:cNvSpPr>
            <a:spLocks noGrp="1"/>
          </p:cNvSpPr>
          <p:nvPr>
            <p:ph type="subTitle" idx="1" hasCustomPrompt="1"/>
          </p:nvPr>
        </p:nvSpPr>
        <p:spPr>
          <a:xfrm>
            <a:off x="411480" y="1755648"/>
            <a:ext cx="67056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8618069" y="1111722"/>
            <a:ext cx="3169920" cy="259884"/>
          </a:xfrm>
        </p:spPr>
        <p:txBody>
          <a:bodyPr>
            <a:noAutofit/>
          </a:bodyPr>
          <a:lstStyle>
            <a:lvl1pPr marL="0" indent="0">
              <a:buNone/>
              <a:defRPr sz="1050" b="0"/>
            </a:lvl1pPr>
          </a:lstStyle>
          <a:p>
            <a:pPr lvl="0"/>
            <a:r>
              <a:rPr lang="en-US" dirty="0"/>
              <a:t>Click to insert date</a:t>
            </a:r>
          </a:p>
        </p:txBody>
      </p:sp>
      <p:sp>
        <p:nvSpPr>
          <p:cNvPr id="5" name="Picture Placeholder 4"/>
          <p:cNvSpPr>
            <a:spLocks noGrp="1"/>
          </p:cNvSpPr>
          <p:nvPr>
            <p:ph type="pic" sz="quarter" idx="13" hasCustomPrompt="1"/>
          </p:nvPr>
        </p:nvSpPr>
        <p:spPr>
          <a:xfrm>
            <a:off x="411480" y="2423160"/>
            <a:ext cx="11379200" cy="2542032"/>
          </a:xfrm>
        </p:spPr>
        <p:txBody>
          <a:bodyPr anchor="ctr"/>
          <a:lstStyle>
            <a:lvl1pPr marL="0" indent="0" algn="ctr">
              <a:buNone/>
              <a:defRPr/>
            </a:lvl1pPr>
          </a:lstStyle>
          <a:p>
            <a:r>
              <a:rPr lang="en-US" dirty="0"/>
              <a:t>Click to insert cover image</a:t>
            </a:r>
          </a:p>
        </p:txBody>
      </p:sp>
      <p:sp>
        <p:nvSpPr>
          <p:cNvPr id="14"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Click to insert Presenter Name(s)</a:t>
            </a:r>
            <a:br>
              <a:rPr lang="en-US" dirty="0"/>
            </a:br>
            <a:r>
              <a:rPr lang="en-US" dirty="0"/>
              <a:t>Job Title</a:t>
            </a:r>
            <a:br>
              <a:rPr lang="en-US" dirty="0"/>
            </a:br>
            <a:r>
              <a:rPr lang="en-US" dirty="0"/>
              <a:t>Department / Sector</a:t>
            </a:r>
          </a:p>
        </p:txBody>
      </p:sp>
      <p:sp>
        <p:nvSpPr>
          <p:cNvPr id="9" name="Rectangle 8"/>
          <p:cNvSpPr/>
          <p:nvPr userDrawn="1"/>
        </p:nvSpPr>
        <p:spPr>
          <a:xfrm>
            <a:off x="12287025" y="-4043"/>
            <a:ext cx="1386247" cy="24297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bg1"/>
                </a:solidFill>
              </a:rPr>
              <a:t>Cover</a:t>
            </a:r>
            <a:r>
              <a:rPr lang="en-US" sz="1000" b="1" baseline="0" dirty="0">
                <a:solidFill>
                  <a:schemeClr val="bg1"/>
                </a:solidFill>
              </a:rPr>
              <a:t> + Image</a:t>
            </a:r>
          </a:p>
          <a:p>
            <a:pPr algn="l"/>
            <a:r>
              <a:rPr lang="en-US" sz="1000" baseline="0" dirty="0">
                <a:solidFill>
                  <a:schemeClr val="bg1"/>
                </a:solidFill>
              </a:rPr>
              <a:t>Do not change the size of the title. Keep the title short and use the subtitle area for longer descriptions if needed. Insert rectangular image by clicking the image icon. </a:t>
            </a:r>
            <a:endParaRPr lang="en-US" sz="1000" dirty="0">
              <a:solidFill>
                <a:schemeClr val="bg1"/>
              </a:solidFill>
            </a:endParaRPr>
          </a:p>
        </p:txBody>
      </p:sp>
      <p:sp>
        <p:nvSpPr>
          <p:cNvPr id="23" name="Text Placeholder 5"/>
          <p:cNvSpPr>
            <a:spLocks noGrp="1"/>
          </p:cNvSpPr>
          <p:nvPr>
            <p:ph type="body" sz="quarter" idx="12" hasCustomPrompt="1"/>
          </p:nvPr>
        </p:nvSpPr>
        <p:spPr>
          <a:xfrm>
            <a:off x="6096000" y="5764754"/>
            <a:ext cx="5689600" cy="738818"/>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dirty="0"/>
              <a:t>Click to insert disclaimer paragraph</a:t>
            </a:r>
          </a:p>
        </p:txBody>
      </p:sp>
      <p:grpSp>
        <p:nvGrpSpPr>
          <p:cNvPr id="24" name="Group 23"/>
          <p:cNvGrpSpPr/>
          <p:nvPr userDrawn="1"/>
        </p:nvGrpSpPr>
        <p:grpSpPr>
          <a:xfrm>
            <a:off x="12284310" y="2497574"/>
            <a:ext cx="1389888" cy="1233768"/>
            <a:chOff x="9215268" y="3023356"/>
            <a:chExt cx="1389888" cy="1233768"/>
          </a:xfrm>
        </p:grpSpPr>
        <p:sp>
          <p:nvSpPr>
            <p:cNvPr id="25" name="Rectangle 24"/>
            <p:cNvSpPr/>
            <p:nvPr userDrawn="1"/>
          </p:nvSpPr>
          <p:spPr>
            <a:xfrm>
              <a:off x="9215268" y="3023356"/>
              <a:ext cx="1389888" cy="1233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text high-lights, not shapes or charts. </a:t>
              </a:r>
              <a:br>
                <a:rPr lang="en-US" sz="1000" b="0" baseline="0" dirty="0">
                  <a:solidFill>
                    <a:schemeClr val="bg1"/>
                  </a:solidFill>
                </a:rPr>
              </a:br>
              <a:r>
                <a:rPr lang="en-US" sz="1000" b="0" baseline="0" dirty="0">
                  <a:solidFill>
                    <a:schemeClr val="bg1"/>
                  </a:solidFill>
                </a:rPr>
                <a:t>It’s available in the custom color palette</a:t>
              </a:r>
              <a:r>
                <a:rPr lang="en-US" sz="1000" b="0" baseline="0" dirty="0">
                  <a:solidFill>
                    <a:schemeClr val="tx1"/>
                  </a:solidFill>
                </a:rPr>
                <a:t>. </a:t>
              </a:r>
            </a:p>
          </p:txBody>
        </p:sp>
        <p:sp>
          <p:nvSpPr>
            <p:cNvPr id="26" name="Rectangle 25"/>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pic>
        <p:nvPicPr>
          <p:cNvPr id="16" name="Market Intelligenc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7857" y="5508180"/>
            <a:ext cx="3499886" cy="1261872"/>
          </a:xfrm>
          <a:prstGeom prst="rect">
            <a:avLst/>
          </a:prstGeom>
        </p:spPr>
      </p:pic>
    </p:spTree>
    <p:extLst>
      <p:ext uri="{BB962C8B-B14F-4D97-AF65-F5344CB8AC3E}">
        <p14:creationId xmlns:p14="http://schemas.microsoft.com/office/powerpoint/2010/main" val="2752793675"/>
      </p:ext>
    </p:extLst>
  </p:cSld>
  <p:clrMapOvr>
    <a:overrideClrMapping bg1="dk1" tx1="lt1" bg2="dk2" tx2="lt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Content -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3" name="Content Placeholder 2"/>
          <p:cNvSpPr>
            <a:spLocks noGrp="1"/>
          </p:cNvSpPr>
          <p:nvPr>
            <p:ph idx="1"/>
          </p:nvPr>
        </p:nvSpPr>
        <p:spPr>
          <a:xfrm>
            <a:off x="414528" y="1371600"/>
            <a:ext cx="11367253" cy="43005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Private &amp; Confidential</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Rectangle 7"/>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No subtitle</a:t>
            </a:r>
          </a:p>
          <a:p>
            <a:pPr algn="l"/>
            <a:r>
              <a:rPr lang="en-US" sz="1000" b="0" baseline="0" dirty="0">
                <a:solidFill>
                  <a:schemeClr val="tx1"/>
                </a:solidFill>
              </a:rPr>
              <a:t>Level 1 has a bullet turned on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p:txBody>
      </p:sp>
      <p:sp>
        <p:nvSpPr>
          <p:cNvPr id="9"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pic>
        <p:nvPicPr>
          <p:cNvPr id="13" name="bullets"/>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2345151" y="1307765"/>
            <a:ext cx="277342" cy="241890"/>
          </a:xfrm>
          <a:prstGeom prst="rect">
            <a:avLst/>
          </a:prstGeom>
          <a:ln>
            <a:noFill/>
          </a:ln>
        </p:spPr>
      </p:pic>
      <p:pic>
        <p:nvPicPr>
          <p:cNvPr id="14" name="increase list level"/>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342987" y="2222893"/>
            <a:ext cx="391318" cy="241890"/>
          </a:xfrm>
          <a:prstGeom prst="rect">
            <a:avLst/>
          </a:prstGeom>
        </p:spPr>
      </p:pic>
      <p:grpSp>
        <p:nvGrpSpPr>
          <p:cNvPr id="15" name="Group 14"/>
          <p:cNvGrpSpPr/>
          <p:nvPr userDrawn="1"/>
        </p:nvGrpSpPr>
        <p:grpSpPr>
          <a:xfrm>
            <a:off x="12284310" y="3212874"/>
            <a:ext cx="1389888" cy="1233768"/>
            <a:chOff x="9215268" y="3023356"/>
            <a:chExt cx="1389888" cy="1233768"/>
          </a:xfrm>
        </p:grpSpPr>
        <p:sp>
          <p:nvSpPr>
            <p:cNvPr id="16" name="Rectangle 15"/>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7" name="Rectangle 16"/>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051551438"/>
      </p:ext>
    </p:extLst>
  </p:cSld>
  <p:clrMapOvr>
    <a:masterClrMapping/>
  </p:clrMapOvr>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Cover white plain">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1480" y="143622"/>
            <a:ext cx="7231529" cy="2576289"/>
          </a:xfrm>
        </p:spPr>
        <p:txBody>
          <a:bodyPr tIns="0" rIns="0" anchor="t">
            <a:noAutofit/>
          </a:bodyPr>
          <a:lstStyle>
            <a:lvl1pPr algn="l">
              <a:defRPr sz="4400" b="1" baseline="0"/>
            </a:lvl1pPr>
          </a:lstStyle>
          <a:p>
            <a:r>
              <a:rPr lang="en-US" dirty="0"/>
              <a:t>Click to insert Presentation Title</a:t>
            </a:r>
          </a:p>
        </p:txBody>
      </p:sp>
      <p:sp>
        <p:nvSpPr>
          <p:cNvPr id="3" name="Subtitle 2"/>
          <p:cNvSpPr>
            <a:spLocks noGrp="1"/>
          </p:cNvSpPr>
          <p:nvPr>
            <p:ph type="subTitle" idx="1" hasCustomPrompt="1"/>
          </p:nvPr>
        </p:nvSpPr>
        <p:spPr>
          <a:xfrm>
            <a:off x="411480" y="2719911"/>
            <a:ext cx="7207623" cy="1181195"/>
          </a:xfrm>
        </p:spPr>
        <p:txBody>
          <a:bodyPr/>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8" name="Text Placeholder 5"/>
          <p:cNvSpPr>
            <a:spLocks noGrp="1"/>
          </p:cNvSpPr>
          <p:nvPr>
            <p:ph type="body" sz="quarter" idx="12" hasCustomPrompt="1"/>
          </p:nvPr>
        </p:nvSpPr>
        <p:spPr>
          <a:xfrm>
            <a:off x="6096000" y="5781625"/>
            <a:ext cx="5689600" cy="730656"/>
          </a:xfrm>
        </p:spPr>
        <p:txBody>
          <a:bodyPr tIns="0" rIns="0" bIns="0">
            <a:noAutofit/>
          </a:bodyPr>
          <a:lstStyle>
            <a:lvl1pPr marL="0" indent="0" algn="r">
              <a:buNone/>
              <a:defRPr sz="900" b="0">
                <a:solidFill>
                  <a:schemeClr val="bg1">
                    <a:lumMod val="50000"/>
                  </a:schemeClr>
                </a:solidFill>
                <a:latin typeface="Arial Narrow" panose="020B0606020202030204" pitchFamily="34" charset="0"/>
              </a:defRPr>
            </a:lvl1pPr>
          </a:lstStyle>
          <a:p>
            <a:pPr lvl="0"/>
            <a:r>
              <a:rPr lang="en-US" dirty="0"/>
              <a:t>Click to insert disclaimer paragraph</a:t>
            </a:r>
          </a:p>
        </p:txBody>
      </p:sp>
      <p:sp>
        <p:nvSpPr>
          <p:cNvPr id="15"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Alternative 2: Click to insert Presenter Name(s)</a:t>
            </a:r>
            <a:br>
              <a:rPr lang="en-US" dirty="0"/>
            </a:br>
            <a:r>
              <a:rPr lang="en-US" dirty="0"/>
              <a:t>Job Title</a:t>
            </a:r>
            <a:br>
              <a:rPr lang="en-US" dirty="0"/>
            </a:br>
            <a:r>
              <a:rPr lang="en-US" dirty="0"/>
              <a:t>Department / Sector</a:t>
            </a:r>
          </a:p>
        </p:txBody>
      </p:sp>
      <p:sp>
        <p:nvSpPr>
          <p:cNvPr id="16" name="Text Placeholder 5"/>
          <p:cNvSpPr>
            <a:spLocks noGrp="1"/>
          </p:cNvSpPr>
          <p:nvPr>
            <p:ph type="body" sz="quarter" idx="11" hasCustomPrompt="1"/>
          </p:nvPr>
        </p:nvSpPr>
        <p:spPr>
          <a:xfrm>
            <a:off x="8618071" y="1111722"/>
            <a:ext cx="3169920" cy="259884"/>
          </a:xfrm>
        </p:spPr>
        <p:txBody>
          <a:bodyPr>
            <a:noAutofit/>
          </a:bodyPr>
          <a:lstStyle>
            <a:lvl1pPr marL="0" indent="0">
              <a:buNone/>
              <a:defRPr sz="1050" b="0"/>
            </a:lvl1pPr>
          </a:lstStyle>
          <a:p>
            <a:pPr lvl="0"/>
            <a:r>
              <a:rPr lang="en-US" dirty="0"/>
              <a:t>Click to insert date</a:t>
            </a:r>
          </a:p>
        </p:txBody>
      </p:sp>
      <p:sp>
        <p:nvSpPr>
          <p:cNvPr id="10" name="Rectangle 9"/>
          <p:cNvSpPr/>
          <p:nvPr/>
        </p:nvSpPr>
        <p:spPr>
          <a:xfrm>
            <a:off x="12287025" y="-4041"/>
            <a:ext cx="1386247" cy="24310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ver</a:t>
            </a:r>
            <a:endParaRPr lang="en-US" sz="1000" b="1" baseline="0" dirty="0">
              <a:solidFill>
                <a:schemeClr val="tx1"/>
              </a:solidFill>
            </a:endParaRPr>
          </a:p>
          <a:p>
            <a:pPr algn="l"/>
            <a:r>
              <a:rPr lang="en-US" sz="1000" baseline="0" dirty="0">
                <a:solidFill>
                  <a:schemeClr val="tx1"/>
                </a:solidFill>
              </a:rPr>
              <a:t>Do not change the size of the title. Keep the title short and use the subtitle area for longer descriptions if needed. </a:t>
            </a:r>
          </a:p>
          <a:p>
            <a:pPr algn="l"/>
            <a:endParaRPr lang="en-US" sz="1000" baseline="0" dirty="0">
              <a:solidFill>
                <a:schemeClr val="tx1"/>
              </a:solidFill>
            </a:endParaRPr>
          </a:p>
          <a:p>
            <a:pPr algn="l"/>
            <a:r>
              <a:rPr lang="en-US" sz="1000" baseline="0" dirty="0">
                <a:solidFill>
                  <a:schemeClr val="tx1"/>
                </a:solidFill>
              </a:rPr>
              <a:t>Choose where to add presenter name(s) – upper right corner and under title/ subtitle. Remove unused placeholders. </a:t>
            </a:r>
          </a:p>
        </p:txBody>
      </p:sp>
      <p:sp>
        <p:nvSpPr>
          <p:cNvPr id="11" name="Text Placeholder 5"/>
          <p:cNvSpPr>
            <a:spLocks noGrp="1"/>
          </p:cNvSpPr>
          <p:nvPr>
            <p:ph type="body" sz="quarter" idx="13" hasCustomPrompt="1"/>
          </p:nvPr>
        </p:nvSpPr>
        <p:spPr>
          <a:xfrm>
            <a:off x="411480" y="4196049"/>
            <a:ext cx="7231529" cy="896287"/>
          </a:xfrm>
        </p:spPr>
        <p:txBody>
          <a:bodyPr>
            <a:noAutofit/>
          </a:bodyPr>
          <a:lstStyle>
            <a:lvl1pPr marL="0" indent="0">
              <a:spcBef>
                <a:spcPts val="300"/>
              </a:spcBef>
              <a:spcAft>
                <a:spcPts val="0"/>
              </a:spcAft>
              <a:buNone/>
              <a:defRPr sz="1100" b="1" baseline="0"/>
            </a:lvl1pPr>
          </a:lstStyle>
          <a:p>
            <a:pPr lvl="0"/>
            <a:r>
              <a:rPr lang="en-US" dirty="0"/>
              <a:t>Alternative 1: Click to insert Presenter Name(s)</a:t>
            </a:r>
            <a:br>
              <a:rPr lang="en-US" dirty="0"/>
            </a:br>
            <a:r>
              <a:rPr lang="en-US" dirty="0"/>
              <a:t>Job Title</a:t>
            </a:r>
            <a:br>
              <a:rPr lang="en-US" dirty="0"/>
            </a:br>
            <a:r>
              <a:rPr lang="en-US" dirty="0"/>
              <a:t>Department / Sector</a:t>
            </a:r>
          </a:p>
        </p:txBody>
      </p:sp>
      <p:sp>
        <p:nvSpPr>
          <p:cNvPr id="12" name="Text Placeholder 5"/>
          <p:cNvSpPr>
            <a:spLocks noGrp="1"/>
          </p:cNvSpPr>
          <p:nvPr>
            <p:ph type="body" sz="quarter" idx="14" hasCustomPrompt="1"/>
          </p:nvPr>
        </p:nvSpPr>
        <p:spPr>
          <a:xfrm>
            <a:off x="411480" y="5155186"/>
            <a:ext cx="3169920" cy="259884"/>
          </a:xfrm>
        </p:spPr>
        <p:txBody>
          <a:bodyPr>
            <a:noAutofit/>
          </a:bodyPr>
          <a:lstStyle>
            <a:lvl1pPr marL="0" indent="0">
              <a:buNone/>
              <a:defRPr sz="1050" b="0"/>
            </a:lvl1pPr>
          </a:lstStyle>
          <a:p>
            <a:pPr lvl="0"/>
            <a:r>
              <a:rPr lang="en-US" dirty="0"/>
              <a:t>Click to insert date</a:t>
            </a:r>
          </a:p>
        </p:txBody>
      </p:sp>
      <p:sp>
        <p:nvSpPr>
          <p:cNvPr id="13" name="Rectangle 12"/>
          <p:cNvSpPr/>
          <p:nvPr/>
        </p:nvSpPr>
        <p:spPr>
          <a:xfrm>
            <a:off x="-13251" y="6878697"/>
            <a:ext cx="12205252"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solidFill>
                <a:schemeClr val="tx1"/>
              </a:solidFill>
            </a:endParaRPr>
          </a:p>
        </p:txBody>
      </p:sp>
      <p:grpSp>
        <p:nvGrpSpPr>
          <p:cNvPr id="20" name="Group 19"/>
          <p:cNvGrpSpPr/>
          <p:nvPr/>
        </p:nvGrpSpPr>
        <p:grpSpPr>
          <a:xfrm>
            <a:off x="12284310" y="2497574"/>
            <a:ext cx="1389888" cy="1233768"/>
            <a:chOff x="9215268" y="3023356"/>
            <a:chExt cx="1389888" cy="1233768"/>
          </a:xfrm>
        </p:grpSpPr>
        <p:sp>
          <p:nvSpPr>
            <p:cNvPr id="21" name="Rectangle 20"/>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2" name="Rectangle 21"/>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pic>
        <p:nvPicPr>
          <p:cNvPr id="17" name="Market Intelligence">
            <a:extLst>
              <a:ext uri="{FF2B5EF4-FFF2-40B4-BE49-F238E27FC236}">
                <a16:creationId xmlns:a16="http://schemas.microsoft.com/office/drawing/2014/main" id="{9CD74EEC-7C73-403C-A267-419682DEEB52}"/>
              </a:ext>
            </a:extLst>
          </p:cNvPr>
          <p:cNvPicPr>
            <a:picLocks noChangeAspect="1"/>
          </p:cNvPicPr>
          <p:nvPr/>
        </p:nvPicPr>
        <p:blipFill>
          <a:blip r:embed="rId2"/>
          <a:stretch>
            <a:fillRect/>
          </a:stretch>
        </p:blipFill>
        <p:spPr>
          <a:xfrm>
            <a:off x="148447" y="5512975"/>
            <a:ext cx="3489933" cy="1258284"/>
          </a:xfrm>
          <a:prstGeom prst="rect">
            <a:avLst/>
          </a:prstGeom>
        </p:spPr>
      </p:pic>
    </p:spTree>
    <p:extLst>
      <p:ext uri="{BB962C8B-B14F-4D97-AF65-F5344CB8AC3E}">
        <p14:creationId xmlns:p14="http://schemas.microsoft.com/office/powerpoint/2010/main" val="68790377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Cover black plain">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1480" y="146304"/>
            <a:ext cx="7205472" cy="2578608"/>
          </a:xfrm>
        </p:spPr>
        <p:txBody>
          <a:bodyPr tIns="0" anchor="t">
            <a:noAutofit/>
          </a:bodyPr>
          <a:lstStyle>
            <a:lvl1pPr algn="l">
              <a:defRPr sz="4400" b="1" baseline="0"/>
            </a:lvl1pPr>
          </a:lstStyle>
          <a:p>
            <a:r>
              <a:rPr lang="en-US" dirty="0"/>
              <a:t>Click to insert Presentation Title</a:t>
            </a:r>
          </a:p>
        </p:txBody>
      </p:sp>
      <p:sp>
        <p:nvSpPr>
          <p:cNvPr id="3" name="Subtitle 2"/>
          <p:cNvSpPr>
            <a:spLocks noGrp="1"/>
          </p:cNvSpPr>
          <p:nvPr>
            <p:ph type="subTitle" idx="1" hasCustomPrompt="1"/>
          </p:nvPr>
        </p:nvSpPr>
        <p:spPr>
          <a:xfrm>
            <a:off x="411480" y="2743200"/>
            <a:ext cx="7205472" cy="1179576"/>
          </a:xfrm>
        </p:spPr>
        <p:txBody>
          <a:bodyPr/>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8618071" y="1111722"/>
            <a:ext cx="3169920" cy="259884"/>
          </a:xfrm>
        </p:spPr>
        <p:txBody>
          <a:bodyPr>
            <a:noAutofit/>
          </a:bodyPr>
          <a:lstStyle>
            <a:lvl1pPr marL="0" indent="0">
              <a:buNone/>
              <a:defRPr sz="1050" b="0"/>
            </a:lvl1pPr>
          </a:lstStyle>
          <a:p>
            <a:pPr lvl="0"/>
            <a:r>
              <a:rPr lang="en-US" dirty="0"/>
              <a:t>Click to insert date</a:t>
            </a:r>
          </a:p>
        </p:txBody>
      </p:sp>
      <p:sp>
        <p:nvSpPr>
          <p:cNvPr id="13"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Alternative 2: Click to insert Presenter Name(s)</a:t>
            </a:r>
            <a:br>
              <a:rPr lang="en-US" dirty="0"/>
            </a:br>
            <a:r>
              <a:rPr lang="en-US" dirty="0"/>
              <a:t>Job Title</a:t>
            </a:r>
            <a:br>
              <a:rPr lang="en-US" dirty="0"/>
            </a:br>
            <a:r>
              <a:rPr lang="en-US" dirty="0"/>
              <a:t>Department / Sector</a:t>
            </a:r>
          </a:p>
        </p:txBody>
      </p:sp>
      <p:sp>
        <p:nvSpPr>
          <p:cNvPr id="9" name="Rectangle 8"/>
          <p:cNvSpPr/>
          <p:nvPr/>
        </p:nvSpPr>
        <p:spPr>
          <a:xfrm>
            <a:off x="12287025" y="-4042"/>
            <a:ext cx="1386247" cy="243104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dirty="0">
                <a:solidFill>
                  <a:schemeClr val="bg1"/>
                </a:solidFill>
              </a:rPr>
              <a:t>Cover</a:t>
            </a:r>
          </a:p>
          <a:p>
            <a:pPr algn="l"/>
            <a:r>
              <a:rPr lang="en-US" sz="1000" baseline="0" dirty="0">
                <a:solidFill>
                  <a:schemeClr val="bg1"/>
                </a:solidFill>
              </a:rPr>
              <a:t>Do not change the size of the title. Keep the title short and use the subtitle area for longer descriptions if needed. </a:t>
            </a:r>
            <a:endParaRPr lang="en-US" sz="1000" dirty="0">
              <a:solidFill>
                <a:schemeClr val="bg1"/>
              </a:solidFill>
            </a:endParaRPr>
          </a:p>
        </p:txBody>
      </p:sp>
      <p:sp>
        <p:nvSpPr>
          <p:cNvPr id="11" name="Text Placeholder 5"/>
          <p:cNvSpPr>
            <a:spLocks noGrp="1"/>
          </p:cNvSpPr>
          <p:nvPr>
            <p:ph type="body" sz="quarter" idx="12" hasCustomPrompt="1"/>
          </p:nvPr>
        </p:nvSpPr>
        <p:spPr>
          <a:xfrm>
            <a:off x="6096000" y="5764754"/>
            <a:ext cx="5689600" cy="738818"/>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dirty="0"/>
              <a:t>Click to insert disclaimer paragraph</a:t>
            </a:r>
          </a:p>
        </p:txBody>
      </p:sp>
      <p:sp>
        <p:nvSpPr>
          <p:cNvPr id="12" name="Text Placeholder 5"/>
          <p:cNvSpPr>
            <a:spLocks noGrp="1"/>
          </p:cNvSpPr>
          <p:nvPr>
            <p:ph type="body" sz="quarter" idx="13" hasCustomPrompt="1"/>
          </p:nvPr>
        </p:nvSpPr>
        <p:spPr>
          <a:xfrm>
            <a:off x="411480" y="4196049"/>
            <a:ext cx="7231529" cy="896287"/>
          </a:xfrm>
        </p:spPr>
        <p:txBody>
          <a:bodyPr>
            <a:noAutofit/>
          </a:bodyPr>
          <a:lstStyle>
            <a:lvl1pPr marL="0" indent="0">
              <a:spcBef>
                <a:spcPts val="300"/>
              </a:spcBef>
              <a:spcAft>
                <a:spcPts val="0"/>
              </a:spcAft>
              <a:buNone/>
              <a:defRPr sz="1100" b="1" baseline="0"/>
            </a:lvl1pPr>
          </a:lstStyle>
          <a:p>
            <a:pPr lvl="0"/>
            <a:r>
              <a:rPr lang="en-US" dirty="0"/>
              <a:t>Alternative 1: Click to insert Presenter Name(s)</a:t>
            </a:r>
            <a:br>
              <a:rPr lang="en-US" dirty="0"/>
            </a:br>
            <a:r>
              <a:rPr lang="en-US" dirty="0"/>
              <a:t>Job Title</a:t>
            </a:r>
            <a:br>
              <a:rPr lang="en-US" dirty="0"/>
            </a:br>
            <a:r>
              <a:rPr lang="en-US" dirty="0"/>
              <a:t>Department / Sector</a:t>
            </a:r>
          </a:p>
        </p:txBody>
      </p:sp>
      <p:sp>
        <p:nvSpPr>
          <p:cNvPr id="14" name="Text Placeholder 5"/>
          <p:cNvSpPr>
            <a:spLocks noGrp="1"/>
          </p:cNvSpPr>
          <p:nvPr>
            <p:ph type="body" sz="quarter" idx="14" hasCustomPrompt="1"/>
          </p:nvPr>
        </p:nvSpPr>
        <p:spPr>
          <a:xfrm>
            <a:off x="411480" y="5155186"/>
            <a:ext cx="3169920" cy="259884"/>
          </a:xfrm>
        </p:spPr>
        <p:txBody>
          <a:bodyPr>
            <a:noAutofit/>
          </a:bodyPr>
          <a:lstStyle>
            <a:lvl1pPr marL="0" indent="0">
              <a:buNone/>
              <a:defRPr sz="1050" b="0"/>
            </a:lvl1pPr>
          </a:lstStyle>
          <a:p>
            <a:pPr lvl="0"/>
            <a:r>
              <a:rPr lang="en-US" dirty="0"/>
              <a:t>Click to insert date</a:t>
            </a:r>
          </a:p>
        </p:txBody>
      </p:sp>
      <p:sp>
        <p:nvSpPr>
          <p:cNvPr id="15" name="Rectangle 14"/>
          <p:cNvSpPr/>
          <p:nvPr/>
        </p:nvSpPr>
        <p:spPr>
          <a:xfrm>
            <a:off x="-13251"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solidFill>
                <a:schemeClr val="tx1"/>
              </a:solidFill>
            </a:endParaRPr>
          </a:p>
        </p:txBody>
      </p:sp>
      <p:grpSp>
        <p:nvGrpSpPr>
          <p:cNvPr id="24" name="Group 23"/>
          <p:cNvGrpSpPr/>
          <p:nvPr/>
        </p:nvGrpSpPr>
        <p:grpSpPr>
          <a:xfrm>
            <a:off x="12284310" y="2497574"/>
            <a:ext cx="1389888" cy="1233768"/>
            <a:chOff x="9215268" y="3023356"/>
            <a:chExt cx="1389888" cy="1233768"/>
          </a:xfrm>
        </p:grpSpPr>
        <p:sp>
          <p:nvSpPr>
            <p:cNvPr id="25" name="Rectangle 24"/>
            <p:cNvSpPr/>
            <p:nvPr userDrawn="1"/>
          </p:nvSpPr>
          <p:spPr>
            <a:xfrm>
              <a:off x="9215268" y="3023356"/>
              <a:ext cx="1389888" cy="1233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text high-lights, not shapes or charts. </a:t>
              </a:r>
              <a:br>
                <a:rPr lang="en-US" sz="1000" b="0" baseline="0" dirty="0">
                  <a:solidFill>
                    <a:schemeClr val="bg1"/>
                  </a:solidFill>
                </a:rPr>
              </a:br>
              <a:r>
                <a:rPr lang="en-US" sz="1000" b="0" baseline="0" dirty="0">
                  <a:solidFill>
                    <a:schemeClr val="bg1"/>
                  </a:solidFill>
                </a:rPr>
                <a:t>It’s available in the custom color palette</a:t>
              </a:r>
              <a:r>
                <a:rPr lang="en-US" sz="1000" b="0" baseline="0" dirty="0">
                  <a:solidFill>
                    <a:schemeClr val="tx1"/>
                  </a:solidFill>
                </a:rPr>
                <a:t>. </a:t>
              </a:r>
            </a:p>
          </p:txBody>
        </p:sp>
        <p:sp>
          <p:nvSpPr>
            <p:cNvPr id="26" name="Rectangle 25"/>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pic>
        <p:nvPicPr>
          <p:cNvPr id="4" name="Market Intelligence"/>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47857" y="5508180"/>
            <a:ext cx="3499886" cy="1261872"/>
          </a:xfrm>
          <a:prstGeom prst="rect">
            <a:avLst/>
          </a:prstGeom>
        </p:spPr>
      </p:pic>
    </p:spTree>
    <p:extLst>
      <p:ext uri="{BB962C8B-B14F-4D97-AF65-F5344CB8AC3E}">
        <p14:creationId xmlns:p14="http://schemas.microsoft.com/office/powerpoint/2010/main" val="3287757109"/>
      </p:ext>
    </p:extLst>
  </p:cSld>
  <p:clrMapOvr>
    <a:overrideClrMapping bg1="dk1" tx1="lt1" bg2="dk2" tx2="lt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Cover white Slim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1480" y="164235"/>
            <a:ext cx="6705600" cy="1568639"/>
          </a:xfrm>
        </p:spPr>
        <p:txBody>
          <a:bodyPr tIns="0" anchor="t">
            <a:normAutofit/>
          </a:bodyPr>
          <a:lstStyle>
            <a:lvl1pPr algn="l">
              <a:defRPr sz="3600" b="1" baseline="0"/>
            </a:lvl1pPr>
          </a:lstStyle>
          <a:p>
            <a:r>
              <a:rPr lang="en-US" dirty="0"/>
              <a:t>Click to insert Presentation Title </a:t>
            </a:r>
          </a:p>
        </p:txBody>
      </p:sp>
      <p:sp>
        <p:nvSpPr>
          <p:cNvPr id="3" name="Subtitle 2"/>
          <p:cNvSpPr>
            <a:spLocks noGrp="1"/>
          </p:cNvSpPr>
          <p:nvPr>
            <p:ph type="subTitle" idx="1" hasCustomPrompt="1"/>
          </p:nvPr>
        </p:nvSpPr>
        <p:spPr>
          <a:xfrm>
            <a:off x="411480" y="1751715"/>
            <a:ext cx="67056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8618069" y="1111722"/>
            <a:ext cx="3169920" cy="259884"/>
          </a:xfrm>
        </p:spPr>
        <p:txBody>
          <a:bodyPr>
            <a:noAutofit/>
          </a:bodyPr>
          <a:lstStyle>
            <a:lvl1pPr marL="0" indent="0">
              <a:buNone/>
              <a:defRPr sz="1050" b="0"/>
            </a:lvl1pPr>
          </a:lstStyle>
          <a:p>
            <a:pPr lvl="0"/>
            <a:r>
              <a:rPr lang="en-US" dirty="0"/>
              <a:t>Click to insert date</a:t>
            </a:r>
          </a:p>
        </p:txBody>
      </p:sp>
      <p:sp>
        <p:nvSpPr>
          <p:cNvPr id="5" name="Picture Placeholder 4"/>
          <p:cNvSpPr>
            <a:spLocks noGrp="1"/>
          </p:cNvSpPr>
          <p:nvPr>
            <p:ph type="pic" sz="quarter" idx="13" hasCustomPrompt="1"/>
          </p:nvPr>
        </p:nvSpPr>
        <p:spPr>
          <a:xfrm>
            <a:off x="411480" y="2423160"/>
            <a:ext cx="11379200" cy="2542032"/>
          </a:xfrm>
        </p:spPr>
        <p:txBody>
          <a:bodyPr anchor="ctr"/>
          <a:lstStyle>
            <a:lvl1pPr marL="0" indent="0" algn="ctr">
              <a:buNone/>
              <a:defRPr/>
            </a:lvl1pPr>
          </a:lstStyle>
          <a:p>
            <a:r>
              <a:rPr lang="en-US" dirty="0"/>
              <a:t>Click to insert cover image</a:t>
            </a:r>
          </a:p>
        </p:txBody>
      </p:sp>
      <p:sp>
        <p:nvSpPr>
          <p:cNvPr id="12"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Click to insert Presenter Name(s)</a:t>
            </a:r>
            <a:br>
              <a:rPr lang="en-US" dirty="0"/>
            </a:br>
            <a:r>
              <a:rPr lang="en-US" dirty="0"/>
              <a:t>Job Title</a:t>
            </a:r>
            <a:br>
              <a:rPr lang="en-US" dirty="0"/>
            </a:br>
            <a:r>
              <a:rPr lang="en-US" dirty="0"/>
              <a:t>Department / Sector</a:t>
            </a:r>
          </a:p>
        </p:txBody>
      </p:sp>
      <p:sp>
        <p:nvSpPr>
          <p:cNvPr id="9" name="Rectangle 8"/>
          <p:cNvSpPr/>
          <p:nvPr/>
        </p:nvSpPr>
        <p:spPr>
          <a:xfrm>
            <a:off x="12287025" y="-4043"/>
            <a:ext cx="1386247" cy="24297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ver</a:t>
            </a:r>
            <a:r>
              <a:rPr lang="en-US" sz="1000" b="1" baseline="0" dirty="0">
                <a:solidFill>
                  <a:schemeClr val="tx1"/>
                </a:solidFill>
              </a:rPr>
              <a:t> + Image</a:t>
            </a:r>
          </a:p>
          <a:p>
            <a:pPr algn="l"/>
            <a:r>
              <a:rPr lang="en-US" sz="1000" baseline="0" dirty="0">
                <a:solidFill>
                  <a:schemeClr val="tx1"/>
                </a:solidFill>
              </a:rPr>
              <a:t>Do not change the size of the title. Keep the title short and use the subtitle area for longer descriptions if needed. Insert rectangular image by clicking the image icon. </a:t>
            </a:r>
            <a:endParaRPr lang="en-US" sz="1000" dirty="0">
              <a:solidFill>
                <a:schemeClr val="tx1"/>
              </a:solidFill>
            </a:endParaRPr>
          </a:p>
        </p:txBody>
      </p:sp>
      <p:sp>
        <p:nvSpPr>
          <p:cNvPr id="14" name="Rectangle 13"/>
          <p:cNvSpPr/>
          <p:nvPr/>
        </p:nvSpPr>
        <p:spPr>
          <a:xfrm>
            <a:off x="-13251" y="6878697"/>
            <a:ext cx="12205252"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solidFill>
                <a:schemeClr val="tx1"/>
              </a:solidFill>
            </a:endParaRPr>
          </a:p>
        </p:txBody>
      </p:sp>
      <p:sp>
        <p:nvSpPr>
          <p:cNvPr id="36" name="Text Placeholder 5"/>
          <p:cNvSpPr>
            <a:spLocks noGrp="1"/>
          </p:cNvSpPr>
          <p:nvPr>
            <p:ph type="body" sz="quarter" idx="12" hasCustomPrompt="1"/>
          </p:nvPr>
        </p:nvSpPr>
        <p:spPr>
          <a:xfrm>
            <a:off x="6096000" y="5920969"/>
            <a:ext cx="5689600" cy="730656"/>
          </a:xfrm>
        </p:spPr>
        <p:txBody>
          <a:bodyPr tIns="0" rIns="0" bIns="0">
            <a:noAutofit/>
          </a:bodyPr>
          <a:lstStyle>
            <a:lvl1pPr marL="0" indent="0" algn="r">
              <a:buNone/>
              <a:defRPr sz="900" b="0">
                <a:solidFill>
                  <a:schemeClr val="bg1">
                    <a:lumMod val="50000"/>
                  </a:schemeClr>
                </a:solidFill>
                <a:latin typeface="Arial Narrow" panose="020B0606020202030204" pitchFamily="34" charset="0"/>
              </a:defRPr>
            </a:lvl1pPr>
          </a:lstStyle>
          <a:p>
            <a:pPr lvl="0"/>
            <a:r>
              <a:rPr lang="en-US" dirty="0"/>
              <a:t>Click to insert disclaimer paragraph</a:t>
            </a:r>
          </a:p>
        </p:txBody>
      </p:sp>
      <p:grpSp>
        <p:nvGrpSpPr>
          <p:cNvPr id="24" name="Group 23"/>
          <p:cNvGrpSpPr/>
          <p:nvPr/>
        </p:nvGrpSpPr>
        <p:grpSpPr>
          <a:xfrm>
            <a:off x="12284310" y="2497574"/>
            <a:ext cx="1389888" cy="1233768"/>
            <a:chOff x="9215268" y="3023356"/>
            <a:chExt cx="1389888" cy="1233768"/>
          </a:xfrm>
        </p:grpSpPr>
        <p:sp>
          <p:nvSpPr>
            <p:cNvPr id="25" name="Rectangle 24"/>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6" name="Rectangle 25"/>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pic>
        <p:nvPicPr>
          <p:cNvPr id="19" name="Market Intelligence"/>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48447" y="5512975"/>
            <a:ext cx="3489933" cy="1258284"/>
          </a:xfrm>
          <a:prstGeom prst="rect">
            <a:avLst/>
          </a:prstGeom>
        </p:spPr>
      </p:pic>
    </p:spTree>
    <p:extLst>
      <p:ext uri="{BB962C8B-B14F-4D97-AF65-F5344CB8AC3E}">
        <p14:creationId xmlns:p14="http://schemas.microsoft.com/office/powerpoint/2010/main" val="115138066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Cover black Slim imag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1480" y="164593"/>
            <a:ext cx="6705600" cy="1568639"/>
          </a:xfrm>
        </p:spPr>
        <p:txBody>
          <a:bodyPr tIns="0" anchor="t">
            <a:normAutofit/>
          </a:bodyPr>
          <a:lstStyle>
            <a:lvl1pPr algn="l">
              <a:defRPr sz="3600" b="1" baseline="0"/>
            </a:lvl1pPr>
          </a:lstStyle>
          <a:p>
            <a:r>
              <a:rPr lang="en-US" dirty="0"/>
              <a:t>Click to insert Presentation Title</a:t>
            </a:r>
          </a:p>
        </p:txBody>
      </p:sp>
      <p:sp>
        <p:nvSpPr>
          <p:cNvPr id="3" name="Subtitle 2"/>
          <p:cNvSpPr>
            <a:spLocks noGrp="1"/>
          </p:cNvSpPr>
          <p:nvPr>
            <p:ph type="subTitle" idx="1" hasCustomPrompt="1"/>
          </p:nvPr>
        </p:nvSpPr>
        <p:spPr>
          <a:xfrm>
            <a:off x="411480" y="1755648"/>
            <a:ext cx="67056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8618069" y="1111722"/>
            <a:ext cx="3169920" cy="259884"/>
          </a:xfrm>
        </p:spPr>
        <p:txBody>
          <a:bodyPr>
            <a:noAutofit/>
          </a:bodyPr>
          <a:lstStyle>
            <a:lvl1pPr marL="0" indent="0">
              <a:buNone/>
              <a:defRPr sz="1050" b="0"/>
            </a:lvl1pPr>
          </a:lstStyle>
          <a:p>
            <a:pPr lvl="0"/>
            <a:r>
              <a:rPr lang="en-US" dirty="0"/>
              <a:t>Click to insert date</a:t>
            </a:r>
          </a:p>
        </p:txBody>
      </p:sp>
      <p:sp>
        <p:nvSpPr>
          <p:cNvPr id="5" name="Picture Placeholder 4"/>
          <p:cNvSpPr>
            <a:spLocks noGrp="1"/>
          </p:cNvSpPr>
          <p:nvPr>
            <p:ph type="pic" sz="quarter" idx="13" hasCustomPrompt="1"/>
          </p:nvPr>
        </p:nvSpPr>
        <p:spPr>
          <a:xfrm>
            <a:off x="411480" y="2423160"/>
            <a:ext cx="11379200" cy="2542032"/>
          </a:xfrm>
        </p:spPr>
        <p:txBody>
          <a:bodyPr anchor="ctr"/>
          <a:lstStyle>
            <a:lvl1pPr marL="0" indent="0" algn="ctr">
              <a:buNone/>
              <a:defRPr/>
            </a:lvl1pPr>
          </a:lstStyle>
          <a:p>
            <a:r>
              <a:rPr lang="en-US" dirty="0"/>
              <a:t>Click to insert cover image</a:t>
            </a:r>
          </a:p>
        </p:txBody>
      </p:sp>
      <p:sp>
        <p:nvSpPr>
          <p:cNvPr id="14"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dirty="0"/>
              <a:t>Click to insert Presenter Name(s)</a:t>
            </a:r>
            <a:br>
              <a:rPr lang="en-US" dirty="0"/>
            </a:br>
            <a:r>
              <a:rPr lang="en-US" dirty="0"/>
              <a:t>Job Title</a:t>
            </a:r>
            <a:br>
              <a:rPr lang="en-US" dirty="0"/>
            </a:br>
            <a:r>
              <a:rPr lang="en-US" dirty="0"/>
              <a:t>Department / Sector</a:t>
            </a:r>
          </a:p>
        </p:txBody>
      </p:sp>
      <p:sp>
        <p:nvSpPr>
          <p:cNvPr id="9" name="Rectangle 8"/>
          <p:cNvSpPr/>
          <p:nvPr/>
        </p:nvSpPr>
        <p:spPr>
          <a:xfrm>
            <a:off x="12287025" y="-4043"/>
            <a:ext cx="1386247" cy="24297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bg1"/>
                </a:solidFill>
              </a:rPr>
              <a:t>Cover</a:t>
            </a:r>
            <a:r>
              <a:rPr lang="en-US" sz="1000" b="1" baseline="0" dirty="0">
                <a:solidFill>
                  <a:schemeClr val="bg1"/>
                </a:solidFill>
              </a:rPr>
              <a:t> + Image</a:t>
            </a:r>
          </a:p>
          <a:p>
            <a:pPr algn="l"/>
            <a:r>
              <a:rPr lang="en-US" sz="1000" baseline="0" dirty="0">
                <a:solidFill>
                  <a:schemeClr val="bg1"/>
                </a:solidFill>
              </a:rPr>
              <a:t>Do not change the size of the title. Keep the title short and use the subtitle area for longer descriptions if needed. Insert rectangular image by clicking the image icon. </a:t>
            </a:r>
            <a:endParaRPr lang="en-US" sz="1000" dirty="0">
              <a:solidFill>
                <a:schemeClr val="bg1"/>
              </a:solidFill>
            </a:endParaRPr>
          </a:p>
        </p:txBody>
      </p:sp>
      <p:sp>
        <p:nvSpPr>
          <p:cNvPr id="23" name="Text Placeholder 5"/>
          <p:cNvSpPr>
            <a:spLocks noGrp="1"/>
          </p:cNvSpPr>
          <p:nvPr>
            <p:ph type="body" sz="quarter" idx="12" hasCustomPrompt="1"/>
          </p:nvPr>
        </p:nvSpPr>
        <p:spPr>
          <a:xfrm>
            <a:off x="6096000" y="5764754"/>
            <a:ext cx="5689600" cy="738818"/>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dirty="0"/>
              <a:t>Click to insert disclaimer paragraph</a:t>
            </a:r>
          </a:p>
        </p:txBody>
      </p:sp>
      <p:grpSp>
        <p:nvGrpSpPr>
          <p:cNvPr id="24" name="Group 23"/>
          <p:cNvGrpSpPr/>
          <p:nvPr/>
        </p:nvGrpSpPr>
        <p:grpSpPr>
          <a:xfrm>
            <a:off x="12284310" y="2497574"/>
            <a:ext cx="1389888" cy="1233768"/>
            <a:chOff x="9215268" y="3023356"/>
            <a:chExt cx="1389888" cy="1233768"/>
          </a:xfrm>
        </p:grpSpPr>
        <p:sp>
          <p:nvSpPr>
            <p:cNvPr id="25" name="Rectangle 24"/>
            <p:cNvSpPr/>
            <p:nvPr userDrawn="1"/>
          </p:nvSpPr>
          <p:spPr>
            <a:xfrm>
              <a:off x="9215268" y="3023356"/>
              <a:ext cx="1389888" cy="1233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text high-lights, not shapes or charts. </a:t>
              </a:r>
              <a:br>
                <a:rPr lang="en-US" sz="1000" b="0" baseline="0" dirty="0">
                  <a:solidFill>
                    <a:schemeClr val="bg1"/>
                  </a:solidFill>
                </a:rPr>
              </a:br>
              <a:r>
                <a:rPr lang="en-US" sz="1000" b="0" baseline="0" dirty="0">
                  <a:solidFill>
                    <a:schemeClr val="bg1"/>
                  </a:solidFill>
                </a:rPr>
                <a:t>It’s available in the custom color palette</a:t>
              </a:r>
              <a:r>
                <a:rPr lang="en-US" sz="1000" b="0" baseline="0" dirty="0">
                  <a:solidFill>
                    <a:schemeClr val="tx1"/>
                  </a:solidFill>
                </a:rPr>
                <a:t>. </a:t>
              </a:r>
            </a:p>
          </p:txBody>
        </p:sp>
        <p:sp>
          <p:nvSpPr>
            <p:cNvPr id="26" name="Rectangle 25"/>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pic>
        <p:nvPicPr>
          <p:cNvPr id="16" name="Market Intelligence"/>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47857" y="5508180"/>
            <a:ext cx="3499886" cy="1261872"/>
          </a:xfrm>
          <a:prstGeom prst="rect">
            <a:avLst/>
          </a:prstGeom>
        </p:spPr>
      </p:pic>
    </p:spTree>
    <p:extLst>
      <p:ext uri="{BB962C8B-B14F-4D97-AF65-F5344CB8AC3E}">
        <p14:creationId xmlns:p14="http://schemas.microsoft.com/office/powerpoint/2010/main" val="3089314482"/>
      </p:ext>
    </p:extLst>
  </p:cSld>
  <p:clrMapOvr>
    <a:overrideClrMapping bg1="dk1" tx1="lt1" bg2="dk2" tx2="lt2" accent1="accent1" accent2="accent2" accent3="accent3" accent4="accent4" accent5="accent5" accent6="accent6" hlink="hlink" folHlink="folHlink"/>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secHead" preserve="1">
  <p:cSld name="Divider white plain">
    <p:spTree>
      <p:nvGrpSpPr>
        <p:cNvPr id="1" name=""/>
        <p:cNvGrpSpPr/>
        <p:nvPr/>
      </p:nvGrpSpPr>
      <p:grpSpPr>
        <a:xfrm>
          <a:off x="0" y="0"/>
          <a:ext cx="0" cy="0"/>
          <a:chOff x="0" y="0"/>
          <a:chExt cx="0" cy="0"/>
        </a:xfrm>
      </p:grpSpPr>
      <p:sp>
        <p:nvSpPr>
          <p:cNvPr id="2" name="Title 1"/>
          <p:cNvSpPr>
            <a:spLocks noGrp="1"/>
          </p:cNvSpPr>
          <p:nvPr>
            <p:ph type="title"/>
          </p:nvPr>
        </p:nvSpPr>
        <p:spPr>
          <a:xfrm>
            <a:off x="411480" y="206375"/>
            <a:ext cx="9490635" cy="4249084"/>
          </a:xfrm>
        </p:spPr>
        <p:txBody>
          <a:bodyPr tIns="0" anchor="t"/>
          <a:lstStyle>
            <a:lvl1pPr>
              <a:defRPr sz="5400" b="1"/>
            </a:lvl1pPr>
          </a:lstStyle>
          <a:p>
            <a:r>
              <a:rPr lang="en-US"/>
              <a:t>Click to edit Master title style</a:t>
            </a:r>
            <a:endParaRPr lang="en-US" dirty="0"/>
          </a:p>
        </p:txBody>
      </p:sp>
      <p:sp>
        <p:nvSpPr>
          <p:cNvPr id="3" name="Text Placeholder 2"/>
          <p:cNvSpPr>
            <a:spLocks noGrp="1"/>
          </p:cNvSpPr>
          <p:nvPr>
            <p:ph type="body" idx="1"/>
          </p:nvPr>
        </p:nvSpPr>
        <p:spPr>
          <a:xfrm>
            <a:off x="411480" y="4574876"/>
            <a:ext cx="9490635" cy="1516362"/>
          </a:xfrm>
        </p:spPr>
        <p:txBody>
          <a:bodyPr anchor="t"/>
          <a:lstStyle>
            <a:lvl1pPr marL="0" indent="0">
              <a:spcBef>
                <a:spcPts val="0"/>
              </a:spcBef>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Rectangle 3"/>
          <p:cNvSpPr/>
          <p:nvPr/>
        </p:nvSpPr>
        <p:spPr>
          <a:xfrm>
            <a:off x="12287025" y="-4043"/>
            <a:ext cx="1386247" cy="24297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Divider</a:t>
            </a:r>
            <a:endParaRPr lang="en-US" sz="1000" b="1" baseline="0" dirty="0">
              <a:solidFill>
                <a:schemeClr val="tx1"/>
              </a:solidFill>
            </a:endParaRPr>
          </a:p>
          <a:p>
            <a:pPr algn="l"/>
            <a:r>
              <a:rPr lang="en-US" sz="1000" baseline="0" dirty="0">
                <a:solidFill>
                  <a:schemeClr val="tx1"/>
                </a:solidFill>
              </a:rPr>
              <a:t>Remove subtitle placeholder if not needed. </a:t>
            </a:r>
            <a:endParaRPr lang="en-US" sz="1000" dirty="0">
              <a:solidFill>
                <a:schemeClr val="tx1"/>
              </a:solidFill>
            </a:endParaRPr>
          </a:p>
        </p:txBody>
      </p:sp>
      <p:grpSp>
        <p:nvGrpSpPr>
          <p:cNvPr id="6" name="Group 5"/>
          <p:cNvGrpSpPr/>
          <p:nvPr/>
        </p:nvGrpSpPr>
        <p:grpSpPr>
          <a:xfrm>
            <a:off x="12284310" y="2497574"/>
            <a:ext cx="1389888" cy="1233768"/>
            <a:chOff x="9215268" y="3023356"/>
            <a:chExt cx="1389888" cy="1233768"/>
          </a:xfrm>
        </p:grpSpPr>
        <p:sp>
          <p:nvSpPr>
            <p:cNvPr id="7" name="Rectangle 6"/>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8" name="Rectangle 7"/>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172737333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Divider black plain">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11480" y="206375"/>
            <a:ext cx="9490635" cy="4249084"/>
          </a:xfrm>
        </p:spPr>
        <p:txBody>
          <a:bodyPr tIns="0" anchor="t"/>
          <a:lstStyle>
            <a:lvl1pPr>
              <a:defRPr sz="5400" b="1"/>
            </a:lvl1pPr>
          </a:lstStyle>
          <a:p>
            <a:r>
              <a:rPr lang="en-US"/>
              <a:t>Click to edit Master title style</a:t>
            </a:r>
            <a:endParaRPr lang="en-US" dirty="0"/>
          </a:p>
        </p:txBody>
      </p:sp>
      <p:sp>
        <p:nvSpPr>
          <p:cNvPr id="3" name="Text Placeholder 2"/>
          <p:cNvSpPr>
            <a:spLocks noGrp="1"/>
          </p:cNvSpPr>
          <p:nvPr>
            <p:ph type="body" idx="1"/>
          </p:nvPr>
        </p:nvSpPr>
        <p:spPr>
          <a:xfrm>
            <a:off x="411480" y="4574876"/>
            <a:ext cx="9490635" cy="1516362"/>
          </a:xfrm>
        </p:spPr>
        <p:txBody>
          <a:bodyPr anchor="t"/>
          <a:lstStyle>
            <a:lvl1pPr marL="0" indent="0">
              <a:spcBef>
                <a:spcPts val="0"/>
              </a:spcBef>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Rectangle 6"/>
          <p:cNvSpPr/>
          <p:nvPr/>
        </p:nvSpPr>
        <p:spPr>
          <a:xfrm>
            <a:off x="12287025" y="-4043"/>
            <a:ext cx="1386247" cy="24310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bg1"/>
                </a:solidFill>
              </a:rPr>
              <a:t>Divider</a:t>
            </a:r>
            <a:endParaRPr lang="en-US" sz="1000" b="1" baseline="0" dirty="0">
              <a:solidFill>
                <a:schemeClr val="bg1"/>
              </a:solidFill>
            </a:endParaRPr>
          </a:p>
          <a:p>
            <a:pPr algn="l"/>
            <a:r>
              <a:rPr lang="en-US" sz="1000" baseline="0" dirty="0">
                <a:solidFill>
                  <a:schemeClr val="bg1"/>
                </a:solidFill>
              </a:rPr>
              <a:t>Remove subtitle placeholder if not needed. </a:t>
            </a:r>
          </a:p>
          <a:p>
            <a:pPr algn="l"/>
            <a:endParaRPr lang="en-US" sz="1000" baseline="0" dirty="0">
              <a:solidFill>
                <a:schemeClr val="bg1"/>
              </a:solidFill>
            </a:endParaRPr>
          </a:p>
        </p:txBody>
      </p:sp>
      <p:sp>
        <p:nvSpPr>
          <p:cNvPr id="9" name="Rectangle 8"/>
          <p:cNvSpPr/>
          <p:nvPr/>
        </p:nvSpPr>
        <p:spPr>
          <a:xfrm>
            <a:off x="-13251" y="6878697"/>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solidFill>
                <a:schemeClr val="tx1"/>
              </a:solidFill>
            </a:endParaRPr>
          </a:p>
        </p:txBody>
      </p:sp>
      <p:sp>
        <p:nvSpPr>
          <p:cNvPr id="18" name="TextBox 17"/>
          <p:cNvSpPr txBox="1"/>
          <p:nvPr/>
        </p:nvSpPr>
        <p:spPr>
          <a:xfrm>
            <a:off x="12287024" y="5975774"/>
            <a:ext cx="1706880" cy="142555"/>
          </a:xfrm>
          <a:prstGeom prst="rect">
            <a:avLst/>
          </a:prstGeom>
          <a:noFill/>
        </p:spPr>
        <p:txBody>
          <a:bodyPr wrap="square" lIns="0" tIns="0" rIns="0" bIns="0" rtlCol="0">
            <a:noAutofit/>
          </a:bodyPr>
          <a:lstStyle/>
          <a:p>
            <a:pPr algn="l"/>
            <a:r>
              <a:rPr lang="en-US" sz="800" dirty="0">
                <a:solidFill>
                  <a:schemeClr val="tx1">
                    <a:lumMod val="65000"/>
                  </a:schemeClr>
                </a:solidFill>
                <a:latin typeface="Arial Narrow" panose="020B0606020202030204" pitchFamily="34" charset="0"/>
              </a:rPr>
              <a:t>No content below the line</a:t>
            </a:r>
          </a:p>
        </p:txBody>
      </p:sp>
      <p:sp>
        <p:nvSpPr>
          <p:cNvPr id="19" name="TextBox 18"/>
          <p:cNvSpPr txBox="1"/>
          <p:nvPr/>
        </p:nvSpPr>
        <p:spPr>
          <a:xfrm>
            <a:off x="-1786823" y="5987532"/>
            <a:ext cx="1706880" cy="142555"/>
          </a:xfrm>
          <a:prstGeom prst="rect">
            <a:avLst/>
          </a:prstGeom>
          <a:noFill/>
        </p:spPr>
        <p:txBody>
          <a:bodyPr wrap="square" lIns="0" tIns="0" rIns="0" bIns="0" rtlCol="0">
            <a:noAutofit/>
          </a:bodyPr>
          <a:lstStyle/>
          <a:p>
            <a:pPr algn="r"/>
            <a:r>
              <a:rPr lang="en-US" sz="800" dirty="0">
                <a:solidFill>
                  <a:schemeClr val="tx1">
                    <a:lumMod val="65000"/>
                  </a:schemeClr>
                </a:solidFill>
                <a:latin typeface="Arial Narrow" panose="020B0606020202030204" pitchFamily="34" charset="0"/>
              </a:rPr>
              <a:t>No content below the line</a:t>
            </a:r>
          </a:p>
        </p:txBody>
      </p:sp>
      <p:cxnSp>
        <p:nvCxnSpPr>
          <p:cNvPr id="20" name="Straight Connector 19"/>
          <p:cNvCxnSpPr/>
          <p:nvPr/>
        </p:nvCxnSpPr>
        <p:spPr>
          <a:xfrm>
            <a:off x="-395621" y="6090880"/>
            <a:ext cx="395621" cy="0"/>
          </a:xfrm>
          <a:prstGeom prst="line">
            <a:avLst/>
          </a:prstGeom>
          <a:ln w="3175">
            <a:solidFill>
              <a:schemeClr val="tx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2192000" y="6091822"/>
            <a:ext cx="395621" cy="0"/>
          </a:xfrm>
          <a:prstGeom prst="line">
            <a:avLst/>
          </a:prstGeom>
          <a:ln w="3175">
            <a:solidFill>
              <a:schemeClr val="tx1">
                <a:lumMod val="65000"/>
              </a:schemeClr>
            </a:solidFill>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12284310" y="2497574"/>
            <a:ext cx="1389888" cy="1233768"/>
            <a:chOff x="9215268" y="3023356"/>
            <a:chExt cx="1389888" cy="1233768"/>
          </a:xfrm>
        </p:grpSpPr>
        <p:sp>
          <p:nvSpPr>
            <p:cNvPr id="23" name="Rectangle 22"/>
            <p:cNvSpPr/>
            <p:nvPr userDrawn="1"/>
          </p:nvSpPr>
          <p:spPr>
            <a:xfrm>
              <a:off x="9215268" y="3023356"/>
              <a:ext cx="1389888" cy="1233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text high-lights, not shapes or charts. </a:t>
              </a:r>
              <a:br>
                <a:rPr lang="en-US" sz="1000" b="0" baseline="0" dirty="0">
                  <a:solidFill>
                    <a:schemeClr val="bg1"/>
                  </a:solidFill>
                </a:rPr>
              </a:br>
              <a:r>
                <a:rPr lang="en-US" sz="1000" b="0" baseline="0" dirty="0">
                  <a:solidFill>
                    <a:schemeClr val="bg1"/>
                  </a:solidFill>
                </a:rPr>
                <a:t>It’s available in the custom color palette</a:t>
              </a:r>
              <a:r>
                <a:rPr lang="en-US" sz="1000" b="0" baseline="0" dirty="0">
                  <a:solidFill>
                    <a:schemeClr val="tx1"/>
                  </a:solidFill>
                </a:rPr>
                <a:t>. </a:t>
              </a:r>
            </a:p>
          </p:txBody>
        </p:sp>
        <p:sp>
          <p:nvSpPr>
            <p:cNvPr id="24" name="Rectangle 23"/>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
        <p:nvSpPr>
          <p:cNvPr id="14" name="Rectangle 13"/>
          <p:cNvSpPr/>
          <p:nvPr/>
        </p:nvSpPr>
        <p:spPr>
          <a:xfrm>
            <a:off x="-13251" y="6878697"/>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solidFill>
                <a:schemeClr val="tx1"/>
              </a:solidFill>
            </a:endParaRPr>
          </a:p>
        </p:txBody>
      </p:sp>
      <p:sp>
        <p:nvSpPr>
          <p:cNvPr id="16" name="Rectangle 15"/>
          <p:cNvSpPr/>
          <p:nvPr/>
        </p:nvSpPr>
        <p:spPr>
          <a:xfrm>
            <a:off x="0" y="6874278"/>
            <a:ext cx="12192000" cy="3428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cxnSp>
        <p:nvCxnSpPr>
          <p:cNvPr id="17" name="Straight Connector 16"/>
          <p:cNvCxnSpPr/>
          <p:nvPr/>
        </p:nvCxnSpPr>
        <p:spPr>
          <a:xfrm rot="5400000" flipH="1" flipV="1">
            <a:off x="5947642"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rot="5400000" flipH="1" flipV="1">
            <a:off x="11637249"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6311590" y="6892980"/>
            <a:ext cx="5880409"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dirty="0">
                <a:solidFill>
                  <a:schemeClr val="bg1"/>
                </a:solidFill>
              </a:rPr>
              <a:t>Footer :  </a:t>
            </a:r>
            <a:r>
              <a:rPr lang="en-US" sz="1000" baseline="0" dirty="0">
                <a:solidFill>
                  <a:schemeClr val="bg1"/>
                </a:solidFill>
                <a:sym typeface="Wingdings 3" panose="05040102010807070707" pitchFamily="18" charset="2"/>
              </a:rPr>
              <a:t>Never change the footer text on individual slides. Change, t</a:t>
            </a:r>
            <a:r>
              <a:rPr lang="en-US" sz="1000" baseline="0" dirty="0">
                <a:solidFill>
                  <a:schemeClr val="bg1"/>
                </a:solidFill>
              </a:rPr>
              <a:t>urn on or off footer by using </a:t>
            </a:r>
            <a:br>
              <a:rPr lang="en-US" sz="1000" baseline="0" dirty="0">
                <a:solidFill>
                  <a:schemeClr val="bg1"/>
                </a:solidFill>
              </a:rPr>
            </a:br>
            <a:r>
              <a:rPr lang="en-US" sz="1000" baseline="0" dirty="0">
                <a:solidFill>
                  <a:schemeClr val="bg1"/>
                </a:solidFill>
              </a:rPr>
              <a:t>Insert </a:t>
            </a:r>
            <a:r>
              <a:rPr lang="en-US" sz="1000" baseline="0" dirty="0">
                <a:solidFill>
                  <a:schemeClr val="bg1"/>
                </a:solidFill>
                <a:sym typeface="Wingdings 3" panose="05040102010807070707" pitchFamily="18" charset="2"/>
              </a:rPr>
              <a:t> Header &amp; Footer Enter / change text  Click Apply All. </a:t>
            </a:r>
            <a:endParaRPr lang="en-US" sz="1000" baseline="0" dirty="0">
              <a:solidFill>
                <a:schemeClr val="bg1"/>
              </a:solidFill>
            </a:endParaRPr>
          </a:p>
        </p:txBody>
      </p:sp>
      <p:sp>
        <p:nvSpPr>
          <p:cNvPr id="27" name="TextBox 26"/>
          <p:cNvSpPr txBox="1"/>
          <p:nvPr/>
        </p:nvSpPr>
        <p:spPr>
          <a:xfrm>
            <a:off x="55813" y="6883559"/>
            <a:ext cx="903163"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Data color order</a:t>
            </a:r>
            <a:r>
              <a:rPr lang="en-US" sz="800" baseline="0" dirty="0">
                <a:solidFill>
                  <a:schemeClr val="bg1"/>
                </a:solidFill>
                <a:latin typeface="Arial Narrow" panose="020B0606020202030204" pitchFamily="34" charset="0"/>
              </a:rPr>
              <a:t>:</a:t>
            </a:r>
            <a:endParaRPr lang="en-US" sz="800" dirty="0">
              <a:solidFill>
                <a:schemeClr val="bg1"/>
              </a:solidFill>
              <a:latin typeface="Arial Narrow" panose="020B0606020202030204" pitchFamily="34" charset="0"/>
            </a:endParaRPr>
          </a:p>
        </p:txBody>
      </p:sp>
      <p:sp>
        <p:nvSpPr>
          <p:cNvPr id="28" name="TextBox 27"/>
          <p:cNvSpPr txBox="1"/>
          <p:nvPr/>
        </p:nvSpPr>
        <p:spPr>
          <a:xfrm>
            <a:off x="2804797" y="7042641"/>
            <a:ext cx="1320629" cy="136444"/>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Used with accent colors: </a:t>
            </a:r>
          </a:p>
        </p:txBody>
      </p:sp>
      <p:grpSp>
        <p:nvGrpSpPr>
          <p:cNvPr id="29" name="Group 28"/>
          <p:cNvGrpSpPr/>
          <p:nvPr/>
        </p:nvGrpSpPr>
        <p:grpSpPr>
          <a:xfrm>
            <a:off x="731575" y="6907927"/>
            <a:ext cx="1601607" cy="100584"/>
            <a:chOff x="914339" y="6913770"/>
            <a:chExt cx="1558450" cy="100584"/>
          </a:xfrm>
        </p:grpSpPr>
        <p:sp>
          <p:nvSpPr>
            <p:cNvPr id="30" name="Rectangle 29"/>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1" name="Rectangle 30"/>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32" name="Rectangle 31"/>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3" name="Rectangle 32"/>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4" name="Rectangle 33"/>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5" name="Rectangle 34"/>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6" name="Rectangle 35"/>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7" name="Rectangle 36"/>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38" name="Rectangle 37"/>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39" name="Rectangle 38"/>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sp>
          <p:nvSpPr>
            <p:cNvPr id="40" name="Rectangle 39"/>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41" name="Rectangle 40"/>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42" name="Rectangle 41"/>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43" name="Rectangle 42"/>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grpSp>
      <p:sp>
        <p:nvSpPr>
          <p:cNvPr id="44" name="TextBox 43"/>
          <p:cNvSpPr txBox="1"/>
          <p:nvPr/>
        </p:nvSpPr>
        <p:spPr>
          <a:xfrm>
            <a:off x="2535078" y="6883559"/>
            <a:ext cx="907901"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Complimentary colors:</a:t>
            </a:r>
          </a:p>
        </p:txBody>
      </p:sp>
      <p:grpSp>
        <p:nvGrpSpPr>
          <p:cNvPr id="45" name="Group 44"/>
          <p:cNvGrpSpPr/>
          <p:nvPr/>
        </p:nvGrpSpPr>
        <p:grpSpPr>
          <a:xfrm>
            <a:off x="2551546" y="7022893"/>
            <a:ext cx="218964" cy="91440"/>
            <a:chOff x="2279174" y="7027888"/>
            <a:chExt cx="164223" cy="91440"/>
          </a:xfrm>
        </p:grpSpPr>
        <p:cxnSp>
          <p:nvCxnSpPr>
            <p:cNvPr id="46" name="Straight Arrow Connector 45"/>
            <p:cNvCxnSpPr>
              <a:cxnSpLocks/>
            </p:cNvCxnSpPr>
            <p:nvPr userDrawn="1"/>
          </p:nvCxnSpPr>
          <p:spPr>
            <a:xfrm>
              <a:off x="2279174" y="7114593"/>
              <a:ext cx="164223" cy="0"/>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a:cxnSpLocks/>
            </p:cNvCxnSpPr>
            <p:nvPr userDrawn="1"/>
          </p:nvCxnSpPr>
          <p:spPr>
            <a:xfrm flipV="1">
              <a:off x="2281672" y="7027888"/>
              <a:ext cx="0" cy="9144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48" name="Group 47"/>
          <p:cNvGrpSpPr/>
          <p:nvPr/>
        </p:nvGrpSpPr>
        <p:grpSpPr>
          <a:xfrm>
            <a:off x="3760820" y="7063094"/>
            <a:ext cx="778165" cy="100584"/>
            <a:chOff x="1566748" y="7022234"/>
            <a:chExt cx="778165" cy="100584"/>
          </a:xfrm>
        </p:grpSpPr>
        <p:sp>
          <p:nvSpPr>
            <p:cNvPr id="49" name="Rectangle 48"/>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0" name="Rectangle 49"/>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51" name="Rectangle 50"/>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2" name="Rectangle 51"/>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3" name="Rectangle 52"/>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4" name="Rectangle 53"/>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5" name="Rectangle 54"/>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56" name="Group 55"/>
          <p:cNvGrpSpPr/>
          <p:nvPr/>
        </p:nvGrpSpPr>
        <p:grpSpPr>
          <a:xfrm>
            <a:off x="3475603" y="6905748"/>
            <a:ext cx="549776" cy="100584"/>
            <a:chOff x="3141899" y="6907927"/>
            <a:chExt cx="549776" cy="100584"/>
          </a:xfrm>
        </p:grpSpPr>
        <p:sp>
          <p:nvSpPr>
            <p:cNvPr id="57" name="Rectangle 56"/>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8" name="Rectangle 57"/>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59" name="Rectangle 58"/>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0" name="Rectangle 59"/>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1" name="Rectangle 60"/>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62" name="Group 61"/>
          <p:cNvGrpSpPr/>
          <p:nvPr/>
        </p:nvGrpSpPr>
        <p:grpSpPr>
          <a:xfrm>
            <a:off x="4110314" y="6905748"/>
            <a:ext cx="549777" cy="100584"/>
            <a:chOff x="2057435" y="7026985"/>
            <a:chExt cx="549777" cy="100584"/>
          </a:xfrm>
        </p:grpSpPr>
        <p:sp>
          <p:nvSpPr>
            <p:cNvPr id="63" name="Rectangle 62"/>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4" name="Rectangle 63"/>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65" name="Rectangle 64"/>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6" name="Rectangle 65"/>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7" name="Rectangle 66"/>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pic>
        <p:nvPicPr>
          <p:cNvPr id="68" name="Market Intelligence">
            <a:extLst>
              <a:ext uri="{FF2B5EF4-FFF2-40B4-BE49-F238E27FC236}">
                <a16:creationId xmlns:a16="http://schemas.microsoft.com/office/drawing/2014/main" id="{A2838431-38CC-428A-ABE9-504DA0C728D5}"/>
              </a:ext>
            </a:extLst>
          </p:cNvPr>
          <p:cNvPicPr>
            <a:picLocks noChangeAspect="1"/>
          </p:cNvPicPr>
          <p:nvPr/>
        </p:nvPicPr>
        <p:blipFill>
          <a:blip r:embed="rId2"/>
          <a:stretch>
            <a:fillRect/>
          </a:stretch>
        </p:blipFill>
        <p:spPr>
          <a:xfrm>
            <a:off x="267575" y="6081748"/>
            <a:ext cx="1978197" cy="713232"/>
          </a:xfrm>
          <a:prstGeom prst="rect">
            <a:avLst/>
          </a:prstGeom>
        </p:spPr>
      </p:pic>
    </p:spTree>
    <p:extLst>
      <p:ext uri="{BB962C8B-B14F-4D97-AF65-F5344CB8AC3E}">
        <p14:creationId xmlns:p14="http://schemas.microsoft.com/office/powerpoint/2010/main" val="4182191811"/>
      </p:ext>
    </p:extLst>
  </p:cSld>
  <p:clrMapOvr>
    <a:overrideClrMapping bg1="dk1" tx1="lt1" bg2="dk2" tx2="lt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Divider Image Big title">
    <p:spTree>
      <p:nvGrpSpPr>
        <p:cNvPr id="1" name=""/>
        <p:cNvGrpSpPr/>
        <p:nvPr/>
      </p:nvGrpSpPr>
      <p:grpSpPr>
        <a:xfrm>
          <a:off x="0" y="0"/>
          <a:ext cx="0" cy="0"/>
          <a:chOff x="0" y="0"/>
          <a:chExt cx="0" cy="0"/>
        </a:xfrm>
      </p:grpSpPr>
      <p:sp>
        <p:nvSpPr>
          <p:cNvPr id="2" name="Title 1"/>
          <p:cNvSpPr>
            <a:spLocks noGrp="1"/>
          </p:cNvSpPr>
          <p:nvPr>
            <p:ph type="title"/>
          </p:nvPr>
        </p:nvSpPr>
        <p:spPr>
          <a:xfrm>
            <a:off x="411480" y="206376"/>
            <a:ext cx="9490635" cy="2115484"/>
          </a:xfrm>
        </p:spPr>
        <p:txBody>
          <a:bodyPr tIns="0" anchor="t"/>
          <a:lstStyle>
            <a:lvl1pPr>
              <a:defRPr sz="4400" b="1"/>
            </a:lvl1pPr>
          </a:lstStyle>
          <a:p>
            <a:r>
              <a:rPr lang="en-US"/>
              <a:t>Click to edit Master title style</a:t>
            </a:r>
            <a:endParaRPr lang="en-US" dirty="0"/>
          </a:p>
        </p:txBody>
      </p:sp>
      <p:sp>
        <p:nvSpPr>
          <p:cNvPr id="5" name="Picture Placeholder 4"/>
          <p:cNvSpPr>
            <a:spLocks noGrp="1"/>
          </p:cNvSpPr>
          <p:nvPr>
            <p:ph type="pic" sz="quarter" idx="10" hasCustomPrompt="1"/>
          </p:nvPr>
        </p:nvSpPr>
        <p:spPr>
          <a:xfrm>
            <a:off x="411480" y="2411508"/>
            <a:ext cx="11379200" cy="3390900"/>
          </a:xfrm>
        </p:spPr>
        <p:txBody>
          <a:bodyPr anchor="ctr"/>
          <a:lstStyle>
            <a:lvl1pPr marL="0" indent="0" algn="ctr">
              <a:buNone/>
              <a:defRPr b="1"/>
            </a:lvl1pPr>
          </a:lstStyle>
          <a:p>
            <a:r>
              <a:rPr lang="en-US" dirty="0"/>
              <a:t>Click to add image</a:t>
            </a:r>
          </a:p>
        </p:txBody>
      </p:sp>
      <p:sp>
        <p:nvSpPr>
          <p:cNvPr id="4" name="Rectangle 3"/>
          <p:cNvSpPr/>
          <p:nvPr/>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Divider + Image</a:t>
            </a:r>
            <a:endParaRPr lang="en-US" sz="1000" b="1" baseline="0" dirty="0">
              <a:solidFill>
                <a:schemeClr val="tx1"/>
              </a:solidFill>
            </a:endParaRPr>
          </a:p>
          <a:p>
            <a:pPr algn="l"/>
            <a:r>
              <a:rPr lang="en-US" sz="1000" baseline="0" dirty="0">
                <a:solidFill>
                  <a:schemeClr val="tx1"/>
                </a:solidFill>
              </a:rPr>
              <a:t>Click image icon to insert rectangular image. </a:t>
            </a:r>
            <a:endParaRPr lang="en-US" sz="1000" dirty="0">
              <a:solidFill>
                <a:schemeClr val="tx1"/>
              </a:solidFill>
            </a:endParaRPr>
          </a:p>
        </p:txBody>
      </p:sp>
      <p:grpSp>
        <p:nvGrpSpPr>
          <p:cNvPr id="7" name="Group 6"/>
          <p:cNvGrpSpPr/>
          <p:nvPr/>
        </p:nvGrpSpPr>
        <p:grpSpPr>
          <a:xfrm>
            <a:off x="12284310" y="2497574"/>
            <a:ext cx="1389888" cy="1233768"/>
            <a:chOff x="9215268" y="3023356"/>
            <a:chExt cx="1389888" cy="1233768"/>
          </a:xfrm>
        </p:grpSpPr>
        <p:sp>
          <p:nvSpPr>
            <p:cNvPr id="8" name="Rectangle 7"/>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9" name="Rectangle 8"/>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14106792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248280-2FE7-4F46-ACE6-F67D7D7BC79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1FC85E9-ED63-8F43-B346-61B6E10E832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D4A6570-4824-4544-85AA-2B099DABAAC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0208481-46AF-044D-A2F9-4C1A156A4E4A}"/>
              </a:ext>
            </a:extLst>
          </p:cNvPr>
          <p:cNvSpPr>
            <a:spLocks noGrp="1"/>
          </p:cNvSpPr>
          <p:nvPr>
            <p:ph type="dt" sz="half" idx="10"/>
          </p:nvPr>
        </p:nvSpPr>
        <p:spPr/>
        <p:txBody>
          <a:bodyPr/>
          <a:lstStyle/>
          <a:p>
            <a:fld id="{92F427D0-34EB-7F4F-A4A2-2357E7D45014}" type="datetimeFigureOut">
              <a:rPr lang="en-US" smtClean="0"/>
              <a:t>6/18/2020</a:t>
            </a:fld>
            <a:endParaRPr lang="en-US" dirty="0"/>
          </a:p>
        </p:txBody>
      </p:sp>
      <p:sp>
        <p:nvSpPr>
          <p:cNvPr id="6" name="Footer Placeholder 5">
            <a:extLst>
              <a:ext uri="{FF2B5EF4-FFF2-40B4-BE49-F238E27FC236}">
                <a16:creationId xmlns:a16="http://schemas.microsoft.com/office/drawing/2014/main" id="{E57A7FF2-D9F8-F242-888B-3B8B996A5B27}"/>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5EE2B64B-5394-F748-B918-A9796AE8B854}"/>
              </a:ext>
            </a:extLst>
          </p:cNvPr>
          <p:cNvSpPr>
            <a:spLocks noGrp="1"/>
          </p:cNvSpPr>
          <p:nvPr>
            <p:ph type="sldNum" sz="quarter" idx="12"/>
          </p:nvPr>
        </p:nvSpPr>
        <p:spPr/>
        <p:txBody>
          <a:bodyPr/>
          <a:lstStyle/>
          <a:p>
            <a:fld id="{3C02FF7F-7EE0-DE4E-B4BA-8D5E63CE8E28}" type="slidenum">
              <a:rPr lang="en-US" smtClean="0"/>
              <a:t>‹#›</a:t>
            </a:fld>
            <a:endParaRPr lang="en-US" dirty="0"/>
          </a:p>
        </p:txBody>
      </p:sp>
    </p:spTree>
    <p:extLst>
      <p:ext uri="{BB962C8B-B14F-4D97-AF65-F5344CB8AC3E}">
        <p14:creationId xmlns:p14="http://schemas.microsoft.com/office/powerpoint/2010/main" val="359828941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Divider Black Image Small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11480" y="206376"/>
            <a:ext cx="9490635" cy="2115484"/>
          </a:xfrm>
        </p:spPr>
        <p:txBody>
          <a:bodyPr tIns="0" anchor="t"/>
          <a:lstStyle>
            <a:lvl1pPr>
              <a:defRPr sz="4400" b="1"/>
            </a:lvl1pPr>
          </a:lstStyle>
          <a:p>
            <a:r>
              <a:rPr lang="en-US"/>
              <a:t>Click to edit Master title style</a:t>
            </a:r>
            <a:endParaRPr lang="en-US" dirty="0"/>
          </a:p>
        </p:txBody>
      </p:sp>
      <p:sp>
        <p:nvSpPr>
          <p:cNvPr id="5" name="Picture Placeholder 4"/>
          <p:cNvSpPr>
            <a:spLocks noGrp="1"/>
          </p:cNvSpPr>
          <p:nvPr>
            <p:ph type="pic" sz="quarter" idx="10" hasCustomPrompt="1"/>
          </p:nvPr>
        </p:nvSpPr>
        <p:spPr>
          <a:xfrm>
            <a:off x="411480" y="2411508"/>
            <a:ext cx="11379200" cy="3390900"/>
          </a:xfrm>
        </p:spPr>
        <p:txBody>
          <a:bodyPr anchor="ctr"/>
          <a:lstStyle>
            <a:lvl1pPr marL="0" indent="0" algn="ctr">
              <a:buNone/>
              <a:defRPr b="1"/>
            </a:lvl1pPr>
          </a:lstStyle>
          <a:p>
            <a:r>
              <a:rPr lang="en-US" dirty="0"/>
              <a:t>Click to add image</a:t>
            </a:r>
          </a:p>
        </p:txBody>
      </p:sp>
      <p:sp>
        <p:nvSpPr>
          <p:cNvPr id="8" name="Rectangle 7"/>
          <p:cNvSpPr/>
          <p:nvPr/>
        </p:nvSpPr>
        <p:spPr>
          <a:xfrm>
            <a:off x="12287025" y="-4043"/>
            <a:ext cx="1386247" cy="24310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bg1"/>
                </a:solidFill>
              </a:rPr>
              <a:t>Divider + Image</a:t>
            </a:r>
            <a:endParaRPr lang="en-US" sz="1000" b="1" baseline="0" dirty="0">
              <a:solidFill>
                <a:schemeClr val="bg1"/>
              </a:solidFill>
            </a:endParaRPr>
          </a:p>
          <a:p>
            <a:pPr algn="l"/>
            <a:r>
              <a:rPr lang="en-US" sz="1000" baseline="0" dirty="0">
                <a:solidFill>
                  <a:schemeClr val="bg1"/>
                </a:solidFill>
              </a:rPr>
              <a:t>Click image icon to insert rectangular image. </a:t>
            </a:r>
            <a:endParaRPr lang="en-US" sz="1000" dirty="0">
              <a:solidFill>
                <a:schemeClr val="bg1"/>
              </a:solidFill>
            </a:endParaRPr>
          </a:p>
        </p:txBody>
      </p:sp>
      <p:sp>
        <p:nvSpPr>
          <p:cNvPr id="10" name="Rectangle 9"/>
          <p:cNvSpPr/>
          <p:nvPr/>
        </p:nvSpPr>
        <p:spPr>
          <a:xfrm>
            <a:off x="-13251" y="6889455"/>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solidFill>
                <a:schemeClr val="tx1"/>
              </a:solidFill>
            </a:endParaRPr>
          </a:p>
        </p:txBody>
      </p:sp>
      <p:sp>
        <p:nvSpPr>
          <p:cNvPr id="21" name="TextBox 20"/>
          <p:cNvSpPr txBox="1"/>
          <p:nvPr/>
        </p:nvSpPr>
        <p:spPr>
          <a:xfrm>
            <a:off x="12287024" y="5975774"/>
            <a:ext cx="1706880" cy="142555"/>
          </a:xfrm>
          <a:prstGeom prst="rect">
            <a:avLst/>
          </a:prstGeom>
          <a:noFill/>
        </p:spPr>
        <p:txBody>
          <a:bodyPr wrap="square" lIns="0" tIns="0" rIns="0" bIns="0" rtlCol="0">
            <a:noAutofit/>
          </a:bodyPr>
          <a:lstStyle/>
          <a:p>
            <a:pPr algn="l"/>
            <a:r>
              <a:rPr lang="en-US" sz="800" dirty="0">
                <a:solidFill>
                  <a:schemeClr val="tx1">
                    <a:lumMod val="65000"/>
                  </a:schemeClr>
                </a:solidFill>
                <a:latin typeface="Arial Narrow" panose="020B0606020202030204" pitchFamily="34" charset="0"/>
              </a:rPr>
              <a:t>No content below the line</a:t>
            </a:r>
          </a:p>
        </p:txBody>
      </p:sp>
      <p:sp>
        <p:nvSpPr>
          <p:cNvPr id="22" name="TextBox 21"/>
          <p:cNvSpPr txBox="1"/>
          <p:nvPr/>
        </p:nvSpPr>
        <p:spPr>
          <a:xfrm>
            <a:off x="-1786823" y="5987532"/>
            <a:ext cx="1706880" cy="142555"/>
          </a:xfrm>
          <a:prstGeom prst="rect">
            <a:avLst/>
          </a:prstGeom>
          <a:noFill/>
        </p:spPr>
        <p:txBody>
          <a:bodyPr wrap="square" lIns="0" tIns="0" rIns="0" bIns="0" rtlCol="0">
            <a:noAutofit/>
          </a:bodyPr>
          <a:lstStyle/>
          <a:p>
            <a:pPr algn="r"/>
            <a:r>
              <a:rPr lang="en-US" sz="800" dirty="0">
                <a:solidFill>
                  <a:schemeClr val="tx1">
                    <a:lumMod val="65000"/>
                  </a:schemeClr>
                </a:solidFill>
                <a:latin typeface="Arial Narrow" panose="020B0606020202030204" pitchFamily="34" charset="0"/>
              </a:rPr>
              <a:t>No content below the line</a:t>
            </a:r>
          </a:p>
        </p:txBody>
      </p:sp>
      <p:cxnSp>
        <p:nvCxnSpPr>
          <p:cNvPr id="23" name="Straight Connector 22"/>
          <p:cNvCxnSpPr/>
          <p:nvPr/>
        </p:nvCxnSpPr>
        <p:spPr>
          <a:xfrm>
            <a:off x="-395621" y="6090880"/>
            <a:ext cx="395621" cy="0"/>
          </a:xfrm>
          <a:prstGeom prst="line">
            <a:avLst/>
          </a:prstGeom>
          <a:ln w="3175">
            <a:solidFill>
              <a:schemeClr val="tx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12192000" y="6091822"/>
            <a:ext cx="395621" cy="0"/>
          </a:xfrm>
          <a:prstGeom prst="line">
            <a:avLst/>
          </a:prstGeom>
          <a:ln w="3175">
            <a:solidFill>
              <a:schemeClr val="tx1">
                <a:lumMod val="65000"/>
              </a:schemeClr>
            </a:solidFill>
          </a:ln>
        </p:spPr>
        <p:style>
          <a:lnRef idx="1">
            <a:schemeClr val="accent1"/>
          </a:lnRef>
          <a:fillRef idx="0">
            <a:schemeClr val="accent1"/>
          </a:fillRef>
          <a:effectRef idx="0">
            <a:schemeClr val="accent1"/>
          </a:effectRef>
          <a:fontRef idx="minor">
            <a:schemeClr val="tx1"/>
          </a:fontRef>
        </p:style>
      </p:cxnSp>
      <p:grpSp>
        <p:nvGrpSpPr>
          <p:cNvPr id="25" name="Group 24"/>
          <p:cNvGrpSpPr/>
          <p:nvPr/>
        </p:nvGrpSpPr>
        <p:grpSpPr>
          <a:xfrm>
            <a:off x="12284310" y="2497574"/>
            <a:ext cx="1389888" cy="1233768"/>
            <a:chOff x="9215268" y="3023356"/>
            <a:chExt cx="1389888" cy="1233768"/>
          </a:xfrm>
        </p:grpSpPr>
        <p:sp>
          <p:nvSpPr>
            <p:cNvPr id="26" name="Rectangle 25"/>
            <p:cNvSpPr/>
            <p:nvPr userDrawn="1"/>
          </p:nvSpPr>
          <p:spPr>
            <a:xfrm>
              <a:off x="9215268" y="3023356"/>
              <a:ext cx="1389888" cy="1233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text high-lights, not shapes or charts. </a:t>
              </a:r>
              <a:br>
                <a:rPr lang="en-US" sz="1000" b="0" baseline="0" dirty="0">
                  <a:solidFill>
                    <a:schemeClr val="bg1"/>
                  </a:solidFill>
                </a:rPr>
              </a:br>
              <a:r>
                <a:rPr lang="en-US" sz="1000" b="0" baseline="0" dirty="0">
                  <a:solidFill>
                    <a:schemeClr val="bg1"/>
                  </a:solidFill>
                </a:rPr>
                <a:t>It’s available in the custom color palette</a:t>
              </a:r>
              <a:r>
                <a:rPr lang="en-US" sz="1000" b="0" baseline="0" dirty="0">
                  <a:solidFill>
                    <a:schemeClr val="tx1"/>
                  </a:solidFill>
                </a:rPr>
                <a:t>. </a:t>
              </a:r>
            </a:p>
          </p:txBody>
        </p:sp>
        <p:sp>
          <p:nvSpPr>
            <p:cNvPr id="27" name="Rectangle 26"/>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
        <p:nvSpPr>
          <p:cNvPr id="14" name="Rectangle 13"/>
          <p:cNvSpPr/>
          <p:nvPr/>
        </p:nvSpPr>
        <p:spPr>
          <a:xfrm>
            <a:off x="-13251" y="6878697"/>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solidFill>
                <a:schemeClr val="tx1"/>
              </a:solidFill>
            </a:endParaRPr>
          </a:p>
        </p:txBody>
      </p:sp>
      <p:sp>
        <p:nvSpPr>
          <p:cNvPr id="15" name="Rectangle 14"/>
          <p:cNvSpPr/>
          <p:nvPr/>
        </p:nvSpPr>
        <p:spPr>
          <a:xfrm>
            <a:off x="0" y="6874278"/>
            <a:ext cx="12192000" cy="3428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cxnSp>
        <p:nvCxnSpPr>
          <p:cNvPr id="16" name="Straight Connector 15"/>
          <p:cNvCxnSpPr/>
          <p:nvPr/>
        </p:nvCxnSpPr>
        <p:spPr>
          <a:xfrm rot="5400000" flipH="1" flipV="1">
            <a:off x="5947642"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rot="5400000" flipH="1" flipV="1">
            <a:off x="11637249"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6311590" y="6892980"/>
            <a:ext cx="5880409"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dirty="0">
                <a:solidFill>
                  <a:schemeClr val="bg1"/>
                </a:solidFill>
              </a:rPr>
              <a:t>Footer :  </a:t>
            </a:r>
            <a:r>
              <a:rPr lang="en-US" sz="1000" baseline="0" dirty="0">
                <a:solidFill>
                  <a:schemeClr val="bg1"/>
                </a:solidFill>
                <a:sym typeface="Wingdings 3" panose="05040102010807070707" pitchFamily="18" charset="2"/>
              </a:rPr>
              <a:t>Never change the footer text on individual slides. Change, t</a:t>
            </a:r>
            <a:r>
              <a:rPr lang="en-US" sz="1000" baseline="0" dirty="0">
                <a:solidFill>
                  <a:schemeClr val="bg1"/>
                </a:solidFill>
              </a:rPr>
              <a:t>urn on or off footer by using </a:t>
            </a:r>
            <a:br>
              <a:rPr lang="en-US" sz="1000" baseline="0" dirty="0">
                <a:solidFill>
                  <a:schemeClr val="bg1"/>
                </a:solidFill>
              </a:rPr>
            </a:br>
            <a:r>
              <a:rPr lang="en-US" sz="1000" baseline="0" dirty="0">
                <a:solidFill>
                  <a:schemeClr val="bg1"/>
                </a:solidFill>
              </a:rPr>
              <a:t>Insert </a:t>
            </a:r>
            <a:r>
              <a:rPr lang="en-US" sz="1000" baseline="0" dirty="0">
                <a:solidFill>
                  <a:schemeClr val="bg1"/>
                </a:solidFill>
                <a:sym typeface="Wingdings 3" panose="05040102010807070707" pitchFamily="18" charset="2"/>
              </a:rPr>
              <a:t> Header &amp; Footer Enter / change text  Click Apply All. </a:t>
            </a:r>
            <a:endParaRPr lang="en-US" sz="1000" baseline="0" dirty="0">
              <a:solidFill>
                <a:schemeClr val="bg1"/>
              </a:solidFill>
            </a:endParaRPr>
          </a:p>
        </p:txBody>
      </p:sp>
      <p:sp>
        <p:nvSpPr>
          <p:cNvPr id="20" name="TextBox 19"/>
          <p:cNvSpPr txBox="1"/>
          <p:nvPr/>
        </p:nvSpPr>
        <p:spPr>
          <a:xfrm>
            <a:off x="55813" y="6883559"/>
            <a:ext cx="903163"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Data color order</a:t>
            </a:r>
            <a:r>
              <a:rPr lang="en-US" sz="800" baseline="0" dirty="0">
                <a:solidFill>
                  <a:schemeClr val="bg1"/>
                </a:solidFill>
                <a:latin typeface="Arial Narrow" panose="020B0606020202030204" pitchFamily="34" charset="0"/>
              </a:rPr>
              <a:t>:</a:t>
            </a:r>
            <a:endParaRPr lang="en-US" sz="800" dirty="0">
              <a:solidFill>
                <a:schemeClr val="bg1"/>
              </a:solidFill>
              <a:latin typeface="Arial Narrow" panose="020B0606020202030204" pitchFamily="34" charset="0"/>
            </a:endParaRPr>
          </a:p>
        </p:txBody>
      </p:sp>
      <p:sp>
        <p:nvSpPr>
          <p:cNvPr id="28" name="TextBox 27"/>
          <p:cNvSpPr txBox="1"/>
          <p:nvPr/>
        </p:nvSpPr>
        <p:spPr>
          <a:xfrm>
            <a:off x="2804797" y="7042641"/>
            <a:ext cx="1320629" cy="136444"/>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Used with accent colors: </a:t>
            </a:r>
          </a:p>
        </p:txBody>
      </p:sp>
      <p:grpSp>
        <p:nvGrpSpPr>
          <p:cNvPr id="29" name="Group 28"/>
          <p:cNvGrpSpPr/>
          <p:nvPr/>
        </p:nvGrpSpPr>
        <p:grpSpPr>
          <a:xfrm>
            <a:off x="731575" y="6907927"/>
            <a:ext cx="1601607" cy="100584"/>
            <a:chOff x="914339" y="6913770"/>
            <a:chExt cx="1558450" cy="100584"/>
          </a:xfrm>
        </p:grpSpPr>
        <p:sp>
          <p:nvSpPr>
            <p:cNvPr id="30" name="Rectangle 29"/>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1" name="Rectangle 30"/>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32" name="Rectangle 31"/>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3" name="Rectangle 32"/>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4" name="Rectangle 33"/>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5" name="Rectangle 34"/>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6" name="Rectangle 35"/>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37" name="Rectangle 36"/>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38" name="Rectangle 37"/>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39" name="Rectangle 38"/>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sp>
          <p:nvSpPr>
            <p:cNvPr id="40" name="Rectangle 39"/>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41" name="Rectangle 40"/>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42" name="Rectangle 41"/>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43" name="Rectangle 42"/>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grpSp>
      <p:sp>
        <p:nvSpPr>
          <p:cNvPr id="44" name="TextBox 43"/>
          <p:cNvSpPr txBox="1"/>
          <p:nvPr/>
        </p:nvSpPr>
        <p:spPr>
          <a:xfrm>
            <a:off x="2535078" y="6883559"/>
            <a:ext cx="907901"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Complimentary colors:</a:t>
            </a:r>
          </a:p>
        </p:txBody>
      </p:sp>
      <p:grpSp>
        <p:nvGrpSpPr>
          <p:cNvPr id="45" name="Group 44"/>
          <p:cNvGrpSpPr/>
          <p:nvPr/>
        </p:nvGrpSpPr>
        <p:grpSpPr>
          <a:xfrm>
            <a:off x="2551546" y="7022893"/>
            <a:ext cx="218964" cy="91440"/>
            <a:chOff x="2279174" y="7027888"/>
            <a:chExt cx="164223" cy="91440"/>
          </a:xfrm>
        </p:grpSpPr>
        <p:cxnSp>
          <p:nvCxnSpPr>
            <p:cNvPr id="46" name="Straight Arrow Connector 45"/>
            <p:cNvCxnSpPr>
              <a:cxnSpLocks/>
            </p:cNvCxnSpPr>
            <p:nvPr userDrawn="1"/>
          </p:nvCxnSpPr>
          <p:spPr>
            <a:xfrm>
              <a:off x="2279174" y="7114593"/>
              <a:ext cx="164223" cy="0"/>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a:cxnSpLocks/>
            </p:cNvCxnSpPr>
            <p:nvPr userDrawn="1"/>
          </p:nvCxnSpPr>
          <p:spPr>
            <a:xfrm flipV="1">
              <a:off x="2281672" y="7027888"/>
              <a:ext cx="0" cy="9144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48" name="Group 47"/>
          <p:cNvGrpSpPr/>
          <p:nvPr/>
        </p:nvGrpSpPr>
        <p:grpSpPr>
          <a:xfrm>
            <a:off x="3760820" y="7063094"/>
            <a:ext cx="778165" cy="100584"/>
            <a:chOff x="1566748" y="7022234"/>
            <a:chExt cx="778165" cy="100584"/>
          </a:xfrm>
        </p:grpSpPr>
        <p:sp>
          <p:nvSpPr>
            <p:cNvPr id="49" name="Rectangle 48"/>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0" name="Rectangle 49"/>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51" name="Rectangle 50"/>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2" name="Rectangle 51"/>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3" name="Rectangle 52"/>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4" name="Rectangle 53"/>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5" name="Rectangle 54"/>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56" name="Group 55"/>
          <p:cNvGrpSpPr/>
          <p:nvPr/>
        </p:nvGrpSpPr>
        <p:grpSpPr>
          <a:xfrm>
            <a:off x="3475603" y="6905748"/>
            <a:ext cx="549776" cy="100584"/>
            <a:chOff x="3141899" y="6907927"/>
            <a:chExt cx="549776" cy="100584"/>
          </a:xfrm>
        </p:grpSpPr>
        <p:sp>
          <p:nvSpPr>
            <p:cNvPr id="57" name="Rectangle 56"/>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8" name="Rectangle 57"/>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59" name="Rectangle 58"/>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0" name="Rectangle 59"/>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1" name="Rectangle 60"/>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62" name="Group 61"/>
          <p:cNvGrpSpPr/>
          <p:nvPr/>
        </p:nvGrpSpPr>
        <p:grpSpPr>
          <a:xfrm>
            <a:off x="4110314" y="6905748"/>
            <a:ext cx="549777" cy="100584"/>
            <a:chOff x="2057435" y="7026985"/>
            <a:chExt cx="549777" cy="100584"/>
          </a:xfrm>
        </p:grpSpPr>
        <p:sp>
          <p:nvSpPr>
            <p:cNvPr id="63" name="Rectangle 62"/>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4" name="Rectangle 63"/>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65" name="Rectangle 64"/>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6" name="Rectangle 65"/>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7" name="Rectangle 66"/>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pic>
        <p:nvPicPr>
          <p:cNvPr id="68" name="Market Intelligence">
            <a:extLst>
              <a:ext uri="{FF2B5EF4-FFF2-40B4-BE49-F238E27FC236}">
                <a16:creationId xmlns:a16="http://schemas.microsoft.com/office/drawing/2014/main" id="{24EACCDD-A436-4320-A0C4-FB9627AF94D2}"/>
              </a:ext>
            </a:extLst>
          </p:cNvPr>
          <p:cNvPicPr>
            <a:picLocks noChangeAspect="1"/>
          </p:cNvPicPr>
          <p:nvPr/>
        </p:nvPicPr>
        <p:blipFill>
          <a:blip r:embed="rId2"/>
          <a:stretch>
            <a:fillRect/>
          </a:stretch>
        </p:blipFill>
        <p:spPr>
          <a:xfrm>
            <a:off x="267575" y="6081748"/>
            <a:ext cx="1978197" cy="713232"/>
          </a:xfrm>
          <a:prstGeom prst="rect">
            <a:avLst/>
          </a:prstGeom>
        </p:spPr>
      </p:pic>
    </p:spTree>
    <p:extLst>
      <p:ext uri="{BB962C8B-B14F-4D97-AF65-F5344CB8AC3E}">
        <p14:creationId xmlns:p14="http://schemas.microsoft.com/office/powerpoint/2010/main" val="2828842962"/>
      </p:ext>
    </p:extLst>
  </p:cSld>
  <p:clrMapOvr>
    <a:overrideClrMapping bg1="dk1" tx1="lt1" bg2="dk2" tx2="lt2" accent1="accent1" accent2="accent2" accent3="accent3" accent4="accent4" accent5="accent5" accent6="accent6" hlink="hlink" folHlink="folHlink"/>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Content -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3" name="Content Placeholder 2"/>
          <p:cNvSpPr>
            <a:spLocks noGrp="1"/>
          </p:cNvSpPr>
          <p:nvPr>
            <p:ph idx="1"/>
          </p:nvPr>
        </p:nvSpPr>
        <p:spPr>
          <a:xfrm>
            <a:off x="414528" y="1371600"/>
            <a:ext cx="11367253" cy="43005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E9B061D1-EB67-4552-A8DD-E94748FC1F6A}" type="datetime1">
              <a:rPr lang="en-US" smtClean="0"/>
              <a:t>6/18/2020</a:t>
            </a:fld>
            <a:endParaRPr lang="en-US" dirty="0"/>
          </a:p>
        </p:txBody>
      </p:sp>
      <p:sp>
        <p:nvSpPr>
          <p:cNvPr id="5" name="Footer Placeholder 4"/>
          <p:cNvSpPr>
            <a:spLocks noGrp="1"/>
          </p:cNvSpPr>
          <p:nvPr>
            <p:ph type="ftr" sz="quarter" idx="11"/>
          </p:nvPr>
        </p:nvSpPr>
        <p:spPr/>
        <p:txBody>
          <a:bodyPr/>
          <a:lstStyle/>
          <a:p>
            <a:r>
              <a:rPr lang="en-US"/>
              <a:t>Private &amp; Confidential</a:t>
            </a:r>
            <a:endParaRPr lang="en-US" dirty="0"/>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dirty="0"/>
          </a:p>
        </p:txBody>
      </p:sp>
      <p:sp>
        <p:nvSpPr>
          <p:cNvPr id="8" name="Rectangle 7"/>
          <p:cNvSpPr/>
          <p:nvPr/>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No subtitle</a:t>
            </a:r>
          </a:p>
          <a:p>
            <a:pPr algn="l"/>
            <a:r>
              <a:rPr lang="en-US" sz="1000" b="0" baseline="0" dirty="0">
                <a:solidFill>
                  <a:schemeClr val="tx1"/>
                </a:solidFill>
              </a:rPr>
              <a:t>Level 1 has a bullet turned on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p:txBody>
      </p:sp>
      <p:sp>
        <p:nvSpPr>
          <p:cNvPr id="9"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pic>
        <p:nvPicPr>
          <p:cNvPr id="13" name="bullets"/>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2345151" y="1307765"/>
            <a:ext cx="277342" cy="241890"/>
          </a:xfrm>
          <a:prstGeom prst="rect">
            <a:avLst/>
          </a:prstGeom>
          <a:ln>
            <a:noFill/>
          </a:ln>
        </p:spPr>
      </p:pic>
      <p:pic>
        <p:nvPicPr>
          <p:cNvPr id="14" name="increase list level"/>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2342987" y="2222893"/>
            <a:ext cx="391318" cy="241890"/>
          </a:xfrm>
          <a:prstGeom prst="rect">
            <a:avLst/>
          </a:prstGeom>
        </p:spPr>
      </p:pic>
      <p:grpSp>
        <p:nvGrpSpPr>
          <p:cNvPr id="15" name="Group 14"/>
          <p:cNvGrpSpPr/>
          <p:nvPr/>
        </p:nvGrpSpPr>
        <p:grpSpPr>
          <a:xfrm>
            <a:off x="12284310" y="3212874"/>
            <a:ext cx="1389888" cy="1233768"/>
            <a:chOff x="9215268" y="3023356"/>
            <a:chExt cx="1389888" cy="1233768"/>
          </a:xfrm>
        </p:grpSpPr>
        <p:sp>
          <p:nvSpPr>
            <p:cNvPr id="16" name="Rectangle 15"/>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7" name="Rectangle 16"/>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
        <p:nvSpPr>
          <p:cNvPr id="18" name="Rectangle 17">
            <a:extLst>
              <a:ext uri="{FF2B5EF4-FFF2-40B4-BE49-F238E27FC236}">
                <a16:creationId xmlns:a16="http://schemas.microsoft.com/office/drawing/2014/main" id="{824D63F0-F756-43B4-912B-FF0B0ECC29CE}"/>
              </a:ext>
            </a:extLst>
          </p:cNvPr>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No subtitle</a:t>
            </a:r>
          </a:p>
          <a:p>
            <a:pPr algn="l"/>
            <a:r>
              <a:rPr lang="en-US" sz="1000" b="0" baseline="0" dirty="0">
                <a:solidFill>
                  <a:schemeClr val="tx1"/>
                </a:solidFill>
              </a:rPr>
              <a:t>Level 1 has a bullet turned on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p:txBody>
      </p:sp>
      <p:pic>
        <p:nvPicPr>
          <p:cNvPr id="19" name="bullets">
            <a:extLst>
              <a:ext uri="{FF2B5EF4-FFF2-40B4-BE49-F238E27FC236}">
                <a16:creationId xmlns:a16="http://schemas.microsoft.com/office/drawing/2014/main" id="{B2CFE286-C442-457D-A7B2-57511C010846}"/>
              </a:ext>
            </a:extLst>
          </p:cNvPr>
          <p:cNvPicPr>
            <a:picLocks noChangeAspect="1"/>
          </p:cNvPicPr>
          <p:nvPr userDrawn="1"/>
        </p:nvPicPr>
        <p:blipFill rotWithShape="1">
          <a:blip r:embed="rId4"/>
          <a:srcRect l="3717" t="5566" r="8072" b="8645"/>
          <a:stretch/>
        </p:blipFill>
        <p:spPr>
          <a:xfrm>
            <a:off x="12345151" y="1307765"/>
            <a:ext cx="277342" cy="241890"/>
          </a:xfrm>
          <a:prstGeom prst="rect">
            <a:avLst/>
          </a:prstGeom>
          <a:ln>
            <a:noFill/>
          </a:ln>
        </p:spPr>
      </p:pic>
      <p:pic>
        <p:nvPicPr>
          <p:cNvPr id="20" name="increase list level">
            <a:extLst>
              <a:ext uri="{FF2B5EF4-FFF2-40B4-BE49-F238E27FC236}">
                <a16:creationId xmlns:a16="http://schemas.microsoft.com/office/drawing/2014/main" id="{DA2F8C3E-E3AA-46BD-8A5D-4463A322E498}"/>
              </a:ext>
            </a:extLst>
          </p:cNvPr>
          <p:cNvPicPr>
            <a:picLocks noChangeAspect="1"/>
          </p:cNvPicPr>
          <p:nvPr userDrawn="1"/>
        </p:nvPicPr>
        <p:blipFill rotWithShape="1">
          <a:blip r:embed="rId5"/>
          <a:srcRect l="3946" t="825" r="7728" b="5818"/>
          <a:stretch/>
        </p:blipFill>
        <p:spPr>
          <a:xfrm>
            <a:off x="12342987" y="2222893"/>
            <a:ext cx="391318" cy="241890"/>
          </a:xfrm>
          <a:prstGeom prst="rect">
            <a:avLst/>
          </a:prstGeom>
        </p:spPr>
      </p:pic>
      <p:grpSp>
        <p:nvGrpSpPr>
          <p:cNvPr id="21" name="Group 20">
            <a:extLst>
              <a:ext uri="{FF2B5EF4-FFF2-40B4-BE49-F238E27FC236}">
                <a16:creationId xmlns:a16="http://schemas.microsoft.com/office/drawing/2014/main" id="{3FE2FE2A-3717-49C4-A1F8-6F28534E1253}"/>
              </a:ext>
            </a:extLst>
          </p:cNvPr>
          <p:cNvGrpSpPr/>
          <p:nvPr userDrawn="1"/>
        </p:nvGrpSpPr>
        <p:grpSpPr>
          <a:xfrm>
            <a:off x="12284310" y="3212874"/>
            <a:ext cx="1389888" cy="1233768"/>
            <a:chOff x="9215268" y="3023356"/>
            <a:chExt cx="1389888" cy="1233768"/>
          </a:xfrm>
        </p:grpSpPr>
        <p:sp>
          <p:nvSpPr>
            <p:cNvPr id="22" name="Rectangle 21">
              <a:extLst>
                <a:ext uri="{FF2B5EF4-FFF2-40B4-BE49-F238E27FC236}">
                  <a16:creationId xmlns:a16="http://schemas.microsoft.com/office/drawing/2014/main" id="{D22AE7C2-1EA7-4C93-910D-0CC65F1FD61D}"/>
                </a:ext>
              </a:extLst>
            </p:cNvPr>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3" name="Rectangle 22">
              <a:extLst>
                <a:ext uri="{FF2B5EF4-FFF2-40B4-BE49-F238E27FC236}">
                  <a16:creationId xmlns:a16="http://schemas.microsoft.com/office/drawing/2014/main" id="{A36C5115-6CEB-41C7-BCDB-2A8E120DC29A}"/>
                </a:ext>
              </a:extLst>
            </p:cNvPr>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Tree>
    <p:extLst>
      <p:ext uri="{BB962C8B-B14F-4D97-AF65-F5344CB8AC3E}">
        <p14:creationId xmlns:p14="http://schemas.microsoft.com/office/powerpoint/2010/main" val="131482603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Content 2 columns -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11480" y="1371601"/>
            <a:ext cx="5491389" cy="4300539"/>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99206" y="1371601"/>
            <a:ext cx="5491389" cy="4300539"/>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35832948-E127-4461-9846-7F561EB70B87}" type="datetimeFigureOut">
              <a:rPr lang="en-US" smtClean="0"/>
              <a:t>6/18/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BA554F4-18A6-4DA7-BB10-5C27B33EB61F}" type="slidenum">
              <a:rPr lang="en-US" smtClean="0"/>
              <a:t>‹#›</a:t>
            </a:fld>
            <a:endParaRPr lang="en-US"/>
          </a:p>
        </p:txBody>
      </p:sp>
      <p:sp>
        <p:nvSpPr>
          <p:cNvPr id="10" name="Rectangle 9"/>
          <p:cNvSpPr/>
          <p:nvPr/>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2</a:t>
            </a:r>
            <a:r>
              <a:rPr lang="en-US" sz="1000" b="1" baseline="0" dirty="0">
                <a:solidFill>
                  <a:schemeClr val="tx1"/>
                </a:solidFill>
              </a:rPr>
              <a:t> columns</a:t>
            </a:r>
            <a:endParaRPr lang="en-US" sz="1000" b="1" dirty="0">
              <a:solidFill>
                <a:schemeClr val="tx1"/>
              </a:solidFill>
            </a:endParaRPr>
          </a:p>
          <a:p>
            <a:pPr algn="l"/>
            <a:r>
              <a:rPr lang="en-US" sz="1000" b="0" baseline="0" dirty="0">
                <a:solidFill>
                  <a:schemeClr val="tx1"/>
                </a:solidFill>
              </a:rPr>
              <a:t>Level 1 has a bullet turned on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p:txBody>
      </p:sp>
      <p:sp>
        <p:nvSpPr>
          <p:cNvPr id="14"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pic>
        <p:nvPicPr>
          <p:cNvPr id="15" name="bullets"/>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2345151" y="1307765"/>
            <a:ext cx="277342" cy="241890"/>
          </a:xfrm>
          <a:prstGeom prst="rect">
            <a:avLst/>
          </a:prstGeom>
          <a:ln>
            <a:noFill/>
          </a:ln>
        </p:spPr>
      </p:pic>
      <p:pic>
        <p:nvPicPr>
          <p:cNvPr id="16" name="increase list level"/>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2342987" y="2222893"/>
            <a:ext cx="391318" cy="241890"/>
          </a:xfrm>
          <a:prstGeom prst="rect">
            <a:avLst/>
          </a:prstGeom>
        </p:spPr>
      </p:pic>
      <p:grpSp>
        <p:nvGrpSpPr>
          <p:cNvPr id="17" name="Group 16"/>
          <p:cNvGrpSpPr/>
          <p:nvPr/>
        </p:nvGrpSpPr>
        <p:grpSpPr>
          <a:xfrm>
            <a:off x="12284310" y="3212874"/>
            <a:ext cx="1389888" cy="1233768"/>
            <a:chOff x="9215268" y="3023356"/>
            <a:chExt cx="1389888" cy="1233768"/>
          </a:xfrm>
        </p:grpSpPr>
        <p:sp>
          <p:nvSpPr>
            <p:cNvPr id="18" name="Rectangle 17"/>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9" name="Rectangle 18"/>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141331942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Agenda - Takeaway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35832948-E127-4461-9846-7F561EB70B87}" type="datetimeFigureOut">
              <a:rPr lang="en-US" smtClean="0"/>
              <a:t>6/18/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BA554F4-18A6-4DA7-BB10-5C27B33EB61F}" type="slidenum">
              <a:rPr lang="en-US" smtClean="0"/>
              <a:t>‹#›</a:t>
            </a:fld>
            <a:endParaRPr lang="en-US"/>
          </a:p>
        </p:txBody>
      </p:sp>
      <p:sp>
        <p:nvSpPr>
          <p:cNvPr id="9" name="Text Placeholder 8"/>
          <p:cNvSpPr>
            <a:spLocks noGrp="1"/>
          </p:cNvSpPr>
          <p:nvPr>
            <p:ph type="body" sz="quarter" idx="16" hasCustomPrompt="1"/>
          </p:nvPr>
        </p:nvSpPr>
        <p:spPr>
          <a:xfrm>
            <a:off x="1046787" y="1814929"/>
            <a:ext cx="10738812" cy="558010"/>
          </a:xfrm>
        </p:spPr>
        <p:txBody>
          <a:bodyPr tIns="0" rIns="0" bIns="0" anchor="ctr"/>
          <a:lstStyle>
            <a:lvl1pPr marL="0" indent="0">
              <a:spcBef>
                <a:spcPts val="200"/>
              </a:spcBef>
              <a:spcAft>
                <a:spcPts val="0"/>
              </a:spcAft>
              <a:buFont typeface="Arial" panose="020B0604020202020204" pitchFamily="34" charset="0"/>
              <a:buNone/>
              <a:defRPr sz="1800" b="1" baseline="0"/>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1" name="Text Placeholder 10"/>
          <p:cNvSpPr>
            <a:spLocks noGrp="1"/>
          </p:cNvSpPr>
          <p:nvPr>
            <p:ph type="body" sz="quarter" idx="17" hasCustomPrompt="1"/>
          </p:nvPr>
        </p:nvSpPr>
        <p:spPr>
          <a:xfrm>
            <a:off x="406401" y="181493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12" name="Text Placeholder 10"/>
          <p:cNvSpPr>
            <a:spLocks noGrp="1"/>
          </p:cNvSpPr>
          <p:nvPr>
            <p:ph type="body" sz="quarter" idx="18" hasCustomPrompt="1"/>
          </p:nvPr>
        </p:nvSpPr>
        <p:spPr>
          <a:xfrm>
            <a:off x="406399" y="255859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13" name="Text Placeholder 10"/>
          <p:cNvSpPr>
            <a:spLocks noGrp="1"/>
          </p:cNvSpPr>
          <p:nvPr>
            <p:ph type="body" sz="quarter" idx="19" hasCustomPrompt="1"/>
          </p:nvPr>
        </p:nvSpPr>
        <p:spPr>
          <a:xfrm>
            <a:off x="406401" y="330225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14" name="Text Placeholder 10"/>
          <p:cNvSpPr>
            <a:spLocks noGrp="1"/>
          </p:cNvSpPr>
          <p:nvPr>
            <p:ph type="body" sz="quarter" idx="20" hasCustomPrompt="1"/>
          </p:nvPr>
        </p:nvSpPr>
        <p:spPr>
          <a:xfrm>
            <a:off x="406398" y="404591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15" name="Text Placeholder 8"/>
          <p:cNvSpPr>
            <a:spLocks noGrp="1"/>
          </p:cNvSpPr>
          <p:nvPr>
            <p:ph type="body" sz="quarter" idx="21" hasCustomPrompt="1"/>
          </p:nvPr>
        </p:nvSpPr>
        <p:spPr>
          <a:xfrm>
            <a:off x="1046787" y="255858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6" name="Text Placeholder 8"/>
          <p:cNvSpPr>
            <a:spLocks noGrp="1"/>
          </p:cNvSpPr>
          <p:nvPr>
            <p:ph type="body" sz="quarter" idx="22" hasCustomPrompt="1"/>
          </p:nvPr>
        </p:nvSpPr>
        <p:spPr>
          <a:xfrm>
            <a:off x="1046787" y="330224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7" name="Text Placeholder 8"/>
          <p:cNvSpPr>
            <a:spLocks noGrp="1"/>
          </p:cNvSpPr>
          <p:nvPr>
            <p:ph type="body" sz="quarter" idx="23" hasCustomPrompt="1"/>
          </p:nvPr>
        </p:nvSpPr>
        <p:spPr>
          <a:xfrm>
            <a:off x="1046787" y="404590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8" name="Text Placeholder 8"/>
          <p:cNvSpPr>
            <a:spLocks noGrp="1"/>
          </p:cNvSpPr>
          <p:nvPr>
            <p:ph type="body" sz="quarter" idx="24" hasCustomPrompt="1"/>
          </p:nvPr>
        </p:nvSpPr>
        <p:spPr>
          <a:xfrm>
            <a:off x="1046787" y="478956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20" name="Text Placeholder 10"/>
          <p:cNvSpPr>
            <a:spLocks noGrp="1"/>
          </p:cNvSpPr>
          <p:nvPr>
            <p:ph type="body" sz="quarter" idx="25" hasCustomPrompt="1"/>
          </p:nvPr>
        </p:nvSpPr>
        <p:spPr>
          <a:xfrm>
            <a:off x="408762" y="478957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21" name="Text Placeholder 8"/>
          <p:cNvSpPr>
            <a:spLocks noGrp="1"/>
          </p:cNvSpPr>
          <p:nvPr>
            <p:ph type="body" sz="quarter" idx="26" hasCustomPrompt="1"/>
          </p:nvPr>
        </p:nvSpPr>
        <p:spPr>
          <a:xfrm>
            <a:off x="1046787" y="553322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baseline="0"/>
            </a:lvl2pPr>
          </a:lstStyle>
          <a:p>
            <a:pPr lvl="0"/>
            <a:r>
              <a:rPr lang="en-US" dirty="0"/>
              <a:t>Click to add agenda item/takeaway/text – max two rows</a:t>
            </a:r>
          </a:p>
          <a:p>
            <a:pPr lvl="1"/>
            <a:r>
              <a:rPr lang="en-US" dirty="0"/>
              <a:t>Second level</a:t>
            </a:r>
          </a:p>
        </p:txBody>
      </p:sp>
      <p:sp>
        <p:nvSpPr>
          <p:cNvPr id="22" name="Text Placeholder 10"/>
          <p:cNvSpPr>
            <a:spLocks noGrp="1"/>
          </p:cNvSpPr>
          <p:nvPr>
            <p:ph type="body" sz="quarter" idx="27" hasCustomPrompt="1"/>
          </p:nvPr>
        </p:nvSpPr>
        <p:spPr>
          <a:xfrm>
            <a:off x="408762" y="5533230"/>
            <a:ext cx="490071" cy="558009"/>
          </a:xfrm>
        </p:spPr>
        <p:txBody>
          <a:bodyPr tIns="0" rIns="0" bIns="0"/>
          <a:lstStyle>
            <a:lvl1pPr marL="0" indent="0">
              <a:buNone/>
              <a:defRPr sz="4400" b="1"/>
            </a:lvl1pPr>
            <a:lvl2pPr marL="169862" indent="0">
              <a:buNone/>
              <a:defRPr/>
            </a:lvl2pPr>
          </a:lstStyle>
          <a:p>
            <a:pPr lvl="0"/>
            <a:r>
              <a:rPr lang="en-US" dirty="0"/>
              <a:t>#</a:t>
            </a:r>
          </a:p>
        </p:txBody>
      </p:sp>
      <p:sp>
        <p:nvSpPr>
          <p:cNvPr id="23" name="Text Placeholder 7"/>
          <p:cNvSpPr>
            <a:spLocks noGrp="1"/>
          </p:cNvSpPr>
          <p:nvPr>
            <p:ph type="body" sz="quarter" idx="13" hasCustomPrompt="1"/>
          </p:nvPr>
        </p:nvSpPr>
        <p:spPr>
          <a:xfrm>
            <a:off x="411480" y="1084264"/>
            <a:ext cx="11379200" cy="706437"/>
          </a:xfrm>
        </p:spPr>
        <p:txBody>
          <a:bodyPr/>
          <a:lstStyle>
            <a:lvl1pPr marL="0" indent="0">
              <a:buNone/>
              <a:defRPr sz="1800" b="0" baseline="0"/>
            </a:lvl1pPr>
            <a:lvl2pPr marL="169863" indent="0">
              <a:buNone/>
              <a:defRPr/>
            </a:lvl2pPr>
          </a:lstStyle>
          <a:p>
            <a:pPr lvl="0"/>
            <a:r>
              <a:rPr lang="en-US" dirty="0"/>
              <a:t>Click to edit date, place or introduction / summary</a:t>
            </a:r>
          </a:p>
        </p:txBody>
      </p:sp>
      <p:sp>
        <p:nvSpPr>
          <p:cNvPr id="19" name="Rectangle 18"/>
          <p:cNvSpPr/>
          <p:nvPr/>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Agenda &amp; Takeaways</a:t>
            </a:r>
          </a:p>
          <a:p>
            <a:pPr algn="l"/>
            <a:r>
              <a:rPr lang="en-US" sz="1000" b="0" baseline="0" dirty="0">
                <a:solidFill>
                  <a:schemeClr val="tx1"/>
                </a:solidFill>
              </a:rPr>
              <a:t>Replace # with number or letter in left placeholders and explanatory text in right placeholders. Max one row of text.  Remove placeholders not in use. </a:t>
            </a:r>
          </a:p>
        </p:txBody>
      </p:sp>
      <p:grpSp>
        <p:nvGrpSpPr>
          <p:cNvPr id="25" name="Group 24"/>
          <p:cNvGrpSpPr/>
          <p:nvPr/>
        </p:nvGrpSpPr>
        <p:grpSpPr>
          <a:xfrm>
            <a:off x="12284310" y="2497574"/>
            <a:ext cx="1389888" cy="1233768"/>
            <a:chOff x="9215268" y="3023356"/>
            <a:chExt cx="1389888" cy="1233768"/>
          </a:xfrm>
        </p:grpSpPr>
        <p:sp>
          <p:nvSpPr>
            <p:cNvPr id="26" name="Rectangle 25"/>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32" name="Rectangle 31"/>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grpSp>
        <p:nvGrpSpPr>
          <p:cNvPr id="33" name="Group 32"/>
          <p:cNvGrpSpPr/>
          <p:nvPr/>
        </p:nvGrpSpPr>
        <p:grpSpPr>
          <a:xfrm>
            <a:off x="12287025" y="3841031"/>
            <a:ext cx="1388611" cy="1588569"/>
            <a:chOff x="13673268" y="2618012"/>
            <a:chExt cx="3060457" cy="3501159"/>
          </a:xfrm>
        </p:grpSpPr>
        <p:pic>
          <p:nvPicPr>
            <p:cNvPr id="34" name="Picture 3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673268" y="4393853"/>
              <a:ext cx="3060457" cy="1725318"/>
            </a:xfrm>
            <a:prstGeom prst="rect">
              <a:avLst/>
            </a:prstGeom>
          </p:spPr>
        </p:pic>
        <p:pic>
          <p:nvPicPr>
            <p:cNvPr id="35" name="Picture 3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3673268" y="2618012"/>
              <a:ext cx="3060457" cy="1725318"/>
            </a:xfrm>
            <a:prstGeom prst="rect">
              <a:avLst/>
            </a:prstGeom>
          </p:spPr>
        </p:pic>
      </p:grpSp>
    </p:spTree>
    <p:extLst>
      <p:ext uri="{BB962C8B-B14F-4D97-AF65-F5344CB8AC3E}">
        <p14:creationId xmlns:p14="http://schemas.microsoft.com/office/powerpoint/2010/main" val="164887005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Contact / Auth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35832948-E127-4461-9846-7F561EB70B87}" type="datetimeFigureOut">
              <a:rPr lang="en-US" smtClean="0"/>
              <a:t>6/18/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BA554F4-18A6-4DA7-BB10-5C27B33EB61F}" type="slidenum">
              <a:rPr lang="en-US" smtClean="0"/>
              <a:t>‹#›</a:t>
            </a:fld>
            <a:endParaRPr lang="en-US"/>
          </a:p>
        </p:txBody>
      </p:sp>
      <p:sp>
        <p:nvSpPr>
          <p:cNvPr id="6" name="Text Placeholder 7"/>
          <p:cNvSpPr>
            <a:spLocks noGrp="1"/>
          </p:cNvSpPr>
          <p:nvPr>
            <p:ph type="body" sz="quarter" idx="13" hasCustomPrompt="1"/>
          </p:nvPr>
        </p:nvSpPr>
        <p:spPr>
          <a:xfrm>
            <a:off x="411480" y="4249619"/>
            <a:ext cx="5512296" cy="332160"/>
          </a:xfrm>
        </p:spPr>
        <p:txBody>
          <a:bodyPr anchor="ctr">
            <a:noAutofit/>
          </a:bodyPr>
          <a:lstStyle>
            <a:lvl1pPr marL="0" indent="0">
              <a:spcBef>
                <a:spcPts val="0"/>
              </a:spcBef>
              <a:spcAft>
                <a:spcPts val="0"/>
              </a:spcAft>
              <a:buNone/>
              <a:defRPr sz="1800" b="1"/>
            </a:lvl1pPr>
            <a:lvl2pPr marL="169863" indent="0">
              <a:buNone/>
              <a:defRPr/>
            </a:lvl2pPr>
          </a:lstStyle>
          <a:p>
            <a:pPr lvl="0"/>
            <a:r>
              <a:rPr lang="en-US" dirty="0"/>
              <a:t>Click to add name</a:t>
            </a:r>
          </a:p>
        </p:txBody>
      </p:sp>
      <p:sp>
        <p:nvSpPr>
          <p:cNvPr id="8" name="Text Placeholder 7"/>
          <p:cNvSpPr>
            <a:spLocks noGrp="1"/>
          </p:cNvSpPr>
          <p:nvPr>
            <p:ph type="body" sz="quarter" idx="14" hasCustomPrompt="1"/>
          </p:nvPr>
        </p:nvSpPr>
        <p:spPr>
          <a:xfrm>
            <a:off x="414528" y="4506881"/>
            <a:ext cx="5512296" cy="640744"/>
          </a:xfrm>
        </p:spPr>
        <p:txBody>
          <a:bodyPr anchor="t">
            <a:noAutofit/>
          </a:bodyPr>
          <a:lstStyle>
            <a:lvl1pPr marL="0" indent="0">
              <a:spcBef>
                <a:spcPts val="0"/>
              </a:spcBef>
              <a:spcAft>
                <a:spcPts val="0"/>
              </a:spcAft>
              <a:buNone/>
              <a:defRPr sz="1400" b="0" i="0"/>
            </a:lvl1pPr>
            <a:lvl2pPr marL="169863" indent="0">
              <a:buNone/>
              <a:defRPr/>
            </a:lvl2pPr>
          </a:lstStyle>
          <a:p>
            <a:pPr lvl="0"/>
            <a:r>
              <a:rPr lang="en-US" dirty="0"/>
              <a:t>Click to add title</a:t>
            </a:r>
          </a:p>
        </p:txBody>
      </p:sp>
      <p:sp>
        <p:nvSpPr>
          <p:cNvPr id="9" name="Text Placeholder 7"/>
          <p:cNvSpPr>
            <a:spLocks noGrp="1"/>
          </p:cNvSpPr>
          <p:nvPr>
            <p:ph type="body" sz="quarter" idx="15" hasCustomPrompt="1"/>
          </p:nvPr>
        </p:nvSpPr>
        <p:spPr>
          <a:xfrm>
            <a:off x="411480" y="5244905"/>
            <a:ext cx="5512296"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0" name="Text Placeholder 7"/>
          <p:cNvSpPr>
            <a:spLocks noGrp="1"/>
          </p:cNvSpPr>
          <p:nvPr>
            <p:ph type="body" sz="quarter" idx="16" hasCustomPrompt="1"/>
          </p:nvPr>
        </p:nvSpPr>
        <p:spPr>
          <a:xfrm>
            <a:off x="411480" y="5545454"/>
            <a:ext cx="5512297"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1" name="Text Placeholder 7"/>
          <p:cNvSpPr>
            <a:spLocks noGrp="1"/>
          </p:cNvSpPr>
          <p:nvPr>
            <p:ph type="body" sz="quarter" idx="17" hasCustomPrompt="1"/>
          </p:nvPr>
        </p:nvSpPr>
        <p:spPr>
          <a:xfrm>
            <a:off x="6105961" y="4249619"/>
            <a:ext cx="5512296" cy="332160"/>
          </a:xfrm>
        </p:spPr>
        <p:txBody>
          <a:bodyPr anchor="ctr">
            <a:noAutofit/>
          </a:bodyPr>
          <a:lstStyle>
            <a:lvl1pPr marL="0" indent="0">
              <a:spcBef>
                <a:spcPts val="0"/>
              </a:spcBef>
              <a:spcAft>
                <a:spcPts val="0"/>
              </a:spcAft>
              <a:buNone/>
              <a:defRPr sz="1800" b="1"/>
            </a:lvl1pPr>
            <a:lvl2pPr marL="169863" indent="0">
              <a:buNone/>
              <a:defRPr/>
            </a:lvl2pPr>
          </a:lstStyle>
          <a:p>
            <a:pPr lvl="0"/>
            <a:r>
              <a:rPr lang="en-US" dirty="0"/>
              <a:t>Click to add name</a:t>
            </a:r>
          </a:p>
        </p:txBody>
      </p:sp>
      <p:sp>
        <p:nvSpPr>
          <p:cNvPr id="12" name="Text Placeholder 7"/>
          <p:cNvSpPr>
            <a:spLocks noGrp="1"/>
          </p:cNvSpPr>
          <p:nvPr>
            <p:ph type="body" sz="quarter" idx="18" hasCustomPrompt="1"/>
          </p:nvPr>
        </p:nvSpPr>
        <p:spPr>
          <a:xfrm>
            <a:off x="6105961" y="4506881"/>
            <a:ext cx="5512296" cy="640744"/>
          </a:xfrm>
        </p:spPr>
        <p:txBody>
          <a:bodyPr anchor="t">
            <a:noAutofit/>
          </a:bodyPr>
          <a:lstStyle>
            <a:lvl1pPr marL="0" indent="0">
              <a:spcBef>
                <a:spcPts val="0"/>
              </a:spcBef>
              <a:spcAft>
                <a:spcPts val="0"/>
              </a:spcAft>
              <a:buNone/>
              <a:defRPr sz="1400" b="0" i="0"/>
            </a:lvl1pPr>
            <a:lvl2pPr marL="169863" indent="0">
              <a:buNone/>
              <a:defRPr/>
            </a:lvl2pPr>
          </a:lstStyle>
          <a:p>
            <a:pPr lvl="0"/>
            <a:r>
              <a:rPr lang="en-US" dirty="0"/>
              <a:t>Click to add title</a:t>
            </a:r>
          </a:p>
        </p:txBody>
      </p:sp>
      <p:sp>
        <p:nvSpPr>
          <p:cNvPr id="13" name="Text Placeholder 7"/>
          <p:cNvSpPr>
            <a:spLocks noGrp="1"/>
          </p:cNvSpPr>
          <p:nvPr>
            <p:ph type="body" sz="quarter" idx="19" hasCustomPrompt="1"/>
          </p:nvPr>
        </p:nvSpPr>
        <p:spPr>
          <a:xfrm>
            <a:off x="6105961" y="5244905"/>
            <a:ext cx="5512296"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4" name="Text Placeholder 7"/>
          <p:cNvSpPr>
            <a:spLocks noGrp="1"/>
          </p:cNvSpPr>
          <p:nvPr>
            <p:ph type="body" sz="quarter" idx="20" hasCustomPrompt="1"/>
          </p:nvPr>
        </p:nvSpPr>
        <p:spPr>
          <a:xfrm>
            <a:off x="6105962" y="5545454"/>
            <a:ext cx="5512297"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5" name="Text Placeholder 7"/>
          <p:cNvSpPr>
            <a:spLocks noGrp="1"/>
          </p:cNvSpPr>
          <p:nvPr>
            <p:ph type="body" sz="quarter" idx="21" hasCustomPrompt="1"/>
          </p:nvPr>
        </p:nvSpPr>
        <p:spPr>
          <a:xfrm>
            <a:off x="411480" y="5846003"/>
            <a:ext cx="5512297"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6" name="Text Placeholder 7"/>
          <p:cNvSpPr>
            <a:spLocks noGrp="1"/>
          </p:cNvSpPr>
          <p:nvPr>
            <p:ph type="body" sz="quarter" idx="22" hasCustomPrompt="1"/>
          </p:nvPr>
        </p:nvSpPr>
        <p:spPr>
          <a:xfrm>
            <a:off x="6105962" y="5846003"/>
            <a:ext cx="5512297"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8" name="Picture Placeholder 17"/>
          <p:cNvSpPr>
            <a:spLocks noGrp="1"/>
          </p:cNvSpPr>
          <p:nvPr>
            <p:ph type="pic" sz="quarter" idx="23" hasCustomPrompt="1"/>
          </p:nvPr>
        </p:nvSpPr>
        <p:spPr>
          <a:xfrm>
            <a:off x="411480" y="1903422"/>
            <a:ext cx="2233084" cy="2187575"/>
          </a:xfrm>
          <a:pattFill prst="pct5">
            <a:fgClr>
              <a:schemeClr val="accent1"/>
            </a:fgClr>
            <a:bgClr>
              <a:schemeClr val="bg1"/>
            </a:bgClr>
          </a:pattFill>
        </p:spPr>
        <p:txBody>
          <a:bodyPr anchor="ctr"/>
          <a:lstStyle>
            <a:lvl1pPr marL="0" indent="0" algn="ctr">
              <a:buNone/>
              <a:defRPr b="1"/>
            </a:lvl1pPr>
          </a:lstStyle>
          <a:p>
            <a:r>
              <a:rPr lang="en-US" dirty="0"/>
              <a:t>Click to add portrait photo or remove</a:t>
            </a:r>
          </a:p>
        </p:txBody>
      </p:sp>
      <p:sp>
        <p:nvSpPr>
          <p:cNvPr id="19" name="Picture Placeholder 17"/>
          <p:cNvSpPr>
            <a:spLocks noGrp="1"/>
          </p:cNvSpPr>
          <p:nvPr>
            <p:ph type="pic" sz="quarter" idx="24" hasCustomPrompt="1"/>
          </p:nvPr>
        </p:nvSpPr>
        <p:spPr>
          <a:xfrm>
            <a:off x="6093969" y="1901254"/>
            <a:ext cx="2233084" cy="2187575"/>
          </a:xfrm>
          <a:pattFill prst="pct5">
            <a:fgClr>
              <a:schemeClr val="accent1"/>
            </a:fgClr>
            <a:bgClr>
              <a:schemeClr val="bg1"/>
            </a:bgClr>
          </a:pattFill>
        </p:spPr>
        <p:txBody>
          <a:bodyPr anchor="ctr"/>
          <a:lstStyle>
            <a:lvl1pPr marL="0" indent="0" algn="ctr">
              <a:buNone/>
              <a:defRPr b="1" baseline="0"/>
            </a:lvl1pPr>
          </a:lstStyle>
          <a:p>
            <a:r>
              <a:rPr lang="en-US" dirty="0"/>
              <a:t>Click to add portrait photo or remove</a:t>
            </a:r>
          </a:p>
        </p:txBody>
      </p:sp>
      <p:sp>
        <p:nvSpPr>
          <p:cNvPr id="20" name="Rectangle 19"/>
          <p:cNvSpPr/>
          <p:nvPr/>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act</a:t>
            </a:r>
          </a:p>
          <a:p>
            <a:pPr algn="l"/>
            <a:r>
              <a:rPr lang="en-US" sz="1000" b="0" baseline="0" dirty="0">
                <a:solidFill>
                  <a:schemeClr val="tx1"/>
                </a:solidFill>
              </a:rPr>
              <a:t>Use for contact or author information. </a:t>
            </a:r>
          </a:p>
          <a:p>
            <a:pPr algn="l"/>
            <a:r>
              <a:rPr lang="en-US" sz="1000" b="0" baseline="0" dirty="0">
                <a:solidFill>
                  <a:schemeClr val="tx1"/>
                </a:solidFill>
              </a:rPr>
              <a:t>Remove placeholders not used. </a:t>
            </a:r>
          </a:p>
        </p:txBody>
      </p:sp>
      <p:grpSp>
        <p:nvGrpSpPr>
          <p:cNvPr id="21" name="Group 20"/>
          <p:cNvGrpSpPr/>
          <p:nvPr/>
        </p:nvGrpSpPr>
        <p:grpSpPr>
          <a:xfrm>
            <a:off x="12284310" y="2497574"/>
            <a:ext cx="1389888" cy="1233768"/>
            <a:chOff x="9215268" y="3023356"/>
            <a:chExt cx="1389888" cy="1233768"/>
          </a:xfrm>
        </p:grpSpPr>
        <p:sp>
          <p:nvSpPr>
            <p:cNvPr id="23" name="Rectangle 22"/>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4" name="Rectangle 23"/>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58793719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Content Big point">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6"/>
            <a:ext cx="11371072" cy="868680"/>
          </a:xfrm>
        </p:spPr>
        <p:txBody>
          <a:bodyPr anchor="t"/>
          <a:lstStyle>
            <a:lvl1pPr>
              <a:defRPr sz="2800"/>
            </a:lvl1pPr>
          </a:lstStyle>
          <a:p>
            <a:r>
              <a:rPr lang="en-US"/>
              <a:t>Click to edit Master title style</a:t>
            </a:r>
            <a:endParaRPr lang="en-US" dirty="0"/>
          </a:p>
        </p:txBody>
      </p:sp>
      <p:sp>
        <p:nvSpPr>
          <p:cNvPr id="3" name="Content Placeholder 2"/>
          <p:cNvSpPr>
            <a:spLocks noGrp="1"/>
          </p:cNvSpPr>
          <p:nvPr>
            <p:ph idx="1"/>
          </p:nvPr>
        </p:nvSpPr>
        <p:spPr>
          <a:xfrm>
            <a:off x="6789033" y="1290638"/>
            <a:ext cx="4984377" cy="4381500"/>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11480" y="1290638"/>
            <a:ext cx="6012329" cy="4381500"/>
          </a:xfrm>
        </p:spPr>
        <p:txBody>
          <a:bodyPr>
            <a:normAutofit/>
          </a:bodyPr>
          <a:lstStyle>
            <a:lvl1pPr marL="0" indent="0">
              <a:buNone/>
              <a:defRPr sz="4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5832948-E127-4461-9846-7F561EB70B87}" type="datetimeFigureOut">
              <a:rPr lang="en-US" smtClean="0"/>
              <a:t>6/18/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BA554F4-18A6-4DA7-BB10-5C27B33EB61F}" type="slidenum">
              <a:rPr lang="en-US" smtClean="0"/>
              <a:t>‹#›</a:t>
            </a:fld>
            <a:endParaRPr lang="en-US"/>
          </a:p>
        </p:txBody>
      </p:sp>
      <p:sp>
        <p:nvSpPr>
          <p:cNvPr id="14"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2" name="Rectangle 11"/>
          <p:cNvSpPr/>
          <p:nvPr/>
        </p:nvSpPr>
        <p:spPr>
          <a:xfrm>
            <a:off x="12287025" y="-4042"/>
            <a:ext cx="1386247" cy="36247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Big Point</a:t>
            </a:r>
          </a:p>
          <a:p>
            <a:pPr algn="l"/>
            <a:r>
              <a:rPr lang="en-US" sz="1000" b="0" baseline="0" dirty="0">
                <a:solidFill>
                  <a:schemeClr val="tx1"/>
                </a:solidFill>
              </a:rPr>
              <a:t>Level 1 has a bullet turned on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a:p>
            <a:pPr algn="l"/>
            <a:endParaRPr lang="sv-SE" sz="1000" b="0" baseline="0" dirty="0">
              <a:solidFill>
                <a:schemeClr val="tx1"/>
              </a:solidFill>
            </a:endParaRPr>
          </a:p>
          <a:p>
            <a:pPr algn="l"/>
            <a:endParaRPr lang="sv-SE" sz="1000" b="0" baseline="0" dirty="0">
              <a:solidFill>
                <a:schemeClr val="tx1"/>
              </a:solidFill>
            </a:endParaRPr>
          </a:p>
          <a:p>
            <a:pPr algn="l"/>
            <a:endParaRPr lang="sv-SE" sz="1000" b="0" baseline="0" dirty="0">
              <a:solidFill>
                <a:schemeClr val="tx1"/>
              </a:solidFill>
            </a:endParaRPr>
          </a:p>
          <a:p>
            <a:pPr algn="l"/>
            <a:r>
              <a:rPr lang="sv-SE" sz="1000" b="0" baseline="0" dirty="0">
                <a:solidFill>
                  <a:schemeClr val="tx1"/>
                </a:solidFill>
              </a:rPr>
              <a:t>U</a:t>
            </a:r>
            <a:r>
              <a:rPr lang="en-US" sz="1000" b="0" baseline="0" dirty="0">
                <a:solidFill>
                  <a:schemeClr val="tx1"/>
                </a:solidFill>
              </a:rPr>
              <a:t>se </a:t>
            </a:r>
            <a:r>
              <a:rPr lang="en-US" sz="1000" b="0" baseline="0" dirty="0">
                <a:solidFill>
                  <a:srgbClr val="D6002A"/>
                </a:solidFill>
              </a:rPr>
              <a:t>S&amp;P Global Red </a:t>
            </a:r>
            <a:r>
              <a:rPr lang="en-US" sz="1000" b="0" baseline="0" dirty="0">
                <a:solidFill>
                  <a:schemeClr val="tx1"/>
                </a:solidFill>
              </a:rPr>
              <a:t>to highlight key words in your point. </a:t>
            </a:r>
          </a:p>
          <a:p>
            <a:pPr algn="l"/>
            <a:r>
              <a:rPr lang="en-US" sz="1000" b="0" baseline="0" dirty="0">
                <a:solidFill>
                  <a:schemeClr val="tx1"/>
                </a:solidFill>
              </a:rPr>
              <a:t>It’s available in the custom color palette.</a:t>
            </a:r>
          </a:p>
        </p:txBody>
      </p:sp>
      <p:pic>
        <p:nvPicPr>
          <p:cNvPr id="13" name="bullets"/>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2345151" y="1307765"/>
            <a:ext cx="277342" cy="241890"/>
          </a:xfrm>
          <a:prstGeom prst="rect">
            <a:avLst/>
          </a:prstGeom>
          <a:ln>
            <a:noFill/>
          </a:ln>
        </p:spPr>
      </p:pic>
      <p:pic>
        <p:nvPicPr>
          <p:cNvPr id="17" name="increase list level"/>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2342987" y="2222893"/>
            <a:ext cx="391318" cy="241890"/>
          </a:xfrm>
          <a:prstGeom prst="rect">
            <a:avLst/>
          </a:prstGeom>
        </p:spPr>
      </p:pic>
      <p:sp>
        <p:nvSpPr>
          <p:cNvPr id="18" name="Rectangle 17"/>
          <p:cNvSpPr/>
          <p:nvPr/>
        </p:nvSpPr>
        <p:spPr>
          <a:xfrm>
            <a:off x="12342987" y="3429000"/>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79551099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secHead" preserve="1">
  <p:cSld name="Quot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1480" y="219456"/>
            <a:ext cx="9490635" cy="5180498"/>
          </a:xfrm>
        </p:spPr>
        <p:txBody>
          <a:bodyPr tIns="0" anchor="t">
            <a:normAutofit/>
          </a:bodyPr>
          <a:lstStyle>
            <a:lvl1pPr>
              <a:defRPr sz="5400" b="1"/>
            </a:lvl1pPr>
          </a:lstStyle>
          <a:p>
            <a:r>
              <a:rPr lang="en-US" dirty="0"/>
              <a:t>Add quote and highlight key word in S&amp;P Global red</a:t>
            </a:r>
          </a:p>
        </p:txBody>
      </p:sp>
      <p:sp>
        <p:nvSpPr>
          <p:cNvPr id="3" name="Text Placeholder 2"/>
          <p:cNvSpPr>
            <a:spLocks noGrp="1"/>
          </p:cNvSpPr>
          <p:nvPr>
            <p:ph type="body" idx="1" hasCustomPrompt="1"/>
          </p:nvPr>
        </p:nvSpPr>
        <p:spPr>
          <a:xfrm>
            <a:off x="411480" y="5399954"/>
            <a:ext cx="9490635" cy="691285"/>
          </a:xfrm>
        </p:spPr>
        <p:txBody>
          <a:bodyPr wrap="square" anchor="t">
            <a:normAutofit/>
          </a:bodyPr>
          <a:lstStyle>
            <a:lvl1pPr marL="0" indent="0">
              <a:spcBef>
                <a:spcPts val="0"/>
              </a:spcBef>
              <a:buNone/>
              <a:defRPr sz="2400" i="1">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source</a:t>
            </a:r>
          </a:p>
        </p:txBody>
      </p:sp>
      <p:sp>
        <p:nvSpPr>
          <p:cNvPr id="5" name="Rectangle 4"/>
          <p:cNvSpPr/>
          <p:nvPr/>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dirty="0">
                <a:solidFill>
                  <a:schemeClr val="tx1"/>
                </a:solidFill>
              </a:rPr>
              <a:t>Quo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aseline="0" dirty="0">
                <a:solidFill>
                  <a:schemeClr val="tx1"/>
                </a:solidFill>
              </a:rPr>
              <a:t>Add quote and highlight key word in </a:t>
            </a:r>
            <a:r>
              <a:rPr lang="en-US" sz="1000" b="0" baseline="0" dirty="0">
                <a:solidFill>
                  <a:srgbClr val="D6002A"/>
                </a:solidFill>
              </a:rPr>
              <a:t>S&amp;P Global Red </a:t>
            </a:r>
            <a:r>
              <a:rPr lang="en-US" sz="1000" b="0" baseline="0" dirty="0">
                <a:solidFill>
                  <a:schemeClr val="tx1"/>
                </a:solidFill>
              </a:rPr>
              <a:t>if needed to make a poin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baseline="0" dirty="0">
                <a:solidFill>
                  <a:schemeClr val="tx1"/>
                </a:solidFill>
              </a:rPr>
              <a:t>It’s available in the custom color palet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0" baseline="0" dirty="0">
              <a:solidFill>
                <a:schemeClr val="tx1"/>
              </a:solidFill>
            </a:endParaRPr>
          </a:p>
          <a:p>
            <a:pPr algn="l"/>
            <a:endParaRPr lang="en-US" sz="1000" dirty="0">
              <a:solidFill>
                <a:schemeClr val="tx1"/>
              </a:solidFill>
            </a:endParaRPr>
          </a:p>
        </p:txBody>
      </p:sp>
      <p:sp>
        <p:nvSpPr>
          <p:cNvPr id="6" name="Rectangle 5"/>
          <p:cNvSpPr/>
          <p:nvPr/>
        </p:nvSpPr>
        <p:spPr>
          <a:xfrm>
            <a:off x="12342987" y="1312106"/>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58016323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Chart &amp; Table + chart title">
    <p:spTree>
      <p:nvGrpSpPr>
        <p:cNvPr id="1" name=""/>
        <p:cNvGrpSpPr/>
        <p:nvPr/>
      </p:nvGrpSpPr>
      <p:grpSpPr>
        <a:xfrm>
          <a:off x="0" y="0"/>
          <a:ext cx="0" cy="0"/>
          <a:chOff x="0" y="0"/>
          <a:chExt cx="0" cy="0"/>
        </a:xfrm>
      </p:grpSpPr>
      <p:sp>
        <p:nvSpPr>
          <p:cNvPr id="8" name="Text Placeholder 7"/>
          <p:cNvSpPr>
            <a:spLocks noGrp="1"/>
          </p:cNvSpPr>
          <p:nvPr>
            <p:ph type="body" sz="quarter" idx="17" hasCustomPrompt="1"/>
          </p:nvPr>
        </p:nvSpPr>
        <p:spPr>
          <a:xfrm>
            <a:off x="411480" y="1103201"/>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800" baseline="0"/>
            </a:lvl1pPr>
          </a:lstStyle>
          <a:p>
            <a:pPr lvl="0"/>
            <a:r>
              <a:rPr lang="en-US" dirty="0"/>
              <a:t>Add chart headline                         (max 2 rows)</a:t>
            </a:r>
          </a:p>
        </p:txBody>
      </p:sp>
      <p:sp>
        <p:nvSpPr>
          <p:cNvPr id="11" name="Text Placeholder 7"/>
          <p:cNvSpPr>
            <a:spLocks noGrp="1"/>
          </p:cNvSpPr>
          <p:nvPr>
            <p:ph type="body" sz="quarter" idx="18" hasCustomPrompt="1"/>
          </p:nvPr>
        </p:nvSpPr>
        <p:spPr>
          <a:xfrm>
            <a:off x="6547468" y="1103201"/>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800" baseline="0"/>
            </a:lvl1pPr>
          </a:lstStyle>
          <a:p>
            <a:pPr lvl="0"/>
            <a:r>
              <a:rPr lang="en-US" dirty="0"/>
              <a:t>Add chart headline or remove       (max 2 rows)</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hasCustomPrompt="1"/>
          </p:nvPr>
        </p:nvSpPr>
        <p:spPr>
          <a:xfrm>
            <a:off x="411480" y="1884218"/>
            <a:ext cx="5246625" cy="3787921"/>
          </a:xfrm>
        </p:spPr>
        <p:txBody>
          <a:bodyPr>
            <a:noAutofit/>
          </a:bodyPr>
          <a:lstStyle>
            <a:lvl1pPr>
              <a:defRPr sz="1800"/>
            </a:lvl1pPr>
            <a:lvl2pPr>
              <a:defRPr sz="1600"/>
            </a:lvl2pPr>
            <a:lvl3pPr>
              <a:defRPr sz="1400"/>
            </a:lvl3pPr>
            <a:lvl4pPr>
              <a:defRPr sz="1400"/>
            </a:lvl4pPr>
            <a:lvl5pPr>
              <a:defRPr sz="1400"/>
            </a:lvl5pPr>
          </a:lstStyle>
          <a:p>
            <a:pPr lvl="0"/>
            <a:r>
              <a:rPr lang="en-US" dirty="0"/>
              <a:t>Click to add text, chart, table or SmartArt and resize right as needed</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35832948-E127-4461-9846-7F561EB70B87}" type="datetimeFigureOut">
              <a:rPr lang="en-US" smtClean="0"/>
              <a:t>6/18/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BA554F4-18A6-4DA7-BB10-5C27B33EB61F}" type="slidenum">
              <a:rPr lang="en-US" smtClean="0"/>
              <a:t>‹#›</a:t>
            </a:fld>
            <a:endParaRPr lang="en-US"/>
          </a:p>
        </p:txBody>
      </p:sp>
      <p:sp>
        <p:nvSpPr>
          <p:cNvPr id="12" name="Content Placeholder 2"/>
          <p:cNvSpPr>
            <a:spLocks noGrp="1"/>
          </p:cNvSpPr>
          <p:nvPr>
            <p:ph sz="half" idx="19" hasCustomPrompt="1"/>
          </p:nvPr>
        </p:nvSpPr>
        <p:spPr>
          <a:xfrm>
            <a:off x="6543404" y="1884218"/>
            <a:ext cx="5246625" cy="3787921"/>
          </a:xfrm>
        </p:spPr>
        <p:txBody>
          <a:bodyPr>
            <a:noAutofit/>
          </a:bodyPr>
          <a:lstStyle>
            <a:lvl1pPr>
              <a:defRPr sz="1800" baseline="0"/>
            </a:lvl1pPr>
            <a:lvl2pPr>
              <a:defRPr sz="1600"/>
            </a:lvl2pPr>
            <a:lvl3pPr>
              <a:defRPr sz="1400"/>
            </a:lvl3pPr>
            <a:lvl4pPr>
              <a:defRPr sz="1400"/>
            </a:lvl4pPr>
            <a:lvl5pPr>
              <a:defRPr sz="1400"/>
            </a:lvl5pPr>
          </a:lstStyle>
          <a:p>
            <a:pPr lvl="0"/>
            <a:r>
              <a:rPr lang="en-US" dirty="0"/>
              <a:t>Click to add text, chart, table or SmartArt or remov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Rectangle 13"/>
          <p:cNvSpPr/>
          <p:nvPr/>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hart &amp; Tables</a:t>
            </a:r>
          </a:p>
          <a:p>
            <a:pPr algn="l"/>
            <a:r>
              <a:rPr lang="en-US" sz="1000" b="0" baseline="0" dirty="0">
                <a:solidFill>
                  <a:schemeClr val="tx1"/>
                </a:solidFill>
              </a:rPr>
              <a:t>Add chart/table title above chart/table.  Remove second subtitle and placeholder if not needed.  </a:t>
            </a:r>
          </a:p>
          <a:p>
            <a:pPr algn="l"/>
            <a:r>
              <a:rPr lang="en-US" sz="1000" b="0" baseline="0" dirty="0">
                <a:solidFill>
                  <a:schemeClr val="tx1"/>
                </a:solidFill>
              </a:rPr>
              <a:t>Chart title should stay the same size. </a:t>
            </a:r>
          </a:p>
        </p:txBody>
      </p:sp>
      <p:sp>
        <p:nvSpPr>
          <p:cNvPr id="17"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grpSp>
        <p:nvGrpSpPr>
          <p:cNvPr id="16" name="Group 15"/>
          <p:cNvGrpSpPr/>
          <p:nvPr/>
        </p:nvGrpSpPr>
        <p:grpSpPr>
          <a:xfrm>
            <a:off x="12287024" y="3811043"/>
            <a:ext cx="1386247" cy="1595885"/>
            <a:chOff x="15158743" y="3372787"/>
            <a:chExt cx="3060457" cy="3523279"/>
          </a:xfrm>
        </p:grpSpPr>
        <p:pic>
          <p:nvPicPr>
            <p:cNvPr id="21" name="Picture 2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158743" y="3372787"/>
              <a:ext cx="3060457" cy="1725318"/>
            </a:xfrm>
            <a:prstGeom prst="rect">
              <a:avLst/>
            </a:prstGeom>
          </p:spPr>
        </p:pic>
        <p:pic>
          <p:nvPicPr>
            <p:cNvPr id="22" name="Picture 2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5158743" y="5164652"/>
              <a:ext cx="3060457" cy="1731414"/>
            </a:xfrm>
            <a:prstGeom prst="rect">
              <a:avLst/>
            </a:prstGeom>
          </p:spPr>
        </p:pic>
      </p:grpSp>
      <p:grpSp>
        <p:nvGrpSpPr>
          <p:cNvPr id="23" name="Group 22"/>
          <p:cNvGrpSpPr/>
          <p:nvPr/>
        </p:nvGrpSpPr>
        <p:grpSpPr>
          <a:xfrm>
            <a:off x="12284310" y="2497574"/>
            <a:ext cx="1389888" cy="1233768"/>
            <a:chOff x="9215268" y="3023356"/>
            <a:chExt cx="1389888" cy="1233768"/>
          </a:xfrm>
        </p:grpSpPr>
        <p:sp>
          <p:nvSpPr>
            <p:cNvPr id="24" name="Rectangle 23"/>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5" name="Rectangle 24"/>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91689720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Chart wShort copy &amp;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4" name="Date Placeholder 3"/>
          <p:cNvSpPr>
            <a:spLocks noGrp="1"/>
          </p:cNvSpPr>
          <p:nvPr>
            <p:ph type="dt" sz="half" idx="10"/>
          </p:nvPr>
        </p:nvSpPr>
        <p:spPr/>
        <p:txBody>
          <a:bodyPr/>
          <a:lstStyle/>
          <a:p>
            <a:fld id="{35832948-E127-4461-9846-7F561EB70B87}" type="datetimeFigureOut">
              <a:rPr lang="en-US" smtClean="0"/>
              <a:t>6/1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BA554F4-18A6-4DA7-BB10-5C27B33EB61F}" type="slidenum">
              <a:rPr lang="en-US" smtClean="0"/>
              <a:t>‹#›</a:t>
            </a:fld>
            <a:endParaRPr lang="en-US"/>
          </a:p>
        </p:txBody>
      </p:sp>
      <p:sp>
        <p:nvSpPr>
          <p:cNvPr id="8"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9" name="Chart Placeholder 8"/>
          <p:cNvSpPr>
            <a:spLocks noGrp="1"/>
          </p:cNvSpPr>
          <p:nvPr>
            <p:ph type="chart" sz="quarter" idx="16" hasCustomPrompt="1"/>
          </p:nvPr>
        </p:nvSpPr>
        <p:spPr>
          <a:xfrm>
            <a:off x="411480" y="2336800"/>
            <a:ext cx="11379200" cy="3335338"/>
          </a:xfrm>
        </p:spPr>
        <p:txBody>
          <a:bodyPr anchor="ctr"/>
          <a:lstStyle>
            <a:lvl1pPr marL="0" indent="0" algn="ctr">
              <a:buNone/>
              <a:defRPr b="1"/>
            </a:lvl1pPr>
          </a:lstStyle>
          <a:p>
            <a:r>
              <a:rPr lang="en-US" dirty="0"/>
              <a:t>Click to insert chart</a:t>
            </a:r>
          </a:p>
        </p:txBody>
      </p:sp>
      <p:sp>
        <p:nvSpPr>
          <p:cNvPr id="10" name="Text Placeholder 7"/>
          <p:cNvSpPr>
            <a:spLocks noGrp="1"/>
          </p:cNvSpPr>
          <p:nvPr>
            <p:ph type="body" sz="quarter" idx="17" hasCustomPrompt="1"/>
          </p:nvPr>
        </p:nvSpPr>
        <p:spPr>
          <a:xfrm>
            <a:off x="411480" y="1813931"/>
            <a:ext cx="11379200" cy="522870"/>
          </a:xfrm>
        </p:spPr>
        <p:txBody>
          <a:bodyPr/>
          <a:lstStyle>
            <a:lvl1pPr marL="0" indent="0">
              <a:buNone/>
              <a:defRPr sz="1400" b="0"/>
            </a:lvl1pPr>
            <a:lvl2pPr marL="169863" indent="0">
              <a:buNone/>
              <a:defRPr/>
            </a:lvl2pPr>
          </a:lstStyle>
          <a:p>
            <a:pPr lvl="0"/>
            <a:r>
              <a:rPr lang="en-US" dirty="0"/>
              <a:t>Click to add chart introduction </a:t>
            </a:r>
          </a:p>
        </p:txBody>
      </p:sp>
      <p:sp>
        <p:nvSpPr>
          <p:cNvPr id="11" name="Rectangle 10"/>
          <p:cNvSpPr/>
          <p:nvPr/>
        </p:nvSpPr>
        <p:spPr>
          <a:xfrm>
            <a:off x="12287025" y="-4042"/>
            <a:ext cx="1386247" cy="24310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dirty="0">
                <a:solidFill>
                  <a:schemeClr val="tx1"/>
                </a:solidFill>
              </a:rPr>
              <a:t>Chart </a:t>
            </a:r>
            <a:r>
              <a:rPr lang="en-US" sz="1000" b="1" baseline="0" dirty="0" err="1">
                <a:solidFill>
                  <a:schemeClr val="tx1"/>
                </a:solidFill>
              </a:rPr>
              <a:t>wShort</a:t>
            </a:r>
            <a:r>
              <a:rPr lang="en-US" sz="1000" b="1" baseline="0" dirty="0">
                <a:solidFill>
                  <a:schemeClr val="tx1"/>
                </a:solidFill>
              </a:rPr>
              <a:t> Copy</a:t>
            </a:r>
          </a:p>
          <a:p>
            <a:pPr algn="l"/>
            <a:r>
              <a:rPr lang="en-US" sz="1000" b="0" baseline="0" dirty="0">
                <a:solidFill>
                  <a:schemeClr val="tx1"/>
                </a:solidFill>
              </a:rPr>
              <a:t>Use for charts and add a chart introduction above the chart. </a:t>
            </a:r>
          </a:p>
        </p:txBody>
      </p:sp>
      <p:sp>
        <p:nvSpPr>
          <p:cNvPr id="13"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grpSp>
        <p:nvGrpSpPr>
          <p:cNvPr id="12" name="Group 11"/>
          <p:cNvGrpSpPr/>
          <p:nvPr/>
        </p:nvGrpSpPr>
        <p:grpSpPr>
          <a:xfrm>
            <a:off x="12284310" y="2497574"/>
            <a:ext cx="1389888" cy="1233768"/>
            <a:chOff x="9215268" y="3023356"/>
            <a:chExt cx="1389888" cy="1233768"/>
          </a:xfrm>
        </p:grpSpPr>
        <p:sp>
          <p:nvSpPr>
            <p:cNvPr id="14" name="Rectangle 13"/>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5" name="Rectangle 14"/>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409905328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Big Picture with Caption">
    <p:spTree>
      <p:nvGrpSpPr>
        <p:cNvPr id="1" name=""/>
        <p:cNvGrpSpPr/>
        <p:nvPr/>
      </p:nvGrpSpPr>
      <p:grpSpPr>
        <a:xfrm>
          <a:off x="0" y="0"/>
          <a:ext cx="0" cy="0"/>
          <a:chOff x="0" y="0"/>
          <a:chExt cx="0" cy="0"/>
        </a:xfrm>
      </p:grpSpPr>
      <p:sp>
        <p:nvSpPr>
          <p:cNvPr id="6" name="Picture Placeholder 5"/>
          <p:cNvSpPr>
            <a:spLocks noGrp="1"/>
          </p:cNvSpPr>
          <p:nvPr>
            <p:ph type="pic" sz="quarter" idx="19" hasCustomPrompt="1"/>
          </p:nvPr>
        </p:nvSpPr>
        <p:spPr>
          <a:xfrm>
            <a:off x="411480" y="1790701"/>
            <a:ext cx="11379200" cy="3881439"/>
          </a:xfrm>
        </p:spPr>
        <p:txBody>
          <a:bodyPr anchor="ctr"/>
          <a:lstStyle>
            <a:lvl1pPr marL="0" indent="0" algn="ctr">
              <a:buNone/>
              <a:defRPr baseline="0"/>
            </a:lvl1pPr>
          </a:lstStyle>
          <a:p>
            <a:r>
              <a:rPr lang="en-US" dirty="0"/>
              <a:t>Click to insert rectangular image</a:t>
            </a:r>
          </a:p>
        </p:txBody>
      </p:sp>
      <p:sp>
        <p:nvSpPr>
          <p:cNvPr id="2" name="Title 1"/>
          <p:cNvSpPr>
            <a:spLocks noGrp="1"/>
          </p:cNvSpPr>
          <p:nvPr>
            <p:ph type="title"/>
          </p:nvPr>
        </p:nvSpPr>
        <p:spPr/>
        <p:txBody>
          <a:bodyPr/>
          <a:lstStyle>
            <a:lvl1pPr>
              <a:defRPr>
                <a:latin typeface="+mj-lt"/>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5BA554F4-18A6-4DA7-BB10-5C27B33EB61F}" type="slidenum">
              <a:rPr lang="en-US" smtClean="0"/>
              <a:t>‹#›</a:t>
            </a:fld>
            <a:endParaRPr lang="en-US"/>
          </a:p>
        </p:txBody>
      </p:sp>
      <p:sp>
        <p:nvSpPr>
          <p:cNvPr id="13" name="Text Placeholder 7"/>
          <p:cNvSpPr>
            <a:spLocks noGrp="1"/>
          </p:cNvSpPr>
          <p:nvPr>
            <p:ph type="body" sz="quarter" idx="17" hasCustomPrompt="1"/>
          </p:nvPr>
        </p:nvSpPr>
        <p:spPr>
          <a:xfrm>
            <a:off x="411480" y="1382283"/>
            <a:ext cx="11379200" cy="404789"/>
          </a:xfrm>
        </p:spPr>
        <p:txBody>
          <a:bodyPr anchor="b"/>
          <a:lstStyle>
            <a:lvl1pPr marL="0" indent="0">
              <a:buNone/>
              <a:defRPr sz="1400" b="0"/>
            </a:lvl1pPr>
            <a:lvl2pPr marL="169863" indent="0">
              <a:buNone/>
              <a:defRPr/>
            </a:lvl2pPr>
          </a:lstStyle>
          <a:p>
            <a:pPr lvl="0"/>
            <a:r>
              <a:rPr lang="en-US" dirty="0"/>
              <a:t>Click to add image caption </a:t>
            </a:r>
          </a:p>
        </p:txBody>
      </p:sp>
      <p:sp>
        <p:nvSpPr>
          <p:cNvPr id="9" name="Rectangle 8"/>
          <p:cNvSpPr/>
          <p:nvPr/>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Big Picture + Caption</a:t>
            </a:r>
            <a:endParaRPr lang="en-US" sz="1000" b="1" baseline="0" dirty="0">
              <a:solidFill>
                <a:schemeClr val="tx1"/>
              </a:solidFill>
            </a:endParaRPr>
          </a:p>
          <a:p>
            <a:pPr algn="l"/>
            <a:r>
              <a:rPr lang="en-US" sz="1000" baseline="0" dirty="0">
                <a:solidFill>
                  <a:schemeClr val="tx1"/>
                </a:solidFill>
              </a:rPr>
              <a:t>Click image icon to insert image to fill the image placeholder. Add image caption above the image. </a:t>
            </a:r>
            <a:endParaRPr lang="en-US" sz="1000" dirty="0">
              <a:solidFill>
                <a:schemeClr val="tx1"/>
              </a:solidFill>
            </a:endParaRPr>
          </a:p>
        </p:txBody>
      </p:sp>
      <p:sp>
        <p:nvSpPr>
          <p:cNvPr id="10"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grpSp>
        <p:nvGrpSpPr>
          <p:cNvPr id="12" name="Group 11"/>
          <p:cNvGrpSpPr/>
          <p:nvPr/>
        </p:nvGrpSpPr>
        <p:grpSpPr>
          <a:xfrm>
            <a:off x="12284310" y="2497574"/>
            <a:ext cx="1389888" cy="1233768"/>
            <a:chOff x="9215268" y="3023356"/>
            <a:chExt cx="1389888" cy="1233768"/>
          </a:xfrm>
        </p:grpSpPr>
        <p:sp>
          <p:nvSpPr>
            <p:cNvPr id="14" name="Rectangle 13"/>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5" name="Rectangle 14"/>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0732715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A9CB41-C190-254B-A8A2-DCCB9FF506E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FF0B1FF-D600-6A4D-A0E1-D8DB5E56AA2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8A2E03C8-32F1-0940-8186-46A72E59251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B198F69-3713-4443-AE7D-96F0CC6295DB}"/>
              </a:ext>
            </a:extLst>
          </p:cNvPr>
          <p:cNvSpPr>
            <a:spLocks noGrp="1"/>
          </p:cNvSpPr>
          <p:nvPr>
            <p:ph type="dt" sz="half" idx="10"/>
          </p:nvPr>
        </p:nvSpPr>
        <p:spPr/>
        <p:txBody>
          <a:bodyPr/>
          <a:lstStyle/>
          <a:p>
            <a:fld id="{92F427D0-34EB-7F4F-A4A2-2357E7D45014}" type="datetimeFigureOut">
              <a:rPr lang="en-US" smtClean="0"/>
              <a:t>6/18/2020</a:t>
            </a:fld>
            <a:endParaRPr lang="en-US" dirty="0"/>
          </a:p>
        </p:txBody>
      </p:sp>
      <p:sp>
        <p:nvSpPr>
          <p:cNvPr id="6" name="Footer Placeholder 5">
            <a:extLst>
              <a:ext uri="{FF2B5EF4-FFF2-40B4-BE49-F238E27FC236}">
                <a16:creationId xmlns:a16="http://schemas.microsoft.com/office/drawing/2014/main" id="{EB5103DD-A089-014C-ADFB-3B6821CF58C6}"/>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E61854E4-0A16-C04B-B099-EB7C8FDD5B92}"/>
              </a:ext>
            </a:extLst>
          </p:cNvPr>
          <p:cNvSpPr>
            <a:spLocks noGrp="1"/>
          </p:cNvSpPr>
          <p:nvPr>
            <p:ph type="sldNum" sz="quarter" idx="12"/>
          </p:nvPr>
        </p:nvSpPr>
        <p:spPr/>
        <p:txBody>
          <a:bodyPr/>
          <a:lstStyle/>
          <a:p>
            <a:fld id="{3C02FF7F-7EE0-DE4E-B4BA-8D5E63CE8E28}" type="slidenum">
              <a:rPr lang="en-US" smtClean="0"/>
              <a:t>‹#›</a:t>
            </a:fld>
            <a:endParaRPr lang="en-US" dirty="0"/>
          </a:p>
        </p:txBody>
      </p:sp>
    </p:spTree>
    <p:extLst>
      <p:ext uri="{BB962C8B-B14F-4D97-AF65-F5344CB8AC3E}">
        <p14:creationId xmlns:p14="http://schemas.microsoft.com/office/powerpoint/2010/main" val="119776908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Content 2 columns wDisclaim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5BA554F4-18A6-4DA7-BB10-5C27B33EB61F}" type="slidenum">
              <a:rPr lang="en-US" smtClean="0"/>
              <a:t>‹#›</a:t>
            </a:fld>
            <a:endParaRPr lang="en-US"/>
          </a:p>
        </p:txBody>
      </p:sp>
      <p:sp>
        <p:nvSpPr>
          <p:cNvPr id="16" name="Text Placeholder 15"/>
          <p:cNvSpPr>
            <a:spLocks noGrp="1"/>
          </p:cNvSpPr>
          <p:nvPr>
            <p:ph type="body" sz="quarter" idx="21" hasCustomPrompt="1"/>
          </p:nvPr>
        </p:nvSpPr>
        <p:spPr>
          <a:xfrm>
            <a:off x="411480" y="1085850"/>
            <a:ext cx="11362267" cy="914400"/>
          </a:xfrm>
        </p:spPr>
        <p:txBody>
          <a:bodyPr/>
          <a:lstStyle>
            <a:lvl1pPr marL="0" indent="0">
              <a:buNone/>
              <a:defRPr sz="1600" baseline="0">
                <a:solidFill>
                  <a:schemeClr val="bg1">
                    <a:lumMod val="50000"/>
                  </a:schemeClr>
                </a:solidFill>
              </a:defRPr>
            </a:lvl1pPr>
            <a:lvl2pPr marL="173736" indent="0">
              <a:buNone/>
              <a:defRPr/>
            </a:lvl2pPr>
          </a:lstStyle>
          <a:p>
            <a:pPr lvl="0"/>
            <a:r>
              <a:rPr lang="en-US" dirty="0"/>
              <a:t>Click to add introduction text</a:t>
            </a:r>
          </a:p>
        </p:txBody>
      </p:sp>
      <p:sp>
        <p:nvSpPr>
          <p:cNvPr id="9" name="Content Placeholder 8"/>
          <p:cNvSpPr>
            <a:spLocks noGrp="1"/>
          </p:cNvSpPr>
          <p:nvPr>
            <p:ph sz="quarter" idx="23"/>
          </p:nvPr>
        </p:nvSpPr>
        <p:spPr>
          <a:xfrm>
            <a:off x="411480" y="2850686"/>
            <a:ext cx="5225627" cy="2821466"/>
          </a:xfrm>
        </p:spPr>
        <p:txBody>
          <a:bodyPr/>
          <a:lstStyle>
            <a:lvl1pPr>
              <a:defRPr sz="18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13"/>
          <p:cNvSpPr>
            <a:spLocks noGrp="1"/>
          </p:cNvSpPr>
          <p:nvPr>
            <p:ph sz="quarter" idx="24"/>
          </p:nvPr>
        </p:nvSpPr>
        <p:spPr>
          <a:xfrm>
            <a:off x="6547467" y="2850205"/>
            <a:ext cx="5238132" cy="2821935"/>
          </a:xfrm>
        </p:spPr>
        <p:txBody>
          <a:bodyPr/>
          <a:lstStyle>
            <a:lvl1pPr>
              <a:defRPr sz="18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7"/>
          <p:cNvSpPr>
            <a:spLocks noGrp="1"/>
          </p:cNvSpPr>
          <p:nvPr>
            <p:ph type="body" sz="quarter" idx="17" hasCustomPrompt="1"/>
          </p:nvPr>
        </p:nvSpPr>
        <p:spPr>
          <a:xfrm>
            <a:off x="411480" y="2037060"/>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600" baseline="0"/>
            </a:lvl1pPr>
          </a:lstStyle>
          <a:p>
            <a:pPr lvl="0"/>
            <a:r>
              <a:rPr lang="en-US" dirty="0"/>
              <a:t>Add headline (max 2 rows)</a:t>
            </a:r>
          </a:p>
        </p:txBody>
      </p:sp>
      <p:sp>
        <p:nvSpPr>
          <p:cNvPr id="18" name="Text Placeholder 7"/>
          <p:cNvSpPr>
            <a:spLocks noGrp="1"/>
          </p:cNvSpPr>
          <p:nvPr>
            <p:ph type="body" sz="quarter" idx="18" hasCustomPrompt="1"/>
          </p:nvPr>
        </p:nvSpPr>
        <p:spPr>
          <a:xfrm>
            <a:off x="6547468" y="2037060"/>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600" baseline="0"/>
            </a:lvl1pPr>
          </a:lstStyle>
          <a:p>
            <a:pPr lvl="0"/>
            <a:r>
              <a:rPr lang="en-US" dirty="0"/>
              <a:t>Add headline or remove (max 2 rows)</a:t>
            </a:r>
          </a:p>
        </p:txBody>
      </p:sp>
      <p:sp>
        <p:nvSpPr>
          <p:cNvPr id="12" name="Rectangle 11"/>
          <p:cNvSpPr/>
          <p:nvPr/>
        </p:nvSpPr>
        <p:spPr>
          <a:xfrm>
            <a:off x="12287025" y="-4042"/>
            <a:ext cx="1386247" cy="24310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dirty="0">
                <a:solidFill>
                  <a:schemeClr val="tx1"/>
                </a:solidFill>
              </a:rPr>
              <a:t>Content 2 columns</a:t>
            </a:r>
          </a:p>
          <a:p>
            <a:pPr algn="l"/>
            <a:r>
              <a:rPr lang="en-US" sz="1000" b="0" baseline="0" dirty="0">
                <a:solidFill>
                  <a:schemeClr val="tx1"/>
                </a:solidFill>
              </a:rPr>
              <a:t>Use for two parts of content with two headlines. </a:t>
            </a:r>
          </a:p>
        </p:txBody>
      </p:sp>
      <p:sp>
        <p:nvSpPr>
          <p:cNvPr id="13"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grpSp>
        <p:nvGrpSpPr>
          <p:cNvPr id="19" name="Group 18"/>
          <p:cNvGrpSpPr/>
          <p:nvPr/>
        </p:nvGrpSpPr>
        <p:grpSpPr>
          <a:xfrm>
            <a:off x="12284310" y="2497574"/>
            <a:ext cx="1389888" cy="1233768"/>
            <a:chOff x="9215268" y="3023356"/>
            <a:chExt cx="1389888" cy="1233768"/>
          </a:xfrm>
        </p:grpSpPr>
        <p:sp>
          <p:nvSpPr>
            <p:cNvPr id="20" name="Rectangle 19"/>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1" name="Rectangle 20"/>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157251645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Content +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10574" y="1371600"/>
            <a:ext cx="5491389" cy="430053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35832948-E127-4461-9846-7F561EB70B87}" type="datetimeFigureOut">
              <a:rPr lang="en-US" smtClean="0"/>
              <a:t>6/18/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BA554F4-18A6-4DA7-BB10-5C27B33EB61F}" type="slidenum">
              <a:rPr lang="en-US" smtClean="0"/>
              <a:t>‹#›</a:t>
            </a:fld>
            <a:endParaRPr lang="en-US"/>
          </a:p>
        </p:txBody>
      </p:sp>
      <p:sp>
        <p:nvSpPr>
          <p:cNvPr id="9" name="Picture Placeholder 8"/>
          <p:cNvSpPr>
            <a:spLocks noGrp="1"/>
          </p:cNvSpPr>
          <p:nvPr>
            <p:ph type="pic" sz="quarter" idx="16" hasCustomPrompt="1"/>
          </p:nvPr>
        </p:nvSpPr>
        <p:spPr>
          <a:xfrm>
            <a:off x="6096001" y="1371600"/>
            <a:ext cx="5676900" cy="4300538"/>
          </a:xfrm>
        </p:spPr>
        <p:txBody>
          <a:bodyPr anchor="ctr"/>
          <a:lstStyle>
            <a:lvl1pPr marL="0" indent="0" algn="ctr">
              <a:buNone/>
              <a:defRPr/>
            </a:lvl1pPr>
          </a:lstStyle>
          <a:p>
            <a:r>
              <a:rPr lang="en-US" dirty="0"/>
              <a:t>Click to insert image</a:t>
            </a:r>
          </a:p>
        </p:txBody>
      </p:sp>
      <p:sp>
        <p:nvSpPr>
          <p:cNvPr id="10" name="Rectangle 9"/>
          <p:cNvSpPr/>
          <p:nvPr/>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Image</a:t>
            </a:r>
            <a:endParaRPr lang="en-US" sz="1000" b="1" baseline="0" dirty="0">
              <a:solidFill>
                <a:schemeClr val="tx1"/>
              </a:solidFill>
            </a:endParaRPr>
          </a:p>
          <a:p>
            <a:pPr algn="l"/>
            <a:r>
              <a:rPr lang="en-US" sz="1000" baseline="0" dirty="0">
                <a:solidFill>
                  <a:schemeClr val="tx1"/>
                </a:solidFill>
              </a:rPr>
              <a:t>Click image icon to insert image to fill the image placeholder. </a:t>
            </a:r>
            <a:endParaRPr lang="en-US" sz="1000" dirty="0">
              <a:solidFill>
                <a:schemeClr val="tx1"/>
              </a:solidFill>
            </a:endParaRPr>
          </a:p>
        </p:txBody>
      </p:sp>
      <p:sp>
        <p:nvSpPr>
          <p:cNvPr id="12"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grpSp>
        <p:nvGrpSpPr>
          <p:cNvPr id="11" name="Group 10"/>
          <p:cNvGrpSpPr/>
          <p:nvPr/>
        </p:nvGrpSpPr>
        <p:grpSpPr>
          <a:xfrm>
            <a:off x="12284310" y="2497574"/>
            <a:ext cx="1389888" cy="1233768"/>
            <a:chOff x="9215268" y="3023356"/>
            <a:chExt cx="1389888" cy="1233768"/>
          </a:xfrm>
        </p:grpSpPr>
        <p:sp>
          <p:nvSpPr>
            <p:cNvPr id="14" name="Rectangle 13"/>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5" name="Rectangle 14"/>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50017938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Chart wSource">
    <p:spTree>
      <p:nvGrpSpPr>
        <p:cNvPr id="1" name=""/>
        <p:cNvGrpSpPr/>
        <p:nvPr/>
      </p:nvGrpSpPr>
      <p:grpSpPr>
        <a:xfrm>
          <a:off x="0" y="0"/>
          <a:ext cx="0" cy="0"/>
          <a:chOff x="0" y="0"/>
          <a:chExt cx="0" cy="0"/>
        </a:xfrm>
      </p:grpSpPr>
      <p:sp>
        <p:nvSpPr>
          <p:cNvPr id="11" name="Chart Placeholder 10"/>
          <p:cNvSpPr>
            <a:spLocks noGrp="1"/>
          </p:cNvSpPr>
          <p:nvPr>
            <p:ph type="chart" sz="quarter" idx="19" hasCustomPrompt="1"/>
          </p:nvPr>
        </p:nvSpPr>
        <p:spPr>
          <a:xfrm>
            <a:off x="411480" y="1790701"/>
            <a:ext cx="11362465" cy="3881439"/>
          </a:xfrm>
        </p:spPr>
        <p:txBody>
          <a:bodyPr/>
          <a:lstStyle>
            <a:lvl1pPr marL="0" indent="0">
              <a:buNone/>
              <a:defRPr/>
            </a:lvl1pPr>
          </a:lstStyle>
          <a:p>
            <a:r>
              <a:rPr lang="en-US" dirty="0"/>
              <a:t>Click to insert chart</a:t>
            </a:r>
          </a:p>
        </p:txBody>
      </p:sp>
      <p:sp>
        <p:nvSpPr>
          <p:cNvPr id="2" name="Title 1"/>
          <p:cNvSpPr>
            <a:spLocks noGrp="1"/>
          </p:cNvSpPr>
          <p:nvPr>
            <p:ph type="title"/>
          </p:nvPr>
        </p:nvSpPr>
        <p:spPr/>
        <p:txBody>
          <a:bodyPr/>
          <a:lstStyle>
            <a:lvl1pPr>
              <a:defRPr>
                <a:latin typeface="+mj-lt"/>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5BA554F4-18A6-4DA7-BB10-5C27B33EB61F}" type="slidenum">
              <a:rPr lang="en-US" smtClean="0"/>
              <a:t>‹#›</a:t>
            </a:fld>
            <a:endParaRPr lang="en-US"/>
          </a:p>
        </p:txBody>
      </p:sp>
      <p:sp>
        <p:nvSpPr>
          <p:cNvPr id="10"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13" name="Rectangle 12"/>
          <p:cNvSpPr/>
          <p:nvPr/>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hart </a:t>
            </a:r>
            <a:r>
              <a:rPr lang="en-US" sz="1000" b="1" dirty="0" err="1">
                <a:solidFill>
                  <a:schemeClr val="tx1"/>
                </a:solidFill>
              </a:rPr>
              <a:t>wSource</a:t>
            </a:r>
            <a:endParaRPr lang="en-US" sz="1000" b="1" baseline="0" dirty="0">
              <a:solidFill>
                <a:schemeClr val="tx1"/>
              </a:solidFill>
            </a:endParaRPr>
          </a:p>
          <a:p>
            <a:pPr algn="l"/>
            <a:r>
              <a:rPr lang="en-US" sz="1000" b="0" baseline="0" dirty="0">
                <a:solidFill>
                  <a:schemeClr val="tx1"/>
                </a:solidFill>
              </a:rPr>
              <a:t>Use for charts.</a:t>
            </a:r>
          </a:p>
        </p:txBody>
      </p:sp>
      <p:sp>
        <p:nvSpPr>
          <p:cNvPr id="12"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grpSp>
        <p:nvGrpSpPr>
          <p:cNvPr id="15" name="Group 14"/>
          <p:cNvGrpSpPr/>
          <p:nvPr/>
        </p:nvGrpSpPr>
        <p:grpSpPr>
          <a:xfrm>
            <a:off x="12284310" y="2497574"/>
            <a:ext cx="1389888" cy="1233768"/>
            <a:chOff x="9215268" y="3023356"/>
            <a:chExt cx="1389888" cy="1233768"/>
          </a:xfrm>
        </p:grpSpPr>
        <p:sp>
          <p:nvSpPr>
            <p:cNvPr id="16" name="Rectangle 15"/>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7" name="Rectangle 16"/>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348637270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Content + box,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10573" y="1371600"/>
            <a:ext cx="7109908" cy="4300538"/>
          </a:xfrm>
        </p:spPr>
        <p:txBody>
          <a:bodyPr>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35832948-E127-4461-9846-7F561EB70B87}" type="datetimeFigureOut">
              <a:rPr lang="en-US" smtClean="0"/>
              <a:t>6/18/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BA554F4-18A6-4DA7-BB10-5C27B33EB61F}" type="slidenum">
              <a:rPr lang="en-US" smtClean="0"/>
              <a:t>‹#›</a:t>
            </a:fld>
            <a:endParaRPr lang="en-US"/>
          </a:p>
        </p:txBody>
      </p:sp>
      <p:sp>
        <p:nvSpPr>
          <p:cNvPr id="9" name="Text Placeholder 8"/>
          <p:cNvSpPr>
            <a:spLocks noGrp="1"/>
          </p:cNvSpPr>
          <p:nvPr>
            <p:ph type="body" sz="quarter" idx="16"/>
          </p:nvPr>
        </p:nvSpPr>
        <p:spPr>
          <a:xfrm>
            <a:off x="7713643" y="1371600"/>
            <a:ext cx="4076700" cy="4300538"/>
          </a:xfrm>
          <a:solidFill>
            <a:schemeClr val="bg2"/>
          </a:solidFill>
        </p:spPr>
        <p:txBody>
          <a:bodyPr lIns="91440" tIns="91440" bIns="91440"/>
          <a:lstStyle>
            <a:lvl1pPr>
              <a:defRPr sz="18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ectangle 9"/>
          <p:cNvSpPr/>
          <p:nvPr/>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box</a:t>
            </a:r>
          </a:p>
          <a:p>
            <a:pPr algn="l"/>
            <a:r>
              <a:rPr lang="en-US" sz="1000" b="0" baseline="0" dirty="0">
                <a:solidFill>
                  <a:schemeClr val="tx1"/>
                </a:solidFill>
              </a:rPr>
              <a:t>Use to create pop-out text/content in the right-hand box. Resize the box as needed. </a:t>
            </a:r>
          </a:p>
        </p:txBody>
      </p:sp>
      <p:sp>
        <p:nvSpPr>
          <p:cNvPr id="13"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grpSp>
        <p:nvGrpSpPr>
          <p:cNvPr id="11" name="Group 10"/>
          <p:cNvGrpSpPr/>
          <p:nvPr/>
        </p:nvGrpSpPr>
        <p:grpSpPr>
          <a:xfrm>
            <a:off x="12284310" y="2497574"/>
            <a:ext cx="1389888" cy="1233768"/>
            <a:chOff x="9215268" y="3023356"/>
            <a:chExt cx="1389888" cy="1233768"/>
          </a:xfrm>
        </p:grpSpPr>
        <p:sp>
          <p:nvSpPr>
            <p:cNvPr id="14" name="Rectangle 13"/>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5" name="Rectangle 14"/>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0573685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Gray background for content">
    <p:spTree>
      <p:nvGrpSpPr>
        <p:cNvPr id="1" name=""/>
        <p:cNvGrpSpPr/>
        <p:nvPr/>
      </p:nvGrpSpPr>
      <p:grpSpPr>
        <a:xfrm>
          <a:off x="0" y="0"/>
          <a:ext cx="0" cy="0"/>
          <a:chOff x="0" y="0"/>
          <a:chExt cx="0" cy="0"/>
        </a:xfrm>
      </p:grpSpPr>
      <p:sp>
        <p:nvSpPr>
          <p:cNvPr id="7" name="Rectangle 6"/>
          <p:cNvSpPr/>
          <p:nvPr/>
        </p:nvSpPr>
        <p:spPr>
          <a:xfrm>
            <a:off x="411480" y="1790700"/>
            <a:ext cx="11379200" cy="38813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algn="ctr"/>
            <a:endParaRPr lang="en-US" sz="1800"/>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3" name="Content Placeholder 2"/>
          <p:cNvSpPr>
            <a:spLocks noGrp="1"/>
          </p:cNvSpPr>
          <p:nvPr>
            <p:ph idx="1" hasCustomPrompt="1"/>
          </p:nvPr>
        </p:nvSpPr>
        <p:spPr>
          <a:xfrm>
            <a:off x="411480" y="1794414"/>
            <a:ext cx="4240599" cy="3877724"/>
          </a:xfrm>
        </p:spPr>
        <p:txBody>
          <a:bodyPr lIns="182880" tIns="182880" rIns="182880" bIns="182880"/>
          <a:lstStyle>
            <a:lvl1pPr>
              <a:defRPr sz="1800" baseline="0"/>
            </a:lvl1pPr>
            <a:lvl2pPr>
              <a:defRPr sz="1600"/>
            </a:lvl2pPr>
            <a:lvl3pPr>
              <a:defRPr sz="1400"/>
            </a:lvl3pPr>
            <a:lvl4pPr>
              <a:defRPr sz="1400"/>
            </a:lvl4pPr>
            <a:lvl5pPr>
              <a:defRPr sz="1400"/>
            </a:lvl5pPr>
          </a:lstStyle>
          <a:p>
            <a:pPr lvl="0"/>
            <a:r>
              <a:rPr lang="en-US" dirty="0"/>
              <a:t>Click to add content and resize or remove placeholder as needed or remove.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35832948-E127-4461-9846-7F561EB70B87}" type="datetimeFigureOut">
              <a:rPr lang="en-US" smtClean="0"/>
              <a:t>6/1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BA554F4-18A6-4DA7-BB10-5C27B33EB61F}" type="slidenum">
              <a:rPr lang="en-US" smtClean="0"/>
              <a:t>‹#›</a:t>
            </a:fld>
            <a:endParaRPr lang="en-US"/>
          </a:p>
        </p:txBody>
      </p:sp>
      <p:sp>
        <p:nvSpPr>
          <p:cNvPr id="8"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11" name="Rectangle 10"/>
          <p:cNvSpPr/>
          <p:nvPr/>
        </p:nvSpPr>
        <p:spPr>
          <a:xfrm>
            <a:off x="12287025" y="-4044"/>
            <a:ext cx="1386247" cy="24323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Gray background for content</a:t>
            </a:r>
            <a:endParaRPr lang="en-US" sz="1000" b="1" baseline="0" dirty="0">
              <a:solidFill>
                <a:schemeClr val="tx1"/>
              </a:solidFill>
            </a:endParaRPr>
          </a:p>
          <a:p>
            <a:pPr algn="l"/>
            <a:r>
              <a:rPr lang="en-US" sz="1000" baseline="0" dirty="0">
                <a:solidFill>
                  <a:schemeClr val="tx1"/>
                </a:solidFill>
              </a:rPr>
              <a:t>Use slide layout to add graphics with explanatory text. </a:t>
            </a:r>
          </a:p>
          <a:p>
            <a:pPr algn="l"/>
            <a:r>
              <a:rPr lang="en-US" sz="1000" baseline="0" dirty="0">
                <a:solidFill>
                  <a:schemeClr val="tx1"/>
                </a:solidFill>
              </a:rPr>
              <a:t>The text placeholder can be moved as needed. </a:t>
            </a:r>
            <a:endParaRPr lang="en-US" sz="1000" dirty="0">
              <a:solidFill>
                <a:schemeClr val="tx1"/>
              </a:solidFill>
            </a:endParaRPr>
          </a:p>
        </p:txBody>
      </p:sp>
      <p:sp>
        <p:nvSpPr>
          <p:cNvPr id="14"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grpSp>
        <p:nvGrpSpPr>
          <p:cNvPr id="19" name="Group 18"/>
          <p:cNvGrpSpPr/>
          <p:nvPr/>
        </p:nvGrpSpPr>
        <p:grpSpPr>
          <a:xfrm>
            <a:off x="12287025" y="3813034"/>
            <a:ext cx="1386247" cy="1585033"/>
            <a:chOff x="10058564" y="2630286"/>
            <a:chExt cx="3060457" cy="3499323"/>
          </a:xfrm>
        </p:grpSpPr>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58564" y="4398195"/>
              <a:ext cx="3060457" cy="1731414"/>
            </a:xfrm>
            <a:prstGeom prst="rect">
              <a:avLst/>
            </a:prstGeom>
          </p:spPr>
        </p:pic>
        <p:pic>
          <p:nvPicPr>
            <p:cNvPr id="21" name="Picture 2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058564" y="2630286"/>
              <a:ext cx="3060457" cy="1725318"/>
            </a:xfrm>
            <a:prstGeom prst="rect">
              <a:avLst/>
            </a:prstGeom>
          </p:spPr>
        </p:pic>
      </p:grpSp>
      <p:grpSp>
        <p:nvGrpSpPr>
          <p:cNvPr id="22" name="Group 21"/>
          <p:cNvGrpSpPr/>
          <p:nvPr/>
        </p:nvGrpSpPr>
        <p:grpSpPr>
          <a:xfrm>
            <a:off x="12284310" y="2497574"/>
            <a:ext cx="1389888" cy="1233768"/>
            <a:chOff x="9215268" y="3023356"/>
            <a:chExt cx="1389888" cy="1233768"/>
          </a:xfrm>
        </p:grpSpPr>
        <p:sp>
          <p:nvSpPr>
            <p:cNvPr id="23" name="Rectangle 22"/>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4" name="Rectangle 23"/>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189901471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Content 2 columns + intro">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6"/>
            <a:ext cx="11362944" cy="868680"/>
          </a:xfrm>
          <a:ln w="3175">
            <a:noFill/>
            <a:prstDash val="dash"/>
          </a:ln>
        </p:spPr>
        <p:txBody>
          <a:bodyPr vert="horz" lIns="0" tIns="45720" rIns="91440" bIns="45720" rtlCol="0" anchor="t">
            <a:noAutofit/>
          </a:bodyPr>
          <a:lstStyle>
            <a:lvl1pPr>
              <a:defRPr lang="en-US" dirty="0"/>
            </a:lvl1pPr>
          </a:lstStyle>
          <a:p>
            <a:pPr lvl="0"/>
            <a:r>
              <a:rPr lang="en-US"/>
              <a:t>Click to edit Master title style</a:t>
            </a:r>
            <a:endParaRPr lang="en-US" dirty="0"/>
          </a:p>
        </p:txBody>
      </p:sp>
      <p:sp>
        <p:nvSpPr>
          <p:cNvPr id="3" name="Text Placeholder 2"/>
          <p:cNvSpPr>
            <a:spLocks noGrp="1"/>
          </p:cNvSpPr>
          <p:nvPr>
            <p:ph type="body" idx="1"/>
          </p:nvPr>
        </p:nvSpPr>
        <p:spPr>
          <a:xfrm>
            <a:off x="411480" y="1805137"/>
            <a:ext cx="5486400" cy="433949"/>
          </a:xfrm>
          <a:solidFill>
            <a:schemeClr val="tx1"/>
          </a:solidFill>
        </p:spPr>
        <p:txBody>
          <a:bodyPr lIns="91440" rIns="274320" anchor="ctr"/>
          <a:lstStyle>
            <a:lvl1pPr marL="0" indent="0">
              <a:buNone/>
              <a:defRPr sz="1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11480" y="2253522"/>
            <a:ext cx="5486400" cy="3418616"/>
          </a:xfrm>
          <a:solidFill>
            <a:schemeClr val="bg2"/>
          </a:solidFill>
        </p:spPr>
        <p:txBody>
          <a:bodyPr lIns="91440">
            <a:normAutofit/>
          </a:bodyPr>
          <a:lstStyle>
            <a:lvl1pPr>
              <a:defRPr sz="18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303264" y="1805137"/>
            <a:ext cx="5486400" cy="433949"/>
          </a:xfrm>
          <a:solidFill>
            <a:schemeClr val="tx1"/>
          </a:solidFill>
        </p:spPr>
        <p:txBody>
          <a:bodyPr lIns="91440" rIns="182880" anchor="ctr"/>
          <a:lstStyle>
            <a:lvl1pPr marL="0" indent="0">
              <a:buNone/>
              <a:defRPr sz="1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03264" y="2253522"/>
            <a:ext cx="5486400" cy="3418616"/>
          </a:xfrm>
          <a:solidFill>
            <a:schemeClr val="bg2"/>
          </a:solidFill>
        </p:spPr>
        <p:txBody>
          <a:bodyPr lIns="91440">
            <a:normAutofit/>
          </a:bodyPr>
          <a:lstStyle>
            <a:lvl1pPr>
              <a:defRPr sz="18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35832948-E127-4461-9846-7F561EB70B87}" type="datetimeFigureOut">
              <a:rPr lang="en-US" smtClean="0"/>
              <a:t>6/18/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BA554F4-18A6-4DA7-BB10-5C27B33EB61F}" type="slidenum">
              <a:rPr lang="en-US" smtClean="0"/>
              <a:t>‹#›</a:t>
            </a:fld>
            <a:endParaRPr lang="en-US"/>
          </a:p>
        </p:txBody>
      </p:sp>
      <p:sp>
        <p:nvSpPr>
          <p:cNvPr id="13" name="Text Placeholder 7"/>
          <p:cNvSpPr>
            <a:spLocks noGrp="1"/>
          </p:cNvSpPr>
          <p:nvPr>
            <p:ph type="body" sz="quarter" idx="13" hasCustomPrompt="1"/>
          </p:nvPr>
        </p:nvSpPr>
        <p:spPr>
          <a:xfrm>
            <a:off x="411480" y="1084264"/>
            <a:ext cx="11379200" cy="706437"/>
          </a:xfrm>
        </p:spPr>
        <p:txBody>
          <a:bodyPr/>
          <a:lstStyle>
            <a:lvl1pPr marL="0" indent="0">
              <a:buNone/>
              <a:defRPr sz="1600" b="0">
                <a:solidFill>
                  <a:schemeClr val="bg1">
                    <a:lumMod val="50000"/>
                  </a:schemeClr>
                </a:solidFill>
              </a:defRPr>
            </a:lvl1pPr>
            <a:lvl2pPr marL="169863" indent="0">
              <a:buNone/>
              <a:defRPr/>
            </a:lvl2pPr>
          </a:lstStyle>
          <a:p>
            <a:pPr lvl="0"/>
            <a:r>
              <a:rPr lang="en-US" dirty="0"/>
              <a:t>Click to add introduction</a:t>
            </a:r>
          </a:p>
        </p:txBody>
      </p:sp>
      <p:sp>
        <p:nvSpPr>
          <p:cNvPr id="12" name="Rectangle 11"/>
          <p:cNvSpPr/>
          <p:nvPr/>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2 Content</a:t>
            </a:r>
            <a:r>
              <a:rPr lang="en-US" sz="1000" b="1" baseline="0" dirty="0">
                <a:solidFill>
                  <a:schemeClr val="tx1"/>
                </a:solidFill>
              </a:rPr>
              <a:t> Areas</a:t>
            </a:r>
            <a:endParaRPr lang="en-US" sz="1000" b="1" dirty="0">
              <a:solidFill>
                <a:schemeClr val="tx1"/>
              </a:solidFill>
            </a:endParaRPr>
          </a:p>
          <a:p>
            <a:pPr algn="l"/>
            <a:r>
              <a:rPr lang="en-US" sz="1000" b="0" baseline="0" dirty="0">
                <a:solidFill>
                  <a:schemeClr val="tx1"/>
                </a:solidFill>
              </a:rPr>
              <a:t>Use the subtitle and placeholder as needed and remove or resize them within the grid of the slide. </a:t>
            </a:r>
          </a:p>
        </p:txBody>
      </p:sp>
      <p:sp>
        <p:nvSpPr>
          <p:cNvPr id="16"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grpSp>
        <p:nvGrpSpPr>
          <p:cNvPr id="14" name="Group 13"/>
          <p:cNvGrpSpPr/>
          <p:nvPr/>
        </p:nvGrpSpPr>
        <p:grpSpPr>
          <a:xfrm>
            <a:off x="12284310" y="2497574"/>
            <a:ext cx="1389888" cy="1233768"/>
            <a:chOff x="9215268" y="3023356"/>
            <a:chExt cx="1389888" cy="1233768"/>
          </a:xfrm>
        </p:grpSpPr>
        <p:sp>
          <p:nvSpPr>
            <p:cNvPr id="17" name="Rectangle 16"/>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8" name="Rectangle 17"/>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358379711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3 content area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Date Placeholder 4"/>
          <p:cNvSpPr>
            <a:spLocks noGrp="1"/>
          </p:cNvSpPr>
          <p:nvPr>
            <p:ph type="dt" sz="half" idx="10"/>
          </p:nvPr>
        </p:nvSpPr>
        <p:spPr/>
        <p:txBody>
          <a:bodyPr/>
          <a:lstStyle/>
          <a:p>
            <a:fld id="{35832948-E127-4461-9846-7F561EB70B87}" type="datetimeFigureOut">
              <a:rPr lang="en-US" smtClean="0"/>
              <a:t>6/18/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BA554F4-18A6-4DA7-BB10-5C27B33EB61F}" type="slidenum">
              <a:rPr lang="en-US" smtClean="0"/>
              <a:t>‹#›</a:t>
            </a:fld>
            <a:endParaRPr lang="en-US"/>
          </a:p>
        </p:txBody>
      </p:sp>
      <p:sp>
        <p:nvSpPr>
          <p:cNvPr id="9" name="Text Placeholder 8"/>
          <p:cNvSpPr>
            <a:spLocks noGrp="1"/>
          </p:cNvSpPr>
          <p:nvPr>
            <p:ph type="body" sz="quarter" idx="16" hasCustomPrompt="1"/>
          </p:nvPr>
        </p:nvSpPr>
        <p:spPr>
          <a:xfrm>
            <a:off x="8366340" y="1883060"/>
            <a:ext cx="3413760" cy="3789078"/>
          </a:xfrm>
          <a:solidFill>
            <a:schemeClr val="bg2"/>
          </a:solidFill>
        </p:spPr>
        <p:txBody>
          <a:bodyPr lIns="91440" tIns="91440" bIns="91440"/>
          <a:lstStyle>
            <a:lvl1pPr>
              <a:defRPr sz="1600" baseline="0"/>
            </a:lvl1pPr>
            <a:lvl2pPr>
              <a:defRPr sz="1400"/>
            </a:lvl2pPr>
            <a:lvl3pPr>
              <a:defRPr sz="1400"/>
            </a:lvl3pPr>
            <a:lvl4pPr>
              <a:defRPr sz="1100"/>
            </a:lvl4pPr>
            <a:lvl5pPr>
              <a:defRPr sz="1100"/>
            </a:lvl5pPr>
          </a:lstStyle>
          <a:p>
            <a:pPr lvl="0"/>
            <a:r>
              <a:rPr lang="en-US" dirty="0"/>
              <a:t>Click to add content and resize as needed or remove. </a:t>
            </a:r>
          </a:p>
          <a:p>
            <a:pPr lvl="1"/>
            <a:r>
              <a:rPr lang="en-US" dirty="0"/>
              <a:t>Second level</a:t>
            </a:r>
          </a:p>
          <a:p>
            <a:pPr lvl="2"/>
            <a:r>
              <a:rPr lang="en-US" dirty="0"/>
              <a:t>Third level</a:t>
            </a:r>
          </a:p>
        </p:txBody>
      </p:sp>
      <p:sp>
        <p:nvSpPr>
          <p:cNvPr id="11" name="Text Placeholder 8"/>
          <p:cNvSpPr>
            <a:spLocks noGrp="1"/>
          </p:cNvSpPr>
          <p:nvPr>
            <p:ph type="body" sz="quarter" idx="17" hasCustomPrompt="1"/>
          </p:nvPr>
        </p:nvSpPr>
        <p:spPr>
          <a:xfrm>
            <a:off x="411480" y="1883060"/>
            <a:ext cx="3413760" cy="3789078"/>
          </a:xfrm>
          <a:solidFill>
            <a:schemeClr val="bg2"/>
          </a:solidFill>
        </p:spPr>
        <p:txBody>
          <a:bodyPr lIns="91440" tIns="91440" bIns="91440"/>
          <a:lstStyle>
            <a:lvl1pPr>
              <a:defRPr sz="1600" baseline="0"/>
            </a:lvl1pPr>
            <a:lvl2pPr>
              <a:defRPr sz="1400"/>
            </a:lvl2pPr>
            <a:lvl3pPr>
              <a:defRPr sz="1400"/>
            </a:lvl3pPr>
            <a:lvl4pPr>
              <a:defRPr sz="1100"/>
            </a:lvl4pPr>
            <a:lvl5pPr>
              <a:defRPr sz="1100"/>
            </a:lvl5pPr>
          </a:lstStyle>
          <a:p>
            <a:pPr lvl="0"/>
            <a:r>
              <a:rPr lang="en-US" dirty="0"/>
              <a:t>Click to add content and resize as needed. </a:t>
            </a:r>
          </a:p>
          <a:p>
            <a:pPr lvl="1"/>
            <a:r>
              <a:rPr lang="en-US" dirty="0"/>
              <a:t>Second level</a:t>
            </a:r>
          </a:p>
          <a:p>
            <a:pPr lvl="2"/>
            <a:r>
              <a:rPr lang="en-US" dirty="0"/>
              <a:t>Third level</a:t>
            </a:r>
          </a:p>
        </p:txBody>
      </p:sp>
      <p:sp>
        <p:nvSpPr>
          <p:cNvPr id="12" name="Text Placeholder 8"/>
          <p:cNvSpPr>
            <a:spLocks noGrp="1"/>
          </p:cNvSpPr>
          <p:nvPr>
            <p:ph type="body" sz="quarter" idx="18" hasCustomPrompt="1"/>
          </p:nvPr>
        </p:nvSpPr>
        <p:spPr>
          <a:xfrm>
            <a:off x="4390435" y="1883060"/>
            <a:ext cx="3413760" cy="3789078"/>
          </a:xfrm>
          <a:solidFill>
            <a:schemeClr val="bg2"/>
          </a:solidFill>
        </p:spPr>
        <p:txBody>
          <a:bodyPr lIns="91440" tIns="91440" bIns="91440"/>
          <a:lstStyle>
            <a:lvl1pPr>
              <a:defRPr sz="1600"/>
            </a:lvl1pPr>
            <a:lvl2pPr>
              <a:defRPr sz="1400"/>
            </a:lvl2pPr>
            <a:lvl3pPr>
              <a:defRPr sz="1400"/>
            </a:lvl3pPr>
            <a:lvl4pPr>
              <a:defRPr sz="1100"/>
            </a:lvl4pPr>
            <a:lvl5pPr>
              <a:defRPr sz="1100"/>
            </a:lvl5pPr>
          </a:lstStyle>
          <a:p>
            <a:pPr lvl="0"/>
            <a:r>
              <a:rPr lang="en-US" dirty="0"/>
              <a:t>Click to add content and resize as needed or remove. </a:t>
            </a:r>
          </a:p>
          <a:p>
            <a:pPr lvl="1"/>
            <a:r>
              <a:rPr lang="en-US" dirty="0"/>
              <a:t>Second level</a:t>
            </a:r>
          </a:p>
          <a:p>
            <a:pPr lvl="2"/>
            <a:r>
              <a:rPr lang="en-US" dirty="0"/>
              <a:t>Third level</a:t>
            </a:r>
          </a:p>
        </p:txBody>
      </p:sp>
      <p:sp>
        <p:nvSpPr>
          <p:cNvPr id="13" name="Text Placeholder 8"/>
          <p:cNvSpPr>
            <a:spLocks noGrp="1"/>
          </p:cNvSpPr>
          <p:nvPr>
            <p:ph type="body" sz="quarter" idx="19" hasCustomPrompt="1"/>
          </p:nvPr>
        </p:nvSpPr>
        <p:spPr>
          <a:xfrm>
            <a:off x="8371847" y="1385560"/>
            <a:ext cx="3413760" cy="497500"/>
          </a:xfrm>
          <a:solidFill>
            <a:schemeClr val="tx1"/>
          </a:solidFill>
        </p:spPr>
        <p:txBody>
          <a:bodyPr lIns="91440" tIns="91440" bIns="91440" anchor="ctr"/>
          <a:lstStyle>
            <a:lvl1pPr marL="0" indent="0">
              <a:buNone/>
              <a:defRPr sz="1400" b="1">
                <a:solidFill>
                  <a:schemeClr val="bg1"/>
                </a:solidFill>
              </a:defRPr>
            </a:lvl1pPr>
            <a:lvl2pPr marL="169862" indent="0">
              <a:buNone/>
              <a:defRPr sz="1400"/>
            </a:lvl2pPr>
            <a:lvl3pPr>
              <a:defRPr sz="1100"/>
            </a:lvl3pPr>
            <a:lvl4pPr>
              <a:defRPr sz="1100"/>
            </a:lvl4pPr>
            <a:lvl5pPr>
              <a:defRPr sz="1100"/>
            </a:lvl5pPr>
          </a:lstStyle>
          <a:p>
            <a:pPr lvl="0"/>
            <a:r>
              <a:rPr lang="en-US" dirty="0"/>
              <a:t>Click to add subtitle max two rows or remove. </a:t>
            </a:r>
          </a:p>
        </p:txBody>
      </p:sp>
      <p:sp>
        <p:nvSpPr>
          <p:cNvPr id="14" name="Text Placeholder 8"/>
          <p:cNvSpPr>
            <a:spLocks noGrp="1"/>
          </p:cNvSpPr>
          <p:nvPr>
            <p:ph type="body" sz="quarter" idx="20" hasCustomPrompt="1"/>
          </p:nvPr>
        </p:nvSpPr>
        <p:spPr>
          <a:xfrm>
            <a:off x="411480" y="1385560"/>
            <a:ext cx="3413760" cy="497500"/>
          </a:xfrm>
          <a:solidFill>
            <a:schemeClr val="tx1"/>
          </a:solidFill>
        </p:spPr>
        <p:txBody>
          <a:bodyPr lIns="91440" tIns="91440" bIns="91440" anchor="ctr"/>
          <a:lstStyle>
            <a:lvl1pPr marL="0" indent="0">
              <a:buNone/>
              <a:defRPr sz="1400" b="1" baseline="0">
                <a:solidFill>
                  <a:schemeClr val="bg1"/>
                </a:solidFill>
              </a:defRPr>
            </a:lvl1pPr>
            <a:lvl2pPr marL="169862" indent="0">
              <a:buNone/>
              <a:defRPr sz="1400"/>
            </a:lvl2pPr>
            <a:lvl3pPr>
              <a:defRPr sz="1100"/>
            </a:lvl3pPr>
            <a:lvl4pPr>
              <a:defRPr sz="1100"/>
            </a:lvl4pPr>
            <a:lvl5pPr>
              <a:defRPr sz="1100"/>
            </a:lvl5pPr>
          </a:lstStyle>
          <a:p>
            <a:pPr lvl="0"/>
            <a:r>
              <a:rPr lang="en-US" dirty="0"/>
              <a:t>Click to add subtitle max two rows, resize as needed.</a:t>
            </a:r>
          </a:p>
        </p:txBody>
      </p:sp>
      <p:sp>
        <p:nvSpPr>
          <p:cNvPr id="15" name="Text Placeholder 8"/>
          <p:cNvSpPr>
            <a:spLocks noGrp="1"/>
          </p:cNvSpPr>
          <p:nvPr>
            <p:ph type="body" sz="quarter" idx="21" hasCustomPrompt="1"/>
          </p:nvPr>
        </p:nvSpPr>
        <p:spPr>
          <a:xfrm>
            <a:off x="4395941" y="1385560"/>
            <a:ext cx="3413760" cy="497500"/>
          </a:xfrm>
          <a:solidFill>
            <a:schemeClr val="tx1"/>
          </a:solidFill>
        </p:spPr>
        <p:txBody>
          <a:bodyPr lIns="91440" tIns="91440" bIns="91440" anchor="ctr"/>
          <a:lstStyle>
            <a:lvl1pPr marL="0" indent="0">
              <a:buNone/>
              <a:defRPr sz="1400" b="1" baseline="0">
                <a:solidFill>
                  <a:schemeClr val="bg1"/>
                </a:solidFill>
              </a:defRPr>
            </a:lvl1pPr>
            <a:lvl2pPr marL="169862" indent="0">
              <a:buNone/>
              <a:defRPr sz="1400"/>
            </a:lvl2pPr>
            <a:lvl3pPr>
              <a:defRPr sz="1100"/>
            </a:lvl3pPr>
            <a:lvl4pPr>
              <a:defRPr sz="1100"/>
            </a:lvl4pPr>
            <a:lvl5pPr>
              <a:defRPr sz="1100"/>
            </a:lvl5pPr>
          </a:lstStyle>
          <a:p>
            <a:pPr lvl="0"/>
            <a:r>
              <a:rPr lang="en-US" dirty="0"/>
              <a:t>Click to add subtitle max two rows or remove. </a:t>
            </a:r>
          </a:p>
        </p:txBody>
      </p:sp>
      <p:sp>
        <p:nvSpPr>
          <p:cNvPr id="17" name="Rectangle 16"/>
          <p:cNvSpPr/>
          <p:nvPr/>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3 Content</a:t>
            </a:r>
            <a:r>
              <a:rPr lang="en-US" sz="1000" b="1" baseline="0" dirty="0">
                <a:solidFill>
                  <a:schemeClr val="tx1"/>
                </a:solidFill>
              </a:rPr>
              <a:t> Areas</a:t>
            </a:r>
            <a:endParaRPr lang="en-US" sz="1000" b="1" dirty="0">
              <a:solidFill>
                <a:schemeClr val="tx1"/>
              </a:solidFill>
            </a:endParaRPr>
          </a:p>
          <a:p>
            <a:pPr algn="l"/>
            <a:r>
              <a:rPr lang="en-US" sz="1000" b="0" baseline="0" dirty="0">
                <a:solidFill>
                  <a:schemeClr val="tx1"/>
                </a:solidFill>
              </a:rPr>
              <a:t>Use the subtitle and placeholder as needed and remove or resize them within the grid of the slide. </a:t>
            </a:r>
          </a:p>
        </p:txBody>
      </p:sp>
      <p:sp>
        <p:nvSpPr>
          <p:cNvPr id="21"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grpSp>
        <p:nvGrpSpPr>
          <p:cNvPr id="19" name="Group 18"/>
          <p:cNvGrpSpPr/>
          <p:nvPr/>
        </p:nvGrpSpPr>
        <p:grpSpPr>
          <a:xfrm>
            <a:off x="12290696" y="3792254"/>
            <a:ext cx="1386481" cy="1597003"/>
            <a:chOff x="10154003" y="3332846"/>
            <a:chExt cx="3060457" cy="3525154"/>
          </a:xfrm>
        </p:grpSpPr>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54003" y="5132682"/>
              <a:ext cx="3060457" cy="1725318"/>
            </a:xfrm>
            <a:prstGeom prst="rect">
              <a:avLst/>
            </a:prstGeom>
          </p:spPr>
        </p:pic>
        <p:pic>
          <p:nvPicPr>
            <p:cNvPr id="25" name="Picture 2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154003" y="3332846"/>
              <a:ext cx="3060457" cy="1731414"/>
            </a:xfrm>
            <a:prstGeom prst="rect">
              <a:avLst/>
            </a:prstGeom>
          </p:spPr>
        </p:pic>
      </p:grpSp>
      <p:grpSp>
        <p:nvGrpSpPr>
          <p:cNvPr id="26" name="Group 25"/>
          <p:cNvGrpSpPr/>
          <p:nvPr/>
        </p:nvGrpSpPr>
        <p:grpSpPr>
          <a:xfrm>
            <a:off x="12284310" y="2497574"/>
            <a:ext cx="1389888" cy="1233768"/>
            <a:chOff x="9215268" y="3023356"/>
            <a:chExt cx="1389888" cy="1233768"/>
          </a:xfrm>
        </p:grpSpPr>
        <p:sp>
          <p:nvSpPr>
            <p:cNvPr id="27" name="Rectangle 26"/>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8" name="Rectangle 27"/>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77858998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35832948-E127-4461-9846-7F561EB70B87}" type="datetimeFigureOut">
              <a:rPr lang="en-US" smtClean="0"/>
              <a:t>6/18/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BA554F4-18A6-4DA7-BB10-5C27B33EB61F}" type="slidenum">
              <a:rPr lang="en-US" smtClean="0"/>
              <a:t>‹#›</a:t>
            </a:fld>
            <a:endParaRPr lang="en-US"/>
          </a:p>
        </p:txBody>
      </p:sp>
      <p:sp>
        <p:nvSpPr>
          <p:cNvPr id="7" name="Text Placeholder 11"/>
          <p:cNvSpPr>
            <a:spLocks noGrp="1"/>
          </p:cNvSpPr>
          <p:nvPr>
            <p:ph type="body" sz="quarter" idx="15"/>
          </p:nvPr>
        </p:nvSpPr>
        <p:spPr>
          <a:xfrm>
            <a:off x="414529" y="206376"/>
            <a:ext cx="11371079" cy="5884862"/>
          </a:xfrm>
        </p:spPr>
        <p:txBody>
          <a:bodyPr tIns="0" bIns="0" anchor="t">
            <a:normAutofit/>
          </a:bodyPr>
          <a:lstStyle>
            <a:lvl1pPr marL="0" indent="0">
              <a:lnSpc>
                <a:spcPct val="70000"/>
              </a:lnSpc>
              <a:spcBef>
                <a:spcPts val="0"/>
              </a:spcBef>
              <a:spcAft>
                <a:spcPts val="200"/>
              </a:spcAft>
              <a:buSzPct val="25000"/>
              <a:buFont typeface="Arial" panose="020B0604020202020204" pitchFamily="34" charset="0"/>
              <a:buChar char=" "/>
              <a:defRPr sz="105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105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6" name="Rectangle 5"/>
          <p:cNvSpPr/>
          <p:nvPr/>
        </p:nvSpPr>
        <p:spPr>
          <a:xfrm>
            <a:off x="12287025" y="-4043"/>
            <a:ext cx="1386247" cy="24310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Disclaimer</a:t>
            </a:r>
          </a:p>
          <a:p>
            <a:pPr algn="l"/>
            <a:r>
              <a:rPr lang="en-US" sz="1000" b="0" baseline="0" dirty="0">
                <a:solidFill>
                  <a:schemeClr val="tx1"/>
                </a:solidFill>
              </a:rPr>
              <a:t>Add disclaimer text to placeholder by copying the text and pasting it as “Keep Text Only” to keep formatting. </a:t>
            </a:r>
          </a:p>
        </p:txBody>
      </p:sp>
      <p:grpSp>
        <p:nvGrpSpPr>
          <p:cNvPr id="9" name="Group 8"/>
          <p:cNvGrpSpPr/>
          <p:nvPr/>
        </p:nvGrpSpPr>
        <p:grpSpPr>
          <a:xfrm>
            <a:off x="12284310" y="2497574"/>
            <a:ext cx="1389888" cy="1233768"/>
            <a:chOff x="9215268" y="3023356"/>
            <a:chExt cx="1389888" cy="1233768"/>
          </a:xfrm>
        </p:grpSpPr>
        <p:sp>
          <p:nvSpPr>
            <p:cNvPr id="10" name="Rectangle 9"/>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1" name="Rectangle 10"/>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384967991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3" name="Content Placeholder 2"/>
          <p:cNvSpPr>
            <a:spLocks noGrp="1"/>
          </p:cNvSpPr>
          <p:nvPr>
            <p:ph idx="1"/>
          </p:nvPr>
        </p:nvSpPr>
        <p:spPr>
          <a:xfrm>
            <a:off x="414528" y="1794415"/>
            <a:ext cx="11367253" cy="3877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5832948-E127-4461-9846-7F561EB70B87}" type="datetimeFigureOut">
              <a:rPr lang="en-US" smtClean="0"/>
              <a:t>6/1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BA554F4-18A6-4DA7-BB10-5C27B33EB61F}" type="slidenum">
              <a:rPr lang="en-US" smtClean="0"/>
              <a:t>‹#›</a:t>
            </a:fld>
            <a:endParaRPr lang="en-US"/>
          </a:p>
        </p:txBody>
      </p:sp>
      <p:sp>
        <p:nvSpPr>
          <p:cNvPr id="8"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15"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9" name="Rectangle 18"/>
          <p:cNvSpPr/>
          <p:nvPr/>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a:t>
            </a:r>
          </a:p>
          <a:p>
            <a:pPr algn="l"/>
            <a:r>
              <a:rPr lang="en-US" sz="1000" b="0" baseline="0" dirty="0">
                <a:solidFill>
                  <a:schemeClr val="tx1"/>
                </a:solidFill>
              </a:rPr>
              <a:t>Level 1 has a bullet turned on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p:txBody>
      </p:sp>
      <p:pic>
        <p:nvPicPr>
          <p:cNvPr id="20" name="bullets"/>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2345151" y="1304623"/>
            <a:ext cx="277342" cy="241890"/>
          </a:xfrm>
          <a:prstGeom prst="rect">
            <a:avLst/>
          </a:prstGeom>
          <a:ln>
            <a:noFill/>
          </a:ln>
        </p:spPr>
      </p:pic>
      <p:pic>
        <p:nvPicPr>
          <p:cNvPr id="21" name="increase list level"/>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2342987" y="2219751"/>
            <a:ext cx="391318" cy="241890"/>
          </a:xfrm>
          <a:prstGeom prst="rect">
            <a:avLst/>
          </a:prstGeom>
        </p:spPr>
      </p:pic>
      <p:grpSp>
        <p:nvGrpSpPr>
          <p:cNvPr id="22" name="Group 21"/>
          <p:cNvGrpSpPr/>
          <p:nvPr/>
        </p:nvGrpSpPr>
        <p:grpSpPr>
          <a:xfrm>
            <a:off x="12284310" y="3212874"/>
            <a:ext cx="1389888" cy="1233768"/>
            <a:chOff x="9215268" y="3023356"/>
            <a:chExt cx="1389888" cy="1233768"/>
          </a:xfrm>
        </p:grpSpPr>
        <p:sp>
          <p:nvSpPr>
            <p:cNvPr id="23" name="Rectangle 22"/>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4" name="Rectangle 23"/>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
        <p:nvSpPr>
          <p:cNvPr id="17" name="Picture Placeholder 8"/>
          <p:cNvSpPr>
            <a:spLocks noGrp="1"/>
          </p:cNvSpPr>
          <p:nvPr>
            <p:ph type="pic" sz="quarter" idx="16"/>
          </p:nvPr>
        </p:nvSpPr>
        <p:spPr>
          <a:xfrm>
            <a:off x="5554663" y="1563543"/>
            <a:ext cx="1574800" cy="1574800"/>
          </a:xfrm>
          <a:prstGeom prst="ellipse">
            <a:avLst/>
          </a:prstGeom>
        </p:spPr>
        <p:txBody>
          <a:bodyPr/>
          <a:lstStyle/>
          <a:p>
            <a:endParaRPr lang="en-US"/>
          </a:p>
        </p:txBody>
      </p:sp>
    </p:spTree>
    <p:extLst>
      <p:ext uri="{BB962C8B-B14F-4D97-AF65-F5344CB8AC3E}">
        <p14:creationId xmlns:p14="http://schemas.microsoft.com/office/powerpoint/2010/main" val="232852245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14528" y="1798731"/>
            <a:ext cx="5491389" cy="3873409"/>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99206" y="1798731"/>
            <a:ext cx="5491389" cy="3873409"/>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35832948-E127-4461-9846-7F561EB70B87}" type="datetimeFigureOut">
              <a:rPr lang="en-US" smtClean="0"/>
              <a:t>6/18/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BA554F4-18A6-4DA7-BB10-5C27B33EB61F}" type="slidenum">
              <a:rPr lang="en-US" smtClean="0"/>
              <a:t>‹#›</a:t>
            </a:fld>
            <a:endParaRPr lang="en-US"/>
          </a:p>
        </p:txBody>
      </p:sp>
      <p:sp>
        <p:nvSpPr>
          <p:cNvPr id="8"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10" name="Rectangle 9"/>
          <p:cNvSpPr/>
          <p:nvPr/>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2 columns </a:t>
            </a:r>
          </a:p>
          <a:p>
            <a:pPr algn="l"/>
            <a:r>
              <a:rPr lang="en-US" sz="1000" b="0" baseline="0" dirty="0">
                <a:solidFill>
                  <a:schemeClr val="tx1"/>
                </a:solidFill>
              </a:rPr>
              <a:t>Level 1 has a bullet turned on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p:txBody>
      </p:sp>
      <p:sp>
        <p:nvSpPr>
          <p:cNvPr id="15"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pic>
        <p:nvPicPr>
          <p:cNvPr id="16" name="bullets"/>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2345151" y="1307765"/>
            <a:ext cx="277342" cy="241890"/>
          </a:xfrm>
          <a:prstGeom prst="rect">
            <a:avLst/>
          </a:prstGeom>
          <a:ln>
            <a:noFill/>
          </a:ln>
        </p:spPr>
      </p:pic>
      <p:pic>
        <p:nvPicPr>
          <p:cNvPr id="17" name="increase list level"/>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2342987" y="2222893"/>
            <a:ext cx="391318" cy="241890"/>
          </a:xfrm>
          <a:prstGeom prst="rect">
            <a:avLst/>
          </a:prstGeom>
        </p:spPr>
      </p:pic>
      <p:grpSp>
        <p:nvGrpSpPr>
          <p:cNvPr id="18" name="Group 17"/>
          <p:cNvGrpSpPr/>
          <p:nvPr/>
        </p:nvGrpSpPr>
        <p:grpSpPr>
          <a:xfrm>
            <a:off x="12284310" y="3212874"/>
            <a:ext cx="1389888" cy="1233768"/>
            <a:chOff x="9215268" y="3023356"/>
            <a:chExt cx="1389888" cy="1233768"/>
          </a:xfrm>
        </p:grpSpPr>
        <p:sp>
          <p:nvSpPr>
            <p:cNvPr id="19" name="Rectangle 18"/>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0" name="Rectangle 19"/>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19300871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heme" Target="../theme/theme2.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slideLayout" Target="../slideLayouts/slideLayout68.xml"/><Relationship Id="rId47" Type="http://schemas.openxmlformats.org/officeDocument/2006/relationships/theme" Target="../theme/theme3.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 Id="rId46" Type="http://schemas.openxmlformats.org/officeDocument/2006/relationships/slideLayout" Target="../slideLayouts/slideLayout72.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41" Type="http://schemas.openxmlformats.org/officeDocument/2006/relationships/slideLayout" Target="../slideLayouts/slideLayout67.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45" Type="http://schemas.openxmlformats.org/officeDocument/2006/relationships/slideLayout" Target="../slideLayouts/slideLayout71.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4" Type="http://schemas.openxmlformats.org/officeDocument/2006/relationships/slideLayout" Target="../slideLayouts/slideLayout70.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43" Type="http://schemas.openxmlformats.org/officeDocument/2006/relationships/slideLayout" Target="../slideLayouts/slideLayout69.xml"/><Relationship Id="rId48" Type="http://schemas.openxmlformats.org/officeDocument/2006/relationships/image" Target="../media/image7.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 Type="http://schemas.openxmlformats.org/officeDocument/2006/relationships/slideLayout" Target="../slideLayouts/slideLayout75.xml"/><Relationship Id="rId21" Type="http://schemas.openxmlformats.org/officeDocument/2006/relationships/slideLayout" Target="../slideLayouts/slideLayout93.xml"/><Relationship Id="rId34" Type="http://schemas.openxmlformats.org/officeDocument/2006/relationships/theme" Target="../theme/theme4.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33" Type="http://schemas.openxmlformats.org/officeDocument/2006/relationships/slideLayout" Target="../slideLayouts/slideLayout105.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slideLayout" Target="../slideLayouts/slideLayout101.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32" Type="http://schemas.openxmlformats.org/officeDocument/2006/relationships/slideLayout" Target="../slideLayouts/slideLayout104.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31" Type="http://schemas.openxmlformats.org/officeDocument/2006/relationships/slideLayout" Target="../slideLayouts/slideLayout103.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 Id="rId30" Type="http://schemas.openxmlformats.org/officeDocument/2006/relationships/slideLayout" Target="../slideLayouts/slideLayout102.xml"/><Relationship Id="rId35" Type="http://schemas.openxmlformats.org/officeDocument/2006/relationships/image" Target="../media/image2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2CEFD89-47F7-154E-A41B-50D004BF09F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81CC7AB-6146-664A-A470-CC1E1BECD7A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5062B21-4B4B-9046-96B4-269065409C5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2F427D0-34EB-7F4F-A4A2-2357E7D45014}" type="datetimeFigureOut">
              <a:rPr lang="en-US" smtClean="0"/>
              <a:t>6/18/2020</a:t>
            </a:fld>
            <a:endParaRPr lang="en-US" dirty="0"/>
          </a:p>
        </p:txBody>
      </p:sp>
      <p:sp>
        <p:nvSpPr>
          <p:cNvPr id="5" name="Footer Placeholder 4">
            <a:extLst>
              <a:ext uri="{FF2B5EF4-FFF2-40B4-BE49-F238E27FC236}">
                <a16:creationId xmlns:a16="http://schemas.microsoft.com/office/drawing/2014/main" id="{FE7E2199-E892-264A-A8F6-650A9935EEE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30F7B6D3-31A6-C64E-A65C-2EA31E0F795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C02FF7F-7EE0-DE4E-B4BA-8D5E63CE8E28}" type="slidenum">
              <a:rPr lang="en-US" smtClean="0"/>
              <a:t>‹#›</a:t>
            </a:fld>
            <a:endParaRPr lang="en-US" dirty="0"/>
          </a:p>
        </p:txBody>
      </p:sp>
    </p:spTree>
    <p:extLst>
      <p:ext uri="{BB962C8B-B14F-4D97-AF65-F5344CB8AC3E}">
        <p14:creationId xmlns:p14="http://schemas.microsoft.com/office/powerpoint/2010/main" val="250569152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2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E459A96-0BD7-4FB1-BF0C-448C3D40AD42}" type="datetimeFigureOut">
              <a:rPr lang="en-US" smtClean="0"/>
              <a:t>6/18/2020</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BFB8594-E5CF-4F53-A0C3-9D4A8812D9A2}" type="slidenum">
              <a:rPr lang="en-US" smtClean="0"/>
              <a:t>‹#›</a:t>
            </a:fld>
            <a:endParaRPr lang="en-US"/>
          </a:p>
        </p:txBody>
      </p:sp>
    </p:spTree>
    <p:extLst>
      <p:ext uri="{BB962C8B-B14F-4D97-AF65-F5344CB8AC3E}">
        <p14:creationId xmlns:p14="http://schemas.microsoft.com/office/powerpoint/2010/main" val="235725726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4528" y="219458"/>
            <a:ext cx="11358880" cy="865273"/>
          </a:xfrm>
          <a:prstGeom prst="rect">
            <a:avLst/>
          </a:prstGeom>
          <a:ln w="3175">
            <a:noFill/>
            <a:prstDash val="dash"/>
          </a:ln>
        </p:spPr>
        <p:txBody>
          <a:bodyPr vert="horz" lIns="0" tIns="45720" rIns="91440" bIns="4572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414528" y="1371602"/>
            <a:ext cx="11367253" cy="4300151"/>
          </a:xfrm>
          <a:prstGeom prst="rect">
            <a:avLst/>
          </a:prstGeom>
          <a:ln>
            <a:noFill/>
          </a:ln>
        </p:spPr>
        <p:txBody>
          <a:bodyPr vert="horz" lIns="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9746124" y="-180"/>
            <a:ext cx="2039486" cy="206650"/>
          </a:xfrm>
          <a:prstGeom prst="rect">
            <a:avLst/>
          </a:prstGeom>
        </p:spPr>
        <p:txBody>
          <a:bodyPr vert="horz" lIns="91440" tIns="0" rIns="0" bIns="0" rtlCol="0" anchor="ctr"/>
          <a:lstStyle>
            <a:lvl1pPr algn="r">
              <a:defRPr sz="9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3440004" y="6316981"/>
            <a:ext cx="7733456" cy="365113"/>
          </a:xfrm>
          <a:prstGeom prst="rect">
            <a:avLst/>
          </a:prstGeom>
        </p:spPr>
        <p:txBody>
          <a:bodyPr vert="horz" lIns="0" tIns="0" rIns="0" bIns="0" rtlCol="0" anchor="b"/>
          <a:lstStyle>
            <a:lvl1pPr algn="r">
              <a:defRPr sz="900">
                <a:solidFill>
                  <a:schemeClr val="tx1">
                    <a:tint val="75000"/>
                  </a:schemeClr>
                </a:solidFill>
              </a:defRPr>
            </a:lvl1pPr>
          </a:lstStyle>
          <a:p>
            <a:r>
              <a:rPr lang="en-US"/>
              <a:t>Private &amp; Confidential</a:t>
            </a:r>
            <a:endParaRPr lang="en-US" dirty="0"/>
          </a:p>
        </p:txBody>
      </p:sp>
      <p:sp>
        <p:nvSpPr>
          <p:cNvPr id="6" name="Slide Number Placeholder 5"/>
          <p:cNvSpPr>
            <a:spLocks noGrp="1"/>
          </p:cNvSpPr>
          <p:nvPr>
            <p:ph type="sldNum" sz="quarter" idx="4"/>
          </p:nvPr>
        </p:nvSpPr>
        <p:spPr>
          <a:xfrm>
            <a:off x="11216640" y="6316981"/>
            <a:ext cx="570795" cy="373694"/>
          </a:xfrm>
          <a:prstGeom prst="rect">
            <a:avLst/>
          </a:prstGeom>
        </p:spPr>
        <p:txBody>
          <a:bodyPr vert="horz" lIns="91440" tIns="0" rIns="0" bIns="0" rtlCol="0" anchor="b"/>
          <a:lstStyle>
            <a:lvl1pPr algn="r">
              <a:defRPr sz="1050">
                <a:solidFill>
                  <a:schemeClr val="tx1"/>
                </a:solidFill>
              </a:defRPr>
            </a:lvl1pPr>
          </a:lstStyle>
          <a:p>
            <a:fld id="{5246FB18-5DF1-419A-B975-14AFDDD65B9F}" type="slidenum">
              <a:rPr lang="en-US" smtClean="0"/>
              <a:pPr/>
              <a:t>‹#›</a:t>
            </a:fld>
            <a:endParaRPr lang="en-US" dirty="0"/>
          </a:p>
        </p:txBody>
      </p:sp>
      <p:cxnSp>
        <p:nvCxnSpPr>
          <p:cNvPr id="7" name="Straight Connector 6"/>
          <p:cNvCxnSpPr/>
          <p:nvPr/>
        </p:nvCxnSpPr>
        <p:spPr>
          <a:xfrm>
            <a:off x="-395620" y="216275"/>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95620" y="137160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95620" y="179294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395620" y="342975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95620" y="609088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395620" y="6653049"/>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rot="5400000" flipH="1" flipV="1">
            <a:off x="255231"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rot="5400000" flipH="1" flipV="1">
            <a:off x="5947644"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rot="5400000" flipH="1" flipV="1">
            <a:off x="11637249"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2192001" y="216275"/>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2192001" y="137160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2192001" y="179294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12192001" y="342975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12192001" y="6091822"/>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2192001" y="665114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12287024" y="5975775"/>
            <a:ext cx="1706880" cy="142555"/>
          </a:xfrm>
          <a:prstGeom prst="rect">
            <a:avLst/>
          </a:prstGeom>
          <a:noFill/>
        </p:spPr>
        <p:txBody>
          <a:bodyPr wrap="square" lIns="0" tIns="0" rIns="0" bIns="0" rtlCol="0">
            <a:noAutofit/>
          </a:bodyPr>
          <a:lstStyle/>
          <a:p>
            <a:pPr algn="l"/>
            <a:r>
              <a:rPr lang="en-US" sz="800" dirty="0">
                <a:solidFill>
                  <a:schemeClr val="bg2">
                    <a:lumMod val="75000"/>
                  </a:schemeClr>
                </a:solidFill>
                <a:latin typeface="Arial Narrow" panose="020B0606020202030204" pitchFamily="34" charset="0"/>
              </a:rPr>
              <a:t>No content below the line</a:t>
            </a:r>
          </a:p>
        </p:txBody>
      </p:sp>
      <p:sp>
        <p:nvSpPr>
          <p:cNvPr id="30" name="TextBox 29"/>
          <p:cNvSpPr txBox="1"/>
          <p:nvPr/>
        </p:nvSpPr>
        <p:spPr>
          <a:xfrm>
            <a:off x="-1786823" y="5987533"/>
            <a:ext cx="1706880" cy="142555"/>
          </a:xfrm>
          <a:prstGeom prst="rect">
            <a:avLst/>
          </a:prstGeom>
          <a:noFill/>
        </p:spPr>
        <p:txBody>
          <a:bodyPr wrap="square" lIns="0" tIns="0" rIns="0" bIns="0" rtlCol="0">
            <a:noAutofit/>
          </a:bodyPr>
          <a:lstStyle/>
          <a:p>
            <a:pPr algn="r"/>
            <a:r>
              <a:rPr lang="en-US" sz="800" dirty="0">
                <a:solidFill>
                  <a:schemeClr val="bg2">
                    <a:lumMod val="75000"/>
                  </a:schemeClr>
                </a:solidFill>
                <a:latin typeface="Arial Narrow" panose="020B0606020202030204" pitchFamily="34" charset="0"/>
              </a:rPr>
              <a:t>No content below the line</a:t>
            </a:r>
          </a:p>
        </p:txBody>
      </p:sp>
      <p:sp>
        <p:nvSpPr>
          <p:cNvPr id="19" name="Rectangle 18"/>
          <p:cNvSpPr/>
          <p:nvPr/>
        </p:nvSpPr>
        <p:spPr>
          <a:xfrm>
            <a:off x="12287026" y="-4042"/>
            <a:ext cx="1386247" cy="1796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endParaRPr lang="en-US" sz="1000" dirty="0"/>
          </a:p>
        </p:txBody>
      </p:sp>
      <p:cxnSp>
        <p:nvCxnSpPr>
          <p:cNvPr id="70" name="Straight Connector 69"/>
          <p:cNvCxnSpPr/>
          <p:nvPr/>
        </p:nvCxnSpPr>
        <p:spPr>
          <a:xfrm>
            <a:off x="-395620" y="6653049"/>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08" name="Market Intelligence"/>
          <p:cNvPicPr>
            <a:picLocks noChangeAspect="1"/>
          </p:cNvPicPr>
          <p:nvPr/>
        </p:nvPicPr>
        <p:blipFill>
          <a:blip r:embed="rId48" cstate="screen">
            <a:extLst>
              <a:ext uri="{28A0092B-C50C-407E-A947-70E740481C1C}">
                <a14:useLocalDpi xmlns:a14="http://schemas.microsoft.com/office/drawing/2010/main"/>
              </a:ext>
            </a:extLst>
          </a:blip>
          <a:stretch>
            <a:fillRect/>
          </a:stretch>
        </p:blipFill>
        <p:spPr>
          <a:xfrm>
            <a:off x="265094" y="6083223"/>
            <a:ext cx="1978196" cy="713232"/>
          </a:xfrm>
          <a:prstGeom prst="rect">
            <a:avLst/>
          </a:prstGeom>
        </p:spPr>
      </p:pic>
      <p:sp>
        <p:nvSpPr>
          <p:cNvPr id="155" name="Rectangle 154"/>
          <p:cNvSpPr/>
          <p:nvPr/>
        </p:nvSpPr>
        <p:spPr>
          <a:xfrm>
            <a:off x="0" y="6874279"/>
            <a:ext cx="12192000" cy="3428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cxnSp>
        <p:nvCxnSpPr>
          <p:cNvPr id="156" name="Straight Connector 155"/>
          <p:cNvCxnSpPr/>
          <p:nvPr/>
        </p:nvCxnSpPr>
        <p:spPr>
          <a:xfrm rot="5400000" flipH="1" flipV="1">
            <a:off x="5947644"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nvCxnSpPr>
        <p:spPr>
          <a:xfrm rot="5400000" flipH="1" flipV="1">
            <a:off x="11637249"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58" name="Rectangle 157"/>
          <p:cNvSpPr/>
          <p:nvPr/>
        </p:nvSpPr>
        <p:spPr>
          <a:xfrm>
            <a:off x="6311591" y="6892980"/>
            <a:ext cx="5880409"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dirty="0">
                <a:solidFill>
                  <a:schemeClr val="tx1"/>
                </a:solidFill>
              </a:rPr>
              <a:t>Footer :  </a:t>
            </a:r>
            <a:r>
              <a:rPr lang="en-US" sz="1000" baseline="0" dirty="0">
                <a:solidFill>
                  <a:schemeClr val="tx1"/>
                </a:solidFill>
                <a:sym typeface="Wingdings 3" panose="05040102010807070707" pitchFamily="18" charset="2"/>
              </a:rPr>
              <a:t>Never change the footer text on individual slides. Change, t</a:t>
            </a:r>
            <a:r>
              <a:rPr lang="en-US" sz="1000" baseline="0" dirty="0">
                <a:solidFill>
                  <a:schemeClr val="tx1"/>
                </a:solidFill>
              </a:rPr>
              <a:t>urn on or off footer by using </a:t>
            </a:r>
            <a:br>
              <a:rPr lang="en-US" sz="1000" baseline="0" dirty="0">
                <a:solidFill>
                  <a:schemeClr val="tx1"/>
                </a:solidFill>
              </a:rPr>
            </a:br>
            <a:r>
              <a:rPr lang="en-US" sz="1000" baseline="0" dirty="0">
                <a:solidFill>
                  <a:schemeClr val="tx1"/>
                </a:solidFill>
              </a:rPr>
              <a:t>Insert </a:t>
            </a:r>
            <a:r>
              <a:rPr lang="en-US" sz="1000" baseline="0" dirty="0">
                <a:solidFill>
                  <a:schemeClr val="tx1"/>
                </a:solidFill>
                <a:sym typeface="Wingdings 3" panose="05040102010807070707" pitchFamily="18" charset="2"/>
              </a:rPr>
              <a:t> Header &amp; Footer Enter / change text  Click Apply All. </a:t>
            </a:r>
            <a:endParaRPr lang="en-US" sz="1000" baseline="0" dirty="0">
              <a:solidFill>
                <a:schemeClr val="tx1"/>
              </a:solidFill>
            </a:endParaRPr>
          </a:p>
        </p:txBody>
      </p:sp>
      <p:sp>
        <p:nvSpPr>
          <p:cNvPr id="159" name="TextBox 158"/>
          <p:cNvSpPr txBox="1"/>
          <p:nvPr/>
        </p:nvSpPr>
        <p:spPr>
          <a:xfrm>
            <a:off x="55814" y="6883560"/>
            <a:ext cx="903163" cy="142555"/>
          </a:xfrm>
          <a:prstGeom prst="rect">
            <a:avLst/>
          </a:prstGeom>
          <a:noFill/>
        </p:spPr>
        <p:txBody>
          <a:bodyPr wrap="square" lIns="0" tIns="0" rIns="0" bIns="0" rtlCol="0">
            <a:noAutofit/>
          </a:bodyPr>
          <a:lstStyle/>
          <a:p>
            <a:pPr algn="l"/>
            <a:r>
              <a:rPr lang="en-US" sz="800" dirty="0">
                <a:solidFill>
                  <a:schemeClr val="tx1"/>
                </a:solidFill>
                <a:latin typeface="Arial Narrow" panose="020B0606020202030204" pitchFamily="34" charset="0"/>
              </a:rPr>
              <a:t>Data color order</a:t>
            </a:r>
            <a:r>
              <a:rPr lang="en-US" sz="800" baseline="0" dirty="0">
                <a:solidFill>
                  <a:schemeClr val="tx1"/>
                </a:solidFill>
                <a:latin typeface="Arial Narrow" panose="020B0606020202030204" pitchFamily="34" charset="0"/>
              </a:rPr>
              <a:t>:</a:t>
            </a:r>
            <a:endParaRPr lang="en-US" sz="800" dirty="0">
              <a:solidFill>
                <a:schemeClr val="tx1"/>
              </a:solidFill>
              <a:latin typeface="Arial Narrow" panose="020B0606020202030204" pitchFamily="34" charset="0"/>
            </a:endParaRPr>
          </a:p>
        </p:txBody>
      </p:sp>
      <p:sp>
        <p:nvSpPr>
          <p:cNvPr id="160" name="TextBox 159"/>
          <p:cNvSpPr txBox="1"/>
          <p:nvPr/>
        </p:nvSpPr>
        <p:spPr>
          <a:xfrm>
            <a:off x="2804798" y="7042641"/>
            <a:ext cx="1320629" cy="136444"/>
          </a:xfrm>
          <a:prstGeom prst="rect">
            <a:avLst/>
          </a:prstGeom>
          <a:noFill/>
        </p:spPr>
        <p:txBody>
          <a:bodyPr wrap="square" lIns="0" tIns="0" rIns="0" bIns="0" rtlCol="0">
            <a:noAutofit/>
          </a:bodyPr>
          <a:lstStyle/>
          <a:p>
            <a:pPr algn="l"/>
            <a:r>
              <a:rPr lang="en-US" sz="800" dirty="0">
                <a:solidFill>
                  <a:schemeClr val="tx1"/>
                </a:solidFill>
                <a:latin typeface="Arial Narrow" panose="020B0606020202030204" pitchFamily="34" charset="0"/>
              </a:rPr>
              <a:t>Used with accent colors: </a:t>
            </a:r>
          </a:p>
        </p:txBody>
      </p:sp>
      <p:grpSp>
        <p:nvGrpSpPr>
          <p:cNvPr id="161" name="Group 160"/>
          <p:cNvGrpSpPr/>
          <p:nvPr/>
        </p:nvGrpSpPr>
        <p:grpSpPr>
          <a:xfrm>
            <a:off x="731575" y="6907927"/>
            <a:ext cx="1601607" cy="100584"/>
            <a:chOff x="914339" y="6913770"/>
            <a:chExt cx="1558450" cy="100584"/>
          </a:xfrm>
        </p:grpSpPr>
        <p:sp>
          <p:nvSpPr>
            <p:cNvPr id="162" name="Rectangle 161"/>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63" name="Rectangle 162"/>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64" name="Rectangle 163"/>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65" name="Rectangle 164"/>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66" name="Rectangle 165"/>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67" name="Rectangle 166"/>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68" name="Rectangle 167"/>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69" name="Rectangle 168"/>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170" name="Rectangle 169"/>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71" name="Rectangle 170"/>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sp>
          <p:nvSpPr>
            <p:cNvPr id="172" name="Rectangle 171"/>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73" name="Rectangle 172"/>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174" name="Rectangle 173"/>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75" name="Rectangle 174"/>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grpSp>
      <p:sp>
        <p:nvSpPr>
          <p:cNvPr id="176" name="TextBox 175"/>
          <p:cNvSpPr txBox="1"/>
          <p:nvPr/>
        </p:nvSpPr>
        <p:spPr>
          <a:xfrm>
            <a:off x="2535079" y="6883560"/>
            <a:ext cx="907900" cy="142555"/>
          </a:xfrm>
          <a:prstGeom prst="rect">
            <a:avLst/>
          </a:prstGeom>
          <a:noFill/>
        </p:spPr>
        <p:txBody>
          <a:bodyPr wrap="square" lIns="0" tIns="0" rIns="0" bIns="0" rtlCol="0">
            <a:noAutofit/>
          </a:bodyPr>
          <a:lstStyle/>
          <a:p>
            <a:pPr algn="l"/>
            <a:r>
              <a:rPr lang="en-US" sz="800" dirty="0">
                <a:solidFill>
                  <a:schemeClr val="tx1"/>
                </a:solidFill>
                <a:latin typeface="Arial Narrow" panose="020B0606020202030204" pitchFamily="34" charset="0"/>
              </a:rPr>
              <a:t>Complimentary colors:</a:t>
            </a:r>
          </a:p>
        </p:txBody>
      </p:sp>
      <p:grpSp>
        <p:nvGrpSpPr>
          <p:cNvPr id="177" name="Group 176"/>
          <p:cNvGrpSpPr/>
          <p:nvPr/>
        </p:nvGrpSpPr>
        <p:grpSpPr>
          <a:xfrm>
            <a:off x="2551547" y="7022893"/>
            <a:ext cx="218964" cy="91440"/>
            <a:chOff x="2279174" y="7027888"/>
            <a:chExt cx="164223" cy="91440"/>
          </a:xfrm>
        </p:grpSpPr>
        <p:cxnSp>
          <p:nvCxnSpPr>
            <p:cNvPr id="178" name="Straight Arrow Connector 177"/>
            <p:cNvCxnSpPr>
              <a:cxnSpLocks/>
            </p:cNvCxnSpPr>
            <p:nvPr/>
          </p:nvCxnSpPr>
          <p:spPr>
            <a:xfrm>
              <a:off x="2279174" y="7114593"/>
              <a:ext cx="164223"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a:cxnSpLocks/>
            </p:cNvCxnSpPr>
            <p:nvPr/>
          </p:nvCxnSpPr>
          <p:spPr>
            <a:xfrm flipV="1">
              <a:off x="2281672" y="7027888"/>
              <a:ext cx="0" cy="9144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80" name="Group 179"/>
          <p:cNvGrpSpPr/>
          <p:nvPr/>
        </p:nvGrpSpPr>
        <p:grpSpPr>
          <a:xfrm>
            <a:off x="3760820" y="7063094"/>
            <a:ext cx="778165" cy="100584"/>
            <a:chOff x="1566748" y="7022234"/>
            <a:chExt cx="778165" cy="100584"/>
          </a:xfrm>
        </p:grpSpPr>
        <p:sp>
          <p:nvSpPr>
            <p:cNvPr id="181" name="Rectangle 180"/>
            <p:cNvSpPr/>
            <p:nvPr/>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82" name="Rectangle 181"/>
            <p:cNvSpPr/>
            <p:nvPr/>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83" name="Rectangle 182"/>
            <p:cNvSpPr/>
            <p:nvPr/>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84" name="Rectangle 183"/>
            <p:cNvSpPr/>
            <p:nvPr/>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85" name="Rectangle 184"/>
            <p:cNvSpPr/>
            <p:nvPr/>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86" name="Rectangle 185"/>
            <p:cNvSpPr/>
            <p:nvPr/>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87" name="Rectangle 186"/>
            <p:cNvSpPr/>
            <p:nvPr/>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188" name="Group 187"/>
          <p:cNvGrpSpPr/>
          <p:nvPr/>
        </p:nvGrpSpPr>
        <p:grpSpPr>
          <a:xfrm>
            <a:off x="3475604" y="6905748"/>
            <a:ext cx="549776" cy="100584"/>
            <a:chOff x="3141899" y="6907927"/>
            <a:chExt cx="549776" cy="100584"/>
          </a:xfrm>
        </p:grpSpPr>
        <p:sp>
          <p:nvSpPr>
            <p:cNvPr id="189" name="Rectangle 188"/>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90" name="Rectangle 189"/>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91" name="Rectangle 190"/>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92" name="Rectangle 191"/>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93" name="Rectangle 192"/>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194" name="Group 193"/>
          <p:cNvGrpSpPr/>
          <p:nvPr/>
        </p:nvGrpSpPr>
        <p:grpSpPr>
          <a:xfrm>
            <a:off x="4110315" y="6905748"/>
            <a:ext cx="549778" cy="100584"/>
            <a:chOff x="2057435" y="7026985"/>
            <a:chExt cx="549777" cy="100584"/>
          </a:xfrm>
        </p:grpSpPr>
        <p:sp>
          <p:nvSpPr>
            <p:cNvPr id="195" name="Rectangle 194"/>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96" name="Rectangle 195"/>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97" name="Rectangle 196"/>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98" name="Rectangle 197"/>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99" name="Rectangle 198"/>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spTree>
    <p:extLst>
      <p:ext uri="{BB962C8B-B14F-4D97-AF65-F5344CB8AC3E}">
        <p14:creationId xmlns:p14="http://schemas.microsoft.com/office/powerpoint/2010/main" val="2419595973"/>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 id="2147483699" r:id="rId24"/>
    <p:sldLayoutId id="2147483700" r:id="rId25"/>
    <p:sldLayoutId id="2147483701" r:id="rId26"/>
    <p:sldLayoutId id="2147483702" r:id="rId27"/>
    <p:sldLayoutId id="2147483703" r:id="rId28"/>
    <p:sldLayoutId id="2147483704" r:id="rId29"/>
    <p:sldLayoutId id="2147483705" r:id="rId30"/>
    <p:sldLayoutId id="2147483706" r:id="rId31"/>
    <p:sldLayoutId id="2147483707" r:id="rId32"/>
    <p:sldLayoutId id="2147483708" r:id="rId33"/>
    <p:sldLayoutId id="2147483709" r:id="rId34"/>
    <p:sldLayoutId id="2147483710" r:id="rId35"/>
    <p:sldLayoutId id="2147483711" r:id="rId36"/>
    <p:sldLayoutId id="2147483712" r:id="rId37"/>
    <p:sldLayoutId id="2147483713" r:id="rId38"/>
    <p:sldLayoutId id="2147483714" r:id="rId39"/>
    <p:sldLayoutId id="2147483715" r:id="rId40"/>
    <p:sldLayoutId id="2147483716" r:id="rId41"/>
    <p:sldLayoutId id="2147483717" r:id="rId42"/>
    <p:sldLayoutId id="2147483718" r:id="rId43"/>
    <p:sldLayoutId id="2147483719" r:id="rId44"/>
    <p:sldLayoutId id="2147483720" r:id="rId45"/>
    <p:sldLayoutId id="2147483721" r:id="rId46"/>
  </p:sldLayoutIdLst>
  <mc:AlternateContent xmlns:mc="http://schemas.openxmlformats.org/markup-compatibility/2006" xmlns:p14="http://schemas.microsoft.com/office/powerpoint/2010/main">
    <mc:Choice Requires="p14">
      <p:transition spd="slow" p14:dur="1250">
        <p14:doors dir="vert"/>
      </p:transition>
    </mc:Choice>
    <mc:Fallback xmlns="">
      <p:transition spd="slow">
        <p:fade/>
      </p:transition>
    </mc:Fallback>
  </mc:AlternateConten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19456" algn="l" defTabSz="914400" rtl="0" eaLnBrk="1" latinLnBrk="0" hangingPunct="1">
        <a:lnSpc>
          <a:spcPct val="90000"/>
        </a:lnSpc>
        <a:spcBef>
          <a:spcPts val="300"/>
        </a:spcBef>
        <a:spcAft>
          <a:spcPts val="0"/>
        </a:spcAft>
        <a:buFont typeface="Arial" panose="020B0604020202020204" pitchFamily="34" charset="0"/>
        <a:buChar char="–"/>
        <a:defRPr sz="1800" b="0" kern="1200">
          <a:solidFill>
            <a:schemeClr val="tx1"/>
          </a:solidFill>
          <a:latin typeface="+mn-lt"/>
          <a:ea typeface="+mn-ea"/>
          <a:cs typeface="+mn-cs"/>
        </a:defRPr>
      </a:lvl2pPr>
      <a:lvl3pPr marL="566928" indent="-169863" algn="l" defTabSz="914400" rtl="0" eaLnBrk="1" latinLnBrk="0" hangingPunct="1">
        <a:lnSpc>
          <a:spcPct val="90000"/>
        </a:lnSpc>
        <a:spcBef>
          <a:spcPts val="300"/>
        </a:spcBef>
        <a:spcAft>
          <a:spcPts val="0"/>
        </a:spcAft>
        <a:buFont typeface="Wingdings" panose="05000000000000000000" pitchFamily="2" charset="2"/>
        <a:buChar char="§"/>
        <a:defRPr sz="1600" b="0" kern="1200">
          <a:solidFill>
            <a:schemeClr val="tx1"/>
          </a:solidFill>
          <a:latin typeface="+mn-lt"/>
          <a:ea typeface="+mn-ea"/>
          <a:cs typeface="+mn-cs"/>
        </a:defRPr>
      </a:lvl3pPr>
      <a:lvl4pPr marL="740664" indent="-173736"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4pPr>
      <a:lvl5pPr marL="914400" indent="-173736"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2" orient="horz" pos="3573">
          <p15:clr>
            <a:srgbClr val="5ACBF0"/>
          </p15:clr>
        </p15:guide>
        <p15:guide id="13" orient="horz" pos="2160">
          <p15:clr>
            <a:srgbClr val="A4A3A4"/>
          </p15:clr>
        </p15:guide>
        <p15:guide id="14" pos="3840">
          <p15:clr>
            <a:srgbClr val="A4A3A4"/>
          </p15:clr>
        </p15:guide>
        <p15:guide id="15" orient="horz" pos="1128">
          <p15:clr>
            <a:srgbClr val="F26B43"/>
          </p15:clr>
        </p15:guide>
        <p15:guide id="16" orient="horz" pos="864">
          <p15:clr>
            <a:srgbClr val="5ACBF0"/>
          </p15:clr>
        </p15:guide>
        <p15:guide id="17" orient="horz" pos="136">
          <p15:clr>
            <a:srgbClr val="A4A3A4"/>
          </p15:clr>
        </p15:guide>
        <p15:guide id="18" orient="horz" pos="3837">
          <p15:clr>
            <a:srgbClr val="F26B43"/>
          </p15:clr>
        </p15:guide>
        <p15:guide id="19" orient="horz" pos="4190">
          <p15:clr>
            <a:srgbClr val="A4A3A4"/>
          </p15:clr>
        </p15:guide>
        <p15:guide id="20" pos="7424">
          <p15:clr>
            <a:srgbClr val="F26B43"/>
          </p15:clr>
        </p15:guide>
        <p15:guide id="21" pos="253">
          <p15:clr>
            <a:srgbClr val="F26B43"/>
          </p15:clr>
        </p15:guide>
        <p15:guide id="22" orient="horz" pos="3576">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4528" y="219457"/>
            <a:ext cx="11358880" cy="865273"/>
          </a:xfrm>
          <a:prstGeom prst="rect">
            <a:avLst/>
          </a:prstGeom>
          <a:ln w="3175">
            <a:noFill/>
            <a:prstDash val="dash"/>
          </a:ln>
        </p:spPr>
        <p:txBody>
          <a:bodyPr vert="horz" lIns="0" tIns="45720" rIns="91440" bIns="4572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414528" y="1371601"/>
            <a:ext cx="11367253" cy="4300151"/>
          </a:xfrm>
          <a:prstGeom prst="rect">
            <a:avLst/>
          </a:prstGeom>
          <a:ln>
            <a:noFill/>
          </a:ln>
        </p:spPr>
        <p:txBody>
          <a:bodyPr vert="horz" lIns="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9746121" y="-180"/>
            <a:ext cx="2039487" cy="206650"/>
          </a:xfrm>
          <a:prstGeom prst="rect">
            <a:avLst/>
          </a:prstGeom>
        </p:spPr>
        <p:txBody>
          <a:bodyPr vert="horz" lIns="91440" tIns="0" rIns="0" bIns="0" rtlCol="0" anchor="ctr"/>
          <a:lstStyle>
            <a:lvl1pPr algn="r">
              <a:defRPr sz="900">
                <a:solidFill>
                  <a:schemeClr val="tx1">
                    <a:tint val="75000"/>
                  </a:schemeClr>
                </a:solidFill>
              </a:defRPr>
            </a:lvl1pPr>
          </a:lstStyle>
          <a:p>
            <a:fld id="{35832948-E127-4461-9846-7F561EB70B87}" type="datetimeFigureOut">
              <a:rPr lang="en-US" smtClean="0"/>
              <a:t>6/18/2020</a:t>
            </a:fld>
            <a:endParaRPr lang="en-US"/>
          </a:p>
        </p:txBody>
      </p:sp>
      <p:sp>
        <p:nvSpPr>
          <p:cNvPr id="5" name="Footer Placeholder 4"/>
          <p:cNvSpPr>
            <a:spLocks noGrp="1"/>
          </p:cNvSpPr>
          <p:nvPr>
            <p:ph type="ftr" sz="quarter" idx="3"/>
          </p:nvPr>
        </p:nvSpPr>
        <p:spPr>
          <a:xfrm>
            <a:off x="3440004" y="6316981"/>
            <a:ext cx="7733456" cy="365113"/>
          </a:xfrm>
          <a:prstGeom prst="rect">
            <a:avLst/>
          </a:prstGeom>
        </p:spPr>
        <p:txBody>
          <a:bodyPr vert="horz" lIns="0" tIns="0" rIns="0" bIns="0" rtlCol="0" anchor="b"/>
          <a:lstStyle>
            <a:lvl1pPr algn="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1216640" y="6316980"/>
            <a:ext cx="570795" cy="373694"/>
          </a:xfrm>
          <a:prstGeom prst="rect">
            <a:avLst/>
          </a:prstGeom>
        </p:spPr>
        <p:txBody>
          <a:bodyPr vert="horz" lIns="91440" tIns="0" rIns="0" bIns="0" rtlCol="0" anchor="b"/>
          <a:lstStyle>
            <a:lvl1pPr algn="r">
              <a:defRPr sz="1050">
                <a:solidFill>
                  <a:schemeClr val="tx1"/>
                </a:solidFill>
              </a:defRPr>
            </a:lvl1pPr>
          </a:lstStyle>
          <a:p>
            <a:fld id="{5BA554F4-18A6-4DA7-BB10-5C27B33EB61F}" type="slidenum">
              <a:rPr lang="en-US" smtClean="0"/>
              <a:t>‹#›</a:t>
            </a:fld>
            <a:endParaRPr lang="en-US"/>
          </a:p>
        </p:txBody>
      </p:sp>
      <p:cxnSp>
        <p:nvCxnSpPr>
          <p:cNvPr id="7" name="Straight Connector 6"/>
          <p:cNvCxnSpPr/>
          <p:nvPr/>
        </p:nvCxnSpPr>
        <p:spPr>
          <a:xfrm>
            <a:off x="-395621" y="216275"/>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95621" y="137160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95621" y="179294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395621" y="342975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95621" y="609088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395621" y="6653049"/>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rot="5400000" flipH="1" flipV="1">
            <a:off x="255230"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rot="5400000" flipH="1" flipV="1">
            <a:off x="5947642"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rot="5400000" flipH="1" flipV="1">
            <a:off x="11637249"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2192000" y="216275"/>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2192000" y="137160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2192000" y="179294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12192000" y="342975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12192000" y="6091822"/>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2192000" y="665114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12287024" y="5975774"/>
            <a:ext cx="1706880" cy="142555"/>
          </a:xfrm>
          <a:prstGeom prst="rect">
            <a:avLst/>
          </a:prstGeom>
          <a:noFill/>
        </p:spPr>
        <p:txBody>
          <a:bodyPr wrap="square" lIns="0" tIns="0" rIns="0" bIns="0" rtlCol="0">
            <a:noAutofit/>
          </a:bodyPr>
          <a:lstStyle/>
          <a:p>
            <a:pPr algn="l"/>
            <a:r>
              <a:rPr lang="en-US" sz="800" dirty="0">
                <a:solidFill>
                  <a:schemeClr val="bg2">
                    <a:lumMod val="75000"/>
                  </a:schemeClr>
                </a:solidFill>
                <a:latin typeface="Arial Narrow" panose="020B0606020202030204" pitchFamily="34" charset="0"/>
              </a:rPr>
              <a:t>No content below the line</a:t>
            </a:r>
          </a:p>
        </p:txBody>
      </p:sp>
      <p:sp>
        <p:nvSpPr>
          <p:cNvPr id="30" name="TextBox 29"/>
          <p:cNvSpPr txBox="1"/>
          <p:nvPr/>
        </p:nvSpPr>
        <p:spPr>
          <a:xfrm>
            <a:off x="-1786823" y="5987532"/>
            <a:ext cx="1706880" cy="142555"/>
          </a:xfrm>
          <a:prstGeom prst="rect">
            <a:avLst/>
          </a:prstGeom>
          <a:noFill/>
        </p:spPr>
        <p:txBody>
          <a:bodyPr wrap="square" lIns="0" tIns="0" rIns="0" bIns="0" rtlCol="0">
            <a:noAutofit/>
          </a:bodyPr>
          <a:lstStyle/>
          <a:p>
            <a:pPr algn="r"/>
            <a:r>
              <a:rPr lang="en-US" sz="800" dirty="0">
                <a:solidFill>
                  <a:schemeClr val="bg2">
                    <a:lumMod val="75000"/>
                  </a:schemeClr>
                </a:solidFill>
                <a:latin typeface="Arial Narrow" panose="020B0606020202030204" pitchFamily="34" charset="0"/>
              </a:rPr>
              <a:t>No content below the line</a:t>
            </a:r>
          </a:p>
        </p:txBody>
      </p:sp>
      <p:sp>
        <p:nvSpPr>
          <p:cNvPr id="19" name="Rectangle 18"/>
          <p:cNvSpPr/>
          <p:nvPr/>
        </p:nvSpPr>
        <p:spPr>
          <a:xfrm>
            <a:off x="12287025" y="-4042"/>
            <a:ext cx="1386247" cy="1796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endParaRPr lang="en-US" sz="1000" dirty="0"/>
          </a:p>
        </p:txBody>
      </p:sp>
      <p:cxnSp>
        <p:nvCxnSpPr>
          <p:cNvPr id="70" name="Straight Connector 69"/>
          <p:cNvCxnSpPr/>
          <p:nvPr/>
        </p:nvCxnSpPr>
        <p:spPr>
          <a:xfrm>
            <a:off x="-395621" y="6653049"/>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55" name="Rectangle 154"/>
          <p:cNvSpPr/>
          <p:nvPr/>
        </p:nvSpPr>
        <p:spPr>
          <a:xfrm>
            <a:off x="0" y="6874278"/>
            <a:ext cx="12192000" cy="3428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cxnSp>
        <p:nvCxnSpPr>
          <p:cNvPr id="156" name="Straight Connector 155"/>
          <p:cNvCxnSpPr/>
          <p:nvPr/>
        </p:nvCxnSpPr>
        <p:spPr>
          <a:xfrm rot="5400000" flipH="1" flipV="1">
            <a:off x="5947642"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nvCxnSpPr>
        <p:spPr>
          <a:xfrm rot="5400000" flipH="1" flipV="1">
            <a:off x="11637249" y="7006358"/>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58" name="Rectangle 157"/>
          <p:cNvSpPr/>
          <p:nvPr/>
        </p:nvSpPr>
        <p:spPr>
          <a:xfrm>
            <a:off x="6311590" y="6892980"/>
            <a:ext cx="5880409"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dirty="0">
                <a:solidFill>
                  <a:schemeClr val="tx1"/>
                </a:solidFill>
              </a:rPr>
              <a:t>Footer :  </a:t>
            </a:r>
            <a:r>
              <a:rPr lang="en-US" sz="1000" baseline="0" dirty="0">
                <a:solidFill>
                  <a:schemeClr val="tx1"/>
                </a:solidFill>
                <a:sym typeface="Wingdings 3" panose="05040102010807070707" pitchFamily="18" charset="2"/>
              </a:rPr>
              <a:t>Never change the footer text on individual slides. Change, t</a:t>
            </a:r>
            <a:r>
              <a:rPr lang="en-US" sz="1000" baseline="0" dirty="0">
                <a:solidFill>
                  <a:schemeClr val="tx1"/>
                </a:solidFill>
              </a:rPr>
              <a:t>urn on or off footer by using </a:t>
            </a:r>
            <a:br>
              <a:rPr lang="en-US" sz="1000" baseline="0" dirty="0">
                <a:solidFill>
                  <a:schemeClr val="tx1"/>
                </a:solidFill>
              </a:rPr>
            </a:br>
            <a:r>
              <a:rPr lang="en-US" sz="1000" baseline="0" dirty="0">
                <a:solidFill>
                  <a:schemeClr val="tx1"/>
                </a:solidFill>
              </a:rPr>
              <a:t>Insert </a:t>
            </a:r>
            <a:r>
              <a:rPr lang="en-US" sz="1000" baseline="0" dirty="0">
                <a:solidFill>
                  <a:schemeClr val="tx1"/>
                </a:solidFill>
                <a:sym typeface="Wingdings 3" panose="05040102010807070707" pitchFamily="18" charset="2"/>
              </a:rPr>
              <a:t> Header &amp; Footer Enter / change text  Click Apply All. </a:t>
            </a:r>
            <a:endParaRPr lang="en-US" sz="1000" baseline="0" dirty="0">
              <a:solidFill>
                <a:schemeClr val="tx1"/>
              </a:solidFill>
            </a:endParaRPr>
          </a:p>
        </p:txBody>
      </p:sp>
      <p:sp>
        <p:nvSpPr>
          <p:cNvPr id="159" name="TextBox 158"/>
          <p:cNvSpPr txBox="1"/>
          <p:nvPr/>
        </p:nvSpPr>
        <p:spPr>
          <a:xfrm>
            <a:off x="55813" y="6883559"/>
            <a:ext cx="903163" cy="142555"/>
          </a:xfrm>
          <a:prstGeom prst="rect">
            <a:avLst/>
          </a:prstGeom>
          <a:noFill/>
        </p:spPr>
        <p:txBody>
          <a:bodyPr wrap="square" lIns="0" tIns="0" rIns="0" bIns="0" rtlCol="0">
            <a:noAutofit/>
          </a:bodyPr>
          <a:lstStyle/>
          <a:p>
            <a:pPr algn="l"/>
            <a:r>
              <a:rPr lang="en-US" sz="800" dirty="0">
                <a:solidFill>
                  <a:schemeClr val="tx1"/>
                </a:solidFill>
                <a:latin typeface="Arial Narrow" panose="020B0606020202030204" pitchFamily="34" charset="0"/>
              </a:rPr>
              <a:t>Data color order</a:t>
            </a:r>
            <a:r>
              <a:rPr lang="en-US" sz="800" baseline="0" dirty="0">
                <a:solidFill>
                  <a:schemeClr val="tx1"/>
                </a:solidFill>
                <a:latin typeface="Arial Narrow" panose="020B0606020202030204" pitchFamily="34" charset="0"/>
              </a:rPr>
              <a:t>:</a:t>
            </a:r>
            <a:endParaRPr lang="en-US" sz="800" dirty="0">
              <a:solidFill>
                <a:schemeClr val="tx1"/>
              </a:solidFill>
              <a:latin typeface="Arial Narrow" panose="020B0606020202030204" pitchFamily="34" charset="0"/>
            </a:endParaRPr>
          </a:p>
        </p:txBody>
      </p:sp>
      <p:sp>
        <p:nvSpPr>
          <p:cNvPr id="160" name="TextBox 159"/>
          <p:cNvSpPr txBox="1"/>
          <p:nvPr/>
        </p:nvSpPr>
        <p:spPr>
          <a:xfrm>
            <a:off x="2804797" y="7042641"/>
            <a:ext cx="1320629" cy="136444"/>
          </a:xfrm>
          <a:prstGeom prst="rect">
            <a:avLst/>
          </a:prstGeom>
          <a:noFill/>
        </p:spPr>
        <p:txBody>
          <a:bodyPr wrap="square" lIns="0" tIns="0" rIns="0" bIns="0" rtlCol="0">
            <a:noAutofit/>
          </a:bodyPr>
          <a:lstStyle/>
          <a:p>
            <a:pPr algn="l"/>
            <a:r>
              <a:rPr lang="en-US" sz="800" dirty="0">
                <a:solidFill>
                  <a:schemeClr val="tx1"/>
                </a:solidFill>
                <a:latin typeface="Arial Narrow" panose="020B0606020202030204" pitchFamily="34" charset="0"/>
              </a:rPr>
              <a:t>Used with accent colors: </a:t>
            </a:r>
          </a:p>
        </p:txBody>
      </p:sp>
      <p:grpSp>
        <p:nvGrpSpPr>
          <p:cNvPr id="161" name="Group 160"/>
          <p:cNvGrpSpPr/>
          <p:nvPr/>
        </p:nvGrpSpPr>
        <p:grpSpPr>
          <a:xfrm>
            <a:off x="731575" y="6907927"/>
            <a:ext cx="1601607" cy="100584"/>
            <a:chOff x="914339" y="6913770"/>
            <a:chExt cx="1558450" cy="100584"/>
          </a:xfrm>
        </p:grpSpPr>
        <p:sp>
          <p:nvSpPr>
            <p:cNvPr id="162" name="Rectangle 161"/>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63" name="Rectangle 162"/>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64" name="Rectangle 163"/>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65" name="Rectangle 164"/>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66" name="Rectangle 165"/>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67" name="Rectangle 166"/>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68" name="Rectangle 167"/>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69" name="Rectangle 168"/>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170" name="Rectangle 169"/>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71" name="Rectangle 170"/>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sp>
          <p:nvSpPr>
            <p:cNvPr id="172" name="Rectangle 171"/>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73" name="Rectangle 172"/>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174" name="Rectangle 173"/>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75" name="Rectangle 174"/>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grpSp>
      <p:sp>
        <p:nvSpPr>
          <p:cNvPr id="176" name="TextBox 175"/>
          <p:cNvSpPr txBox="1"/>
          <p:nvPr/>
        </p:nvSpPr>
        <p:spPr>
          <a:xfrm>
            <a:off x="2535078" y="6883559"/>
            <a:ext cx="907901" cy="142555"/>
          </a:xfrm>
          <a:prstGeom prst="rect">
            <a:avLst/>
          </a:prstGeom>
          <a:noFill/>
        </p:spPr>
        <p:txBody>
          <a:bodyPr wrap="square" lIns="0" tIns="0" rIns="0" bIns="0" rtlCol="0">
            <a:noAutofit/>
          </a:bodyPr>
          <a:lstStyle/>
          <a:p>
            <a:pPr algn="l"/>
            <a:r>
              <a:rPr lang="en-US" sz="800" dirty="0">
                <a:solidFill>
                  <a:schemeClr val="tx1"/>
                </a:solidFill>
                <a:latin typeface="Arial Narrow" panose="020B0606020202030204" pitchFamily="34" charset="0"/>
              </a:rPr>
              <a:t>Complimentary colors:</a:t>
            </a:r>
          </a:p>
        </p:txBody>
      </p:sp>
      <p:grpSp>
        <p:nvGrpSpPr>
          <p:cNvPr id="177" name="Group 176"/>
          <p:cNvGrpSpPr/>
          <p:nvPr/>
        </p:nvGrpSpPr>
        <p:grpSpPr>
          <a:xfrm>
            <a:off x="2551546" y="7022893"/>
            <a:ext cx="218964" cy="91440"/>
            <a:chOff x="2279174" y="7027888"/>
            <a:chExt cx="164223" cy="91440"/>
          </a:xfrm>
        </p:grpSpPr>
        <p:cxnSp>
          <p:nvCxnSpPr>
            <p:cNvPr id="178" name="Straight Arrow Connector 177"/>
            <p:cNvCxnSpPr>
              <a:cxnSpLocks/>
            </p:cNvCxnSpPr>
            <p:nvPr userDrawn="1"/>
          </p:nvCxnSpPr>
          <p:spPr>
            <a:xfrm>
              <a:off x="2279174" y="7114593"/>
              <a:ext cx="164223"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a:cxnSpLocks/>
            </p:cNvCxnSpPr>
            <p:nvPr userDrawn="1"/>
          </p:nvCxnSpPr>
          <p:spPr>
            <a:xfrm flipV="1">
              <a:off x="2281672" y="7027888"/>
              <a:ext cx="0" cy="9144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80" name="Group 179"/>
          <p:cNvGrpSpPr/>
          <p:nvPr/>
        </p:nvGrpSpPr>
        <p:grpSpPr>
          <a:xfrm>
            <a:off x="3760820" y="7063094"/>
            <a:ext cx="778165" cy="100584"/>
            <a:chOff x="1566748" y="7022234"/>
            <a:chExt cx="778165" cy="100584"/>
          </a:xfrm>
        </p:grpSpPr>
        <p:sp>
          <p:nvSpPr>
            <p:cNvPr id="181" name="Rectangle 180"/>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82" name="Rectangle 181"/>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83" name="Rectangle 182"/>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84" name="Rectangle 183"/>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85" name="Rectangle 184"/>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86" name="Rectangle 185"/>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87" name="Rectangle 186"/>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188" name="Group 187"/>
          <p:cNvGrpSpPr/>
          <p:nvPr/>
        </p:nvGrpSpPr>
        <p:grpSpPr>
          <a:xfrm>
            <a:off x="3475603" y="6905748"/>
            <a:ext cx="549776" cy="100584"/>
            <a:chOff x="3141899" y="6907927"/>
            <a:chExt cx="549776" cy="100584"/>
          </a:xfrm>
        </p:grpSpPr>
        <p:sp>
          <p:nvSpPr>
            <p:cNvPr id="189" name="Rectangle 188"/>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90" name="Rectangle 189"/>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91" name="Rectangle 190"/>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92" name="Rectangle 191"/>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93" name="Rectangle 192"/>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194" name="Group 193"/>
          <p:cNvGrpSpPr/>
          <p:nvPr/>
        </p:nvGrpSpPr>
        <p:grpSpPr>
          <a:xfrm>
            <a:off x="4110314" y="6905748"/>
            <a:ext cx="549777" cy="100584"/>
            <a:chOff x="2057435" y="7026985"/>
            <a:chExt cx="549777" cy="100584"/>
          </a:xfrm>
        </p:grpSpPr>
        <p:sp>
          <p:nvSpPr>
            <p:cNvPr id="195" name="Rectangle 194"/>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96" name="Rectangle 195"/>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97" name="Rectangle 196"/>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98" name="Rectangle 197"/>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99" name="Rectangle 198"/>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pic>
        <p:nvPicPr>
          <p:cNvPr id="74" name="Market Intelligence">
            <a:extLst>
              <a:ext uri="{FF2B5EF4-FFF2-40B4-BE49-F238E27FC236}">
                <a16:creationId xmlns:a16="http://schemas.microsoft.com/office/drawing/2014/main" id="{508BA3C7-D2BA-4DA3-88DD-0A595243FFD2}"/>
              </a:ext>
            </a:extLst>
          </p:cNvPr>
          <p:cNvPicPr>
            <a:picLocks noChangeAspect="1"/>
          </p:cNvPicPr>
          <p:nvPr/>
        </p:nvPicPr>
        <p:blipFill>
          <a:blip r:embed="rId35"/>
          <a:stretch>
            <a:fillRect/>
          </a:stretch>
        </p:blipFill>
        <p:spPr>
          <a:xfrm>
            <a:off x="265093" y="6083223"/>
            <a:ext cx="1978195" cy="713232"/>
          </a:xfrm>
          <a:prstGeom prst="rect">
            <a:avLst/>
          </a:prstGeom>
        </p:spPr>
      </p:pic>
    </p:spTree>
    <p:extLst>
      <p:ext uri="{BB962C8B-B14F-4D97-AF65-F5344CB8AC3E}">
        <p14:creationId xmlns:p14="http://schemas.microsoft.com/office/powerpoint/2010/main" val="190688904"/>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 id="2147483741" r:id="rId18"/>
    <p:sldLayoutId id="2147483742" r:id="rId19"/>
    <p:sldLayoutId id="2147483743" r:id="rId20"/>
    <p:sldLayoutId id="2147483744" r:id="rId21"/>
    <p:sldLayoutId id="2147483745" r:id="rId22"/>
    <p:sldLayoutId id="2147483746" r:id="rId23"/>
    <p:sldLayoutId id="2147483747" r:id="rId24"/>
    <p:sldLayoutId id="2147483748" r:id="rId25"/>
    <p:sldLayoutId id="2147483749" r:id="rId26"/>
    <p:sldLayoutId id="2147483750" r:id="rId27"/>
    <p:sldLayoutId id="2147483751" r:id="rId28"/>
    <p:sldLayoutId id="2147483752" r:id="rId29"/>
    <p:sldLayoutId id="2147483753" r:id="rId30"/>
    <p:sldLayoutId id="2147483754" r:id="rId31"/>
    <p:sldLayoutId id="2147483755" r:id="rId32"/>
    <p:sldLayoutId id="2147483756" r:id="rId33"/>
  </p:sldLayoutIdLst>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19456" algn="l" defTabSz="914400" rtl="0" eaLnBrk="1" latinLnBrk="0" hangingPunct="1">
        <a:lnSpc>
          <a:spcPct val="90000"/>
        </a:lnSpc>
        <a:spcBef>
          <a:spcPts val="300"/>
        </a:spcBef>
        <a:spcAft>
          <a:spcPts val="0"/>
        </a:spcAft>
        <a:buFont typeface="Arial" panose="020B0604020202020204" pitchFamily="34" charset="0"/>
        <a:buChar char="–"/>
        <a:defRPr sz="1800" b="0" kern="1200">
          <a:solidFill>
            <a:schemeClr val="tx1"/>
          </a:solidFill>
          <a:latin typeface="+mn-lt"/>
          <a:ea typeface="+mn-ea"/>
          <a:cs typeface="+mn-cs"/>
        </a:defRPr>
      </a:lvl2pPr>
      <a:lvl3pPr marL="566928" indent="-169863" algn="l" defTabSz="914400" rtl="0" eaLnBrk="1" latinLnBrk="0" hangingPunct="1">
        <a:lnSpc>
          <a:spcPct val="90000"/>
        </a:lnSpc>
        <a:spcBef>
          <a:spcPts val="300"/>
        </a:spcBef>
        <a:spcAft>
          <a:spcPts val="0"/>
        </a:spcAft>
        <a:buFont typeface="Wingdings" panose="05000000000000000000" pitchFamily="2" charset="2"/>
        <a:buChar char="§"/>
        <a:defRPr sz="1600" b="0" kern="1200">
          <a:solidFill>
            <a:schemeClr val="tx1"/>
          </a:solidFill>
          <a:latin typeface="+mn-lt"/>
          <a:ea typeface="+mn-ea"/>
          <a:cs typeface="+mn-cs"/>
        </a:defRPr>
      </a:lvl3pPr>
      <a:lvl4pPr marL="740664" indent="-173736"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4pPr>
      <a:lvl5pPr marL="914400" indent="-173736"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A4A3A4"/>
          </p15:clr>
        </p15:guide>
        <p15:guide id="2" pos="3840">
          <p15:clr>
            <a:srgbClr val="A4A3A4"/>
          </p15:clr>
        </p15:guide>
        <p15:guide id="3" orient="horz" pos="1128">
          <p15:clr>
            <a:srgbClr val="F26B43"/>
          </p15:clr>
        </p15:guide>
        <p15:guide id="5" orient="horz" pos="864">
          <p15:clr>
            <a:srgbClr val="5ACBF0"/>
          </p15:clr>
        </p15:guide>
        <p15:guide id="6" orient="horz" pos="136">
          <p15:clr>
            <a:srgbClr val="A4A3A4"/>
          </p15:clr>
        </p15:guide>
        <p15:guide id="7" orient="horz" pos="3837">
          <p15:clr>
            <a:srgbClr val="F26B43"/>
          </p15:clr>
        </p15:guide>
        <p15:guide id="8" orient="horz" pos="4190">
          <p15:clr>
            <a:srgbClr val="A4A3A4"/>
          </p15:clr>
        </p15:guide>
        <p15:guide id="9" pos="7424">
          <p15:clr>
            <a:srgbClr val="F26B43"/>
          </p15:clr>
        </p15:guide>
        <p15:guide id="10" pos="253">
          <p15:clr>
            <a:srgbClr val="F26B43"/>
          </p15:clr>
        </p15:guide>
        <p15:guide id="12" orient="horz" pos="3573">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7.svg"/><Relationship Id="rId13" Type="http://schemas.openxmlformats.org/officeDocument/2006/relationships/image" Target="../media/image55.png"/><Relationship Id="rId18" Type="http://schemas.openxmlformats.org/officeDocument/2006/relationships/image" Target="../media/image17.svg"/><Relationship Id="rId3" Type="http://schemas.openxmlformats.org/officeDocument/2006/relationships/slideLayout" Target="../slideLayouts/slideLayout2.xml"/><Relationship Id="rId21" Type="http://schemas.openxmlformats.org/officeDocument/2006/relationships/image" Target="../media/image36.png"/><Relationship Id="rId7" Type="http://schemas.openxmlformats.org/officeDocument/2006/relationships/image" Target="../media/image52.png"/><Relationship Id="rId12" Type="http://schemas.openxmlformats.org/officeDocument/2006/relationships/image" Target="../media/image11.svg"/><Relationship Id="rId17" Type="http://schemas.openxmlformats.org/officeDocument/2006/relationships/image" Target="../media/image57.png"/><Relationship Id="rId2" Type="http://schemas.openxmlformats.org/officeDocument/2006/relationships/audio" Target="../media/media9.m4a"/><Relationship Id="rId16" Type="http://schemas.openxmlformats.org/officeDocument/2006/relationships/image" Target="../media/image15.svg"/><Relationship Id="rId20" Type="http://schemas.openxmlformats.org/officeDocument/2006/relationships/image" Target="../media/image19.svg"/><Relationship Id="rId1" Type="http://schemas.microsoft.com/office/2007/relationships/media" Target="../media/media9.m4a"/><Relationship Id="rId6" Type="http://schemas.openxmlformats.org/officeDocument/2006/relationships/image" Target="../media/image5.svg"/><Relationship Id="rId11" Type="http://schemas.openxmlformats.org/officeDocument/2006/relationships/image" Target="../media/image54.png"/><Relationship Id="rId5" Type="http://schemas.openxmlformats.org/officeDocument/2006/relationships/image" Target="../media/image51.png"/><Relationship Id="rId15" Type="http://schemas.openxmlformats.org/officeDocument/2006/relationships/image" Target="../media/image56.png"/><Relationship Id="rId10" Type="http://schemas.openxmlformats.org/officeDocument/2006/relationships/image" Target="../media/image9.svg"/><Relationship Id="rId19" Type="http://schemas.openxmlformats.org/officeDocument/2006/relationships/image" Target="../media/image58.png"/><Relationship Id="rId4" Type="http://schemas.openxmlformats.org/officeDocument/2006/relationships/notesSlide" Target="../notesSlides/notesSlide10.xml"/><Relationship Id="rId9" Type="http://schemas.openxmlformats.org/officeDocument/2006/relationships/image" Target="../media/image53.png"/><Relationship Id="rId14" Type="http://schemas.openxmlformats.org/officeDocument/2006/relationships/image" Target="../media/image13.svg"/></Relationships>
</file>

<file path=ppt/slides/_rels/slide12.xml.rels><?xml version="1.0" encoding="UTF-8" standalone="yes"?>
<Relationships xmlns="http://schemas.openxmlformats.org/package/2006/relationships"><Relationship Id="rId8" Type="http://schemas.openxmlformats.org/officeDocument/2006/relationships/image" Target="../media/image7.svg"/><Relationship Id="rId13" Type="http://schemas.openxmlformats.org/officeDocument/2006/relationships/image" Target="../media/image55.png"/><Relationship Id="rId18" Type="http://schemas.openxmlformats.org/officeDocument/2006/relationships/image" Target="../media/image17.svg"/><Relationship Id="rId3" Type="http://schemas.openxmlformats.org/officeDocument/2006/relationships/slideLayout" Target="../slideLayouts/slideLayout2.xml"/><Relationship Id="rId21" Type="http://schemas.openxmlformats.org/officeDocument/2006/relationships/image" Target="../media/image36.png"/><Relationship Id="rId7" Type="http://schemas.openxmlformats.org/officeDocument/2006/relationships/image" Target="../media/image52.png"/><Relationship Id="rId12" Type="http://schemas.openxmlformats.org/officeDocument/2006/relationships/image" Target="../media/image11.svg"/><Relationship Id="rId17" Type="http://schemas.openxmlformats.org/officeDocument/2006/relationships/image" Target="../media/image57.png"/><Relationship Id="rId2" Type="http://schemas.openxmlformats.org/officeDocument/2006/relationships/audio" Target="../media/media10.m4a"/><Relationship Id="rId16" Type="http://schemas.openxmlformats.org/officeDocument/2006/relationships/image" Target="../media/image15.svg"/><Relationship Id="rId20" Type="http://schemas.openxmlformats.org/officeDocument/2006/relationships/image" Target="../media/image19.svg"/><Relationship Id="rId1" Type="http://schemas.microsoft.com/office/2007/relationships/media" Target="../media/media10.m4a"/><Relationship Id="rId6" Type="http://schemas.openxmlformats.org/officeDocument/2006/relationships/image" Target="../media/image5.svg"/><Relationship Id="rId11" Type="http://schemas.openxmlformats.org/officeDocument/2006/relationships/image" Target="../media/image54.png"/><Relationship Id="rId5" Type="http://schemas.openxmlformats.org/officeDocument/2006/relationships/image" Target="../media/image51.png"/><Relationship Id="rId15" Type="http://schemas.openxmlformats.org/officeDocument/2006/relationships/image" Target="../media/image56.png"/><Relationship Id="rId10" Type="http://schemas.openxmlformats.org/officeDocument/2006/relationships/image" Target="../media/image9.svg"/><Relationship Id="rId19" Type="http://schemas.openxmlformats.org/officeDocument/2006/relationships/image" Target="../media/image58.png"/><Relationship Id="rId4" Type="http://schemas.openxmlformats.org/officeDocument/2006/relationships/notesSlide" Target="../notesSlides/notesSlide11.xml"/><Relationship Id="rId9" Type="http://schemas.openxmlformats.org/officeDocument/2006/relationships/image" Target="../media/image53.png"/><Relationship Id="rId14" Type="http://schemas.openxmlformats.org/officeDocument/2006/relationships/image" Target="../media/image13.svg"/></Relationships>
</file>

<file path=ppt/slides/_rels/slide13.xml.rels><?xml version="1.0" encoding="UTF-8" standalone="yes"?>
<Relationships xmlns="http://schemas.openxmlformats.org/package/2006/relationships"><Relationship Id="rId8" Type="http://schemas.openxmlformats.org/officeDocument/2006/relationships/image" Target="../media/image9.svg"/><Relationship Id="rId13" Type="http://schemas.openxmlformats.org/officeDocument/2006/relationships/image" Target="../media/image56.png"/><Relationship Id="rId18" Type="http://schemas.openxmlformats.org/officeDocument/2006/relationships/image" Target="../media/image19.svg"/><Relationship Id="rId3" Type="http://schemas.openxmlformats.org/officeDocument/2006/relationships/image" Target="../media/image51.png"/><Relationship Id="rId7" Type="http://schemas.openxmlformats.org/officeDocument/2006/relationships/image" Target="../media/image53.png"/><Relationship Id="rId12" Type="http://schemas.openxmlformats.org/officeDocument/2006/relationships/image" Target="../media/image13.svg"/><Relationship Id="rId17" Type="http://schemas.openxmlformats.org/officeDocument/2006/relationships/image" Target="../media/image58.png"/><Relationship Id="rId2" Type="http://schemas.openxmlformats.org/officeDocument/2006/relationships/notesSlide" Target="../notesSlides/notesSlide12.xml"/><Relationship Id="rId16" Type="http://schemas.openxmlformats.org/officeDocument/2006/relationships/image" Target="../media/image17.svg"/><Relationship Id="rId1" Type="http://schemas.openxmlformats.org/officeDocument/2006/relationships/slideLayout" Target="../slideLayouts/slideLayout2.xml"/><Relationship Id="rId6" Type="http://schemas.openxmlformats.org/officeDocument/2006/relationships/image" Target="../media/image7.svg"/><Relationship Id="rId11" Type="http://schemas.openxmlformats.org/officeDocument/2006/relationships/image" Target="../media/image55.png"/><Relationship Id="rId5" Type="http://schemas.openxmlformats.org/officeDocument/2006/relationships/image" Target="../media/image52.png"/><Relationship Id="rId15" Type="http://schemas.openxmlformats.org/officeDocument/2006/relationships/image" Target="../media/image57.png"/><Relationship Id="rId10" Type="http://schemas.openxmlformats.org/officeDocument/2006/relationships/image" Target="../media/image11.svg"/><Relationship Id="rId4" Type="http://schemas.openxmlformats.org/officeDocument/2006/relationships/image" Target="../media/image5.svg"/><Relationship Id="rId9" Type="http://schemas.openxmlformats.org/officeDocument/2006/relationships/image" Target="../media/image54.png"/><Relationship Id="rId14" Type="http://schemas.openxmlformats.org/officeDocument/2006/relationships/image" Target="../media/image15.svg"/></Relationships>
</file>

<file path=ppt/slides/_rels/slide14.xml.rels><?xml version="1.0" encoding="UTF-8" standalone="yes"?>
<Relationships xmlns="http://schemas.openxmlformats.org/package/2006/relationships"><Relationship Id="rId8" Type="http://schemas.openxmlformats.org/officeDocument/2006/relationships/image" Target="../media/image7.svg"/><Relationship Id="rId13" Type="http://schemas.openxmlformats.org/officeDocument/2006/relationships/image" Target="../media/image55.png"/><Relationship Id="rId18" Type="http://schemas.openxmlformats.org/officeDocument/2006/relationships/image" Target="../media/image17.svg"/><Relationship Id="rId3" Type="http://schemas.openxmlformats.org/officeDocument/2006/relationships/slideLayout" Target="../slideLayouts/slideLayout2.xml"/><Relationship Id="rId21" Type="http://schemas.openxmlformats.org/officeDocument/2006/relationships/image" Target="../media/image36.png"/><Relationship Id="rId7" Type="http://schemas.openxmlformats.org/officeDocument/2006/relationships/image" Target="../media/image52.png"/><Relationship Id="rId12" Type="http://schemas.openxmlformats.org/officeDocument/2006/relationships/image" Target="../media/image11.svg"/><Relationship Id="rId17" Type="http://schemas.openxmlformats.org/officeDocument/2006/relationships/image" Target="../media/image57.png"/><Relationship Id="rId2" Type="http://schemas.openxmlformats.org/officeDocument/2006/relationships/audio" Target="../media/media11.m4a"/><Relationship Id="rId16" Type="http://schemas.openxmlformats.org/officeDocument/2006/relationships/image" Target="../media/image15.svg"/><Relationship Id="rId20" Type="http://schemas.openxmlformats.org/officeDocument/2006/relationships/image" Target="../media/image19.svg"/><Relationship Id="rId1" Type="http://schemas.microsoft.com/office/2007/relationships/media" Target="../media/media11.m4a"/><Relationship Id="rId6" Type="http://schemas.openxmlformats.org/officeDocument/2006/relationships/image" Target="../media/image5.svg"/><Relationship Id="rId11" Type="http://schemas.openxmlformats.org/officeDocument/2006/relationships/image" Target="../media/image54.png"/><Relationship Id="rId5" Type="http://schemas.openxmlformats.org/officeDocument/2006/relationships/image" Target="../media/image51.png"/><Relationship Id="rId15" Type="http://schemas.openxmlformats.org/officeDocument/2006/relationships/image" Target="../media/image56.png"/><Relationship Id="rId10" Type="http://schemas.openxmlformats.org/officeDocument/2006/relationships/image" Target="../media/image9.svg"/><Relationship Id="rId19" Type="http://schemas.openxmlformats.org/officeDocument/2006/relationships/image" Target="../media/image58.png"/><Relationship Id="rId4" Type="http://schemas.openxmlformats.org/officeDocument/2006/relationships/notesSlide" Target="../notesSlides/notesSlide13.xml"/><Relationship Id="rId9" Type="http://schemas.openxmlformats.org/officeDocument/2006/relationships/image" Target="../media/image53.png"/><Relationship Id="rId14" Type="http://schemas.openxmlformats.org/officeDocument/2006/relationships/image" Target="../media/image13.svg"/></Relationships>
</file>

<file path=ppt/slides/_rels/slide15.xml.rels><?xml version="1.0" encoding="UTF-8" standalone="yes"?>
<Relationships xmlns="http://schemas.openxmlformats.org/package/2006/relationships"><Relationship Id="rId8" Type="http://schemas.openxmlformats.org/officeDocument/2006/relationships/image" Target="../media/image7.svg"/><Relationship Id="rId13" Type="http://schemas.openxmlformats.org/officeDocument/2006/relationships/image" Target="../media/image55.png"/><Relationship Id="rId18" Type="http://schemas.openxmlformats.org/officeDocument/2006/relationships/image" Target="../media/image17.svg"/><Relationship Id="rId3" Type="http://schemas.openxmlformats.org/officeDocument/2006/relationships/slideLayout" Target="../slideLayouts/slideLayout2.xml"/><Relationship Id="rId21" Type="http://schemas.openxmlformats.org/officeDocument/2006/relationships/image" Target="../media/image36.png"/><Relationship Id="rId7" Type="http://schemas.openxmlformats.org/officeDocument/2006/relationships/image" Target="../media/image52.png"/><Relationship Id="rId12" Type="http://schemas.openxmlformats.org/officeDocument/2006/relationships/image" Target="../media/image11.svg"/><Relationship Id="rId17" Type="http://schemas.openxmlformats.org/officeDocument/2006/relationships/image" Target="../media/image57.png"/><Relationship Id="rId2" Type="http://schemas.openxmlformats.org/officeDocument/2006/relationships/audio" Target="../media/media5.m4a"/><Relationship Id="rId16" Type="http://schemas.openxmlformats.org/officeDocument/2006/relationships/image" Target="../media/image15.svg"/><Relationship Id="rId20" Type="http://schemas.openxmlformats.org/officeDocument/2006/relationships/image" Target="../media/image19.svg"/><Relationship Id="rId1" Type="http://schemas.microsoft.com/office/2007/relationships/media" Target="../media/media5.m4a"/><Relationship Id="rId6" Type="http://schemas.openxmlformats.org/officeDocument/2006/relationships/image" Target="../media/image5.svg"/><Relationship Id="rId11" Type="http://schemas.openxmlformats.org/officeDocument/2006/relationships/image" Target="../media/image54.png"/><Relationship Id="rId5" Type="http://schemas.openxmlformats.org/officeDocument/2006/relationships/image" Target="../media/image51.png"/><Relationship Id="rId15" Type="http://schemas.openxmlformats.org/officeDocument/2006/relationships/image" Target="../media/image56.png"/><Relationship Id="rId10" Type="http://schemas.openxmlformats.org/officeDocument/2006/relationships/image" Target="../media/image9.svg"/><Relationship Id="rId19" Type="http://schemas.openxmlformats.org/officeDocument/2006/relationships/image" Target="../media/image58.png"/><Relationship Id="rId4" Type="http://schemas.openxmlformats.org/officeDocument/2006/relationships/notesSlide" Target="../notesSlides/notesSlide14.xml"/><Relationship Id="rId9" Type="http://schemas.openxmlformats.org/officeDocument/2006/relationships/image" Target="../media/image53.png"/><Relationship Id="rId14" Type="http://schemas.openxmlformats.org/officeDocument/2006/relationships/image" Target="../media/image13.svg"/></Relationships>
</file>

<file path=ppt/slides/_rels/slide16.xml.rels><?xml version="1.0" encoding="UTF-8" standalone="yes"?>
<Relationships xmlns="http://schemas.openxmlformats.org/package/2006/relationships"><Relationship Id="rId8" Type="http://schemas.openxmlformats.org/officeDocument/2006/relationships/image" Target="../media/image7.svg"/><Relationship Id="rId13" Type="http://schemas.openxmlformats.org/officeDocument/2006/relationships/image" Target="../media/image55.png"/><Relationship Id="rId18" Type="http://schemas.openxmlformats.org/officeDocument/2006/relationships/image" Target="../media/image17.svg"/><Relationship Id="rId3" Type="http://schemas.openxmlformats.org/officeDocument/2006/relationships/slideLayout" Target="../slideLayouts/slideLayout2.xml"/><Relationship Id="rId21" Type="http://schemas.openxmlformats.org/officeDocument/2006/relationships/image" Target="../media/image36.png"/><Relationship Id="rId7" Type="http://schemas.openxmlformats.org/officeDocument/2006/relationships/image" Target="../media/image52.png"/><Relationship Id="rId12" Type="http://schemas.openxmlformats.org/officeDocument/2006/relationships/image" Target="../media/image11.svg"/><Relationship Id="rId17" Type="http://schemas.openxmlformats.org/officeDocument/2006/relationships/image" Target="../media/image57.png"/><Relationship Id="rId2" Type="http://schemas.openxmlformats.org/officeDocument/2006/relationships/audio" Target="../media/media12.m4a"/><Relationship Id="rId16" Type="http://schemas.openxmlformats.org/officeDocument/2006/relationships/image" Target="../media/image15.svg"/><Relationship Id="rId20" Type="http://schemas.openxmlformats.org/officeDocument/2006/relationships/image" Target="../media/image19.svg"/><Relationship Id="rId1" Type="http://schemas.microsoft.com/office/2007/relationships/media" Target="../media/media12.m4a"/><Relationship Id="rId6" Type="http://schemas.openxmlformats.org/officeDocument/2006/relationships/image" Target="../media/image5.svg"/><Relationship Id="rId11" Type="http://schemas.openxmlformats.org/officeDocument/2006/relationships/image" Target="../media/image54.png"/><Relationship Id="rId5" Type="http://schemas.openxmlformats.org/officeDocument/2006/relationships/image" Target="../media/image51.png"/><Relationship Id="rId15" Type="http://schemas.openxmlformats.org/officeDocument/2006/relationships/image" Target="../media/image56.png"/><Relationship Id="rId10" Type="http://schemas.openxmlformats.org/officeDocument/2006/relationships/image" Target="../media/image9.svg"/><Relationship Id="rId19" Type="http://schemas.openxmlformats.org/officeDocument/2006/relationships/image" Target="../media/image58.png"/><Relationship Id="rId4" Type="http://schemas.openxmlformats.org/officeDocument/2006/relationships/notesSlide" Target="../notesSlides/notesSlide15.xml"/><Relationship Id="rId9" Type="http://schemas.openxmlformats.org/officeDocument/2006/relationships/image" Target="../media/image53.png"/><Relationship Id="rId14" Type="http://schemas.openxmlformats.org/officeDocument/2006/relationships/image" Target="../media/image13.svg"/></Relationships>
</file>

<file path=ppt/slides/_rels/slide17.xml.rels><?xml version="1.0" encoding="UTF-8" standalone="yes"?>
<Relationships xmlns="http://schemas.openxmlformats.org/package/2006/relationships"><Relationship Id="rId8" Type="http://schemas.openxmlformats.org/officeDocument/2006/relationships/image" Target="../media/image7.svg"/><Relationship Id="rId13" Type="http://schemas.openxmlformats.org/officeDocument/2006/relationships/image" Target="../media/image55.png"/><Relationship Id="rId18" Type="http://schemas.openxmlformats.org/officeDocument/2006/relationships/image" Target="../media/image17.svg"/><Relationship Id="rId3" Type="http://schemas.openxmlformats.org/officeDocument/2006/relationships/slideLayout" Target="../slideLayouts/slideLayout2.xml"/><Relationship Id="rId21" Type="http://schemas.openxmlformats.org/officeDocument/2006/relationships/image" Target="../media/image36.png"/><Relationship Id="rId7" Type="http://schemas.openxmlformats.org/officeDocument/2006/relationships/image" Target="../media/image52.png"/><Relationship Id="rId12" Type="http://schemas.openxmlformats.org/officeDocument/2006/relationships/image" Target="../media/image11.svg"/><Relationship Id="rId17" Type="http://schemas.openxmlformats.org/officeDocument/2006/relationships/image" Target="../media/image57.png"/><Relationship Id="rId2" Type="http://schemas.openxmlformats.org/officeDocument/2006/relationships/audio" Target="../media/media5.m4a"/><Relationship Id="rId16" Type="http://schemas.openxmlformats.org/officeDocument/2006/relationships/image" Target="../media/image15.svg"/><Relationship Id="rId20" Type="http://schemas.openxmlformats.org/officeDocument/2006/relationships/image" Target="../media/image19.svg"/><Relationship Id="rId1" Type="http://schemas.microsoft.com/office/2007/relationships/media" Target="../media/media5.m4a"/><Relationship Id="rId6" Type="http://schemas.openxmlformats.org/officeDocument/2006/relationships/image" Target="../media/image5.svg"/><Relationship Id="rId11" Type="http://schemas.openxmlformats.org/officeDocument/2006/relationships/image" Target="../media/image54.png"/><Relationship Id="rId5" Type="http://schemas.openxmlformats.org/officeDocument/2006/relationships/image" Target="../media/image51.png"/><Relationship Id="rId15" Type="http://schemas.openxmlformats.org/officeDocument/2006/relationships/image" Target="../media/image56.png"/><Relationship Id="rId10" Type="http://schemas.openxmlformats.org/officeDocument/2006/relationships/image" Target="../media/image9.svg"/><Relationship Id="rId19" Type="http://schemas.openxmlformats.org/officeDocument/2006/relationships/image" Target="../media/image58.png"/><Relationship Id="rId4" Type="http://schemas.openxmlformats.org/officeDocument/2006/relationships/notesSlide" Target="../notesSlides/notesSlide16.xml"/><Relationship Id="rId9" Type="http://schemas.openxmlformats.org/officeDocument/2006/relationships/image" Target="../media/image53.png"/><Relationship Id="rId14" Type="http://schemas.openxmlformats.org/officeDocument/2006/relationships/image" Target="../media/image13.svg"/></Relationships>
</file>

<file path=ppt/slides/_rels/slide18.xml.rels><?xml version="1.0" encoding="UTF-8" standalone="yes"?>
<Relationships xmlns="http://schemas.openxmlformats.org/package/2006/relationships"><Relationship Id="rId8" Type="http://schemas.openxmlformats.org/officeDocument/2006/relationships/image" Target="../media/image7.svg"/><Relationship Id="rId13" Type="http://schemas.openxmlformats.org/officeDocument/2006/relationships/image" Target="../media/image55.png"/><Relationship Id="rId18" Type="http://schemas.openxmlformats.org/officeDocument/2006/relationships/image" Target="../media/image17.svg"/><Relationship Id="rId3" Type="http://schemas.openxmlformats.org/officeDocument/2006/relationships/slideLayout" Target="../slideLayouts/slideLayout2.xml"/><Relationship Id="rId21" Type="http://schemas.openxmlformats.org/officeDocument/2006/relationships/image" Target="../media/image36.png"/><Relationship Id="rId7" Type="http://schemas.openxmlformats.org/officeDocument/2006/relationships/image" Target="../media/image52.png"/><Relationship Id="rId12" Type="http://schemas.openxmlformats.org/officeDocument/2006/relationships/image" Target="../media/image11.svg"/><Relationship Id="rId17" Type="http://schemas.openxmlformats.org/officeDocument/2006/relationships/image" Target="../media/image57.png"/><Relationship Id="rId2" Type="http://schemas.openxmlformats.org/officeDocument/2006/relationships/audio" Target="../media/media13.m4a"/><Relationship Id="rId16" Type="http://schemas.openxmlformats.org/officeDocument/2006/relationships/image" Target="../media/image15.svg"/><Relationship Id="rId20" Type="http://schemas.openxmlformats.org/officeDocument/2006/relationships/image" Target="../media/image19.svg"/><Relationship Id="rId1" Type="http://schemas.microsoft.com/office/2007/relationships/media" Target="../media/media13.m4a"/><Relationship Id="rId6" Type="http://schemas.openxmlformats.org/officeDocument/2006/relationships/image" Target="../media/image5.svg"/><Relationship Id="rId11" Type="http://schemas.openxmlformats.org/officeDocument/2006/relationships/image" Target="../media/image54.png"/><Relationship Id="rId5" Type="http://schemas.openxmlformats.org/officeDocument/2006/relationships/image" Target="../media/image51.png"/><Relationship Id="rId15" Type="http://schemas.openxmlformats.org/officeDocument/2006/relationships/image" Target="../media/image56.png"/><Relationship Id="rId10" Type="http://schemas.openxmlformats.org/officeDocument/2006/relationships/image" Target="../media/image9.svg"/><Relationship Id="rId19" Type="http://schemas.openxmlformats.org/officeDocument/2006/relationships/image" Target="../media/image58.png"/><Relationship Id="rId4" Type="http://schemas.openxmlformats.org/officeDocument/2006/relationships/notesSlide" Target="../notesSlides/notesSlide17.xml"/><Relationship Id="rId9" Type="http://schemas.openxmlformats.org/officeDocument/2006/relationships/image" Target="../media/image53.png"/><Relationship Id="rId14" Type="http://schemas.openxmlformats.org/officeDocument/2006/relationships/image" Target="../media/image13.svg"/></Relationships>
</file>

<file path=ppt/slides/_rels/slide19.xml.rels><?xml version="1.0" encoding="UTF-8" standalone="yes"?>
<Relationships xmlns="http://schemas.openxmlformats.org/package/2006/relationships"><Relationship Id="rId8" Type="http://schemas.openxmlformats.org/officeDocument/2006/relationships/image" Target="../media/image9.svg"/><Relationship Id="rId13" Type="http://schemas.openxmlformats.org/officeDocument/2006/relationships/image" Target="../media/image56.png"/><Relationship Id="rId18" Type="http://schemas.openxmlformats.org/officeDocument/2006/relationships/image" Target="../media/image19.svg"/><Relationship Id="rId3" Type="http://schemas.openxmlformats.org/officeDocument/2006/relationships/image" Target="../media/image51.png"/><Relationship Id="rId7" Type="http://schemas.openxmlformats.org/officeDocument/2006/relationships/image" Target="../media/image53.png"/><Relationship Id="rId12" Type="http://schemas.openxmlformats.org/officeDocument/2006/relationships/image" Target="../media/image13.svg"/><Relationship Id="rId17" Type="http://schemas.openxmlformats.org/officeDocument/2006/relationships/image" Target="../media/image58.png"/><Relationship Id="rId2" Type="http://schemas.openxmlformats.org/officeDocument/2006/relationships/notesSlide" Target="../notesSlides/notesSlide18.xml"/><Relationship Id="rId16" Type="http://schemas.openxmlformats.org/officeDocument/2006/relationships/image" Target="../media/image17.svg"/><Relationship Id="rId1" Type="http://schemas.openxmlformats.org/officeDocument/2006/relationships/slideLayout" Target="../slideLayouts/slideLayout2.xml"/><Relationship Id="rId6" Type="http://schemas.openxmlformats.org/officeDocument/2006/relationships/image" Target="../media/image7.svg"/><Relationship Id="rId11" Type="http://schemas.openxmlformats.org/officeDocument/2006/relationships/image" Target="../media/image55.png"/><Relationship Id="rId5" Type="http://schemas.openxmlformats.org/officeDocument/2006/relationships/image" Target="../media/image52.png"/><Relationship Id="rId15" Type="http://schemas.openxmlformats.org/officeDocument/2006/relationships/image" Target="../media/image57.png"/><Relationship Id="rId10" Type="http://schemas.openxmlformats.org/officeDocument/2006/relationships/image" Target="../media/image11.svg"/><Relationship Id="rId4" Type="http://schemas.openxmlformats.org/officeDocument/2006/relationships/image" Target="../media/image5.svg"/><Relationship Id="rId9" Type="http://schemas.openxmlformats.org/officeDocument/2006/relationships/image" Target="../media/image54.png"/><Relationship Id="rId14" Type="http://schemas.openxmlformats.org/officeDocument/2006/relationships/image" Target="../media/image15.svg"/></Relationships>
</file>

<file path=ppt/slides/_rels/slide2.xml.rels><?xml version="1.0" encoding="UTF-8" standalone="yes"?>
<Relationships xmlns="http://schemas.openxmlformats.org/package/2006/relationships"><Relationship Id="rId3" Type="http://schemas.openxmlformats.org/officeDocument/2006/relationships/audio" Target="../media/media1.m4a"/><Relationship Id="rId7" Type="http://schemas.openxmlformats.org/officeDocument/2006/relationships/image" Target="../media/image36.png"/><Relationship Id="rId2" Type="http://schemas.microsoft.com/office/2007/relationships/media" Target="../media/media1.m4a"/><Relationship Id="rId1" Type="http://schemas.openxmlformats.org/officeDocument/2006/relationships/tags" Target="../tags/tag1.xml"/><Relationship Id="rId6" Type="http://schemas.openxmlformats.org/officeDocument/2006/relationships/image" Target="../media/image24.png"/><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11.svg"/><Relationship Id="rId18" Type="http://schemas.openxmlformats.org/officeDocument/2006/relationships/image" Target="../media/image57.png"/><Relationship Id="rId3" Type="http://schemas.openxmlformats.org/officeDocument/2006/relationships/audio" Target="../media/media14.m4a"/><Relationship Id="rId21" Type="http://schemas.openxmlformats.org/officeDocument/2006/relationships/image" Target="../media/image19.svg"/><Relationship Id="rId7" Type="http://schemas.openxmlformats.org/officeDocument/2006/relationships/image" Target="../media/image5.svg"/><Relationship Id="rId12" Type="http://schemas.openxmlformats.org/officeDocument/2006/relationships/image" Target="../media/image54.png"/><Relationship Id="rId17" Type="http://schemas.openxmlformats.org/officeDocument/2006/relationships/image" Target="../media/image15.svg"/><Relationship Id="rId2" Type="http://schemas.microsoft.com/office/2007/relationships/media" Target="../media/media14.m4a"/><Relationship Id="rId16" Type="http://schemas.openxmlformats.org/officeDocument/2006/relationships/image" Target="../media/image56.png"/><Relationship Id="rId20" Type="http://schemas.openxmlformats.org/officeDocument/2006/relationships/image" Target="../media/image58.png"/><Relationship Id="rId1" Type="http://schemas.openxmlformats.org/officeDocument/2006/relationships/tags" Target="../tags/tag191.xml"/><Relationship Id="rId6" Type="http://schemas.openxmlformats.org/officeDocument/2006/relationships/image" Target="../media/image51.png"/><Relationship Id="rId11" Type="http://schemas.openxmlformats.org/officeDocument/2006/relationships/image" Target="../media/image9.svg"/><Relationship Id="rId5" Type="http://schemas.openxmlformats.org/officeDocument/2006/relationships/notesSlide" Target="../notesSlides/notesSlide19.xml"/><Relationship Id="rId15" Type="http://schemas.openxmlformats.org/officeDocument/2006/relationships/image" Target="../media/image13.svg"/><Relationship Id="rId10" Type="http://schemas.openxmlformats.org/officeDocument/2006/relationships/image" Target="../media/image53.png"/><Relationship Id="rId19" Type="http://schemas.openxmlformats.org/officeDocument/2006/relationships/image" Target="../media/image17.svg"/><Relationship Id="rId4" Type="http://schemas.openxmlformats.org/officeDocument/2006/relationships/slideLayout" Target="../slideLayouts/slideLayout2.xml"/><Relationship Id="rId9" Type="http://schemas.openxmlformats.org/officeDocument/2006/relationships/image" Target="../media/image7.svg"/><Relationship Id="rId14" Type="http://schemas.openxmlformats.org/officeDocument/2006/relationships/image" Target="../media/image55.png"/><Relationship Id="rId22" Type="http://schemas.openxmlformats.org/officeDocument/2006/relationships/image" Target="../media/image36.pn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5.m4a"/><Relationship Id="rId1" Type="http://schemas.microsoft.com/office/2007/relationships/media" Target="../media/media15.m4a"/><Relationship Id="rId5" Type="http://schemas.openxmlformats.org/officeDocument/2006/relationships/image" Target="../media/image36.png"/><Relationship Id="rId4" Type="http://schemas.openxmlformats.org/officeDocument/2006/relationships/notesSlide" Target="../notesSlides/notesSlide20.xml"/></Relationships>
</file>

<file path=ppt/slides/_rels/slide22.xml.rels><?xml version="1.0" encoding="UTF-8" standalone="yes"?>
<Relationships xmlns="http://schemas.openxmlformats.org/package/2006/relationships"><Relationship Id="rId13" Type="http://schemas.openxmlformats.org/officeDocument/2006/relationships/image" Target="../media/image53.png"/><Relationship Id="rId8" Type="http://schemas.openxmlformats.org/officeDocument/2006/relationships/image" Target="../media/image9.svg"/><Relationship Id="rId18" Type="http://schemas.openxmlformats.org/officeDocument/2006/relationships/image" Target="../media/image58.png"/><Relationship Id="rId3" Type="http://schemas.openxmlformats.org/officeDocument/2006/relationships/slideLayout" Target="../slideLayouts/slideLayout2.xml"/><Relationship Id="rId21" Type="http://schemas.openxmlformats.org/officeDocument/2006/relationships/image" Target="../media/image52.png"/><Relationship Id="rId12" Type="http://schemas.openxmlformats.org/officeDocument/2006/relationships/image" Target="../media/image13.svg"/><Relationship Id="rId17" Type="http://schemas.openxmlformats.org/officeDocument/2006/relationships/image" Target="../media/image17.svg"/><Relationship Id="rId2" Type="http://schemas.openxmlformats.org/officeDocument/2006/relationships/audio" Target="../media/media5.m4a"/><Relationship Id="rId16" Type="http://schemas.openxmlformats.org/officeDocument/2006/relationships/image" Target="../media/image57.png"/><Relationship Id="rId20" Type="http://schemas.openxmlformats.org/officeDocument/2006/relationships/image" Target="../media/image54.png"/><Relationship Id="rId1" Type="http://schemas.microsoft.com/office/2007/relationships/media" Target="../media/media5.m4a"/><Relationship Id="rId6" Type="http://schemas.openxmlformats.org/officeDocument/2006/relationships/image" Target="../media/image7.svg"/><Relationship Id="rId24" Type="http://schemas.openxmlformats.org/officeDocument/2006/relationships/image" Target="../media/image36.png"/><Relationship Id="rId5" Type="http://schemas.openxmlformats.org/officeDocument/2006/relationships/image" Target="../media/image55.png"/><Relationship Id="rId15" Type="http://schemas.openxmlformats.org/officeDocument/2006/relationships/image" Target="../media/image15.svg"/><Relationship Id="rId23" Type="http://schemas.openxmlformats.org/officeDocument/2006/relationships/image" Target="../media/image5.svg"/><Relationship Id="rId19" Type="http://schemas.openxmlformats.org/officeDocument/2006/relationships/image" Target="../media/image19.svg"/><Relationship Id="rId10" Type="http://schemas.openxmlformats.org/officeDocument/2006/relationships/image" Target="../media/image11.svg"/><Relationship Id="rId4" Type="http://schemas.openxmlformats.org/officeDocument/2006/relationships/notesSlide" Target="../notesSlides/notesSlide21.xml"/><Relationship Id="rId14" Type="http://schemas.openxmlformats.org/officeDocument/2006/relationships/image" Target="../media/image56.png"/><Relationship Id="rId22" Type="http://schemas.openxmlformats.org/officeDocument/2006/relationships/image" Target="../media/image51.png"/></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5.m4a"/><Relationship Id="rId1" Type="http://schemas.microsoft.com/office/2007/relationships/media" Target="../media/media15.m4a"/><Relationship Id="rId6" Type="http://schemas.openxmlformats.org/officeDocument/2006/relationships/image" Target="../media/image36.png"/><Relationship Id="rId5" Type="http://schemas.openxmlformats.org/officeDocument/2006/relationships/image" Target="../media/image5.svg"/><Relationship Id="rId4" Type="http://schemas.openxmlformats.org/officeDocument/2006/relationships/image" Target="../media/image51.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6.m4a"/><Relationship Id="rId1" Type="http://schemas.microsoft.com/office/2007/relationships/media" Target="../media/media16.m4a"/><Relationship Id="rId5" Type="http://schemas.openxmlformats.org/officeDocument/2006/relationships/image" Target="../media/image36.png"/><Relationship Id="rId4" Type="http://schemas.openxmlformats.org/officeDocument/2006/relationships/notesSlide" Target="../notesSlides/notesSlide22.xml"/></Relationships>
</file>

<file path=ppt/slides/_rels/slide25.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slideLayout" Target="../slideLayouts/slideLayout2.xml"/><Relationship Id="rId7" Type="http://schemas.openxmlformats.org/officeDocument/2006/relationships/image" Target="../media/image61.jpeg"/><Relationship Id="rId2" Type="http://schemas.openxmlformats.org/officeDocument/2006/relationships/audio" Target="../media/media17.m4a"/><Relationship Id="rId1" Type="http://schemas.microsoft.com/office/2007/relationships/media" Target="../media/media17.m4a"/><Relationship Id="rId6" Type="http://schemas.openxmlformats.org/officeDocument/2006/relationships/image" Target="../media/image60.jpeg"/><Relationship Id="rId11" Type="http://schemas.openxmlformats.org/officeDocument/2006/relationships/image" Target="../media/image36.png"/><Relationship Id="rId5" Type="http://schemas.openxmlformats.org/officeDocument/2006/relationships/image" Target="../media/image59.png"/><Relationship Id="rId10" Type="http://schemas.openxmlformats.org/officeDocument/2006/relationships/image" Target="../media/image64.png"/><Relationship Id="rId4" Type="http://schemas.openxmlformats.org/officeDocument/2006/relationships/notesSlide" Target="../notesSlides/notesSlide23.xml"/><Relationship Id="rId9" Type="http://schemas.openxmlformats.org/officeDocument/2006/relationships/image" Target="../media/image63.png"/></Relationships>
</file>

<file path=ppt/slides/_rels/slide26.xml.rels><?xml version="1.0" encoding="UTF-8" standalone="yes"?>
<Relationships xmlns="http://schemas.openxmlformats.org/package/2006/relationships"><Relationship Id="rId8" Type="http://schemas.openxmlformats.org/officeDocument/2006/relationships/notesSlide" Target="../notesSlides/notesSlide24.xml"/><Relationship Id="rId3" Type="http://schemas.openxmlformats.org/officeDocument/2006/relationships/tags" Target="../tags/tag193.xml"/><Relationship Id="rId7" Type="http://schemas.openxmlformats.org/officeDocument/2006/relationships/slideLayout" Target="../slideLayouts/slideLayout81.xml"/><Relationship Id="rId2" Type="http://schemas.openxmlformats.org/officeDocument/2006/relationships/tags" Target="../tags/tag192.xml"/><Relationship Id="rId1" Type="http://schemas.openxmlformats.org/officeDocument/2006/relationships/vmlDrawing" Target="../drawings/vmlDrawing4.vml"/><Relationship Id="rId6" Type="http://schemas.openxmlformats.org/officeDocument/2006/relationships/audio" Target="../media/media18.m4a"/><Relationship Id="rId11" Type="http://schemas.openxmlformats.org/officeDocument/2006/relationships/image" Target="../media/image36.png"/><Relationship Id="rId5" Type="http://schemas.microsoft.com/office/2007/relationships/media" Target="../media/media18.m4a"/><Relationship Id="rId10" Type="http://schemas.openxmlformats.org/officeDocument/2006/relationships/image" Target="../media/image46.emf"/><Relationship Id="rId4" Type="http://schemas.openxmlformats.org/officeDocument/2006/relationships/tags" Target="../tags/tag194.xml"/><Relationship Id="rId9" Type="http://schemas.openxmlformats.org/officeDocument/2006/relationships/oleObject" Target="../embeddings/oleObject1.bin"/></Relationships>
</file>

<file path=ppt/slides/_rels/slide27.xml.rels><?xml version="1.0" encoding="UTF-8" standalone="yes"?>
<Relationships xmlns="http://schemas.openxmlformats.org/package/2006/relationships"><Relationship Id="rId8" Type="http://schemas.openxmlformats.org/officeDocument/2006/relationships/oleObject" Target="../embeddings/oleObject1.bin"/><Relationship Id="rId13" Type="http://schemas.openxmlformats.org/officeDocument/2006/relationships/image" Target="../media/image15.svg"/><Relationship Id="rId18" Type="http://schemas.openxmlformats.org/officeDocument/2006/relationships/image" Target="../media/image58.png"/><Relationship Id="rId26" Type="http://schemas.openxmlformats.org/officeDocument/2006/relationships/image" Target="../media/image13.svg"/><Relationship Id="rId3" Type="http://schemas.openxmlformats.org/officeDocument/2006/relationships/tags" Target="../tags/tag196.xml"/><Relationship Id="rId21" Type="http://schemas.openxmlformats.org/officeDocument/2006/relationships/image" Target="../media/image51.png"/><Relationship Id="rId7" Type="http://schemas.openxmlformats.org/officeDocument/2006/relationships/notesSlide" Target="../notesSlides/notesSlide25.xml"/><Relationship Id="rId12" Type="http://schemas.openxmlformats.org/officeDocument/2006/relationships/image" Target="../media/image56.png"/><Relationship Id="rId17" Type="http://schemas.openxmlformats.org/officeDocument/2006/relationships/image" Target="../media/image7.svg"/><Relationship Id="rId25" Type="http://schemas.openxmlformats.org/officeDocument/2006/relationships/image" Target="../media/image55.png"/><Relationship Id="rId2" Type="http://schemas.openxmlformats.org/officeDocument/2006/relationships/tags" Target="../tags/tag195.xml"/><Relationship Id="rId16" Type="http://schemas.openxmlformats.org/officeDocument/2006/relationships/image" Target="../media/image52.png"/><Relationship Id="rId20" Type="http://schemas.openxmlformats.org/officeDocument/2006/relationships/image" Target="../media/image65.png"/><Relationship Id="rId1" Type="http://schemas.openxmlformats.org/officeDocument/2006/relationships/vmlDrawing" Target="../drawings/vmlDrawing5.vml"/><Relationship Id="rId6" Type="http://schemas.openxmlformats.org/officeDocument/2006/relationships/slideLayout" Target="../slideLayouts/slideLayout81.xml"/><Relationship Id="rId11" Type="http://schemas.openxmlformats.org/officeDocument/2006/relationships/image" Target="../media/image11.svg"/><Relationship Id="rId24" Type="http://schemas.openxmlformats.org/officeDocument/2006/relationships/image" Target="../media/image9.svg"/><Relationship Id="rId5" Type="http://schemas.openxmlformats.org/officeDocument/2006/relationships/audio" Target="../media/media19.m4a"/><Relationship Id="rId15" Type="http://schemas.openxmlformats.org/officeDocument/2006/relationships/image" Target="../media/image17.svg"/><Relationship Id="rId23" Type="http://schemas.openxmlformats.org/officeDocument/2006/relationships/image" Target="../media/image53.png"/><Relationship Id="rId10" Type="http://schemas.openxmlformats.org/officeDocument/2006/relationships/image" Target="../media/image54.png"/><Relationship Id="rId19" Type="http://schemas.openxmlformats.org/officeDocument/2006/relationships/image" Target="../media/image19.svg"/><Relationship Id="rId4" Type="http://schemas.microsoft.com/office/2007/relationships/media" Target="../media/media19.m4a"/><Relationship Id="rId9" Type="http://schemas.openxmlformats.org/officeDocument/2006/relationships/image" Target="../media/image46.emf"/><Relationship Id="rId14" Type="http://schemas.openxmlformats.org/officeDocument/2006/relationships/image" Target="../media/image57.png"/><Relationship Id="rId22" Type="http://schemas.openxmlformats.org/officeDocument/2006/relationships/image" Target="../media/image5.svg"/><Relationship Id="rId27" Type="http://schemas.openxmlformats.org/officeDocument/2006/relationships/image" Target="../media/image36.png"/></Relationships>
</file>

<file path=ppt/slides/_rels/slide28.xml.rels><?xml version="1.0" encoding="UTF-8" standalone="yes"?>
<Relationships xmlns="http://schemas.openxmlformats.org/package/2006/relationships"><Relationship Id="rId3" Type="http://schemas.openxmlformats.org/officeDocument/2006/relationships/audio" Target="../media/media20.m4a"/><Relationship Id="rId7" Type="http://schemas.openxmlformats.org/officeDocument/2006/relationships/image" Target="../media/image36.png"/><Relationship Id="rId2" Type="http://schemas.microsoft.com/office/2007/relationships/media" Target="../media/media20.m4a"/><Relationship Id="rId1" Type="http://schemas.openxmlformats.org/officeDocument/2006/relationships/tags" Target="../tags/tag197.xml"/><Relationship Id="rId6" Type="http://schemas.microsoft.com/office/2007/relationships/hdphoto" Target="../media/hdphoto2.wdp"/><Relationship Id="rId5" Type="http://schemas.openxmlformats.org/officeDocument/2006/relationships/image" Target="../media/image45.png"/><Relationship Id="rId4"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audio" Target="../media/media21.m4a"/><Relationship Id="rId1" Type="http://schemas.microsoft.com/office/2007/relationships/media" Target="../media/media21.m4a"/><Relationship Id="rId5" Type="http://schemas.openxmlformats.org/officeDocument/2006/relationships/image" Target="../media/image36.png"/><Relationship Id="rId4" Type="http://schemas.openxmlformats.org/officeDocument/2006/relationships/image" Target="../media/image66.png"/></Relationships>
</file>

<file path=ppt/slides/_rels/slide3.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Layout" Target="../slideLayouts/slideLayout81.xml"/><Relationship Id="rId7" Type="http://schemas.microsoft.com/office/2007/relationships/hdphoto" Target="../media/hdphoto1.wdp"/><Relationship Id="rId2" Type="http://schemas.openxmlformats.org/officeDocument/2006/relationships/audio" Target="../media/media2.m4a"/><Relationship Id="rId1" Type="http://schemas.microsoft.com/office/2007/relationships/media" Target="../media/media2.m4a"/><Relationship Id="rId6" Type="http://schemas.openxmlformats.org/officeDocument/2006/relationships/image" Target="../media/image38.png"/><Relationship Id="rId5" Type="http://schemas.openxmlformats.org/officeDocument/2006/relationships/image" Target="../media/image37.jfif"/><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9.m4a"/><Relationship Id="rId1" Type="http://schemas.microsoft.com/office/2007/relationships/media" Target="../media/media19.m4a"/><Relationship Id="rId5" Type="http://schemas.openxmlformats.org/officeDocument/2006/relationships/image" Target="../media/image67.jpg"/><Relationship Id="rId4" Type="http://schemas.openxmlformats.org/officeDocument/2006/relationships/image" Target="../media/image36.png"/></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9.m4a"/><Relationship Id="rId1" Type="http://schemas.microsoft.com/office/2007/relationships/media" Target="../media/media19.m4a"/><Relationship Id="rId4" Type="http://schemas.openxmlformats.org/officeDocument/2006/relationships/image" Target="../media/image36.png"/></Relationships>
</file>

<file path=ppt/slides/_rels/slide4.xml.rels><?xml version="1.0" encoding="UTF-8" standalone="yes"?>
<Relationships xmlns="http://schemas.openxmlformats.org/package/2006/relationships"><Relationship Id="rId26" Type="http://schemas.openxmlformats.org/officeDocument/2006/relationships/tags" Target="../tags/tag25.xml"/><Relationship Id="rId117" Type="http://schemas.openxmlformats.org/officeDocument/2006/relationships/tags" Target="../tags/tag116.xml"/><Relationship Id="rId21" Type="http://schemas.openxmlformats.org/officeDocument/2006/relationships/tags" Target="../tags/tag20.xml"/><Relationship Id="rId42" Type="http://schemas.openxmlformats.org/officeDocument/2006/relationships/tags" Target="../tags/tag41.xml"/><Relationship Id="rId47" Type="http://schemas.openxmlformats.org/officeDocument/2006/relationships/tags" Target="../tags/tag46.xml"/><Relationship Id="rId63" Type="http://schemas.openxmlformats.org/officeDocument/2006/relationships/tags" Target="../tags/tag62.xml"/><Relationship Id="rId68" Type="http://schemas.openxmlformats.org/officeDocument/2006/relationships/tags" Target="../tags/tag67.xml"/><Relationship Id="rId84" Type="http://schemas.openxmlformats.org/officeDocument/2006/relationships/tags" Target="../tags/tag83.xml"/><Relationship Id="rId89" Type="http://schemas.openxmlformats.org/officeDocument/2006/relationships/tags" Target="../tags/tag88.xml"/><Relationship Id="rId112" Type="http://schemas.openxmlformats.org/officeDocument/2006/relationships/tags" Target="../tags/tag111.xml"/><Relationship Id="rId133" Type="http://schemas.openxmlformats.org/officeDocument/2006/relationships/tags" Target="../tags/tag132.xml"/><Relationship Id="rId138" Type="http://schemas.openxmlformats.org/officeDocument/2006/relationships/tags" Target="../tags/tag137.xml"/><Relationship Id="rId154" Type="http://schemas.openxmlformats.org/officeDocument/2006/relationships/tags" Target="../tags/tag153.xml"/><Relationship Id="rId159" Type="http://schemas.openxmlformats.org/officeDocument/2006/relationships/tags" Target="../tags/tag158.xml"/><Relationship Id="rId175" Type="http://schemas.openxmlformats.org/officeDocument/2006/relationships/tags" Target="../tags/tag174.xml"/><Relationship Id="rId170" Type="http://schemas.openxmlformats.org/officeDocument/2006/relationships/tags" Target="../tags/tag169.xml"/><Relationship Id="rId191" Type="http://schemas.openxmlformats.org/officeDocument/2006/relationships/image" Target="../media/image36.png"/><Relationship Id="rId16" Type="http://schemas.openxmlformats.org/officeDocument/2006/relationships/tags" Target="../tags/tag15.xml"/><Relationship Id="rId107" Type="http://schemas.openxmlformats.org/officeDocument/2006/relationships/tags" Target="../tags/tag106.xml"/><Relationship Id="rId11" Type="http://schemas.openxmlformats.org/officeDocument/2006/relationships/tags" Target="../tags/tag10.xml"/><Relationship Id="rId32" Type="http://schemas.openxmlformats.org/officeDocument/2006/relationships/tags" Target="../tags/tag31.xml"/><Relationship Id="rId37" Type="http://schemas.openxmlformats.org/officeDocument/2006/relationships/tags" Target="../tags/tag36.xml"/><Relationship Id="rId53" Type="http://schemas.openxmlformats.org/officeDocument/2006/relationships/tags" Target="../tags/tag52.xml"/><Relationship Id="rId58" Type="http://schemas.openxmlformats.org/officeDocument/2006/relationships/tags" Target="../tags/tag57.xml"/><Relationship Id="rId74" Type="http://schemas.openxmlformats.org/officeDocument/2006/relationships/tags" Target="../tags/tag73.xml"/><Relationship Id="rId79" Type="http://schemas.openxmlformats.org/officeDocument/2006/relationships/tags" Target="../tags/tag78.xml"/><Relationship Id="rId102" Type="http://schemas.openxmlformats.org/officeDocument/2006/relationships/tags" Target="../tags/tag101.xml"/><Relationship Id="rId123" Type="http://schemas.openxmlformats.org/officeDocument/2006/relationships/tags" Target="../tags/tag122.xml"/><Relationship Id="rId128" Type="http://schemas.openxmlformats.org/officeDocument/2006/relationships/tags" Target="../tags/tag127.xml"/><Relationship Id="rId144" Type="http://schemas.openxmlformats.org/officeDocument/2006/relationships/tags" Target="../tags/tag143.xml"/><Relationship Id="rId149" Type="http://schemas.openxmlformats.org/officeDocument/2006/relationships/tags" Target="../tags/tag148.xml"/><Relationship Id="rId5" Type="http://schemas.openxmlformats.org/officeDocument/2006/relationships/tags" Target="../tags/tag4.xml"/><Relationship Id="rId90" Type="http://schemas.openxmlformats.org/officeDocument/2006/relationships/tags" Target="../tags/tag89.xml"/><Relationship Id="rId95" Type="http://schemas.openxmlformats.org/officeDocument/2006/relationships/tags" Target="../tags/tag94.xml"/><Relationship Id="rId160" Type="http://schemas.openxmlformats.org/officeDocument/2006/relationships/tags" Target="../tags/tag159.xml"/><Relationship Id="rId165" Type="http://schemas.openxmlformats.org/officeDocument/2006/relationships/tags" Target="../tags/tag164.xml"/><Relationship Id="rId181" Type="http://schemas.openxmlformats.org/officeDocument/2006/relationships/tags" Target="../tags/tag180.xml"/><Relationship Id="rId186" Type="http://schemas.openxmlformats.org/officeDocument/2006/relationships/image" Target="../media/image39.png"/><Relationship Id="rId22" Type="http://schemas.openxmlformats.org/officeDocument/2006/relationships/tags" Target="../tags/tag21.xml"/><Relationship Id="rId27" Type="http://schemas.openxmlformats.org/officeDocument/2006/relationships/tags" Target="../tags/tag26.xml"/><Relationship Id="rId43" Type="http://schemas.openxmlformats.org/officeDocument/2006/relationships/tags" Target="../tags/tag42.xml"/><Relationship Id="rId48" Type="http://schemas.openxmlformats.org/officeDocument/2006/relationships/tags" Target="../tags/tag47.xml"/><Relationship Id="rId64" Type="http://schemas.openxmlformats.org/officeDocument/2006/relationships/tags" Target="../tags/tag63.xml"/><Relationship Id="rId69" Type="http://schemas.openxmlformats.org/officeDocument/2006/relationships/tags" Target="../tags/tag68.xml"/><Relationship Id="rId113" Type="http://schemas.openxmlformats.org/officeDocument/2006/relationships/tags" Target="../tags/tag112.xml"/><Relationship Id="rId118" Type="http://schemas.openxmlformats.org/officeDocument/2006/relationships/tags" Target="../tags/tag117.xml"/><Relationship Id="rId134" Type="http://schemas.openxmlformats.org/officeDocument/2006/relationships/tags" Target="../tags/tag133.xml"/><Relationship Id="rId139" Type="http://schemas.openxmlformats.org/officeDocument/2006/relationships/tags" Target="../tags/tag138.xml"/><Relationship Id="rId80" Type="http://schemas.openxmlformats.org/officeDocument/2006/relationships/tags" Target="../tags/tag79.xml"/><Relationship Id="rId85" Type="http://schemas.openxmlformats.org/officeDocument/2006/relationships/tags" Target="../tags/tag84.xml"/><Relationship Id="rId150" Type="http://schemas.openxmlformats.org/officeDocument/2006/relationships/tags" Target="../tags/tag149.xml"/><Relationship Id="rId155" Type="http://schemas.openxmlformats.org/officeDocument/2006/relationships/tags" Target="../tags/tag154.xml"/><Relationship Id="rId171" Type="http://schemas.openxmlformats.org/officeDocument/2006/relationships/tags" Target="../tags/tag170.xml"/><Relationship Id="rId176" Type="http://schemas.openxmlformats.org/officeDocument/2006/relationships/tags" Target="../tags/tag175.xml"/><Relationship Id="rId12" Type="http://schemas.openxmlformats.org/officeDocument/2006/relationships/tags" Target="../tags/tag11.xml"/><Relationship Id="rId17" Type="http://schemas.openxmlformats.org/officeDocument/2006/relationships/tags" Target="../tags/tag16.xml"/><Relationship Id="rId33" Type="http://schemas.openxmlformats.org/officeDocument/2006/relationships/tags" Target="../tags/tag32.xml"/><Relationship Id="rId38" Type="http://schemas.openxmlformats.org/officeDocument/2006/relationships/tags" Target="../tags/tag37.xml"/><Relationship Id="rId59" Type="http://schemas.openxmlformats.org/officeDocument/2006/relationships/tags" Target="../tags/tag58.xml"/><Relationship Id="rId103" Type="http://schemas.openxmlformats.org/officeDocument/2006/relationships/tags" Target="../tags/tag102.xml"/><Relationship Id="rId108" Type="http://schemas.openxmlformats.org/officeDocument/2006/relationships/tags" Target="../tags/tag107.xml"/><Relationship Id="rId124" Type="http://schemas.openxmlformats.org/officeDocument/2006/relationships/tags" Target="../tags/tag123.xml"/><Relationship Id="rId129" Type="http://schemas.openxmlformats.org/officeDocument/2006/relationships/tags" Target="../tags/tag128.xml"/><Relationship Id="rId54" Type="http://schemas.openxmlformats.org/officeDocument/2006/relationships/tags" Target="../tags/tag53.xml"/><Relationship Id="rId70" Type="http://schemas.openxmlformats.org/officeDocument/2006/relationships/tags" Target="../tags/tag69.xml"/><Relationship Id="rId75" Type="http://schemas.openxmlformats.org/officeDocument/2006/relationships/tags" Target="../tags/tag74.xml"/><Relationship Id="rId91" Type="http://schemas.openxmlformats.org/officeDocument/2006/relationships/tags" Target="../tags/tag90.xml"/><Relationship Id="rId96" Type="http://schemas.openxmlformats.org/officeDocument/2006/relationships/tags" Target="../tags/tag95.xml"/><Relationship Id="rId140" Type="http://schemas.openxmlformats.org/officeDocument/2006/relationships/tags" Target="../tags/tag139.xml"/><Relationship Id="rId145" Type="http://schemas.openxmlformats.org/officeDocument/2006/relationships/tags" Target="../tags/tag144.xml"/><Relationship Id="rId161" Type="http://schemas.openxmlformats.org/officeDocument/2006/relationships/tags" Target="../tags/tag160.xml"/><Relationship Id="rId166" Type="http://schemas.openxmlformats.org/officeDocument/2006/relationships/tags" Target="../tags/tag165.xml"/><Relationship Id="rId182" Type="http://schemas.openxmlformats.org/officeDocument/2006/relationships/tags" Target="../tags/tag181.xml"/><Relationship Id="rId187" Type="http://schemas.openxmlformats.org/officeDocument/2006/relationships/image" Target="../media/image40.png"/><Relationship Id="rId1" Type="http://schemas.microsoft.com/office/2007/relationships/media" Target="../media/media3.m4a"/><Relationship Id="rId6" Type="http://schemas.openxmlformats.org/officeDocument/2006/relationships/tags" Target="../tags/tag5.xml"/><Relationship Id="rId23" Type="http://schemas.openxmlformats.org/officeDocument/2006/relationships/tags" Target="../tags/tag22.xml"/><Relationship Id="rId28" Type="http://schemas.openxmlformats.org/officeDocument/2006/relationships/tags" Target="../tags/tag27.xml"/><Relationship Id="rId49" Type="http://schemas.openxmlformats.org/officeDocument/2006/relationships/tags" Target="../tags/tag48.xml"/><Relationship Id="rId114" Type="http://schemas.openxmlformats.org/officeDocument/2006/relationships/tags" Target="../tags/tag113.xml"/><Relationship Id="rId119" Type="http://schemas.openxmlformats.org/officeDocument/2006/relationships/tags" Target="../tags/tag118.xml"/><Relationship Id="rId44" Type="http://schemas.openxmlformats.org/officeDocument/2006/relationships/tags" Target="../tags/tag43.xml"/><Relationship Id="rId60" Type="http://schemas.openxmlformats.org/officeDocument/2006/relationships/tags" Target="../tags/tag59.xml"/><Relationship Id="rId65" Type="http://schemas.openxmlformats.org/officeDocument/2006/relationships/tags" Target="../tags/tag64.xml"/><Relationship Id="rId81" Type="http://schemas.openxmlformats.org/officeDocument/2006/relationships/tags" Target="../tags/tag80.xml"/><Relationship Id="rId86" Type="http://schemas.openxmlformats.org/officeDocument/2006/relationships/tags" Target="../tags/tag85.xml"/><Relationship Id="rId130" Type="http://schemas.openxmlformats.org/officeDocument/2006/relationships/tags" Target="../tags/tag129.xml"/><Relationship Id="rId135" Type="http://schemas.openxmlformats.org/officeDocument/2006/relationships/tags" Target="../tags/tag134.xml"/><Relationship Id="rId151" Type="http://schemas.openxmlformats.org/officeDocument/2006/relationships/tags" Target="../tags/tag150.xml"/><Relationship Id="rId156" Type="http://schemas.openxmlformats.org/officeDocument/2006/relationships/tags" Target="../tags/tag155.xml"/><Relationship Id="rId177" Type="http://schemas.openxmlformats.org/officeDocument/2006/relationships/tags" Target="../tags/tag176.xml"/><Relationship Id="rId172" Type="http://schemas.openxmlformats.org/officeDocument/2006/relationships/tags" Target="../tags/tag171.xml"/><Relationship Id="rId13" Type="http://schemas.openxmlformats.org/officeDocument/2006/relationships/tags" Target="../tags/tag12.xml"/><Relationship Id="rId18" Type="http://schemas.openxmlformats.org/officeDocument/2006/relationships/tags" Target="../tags/tag17.xml"/><Relationship Id="rId39" Type="http://schemas.openxmlformats.org/officeDocument/2006/relationships/tags" Target="../tags/tag38.xml"/><Relationship Id="rId109" Type="http://schemas.openxmlformats.org/officeDocument/2006/relationships/tags" Target="../tags/tag108.xml"/><Relationship Id="rId34" Type="http://schemas.openxmlformats.org/officeDocument/2006/relationships/tags" Target="../tags/tag33.xml"/><Relationship Id="rId50" Type="http://schemas.openxmlformats.org/officeDocument/2006/relationships/tags" Target="../tags/tag49.xml"/><Relationship Id="rId55" Type="http://schemas.openxmlformats.org/officeDocument/2006/relationships/tags" Target="../tags/tag54.xml"/><Relationship Id="rId76" Type="http://schemas.openxmlformats.org/officeDocument/2006/relationships/tags" Target="../tags/tag75.xml"/><Relationship Id="rId97" Type="http://schemas.openxmlformats.org/officeDocument/2006/relationships/tags" Target="../tags/tag96.xml"/><Relationship Id="rId104" Type="http://schemas.openxmlformats.org/officeDocument/2006/relationships/tags" Target="../tags/tag103.xml"/><Relationship Id="rId120" Type="http://schemas.openxmlformats.org/officeDocument/2006/relationships/tags" Target="../tags/tag119.xml"/><Relationship Id="rId125" Type="http://schemas.openxmlformats.org/officeDocument/2006/relationships/tags" Target="../tags/tag124.xml"/><Relationship Id="rId141" Type="http://schemas.openxmlformats.org/officeDocument/2006/relationships/tags" Target="../tags/tag140.xml"/><Relationship Id="rId146" Type="http://schemas.openxmlformats.org/officeDocument/2006/relationships/tags" Target="../tags/tag145.xml"/><Relationship Id="rId167" Type="http://schemas.openxmlformats.org/officeDocument/2006/relationships/tags" Target="../tags/tag166.xml"/><Relationship Id="rId188" Type="http://schemas.openxmlformats.org/officeDocument/2006/relationships/image" Target="../media/image41.png"/><Relationship Id="rId7" Type="http://schemas.openxmlformats.org/officeDocument/2006/relationships/tags" Target="../tags/tag6.xml"/><Relationship Id="rId71" Type="http://schemas.openxmlformats.org/officeDocument/2006/relationships/tags" Target="../tags/tag70.xml"/><Relationship Id="rId92" Type="http://schemas.openxmlformats.org/officeDocument/2006/relationships/tags" Target="../tags/tag91.xml"/><Relationship Id="rId162" Type="http://schemas.openxmlformats.org/officeDocument/2006/relationships/tags" Target="../tags/tag161.xml"/><Relationship Id="rId183" Type="http://schemas.openxmlformats.org/officeDocument/2006/relationships/tags" Target="../tags/tag182.xml"/><Relationship Id="rId2" Type="http://schemas.openxmlformats.org/officeDocument/2006/relationships/audio" Target="../media/media3.m4a"/><Relationship Id="rId29" Type="http://schemas.openxmlformats.org/officeDocument/2006/relationships/tags" Target="../tags/tag28.xml"/><Relationship Id="rId24" Type="http://schemas.openxmlformats.org/officeDocument/2006/relationships/tags" Target="../tags/tag23.xml"/><Relationship Id="rId40" Type="http://schemas.openxmlformats.org/officeDocument/2006/relationships/tags" Target="../tags/tag39.xml"/><Relationship Id="rId45" Type="http://schemas.openxmlformats.org/officeDocument/2006/relationships/tags" Target="../tags/tag44.xml"/><Relationship Id="rId66" Type="http://schemas.openxmlformats.org/officeDocument/2006/relationships/tags" Target="../tags/tag65.xml"/><Relationship Id="rId87" Type="http://schemas.openxmlformats.org/officeDocument/2006/relationships/tags" Target="../tags/tag86.xml"/><Relationship Id="rId110" Type="http://schemas.openxmlformats.org/officeDocument/2006/relationships/tags" Target="../tags/tag109.xml"/><Relationship Id="rId115" Type="http://schemas.openxmlformats.org/officeDocument/2006/relationships/tags" Target="../tags/tag114.xml"/><Relationship Id="rId131" Type="http://schemas.openxmlformats.org/officeDocument/2006/relationships/tags" Target="../tags/tag130.xml"/><Relationship Id="rId136" Type="http://schemas.openxmlformats.org/officeDocument/2006/relationships/tags" Target="../tags/tag135.xml"/><Relationship Id="rId157" Type="http://schemas.openxmlformats.org/officeDocument/2006/relationships/tags" Target="../tags/tag156.xml"/><Relationship Id="rId178" Type="http://schemas.openxmlformats.org/officeDocument/2006/relationships/tags" Target="../tags/tag177.xml"/><Relationship Id="rId61" Type="http://schemas.openxmlformats.org/officeDocument/2006/relationships/tags" Target="../tags/tag60.xml"/><Relationship Id="rId82" Type="http://schemas.openxmlformats.org/officeDocument/2006/relationships/tags" Target="../tags/tag81.xml"/><Relationship Id="rId152" Type="http://schemas.openxmlformats.org/officeDocument/2006/relationships/tags" Target="../tags/tag151.xml"/><Relationship Id="rId173" Type="http://schemas.openxmlformats.org/officeDocument/2006/relationships/tags" Target="../tags/tag172.xml"/><Relationship Id="rId19" Type="http://schemas.openxmlformats.org/officeDocument/2006/relationships/tags" Target="../tags/tag18.xml"/><Relationship Id="rId14" Type="http://schemas.openxmlformats.org/officeDocument/2006/relationships/tags" Target="../tags/tag13.xml"/><Relationship Id="rId30" Type="http://schemas.openxmlformats.org/officeDocument/2006/relationships/tags" Target="../tags/tag29.xml"/><Relationship Id="rId35" Type="http://schemas.openxmlformats.org/officeDocument/2006/relationships/tags" Target="../tags/tag34.xml"/><Relationship Id="rId56" Type="http://schemas.openxmlformats.org/officeDocument/2006/relationships/tags" Target="../tags/tag55.xml"/><Relationship Id="rId77" Type="http://schemas.openxmlformats.org/officeDocument/2006/relationships/tags" Target="../tags/tag76.xml"/><Relationship Id="rId100" Type="http://schemas.openxmlformats.org/officeDocument/2006/relationships/tags" Target="../tags/tag99.xml"/><Relationship Id="rId105" Type="http://schemas.openxmlformats.org/officeDocument/2006/relationships/tags" Target="../tags/tag104.xml"/><Relationship Id="rId126" Type="http://schemas.openxmlformats.org/officeDocument/2006/relationships/tags" Target="../tags/tag125.xml"/><Relationship Id="rId147" Type="http://schemas.openxmlformats.org/officeDocument/2006/relationships/tags" Target="../tags/tag146.xml"/><Relationship Id="rId168" Type="http://schemas.openxmlformats.org/officeDocument/2006/relationships/tags" Target="../tags/tag167.xml"/><Relationship Id="rId8" Type="http://schemas.openxmlformats.org/officeDocument/2006/relationships/tags" Target="../tags/tag7.xml"/><Relationship Id="rId51" Type="http://schemas.openxmlformats.org/officeDocument/2006/relationships/tags" Target="../tags/tag50.xml"/><Relationship Id="rId72" Type="http://schemas.openxmlformats.org/officeDocument/2006/relationships/tags" Target="../tags/tag71.xml"/><Relationship Id="rId93" Type="http://schemas.openxmlformats.org/officeDocument/2006/relationships/tags" Target="../tags/tag92.xml"/><Relationship Id="rId98" Type="http://schemas.openxmlformats.org/officeDocument/2006/relationships/tags" Target="../tags/tag97.xml"/><Relationship Id="rId121" Type="http://schemas.openxmlformats.org/officeDocument/2006/relationships/tags" Target="../tags/tag120.xml"/><Relationship Id="rId142" Type="http://schemas.openxmlformats.org/officeDocument/2006/relationships/tags" Target="../tags/tag141.xml"/><Relationship Id="rId163" Type="http://schemas.openxmlformats.org/officeDocument/2006/relationships/tags" Target="../tags/tag162.xml"/><Relationship Id="rId184" Type="http://schemas.openxmlformats.org/officeDocument/2006/relationships/slideLayout" Target="../slideLayouts/slideLayout81.xml"/><Relationship Id="rId189" Type="http://schemas.openxmlformats.org/officeDocument/2006/relationships/image" Target="../media/image24.png"/><Relationship Id="rId3" Type="http://schemas.openxmlformats.org/officeDocument/2006/relationships/tags" Target="../tags/tag2.xml"/><Relationship Id="rId25" Type="http://schemas.openxmlformats.org/officeDocument/2006/relationships/tags" Target="../tags/tag24.xml"/><Relationship Id="rId46" Type="http://schemas.openxmlformats.org/officeDocument/2006/relationships/tags" Target="../tags/tag45.xml"/><Relationship Id="rId67" Type="http://schemas.openxmlformats.org/officeDocument/2006/relationships/tags" Target="../tags/tag66.xml"/><Relationship Id="rId116" Type="http://schemas.openxmlformats.org/officeDocument/2006/relationships/tags" Target="../tags/tag115.xml"/><Relationship Id="rId137" Type="http://schemas.openxmlformats.org/officeDocument/2006/relationships/tags" Target="../tags/tag136.xml"/><Relationship Id="rId158" Type="http://schemas.openxmlformats.org/officeDocument/2006/relationships/tags" Target="../tags/tag157.xml"/><Relationship Id="rId20" Type="http://schemas.openxmlformats.org/officeDocument/2006/relationships/tags" Target="../tags/tag19.xml"/><Relationship Id="rId41" Type="http://schemas.openxmlformats.org/officeDocument/2006/relationships/tags" Target="../tags/tag40.xml"/><Relationship Id="rId62" Type="http://schemas.openxmlformats.org/officeDocument/2006/relationships/tags" Target="../tags/tag61.xml"/><Relationship Id="rId83" Type="http://schemas.openxmlformats.org/officeDocument/2006/relationships/tags" Target="../tags/tag82.xml"/><Relationship Id="rId88" Type="http://schemas.openxmlformats.org/officeDocument/2006/relationships/tags" Target="../tags/tag87.xml"/><Relationship Id="rId111" Type="http://schemas.openxmlformats.org/officeDocument/2006/relationships/tags" Target="../tags/tag110.xml"/><Relationship Id="rId132" Type="http://schemas.openxmlformats.org/officeDocument/2006/relationships/tags" Target="../tags/tag131.xml"/><Relationship Id="rId153" Type="http://schemas.openxmlformats.org/officeDocument/2006/relationships/tags" Target="../tags/tag152.xml"/><Relationship Id="rId174" Type="http://schemas.openxmlformats.org/officeDocument/2006/relationships/tags" Target="../tags/tag173.xml"/><Relationship Id="rId179" Type="http://schemas.openxmlformats.org/officeDocument/2006/relationships/tags" Target="../tags/tag178.xml"/><Relationship Id="rId190" Type="http://schemas.openxmlformats.org/officeDocument/2006/relationships/image" Target="../media/image42.png"/><Relationship Id="rId15" Type="http://schemas.openxmlformats.org/officeDocument/2006/relationships/tags" Target="../tags/tag14.xml"/><Relationship Id="rId36" Type="http://schemas.openxmlformats.org/officeDocument/2006/relationships/tags" Target="../tags/tag35.xml"/><Relationship Id="rId57" Type="http://schemas.openxmlformats.org/officeDocument/2006/relationships/tags" Target="../tags/tag56.xml"/><Relationship Id="rId106" Type="http://schemas.openxmlformats.org/officeDocument/2006/relationships/tags" Target="../tags/tag105.xml"/><Relationship Id="rId127" Type="http://schemas.openxmlformats.org/officeDocument/2006/relationships/tags" Target="../tags/tag126.xml"/><Relationship Id="rId10" Type="http://schemas.openxmlformats.org/officeDocument/2006/relationships/tags" Target="../tags/tag9.xml"/><Relationship Id="rId31" Type="http://schemas.openxmlformats.org/officeDocument/2006/relationships/tags" Target="../tags/tag30.xml"/><Relationship Id="rId52" Type="http://schemas.openxmlformats.org/officeDocument/2006/relationships/tags" Target="../tags/tag51.xml"/><Relationship Id="rId73" Type="http://schemas.openxmlformats.org/officeDocument/2006/relationships/tags" Target="../tags/tag72.xml"/><Relationship Id="rId78" Type="http://schemas.openxmlformats.org/officeDocument/2006/relationships/tags" Target="../tags/tag77.xml"/><Relationship Id="rId94" Type="http://schemas.openxmlformats.org/officeDocument/2006/relationships/tags" Target="../tags/tag93.xml"/><Relationship Id="rId99" Type="http://schemas.openxmlformats.org/officeDocument/2006/relationships/tags" Target="../tags/tag98.xml"/><Relationship Id="rId101" Type="http://schemas.openxmlformats.org/officeDocument/2006/relationships/tags" Target="../tags/tag100.xml"/><Relationship Id="rId122" Type="http://schemas.openxmlformats.org/officeDocument/2006/relationships/tags" Target="../tags/tag121.xml"/><Relationship Id="rId143" Type="http://schemas.openxmlformats.org/officeDocument/2006/relationships/tags" Target="../tags/tag142.xml"/><Relationship Id="rId148" Type="http://schemas.openxmlformats.org/officeDocument/2006/relationships/tags" Target="../tags/tag147.xml"/><Relationship Id="rId164" Type="http://schemas.openxmlformats.org/officeDocument/2006/relationships/tags" Target="../tags/tag163.xml"/><Relationship Id="rId169" Type="http://schemas.openxmlformats.org/officeDocument/2006/relationships/tags" Target="../tags/tag168.xml"/><Relationship Id="rId185" Type="http://schemas.openxmlformats.org/officeDocument/2006/relationships/notesSlide" Target="../notesSlides/notesSlide4.xml"/><Relationship Id="rId4" Type="http://schemas.openxmlformats.org/officeDocument/2006/relationships/tags" Target="../tags/tag3.xml"/><Relationship Id="rId9" Type="http://schemas.openxmlformats.org/officeDocument/2006/relationships/tags" Target="../tags/tag8.xml"/><Relationship Id="rId180" Type="http://schemas.openxmlformats.org/officeDocument/2006/relationships/tags" Target="../tags/tag179.xml"/></Relationships>
</file>

<file path=ppt/slides/_rels/slide5.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slideLayout" Target="../slideLayouts/slideLayout81.xml"/><Relationship Id="rId7" Type="http://schemas.openxmlformats.org/officeDocument/2006/relationships/image" Target="../media/image43.png"/><Relationship Id="rId2" Type="http://schemas.openxmlformats.org/officeDocument/2006/relationships/audio" Target="../media/media4.m4a"/><Relationship Id="rId1" Type="http://schemas.microsoft.com/office/2007/relationships/media" Target="../media/media4.m4a"/><Relationship Id="rId6" Type="http://schemas.openxmlformats.org/officeDocument/2006/relationships/image" Target="../media/image42.png"/><Relationship Id="rId5" Type="http://schemas.openxmlformats.org/officeDocument/2006/relationships/image" Target="../media/image24.png"/><Relationship Id="rId4" Type="http://schemas.openxmlformats.org/officeDocument/2006/relationships/notesSlide" Target="../notesSlides/notesSlide5.xml"/><Relationship Id="rId9" Type="http://schemas.openxmlformats.org/officeDocument/2006/relationships/image" Target="../media/image36.png"/></Relationships>
</file>

<file path=ppt/slides/_rels/slide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audio" Target="../media/media5.m4a"/><Relationship Id="rId7" Type="http://schemas.microsoft.com/office/2007/relationships/hdphoto" Target="../media/hdphoto2.wdp"/><Relationship Id="rId2" Type="http://schemas.microsoft.com/office/2007/relationships/media" Target="../media/media5.m4a"/><Relationship Id="rId1" Type="http://schemas.openxmlformats.org/officeDocument/2006/relationships/tags" Target="../tags/tag183.xml"/><Relationship Id="rId6" Type="http://schemas.openxmlformats.org/officeDocument/2006/relationships/image" Target="../media/image45.png"/><Relationship Id="rId5" Type="http://schemas.openxmlformats.org/officeDocument/2006/relationships/notesSlide" Target="../notesSlides/notesSlide6.xml"/><Relationship Id="rId4"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8" Type="http://schemas.openxmlformats.org/officeDocument/2006/relationships/image" Target="../media/image46.emf"/><Relationship Id="rId3" Type="http://schemas.openxmlformats.org/officeDocument/2006/relationships/tags" Target="../tags/tag185.xml"/><Relationship Id="rId7" Type="http://schemas.openxmlformats.org/officeDocument/2006/relationships/oleObject" Target="../embeddings/oleObject1.bin"/><Relationship Id="rId12" Type="http://schemas.openxmlformats.org/officeDocument/2006/relationships/image" Target="../media/image36.png"/><Relationship Id="rId2" Type="http://schemas.openxmlformats.org/officeDocument/2006/relationships/tags" Target="../tags/tag184.xml"/><Relationship Id="rId1" Type="http://schemas.openxmlformats.org/officeDocument/2006/relationships/vmlDrawing" Target="../drawings/vmlDrawing1.vml"/><Relationship Id="rId6" Type="http://schemas.openxmlformats.org/officeDocument/2006/relationships/slideLayout" Target="../slideLayouts/slideLayout81.xml"/><Relationship Id="rId11" Type="http://schemas.openxmlformats.org/officeDocument/2006/relationships/image" Target="../media/image49.png"/><Relationship Id="rId5" Type="http://schemas.openxmlformats.org/officeDocument/2006/relationships/audio" Target="../media/media6.m4a"/><Relationship Id="rId10" Type="http://schemas.openxmlformats.org/officeDocument/2006/relationships/image" Target="../media/image48.png"/><Relationship Id="rId4" Type="http://schemas.microsoft.com/office/2007/relationships/media" Target="../media/media6.m4a"/><Relationship Id="rId9" Type="http://schemas.openxmlformats.org/officeDocument/2006/relationships/image" Target="../media/image47.png"/></Relationships>
</file>

<file path=ppt/slides/_rels/slide8.xml.rels><?xml version="1.0" encoding="UTF-8" standalone="yes"?>
<Relationships xmlns="http://schemas.openxmlformats.org/package/2006/relationships"><Relationship Id="rId8" Type="http://schemas.openxmlformats.org/officeDocument/2006/relationships/notesSlide" Target="../notesSlides/notesSlide7.xml"/><Relationship Id="rId3" Type="http://schemas.openxmlformats.org/officeDocument/2006/relationships/tags" Target="../tags/tag187.xml"/><Relationship Id="rId7" Type="http://schemas.openxmlformats.org/officeDocument/2006/relationships/slideLayout" Target="../slideLayouts/slideLayout81.xml"/><Relationship Id="rId2" Type="http://schemas.openxmlformats.org/officeDocument/2006/relationships/tags" Target="../tags/tag186.xml"/><Relationship Id="rId1" Type="http://schemas.openxmlformats.org/officeDocument/2006/relationships/vmlDrawing" Target="../drawings/vmlDrawing2.vml"/><Relationship Id="rId6" Type="http://schemas.openxmlformats.org/officeDocument/2006/relationships/audio" Target="../media/media7.m4a"/><Relationship Id="rId11" Type="http://schemas.openxmlformats.org/officeDocument/2006/relationships/image" Target="../media/image36.png"/><Relationship Id="rId5" Type="http://schemas.microsoft.com/office/2007/relationships/media" Target="../media/media7.m4a"/><Relationship Id="rId10" Type="http://schemas.openxmlformats.org/officeDocument/2006/relationships/image" Target="../media/image46.emf"/><Relationship Id="rId4" Type="http://schemas.openxmlformats.org/officeDocument/2006/relationships/tags" Target="../tags/tag188.xml"/><Relationship Id="rId9" Type="http://schemas.openxmlformats.org/officeDocument/2006/relationships/oleObject" Target="../embeddings/oleObject1.bin"/></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190.xml"/><Relationship Id="rId7" Type="http://schemas.openxmlformats.org/officeDocument/2006/relationships/notesSlide" Target="../notesSlides/notesSlide8.xml"/><Relationship Id="rId2" Type="http://schemas.openxmlformats.org/officeDocument/2006/relationships/tags" Target="../tags/tag189.xml"/><Relationship Id="rId1" Type="http://schemas.openxmlformats.org/officeDocument/2006/relationships/vmlDrawing" Target="../drawings/vmlDrawing3.vml"/><Relationship Id="rId6" Type="http://schemas.openxmlformats.org/officeDocument/2006/relationships/slideLayout" Target="../slideLayouts/slideLayout81.xml"/><Relationship Id="rId11" Type="http://schemas.openxmlformats.org/officeDocument/2006/relationships/image" Target="../media/image36.png"/><Relationship Id="rId5" Type="http://schemas.openxmlformats.org/officeDocument/2006/relationships/audio" Target="../media/media8.m4a"/><Relationship Id="rId10" Type="http://schemas.openxmlformats.org/officeDocument/2006/relationships/image" Target="../media/image50.png"/><Relationship Id="rId4" Type="http://schemas.microsoft.com/office/2007/relationships/media" Target="../media/media8.m4a"/><Relationship Id="rId9" Type="http://schemas.openxmlformats.org/officeDocument/2006/relationships/image" Target="../media/image46.em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013750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5" name="Group 144">
            <a:extLst>
              <a:ext uri="{FF2B5EF4-FFF2-40B4-BE49-F238E27FC236}">
                <a16:creationId xmlns:a16="http://schemas.microsoft.com/office/drawing/2014/main" id="{E80F6F4E-8D26-4AA5-90D5-21EC266C4918}"/>
              </a:ext>
            </a:extLst>
          </p:cNvPr>
          <p:cNvGrpSpPr/>
          <p:nvPr/>
        </p:nvGrpSpPr>
        <p:grpSpPr>
          <a:xfrm>
            <a:off x="1295848" y="1922538"/>
            <a:ext cx="1100696" cy="1147486"/>
            <a:chOff x="7030996" y="1739620"/>
            <a:chExt cx="1142391" cy="1272744"/>
          </a:xfrm>
        </p:grpSpPr>
        <p:grpSp>
          <p:nvGrpSpPr>
            <p:cNvPr id="148" name="Group 147">
              <a:extLst>
                <a:ext uri="{FF2B5EF4-FFF2-40B4-BE49-F238E27FC236}">
                  <a16:creationId xmlns:a16="http://schemas.microsoft.com/office/drawing/2014/main" id="{8619C4E9-DEE1-44AB-9CAF-7CBD4EEBBF30}"/>
                </a:ext>
              </a:extLst>
            </p:cNvPr>
            <p:cNvGrpSpPr/>
            <p:nvPr/>
          </p:nvGrpSpPr>
          <p:grpSpPr>
            <a:xfrm>
              <a:off x="7602496" y="1739620"/>
              <a:ext cx="570891" cy="1272744"/>
              <a:chOff x="7602496" y="1739620"/>
              <a:chExt cx="570891" cy="1272744"/>
            </a:xfrm>
          </p:grpSpPr>
          <p:sp>
            <p:nvSpPr>
              <p:cNvPr id="207" name="Rectangle 206">
                <a:extLst>
                  <a:ext uri="{FF2B5EF4-FFF2-40B4-BE49-F238E27FC236}">
                    <a16:creationId xmlns:a16="http://schemas.microsoft.com/office/drawing/2014/main" id="{6F025070-A94E-4FD2-A480-A14146E83AE7}"/>
                  </a:ext>
                </a:extLst>
              </p:cNvPr>
              <p:cNvSpPr/>
              <p:nvPr/>
            </p:nvSpPr>
            <p:spPr>
              <a:xfrm>
                <a:off x="7602496" y="1863445"/>
                <a:ext cx="570891" cy="1148919"/>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208" name="Group 207">
                <a:extLst>
                  <a:ext uri="{FF2B5EF4-FFF2-40B4-BE49-F238E27FC236}">
                    <a16:creationId xmlns:a16="http://schemas.microsoft.com/office/drawing/2014/main" id="{0743A971-F4D0-4F49-A5B4-23D41CF3C6F5}"/>
                  </a:ext>
                </a:extLst>
              </p:cNvPr>
              <p:cNvGrpSpPr/>
              <p:nvPr/>
            </p:nvGrpSpPr>
            <p:grpSpPr>
              <a:xfrm>
                <a:off x="7681520" y="1918017"/>
                <a:ext cx="386355" cy="212495"/>
                <a:chOff x="7681520" y="1918017"/>
                <a:chExt cx="386355" cy="212495"/>
              </a:xfrm>
            </p:grpSpPr>
            <p:sp>
              <p:nvSpPr>
                <p:cNvPr id="237" name="Freeform: Shape 613">
                  <a:extLst>
                    <a:ext uri="{FF2B5EF4-FFF2-40B4-BE49-F238E27FC236}">
                      <a16:creationId xmlns:a16="http://schemas.microsoft.com/office/drawing/2014/main" id="{31D3003D-69D0-43AB-8F47-3B90954BB0A0}"/>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 name="Freeform: Shape 614">
                  <a:extLst>
                    <a:ext uri="{FF2B5EF4-FFF2-40B4-BE49-F238E27FC236}">
                      <a16:creationId xmlns:a16="http://schemas.microsoft.com/office/drawing/2014/main" id="{0ACDB22F-2041-487F-96F0-4D53C955592E}"/>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 name="Freeform: Shape 615">
                  <a:extLst>
                    <a:ext uri="{FF2B5EF4-FFF2-40B4-BE49-F238E27FC236}">
                      <a16:creationId xmlns:a16="http://schemas.microsoft.com/office/drawing/2014/main" id="{1D0F5495-80E2-4276-AD8A-E2CCB8379B87}"/>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 name="Freeform: Shape 616">
                  <a:extLst>
                    <a:ext uri="{FF2B5EF4-FFF2-40B4-BE49-F238E27FC236}">
                      <a16:creationId xmlns:a16="http://schemas.microsoft.com/office/drawing/2014/main" id="{75F5C856-CA0C-4DF8-ADE5-E9A692CC3F35}"/>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 name="Freeform: Shape 617">
                  <a:extLst>
                    <a:ext uri="{FF2B5EF4-FFF2-40B4-BE49-F238E27FC236}">
                      <a16:creationId xmlns:a16="http://schemas.microsoft.com/office/drawing/2014/main" id="{03C41B6B-DF1C-413C-BF10-948DC90FEFF2}"/>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 name="Freeform: Shape 618">
                  <a:extLst>
                    <a:ext uri="{FF2B5EF4-FFF2-40B4-BE49-F238E27FC236}">
                      <a16:creationId xmlns:a16="http://schemas.microsoft.com/office/drawing/2014/main" id="{B0871FBF-7C12-46A8-9D48-5E361F25A0E7}"/>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 name="Freeform: Shape 619">
                  <a:extLst>
                    <a:ext uri="{FF2B5EF4-FFF2-40B4-BE49-F238E27FC236}">
                      <a16:creationId xmlns:a16="http://schemas.microsoft.com/office/drawing/2014/main" id="{23776C9E-D53A-47EB-914D-03DB163B75DA}"/>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 name="Freeform: Shape 620">
                  <a:extLst>
                    <a:ext uri="{FF2B5EF4-FFF2-40B4-BE49-F238E27FC236}">
                      <a16:creationId xmlns:a16="http://schemas.microsoft.com/office/drawing/2014/main" id="{6FCE1129-6EEA-4818-9C22-5C96A9E1CB3E}"/>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09" name="Group 208">
                <a:extLst>
                  <a:ext uri="{FF2B5EF4-FFF2-40B4-BE49-F238E27FC236}">
                    <a16:creationId xmlns:a16="http://schemas.microsoft.com/office/drawing/2014/main" id="{623D1DE8-FB9E-431A-B1E6-25FADC13CD77}"/>
                  </a:ext>
                </a:extLst>
              </p:cNvPr>
              <p:cNvGrpSpPr/>
              <p:nvPr/>
            </p:nvGrpSpPr>
            <p:grpSpPr>
              <a:xfrm>
                <a:off x="7681520" y="2165667"/>
                <a:ext cx="386355" cy="212495"/>
                <a:chOff x="7681520" y="1918017"/>
                <a:chExt cx="386355" cy="212495"/>
              </a:xfrm>
            </p:grpSpPr>
            <p:sp>
              <p:nvSpPr>
                <p:cNvPr id="229" name="Freeform: Shape 622">
                  <a:extLst>
                    <a:ext uri="{FF2B5EF4-FFF2-40B4-BE49-F238E27FC236}">
                      <a16:creationId xmlns:a16="http://schemas.microsoft.com/office/drawing/2014/main" id="{5CFEA125-032F-43B6-A7B5-3B3E13B65B5A}"/>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 name="Freeform: Shape 623">
                  <a:extLst>
                    <a:ext uri="{FF2B5EF4-FFF2-40B4-BE49-F238E27FC236}">
                      <a16:creationId xmlns:a16="http://schemas.microsoft.com/office/drawing/2014/main" id="{1F95517B-8B68-4881-8DC1-4963D259D046}"/>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 name="Freeform: Shape 624">
                  <a:extLst>
                    <a:ext uri="{FF2B5EF4-FFF2-40B4-BE49-F238E27FC236}">
                      <a16:creationId xmlns:a16="http://schemas.microsoft.com/office/drawing/2014/main" id="{31A338DE-2041-42A7-852A-B440F865B845}"/>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 name="Freeform: Shape 625">
                  <a:extLst>
                    <a:ext uri="{FF2B5EF4-FFF2-40B4-BE49-F238E27FC236}">
                      <a16:creationId xmlns:a16="http://schemas.microsoft.com/office/drawing/2014/main" id="{2FA7AE4D-85F2-4C1B-970B-4BD418277FDC}"/>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 name="Freeform: Shape 626">
                  <a:extLst>
                    <a:ext uri="{FF2B5EF4-FFF2-40B4-BE49-F238E27FC236}">
                      <a16:creationId xmlns:a16="http://schemas.microsoft.com/office/drawing/2014/main" id="{2BB500AE-A26E-4651-B142-FEBDDFC045ED}"/>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 name="Freeform: Shape 627">
                  <a:extLst>
                    <a:ext uri="{FF2B5EF4-FFF2-40B4-BE49-F238E27FC236}">
                      <a16:creationId xmlns:a16="http://schemas.microsoft.com/office/drawing/2014/main" id="{9E3F810C-862D-4C6A-A7D8-A313D39B6BB2}"/>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 name="Freeform: Shape 628">
                  <a:extLst>
                    <a:ext uri="{FF2B5EF4-FFF2-40B4-BE49-F238E27FC236}">
                      <a16:creationId xmlns:a16="http://schemas.microsoft.com/office/drawing/2014/main" id="{D50613AF-9DAC-49B5-956A-94E8465E204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 name="Freeform: Shape 629">
                  <a:extLst>
                    <a:ext uri="{FF2B5EF4-FFF2-40B4-BE49-F238E27FC236}">
                      <a16:creationId xmlns:a16="http://schemas.microsoft.com/office/drawing/2014/main" id="{4B9269CF-6878-4C31-B7A6-D3A91E055EC4}"/>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10" name="Group 209">
                <a:extLst>
                  <a:ext uri="{FF2B5EF4-FFF2-40B4-BE49-F238E27FC236}">
                    <a16:creationId xmlns:a16="http://schemas.microsoft.com/office/drawing/2014/main" id="{83398368-FF21-4690-9F47-3C01B401F17E}"/>
                  </a:ext>
                </a:extLst>
              </p:cNvPr>
              <p:cNvGrpSpPr/>
              <p:nvPr/>
            </p:nvGrpSpPr>
            <p:grpSpPr>
              <a:xfrm>
                <a:off x="7681520" y="2429192"/>
                <a:ext cx="386355" cy="212495"/>
                <a:chOff x="7681520" y="1918017"/>
                <a:chExt cx="386355" cy="212495"/>
              </a:xfrm>
            </p:grpSpPr>
            <p:sp>
              <p:nvSpPr>
                <p:cNvPr id="221" name="Freeform: Shape 631">
                  <a:extLst>
                    <a:ext uri="{FF2B5EF4-FFF2-40B4-BE49-F238E27FC236}">
                      <a16:creationId xmlns:a16="http://schemas.microsoft.com/office/drawing/2014/main" id="{FADF1AD1-FBC6-4AFA-B95A-C3E1A6ABAE76}"/>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 name="Freeform: Shape 632">
                  <a:extLst>
                    <a:ext uri="{FF2B5EF4-FFF2-40B4-BE49-F238E27FC236}">
                      <a16:creationId xmlns:a16="http://schemas.microsoft.com/office/drawing/2014/main" id="{ECC23EDB-DDBE-4FD3-986F-B514BBCDA4EC}"/>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 name="Freeform: Shape 633">
                  <a:extLst>
                    <a:ext uri="{FF2B5EF4-FFF2-40B4-BE49-F238E27FC236}">
                      <a16:creationId xmlns:a16="http://schemas.microsoft.com/office/drawing/2014/main" id="{9F2142F2-3069-4C1D-8EF2-F90C79FA3AB8}"/>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 name="Freeform: Shape 634">
                  <a:extLst>
                    <a:ext uri="{FF2B5EF4-FFF2-40B4-BE49-F238E27FC236}">
                      <a16:creationId xmlns:a16="http://schemas.microsoft.com/office/drawing/2014/main" id="{B1EA25BE-5F9F-43FA-AEE5-154AD3736A64}"/>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 name="Freeform: Shape 635">
                  <a:extLst>
                    <a:ext uri="{FF2B5EF4-FFF2-40B4-BE49-F238E27FC236}">
                      <a16:creationId xmlns:a16="http://schemas.microsoft.com/office/drawing/2014/main" id="{613BC104-4FCD-4B68-A3F0-1D79B4254772}"/>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 name="Freeform: Shape 636">
                  <a:extLst>
                    <a:ext uri="{FF2B5EF4-FFF2-40B4-BE49-F238E27FC236}">
                      <a16:creationId xmlns:a16="http://schemas.microsoft.com/office/drawing/2014/main" id="{FD79181F-63B5-44AE-81D3-92203C35C660}"/>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 name="Freeform: Shape 637">
                  <a:extLst>
                    <a:ext uri="{FF2B5EF4-FFF2-40B4-BE49-F238E27FC236}">
                      <a16:creationId xmlns:a16="http://schemas.microsoft.com/office/drawing/2014/main" id="{5F5F1658-98D3-480F-87EE-7864866DCD00}"/>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 name="Freeform: Shape 638">
                  <a:extLst>
                    <a:ext uri="{FF2B5EF4-FFF2-40B4-BE49-F238E27FC236}">
                      <a16:creationId xmlns:a16="http://schemas.microsoft.com/office/drawing/2014/main" id="{0168CFCA-B35F-41A5-94B1-6202B4643E0A}"/>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11" name="Group 210">
                <a:extLst>
                  <a:ext uri="{FF2B5EF4-FFF2-40B4-BE49-F238E27FC236}">
                    <a16:creationId xmlns:a16="http://schemas.microsoft.com/office/drawing/2014/main" id="{1371FD26-6207-45DE-8FFF-F63928D3219E}"/>
                  </a:ext>
                </a:extLst>
              </p:cNvPr>
              <p:cNvGrpSpPr/>
              <p:nvPr/>
            </p:nvGrpSpPr>
            <p:grpSpPr>
              <a:xfrm>
                <a:off x="7681520" y="2692717"/>
                <a:ext cx="386355" cy="212495"/>
                <a:chOff x="7681520" y="1918017"/>
                <a:chExt cx="386355" cy="212495"/>
              </a:xfrm>
            </p:grpSpPr>
            <p:sp>
              <p:nvSpPr>
                <p:cNvPr id="213" name="Freeform: Shape 640">
                  <a:extLst>
                    <a:ext uri="{FF2B5EF4-FFF2-40B4-BE49-F238E27FC236}">
                      <a16:creationId xmlns:a16="http://schemas.microsoft.com/office/drawing/2014/main" id="{9227E197-9FA0-4FF6-B998-BCD32CACFCAF}"/>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4" name="Freeform: Shape 641">
                  <a:extLst>
                    <a:ext uri="{FF2B5EF4-FFF2-40B4-BE49-F238E27FC236}">
                      <a16:creationId xmlns:a16="http://schemas.microsoft.com/office/drawing/2014/main" id="{A62770A8-41DA-4AA6-8DB0-48B9FF5E7174}"/>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5" name="Freeform: Shape 642">
                  <a:extLst>
                    <a:ext uri="{FF2B5EF4-FFF2-40B4-BE49-F238E27FC236}">
                      <a16:creationId xmlns:a16="http://schemas.microsoft.com/office/drawing/2014/main" id="{99FD1C56-9940-44D5-B806-8F5641AED512}"/>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6" name="Freeform: Shape 643">
                  <a:extLst>
                    <a:ext uri="{FF2B5EF4-FFF2-40B4-BE49-F238E27FC236}">
                      <a16:creationId xmlns:a16="http://schemas.microsoft.com/office/drawing/2014/main" id="{F45FCD9E-03EF-4961-B467-A1363C31AA26}"/>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 name="Freeform: Shape 644">
                  <a:extLst>
                    <a:ext uri="{FF2B5EF4-FFF2-40B4-BE49-F238E27FC236}">
                      <a16:creationId xmlns:a16="http://schemas.microsoft.com/office/drawing/2014/main" id="{D2678F5B-FFBA-44DD-829D-645CFC56D566}"/>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8" name="Freeform: Shape 645">
                  <a:extLst>
                    <a:ext uri="{FF2B5EF4-FFF2-40B4-BE49-F238E27FC236}">
                      <a16:creationId xmlns:a16="http://schemas.microsoft.com/office/drawing/2014/main" id="{46552C97-E191-4623-8588-29F039D488DC}"/>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9" name="Freeform: Shape 646">
                  <a:extLst>
                    <a:ext uri="{FF2B5EF4-FFF2-40B4-BE49-F238E27FC236}">
                      <a16:creationId xmlns:a16="http://schemas.microsoft.com/office/drawing/2014/main" id="{9C4EEF16-E9D3-42BB-B419-5978A70D805D}"/>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 name="Freeform: Shape 647">
                  <a:extLst>
                    <a:ext uri="{FF2B5EF4-FFF2-40B4-BE49-F238E27FC236}">
                      <a16:creationId xmlns:a16="http://schemas.microsoft.com/office/drawing/2014/main" id="{D525B7EF-BF21-47F2-AC13-B8C9B1284233}"/>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212" name="Rectangle 211">
                <a:extLst>
                  <a:ext uri="{FF2B5EF4-FFF2-40B4-BE49-F238E27FC236}">
                    <a16:creationId xmlns:a16="http://schemas.microsoft.com/office/drawing/2014/main" id="{49F05559-D241-48B8-ADA8-3F58000635BC}"/>
                  </a:ext>
                </a:extLst>
              </p:cNvPr>
              <p:cNvSpPr/>
              <p:nvPr/>
            </p:nvSpPr>
            <p:spPr>
              <a:xfrm>
                <a:off x="7710446" y="1739620"/>
                <a:ext cx="363579" cy="124105"/>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grpSp>
          <p:nvGrpSpPr>
            <p:cNvPr id="150" name="Group 149">
              <a:extLst>
                <a:ext uri="{FF2B5EF4-FFF2-40B4-BE49-F238E27FC236}">
                  <a16:creationId xmlns:a16="http://schemas.microsoft.com/office/drawing/2014/main" id="{32724CEB-FDE7-4F9B-AFAF-D12123EE2027}"/>
                </a:ext>
              </a:extLst>
            </p:cNvPr>
            <p:cNvGrpSpPr/>
            <p:nvPr/>
          </p:nvGrpSpPr>
          <p:grpSpPr>
            <a:xfrm>
              <a:off x="7030996" y="2098675"/>
              <a:ext cx="570891" cy="913689"/>
              <a:chOff x="8177171" y="2098675"/>
              <a:chExt cx="570891" cy="913689"/>
            </a:xfrm>
          </p:grpSpPr>
          <p:sp>
            <p:nvSpPr>
              <p:cNvPr id="151" name="Rectangle 150">
                <a:extLst>
                  <a:ext uri="{FF2B5EF4-FFF2-40B4-BE49-F238E27FC236}">
                    <a16:creationId xmlns:a16="http://schemas.microsoft.com/office/drawing/2014/main" id="{3F2AE079-085F-4CCD-9DF8-846D273EA67E}"/>
                  </a:ext>
                </a:extLst>
              </p:cNvPr>
              <p:cNvSpPr/>
              <p:nvPr/>
            </p:nvSpPr>
            <p:spPr>
              <a:xfrm>
                <a:off x="8177171" y="2098675"/>
                <a:ext cx="570891" cy="913689"/>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152" name="Group 151">
                <a:extLst>
                  <a:ext uri="{FF2B5EF4-FFF2-40B4-BE49-F238E27FC236}">
                    <a16:creationId xmlns:a16="http://schemas.microsoft.com/office/drawing/2014/main" id="{82F2CD1B-8EF3-4FD5-B6BB-4ED9806F627E}"/>
                  </a:ext>
                </a:extLst>
              </p:cNvPr>
              <p:cNvGrpSpPr/>
              <p:nvPr/>
            </p:nvGrpSpPr>
            <p:grpSpPr>
              <a:xfrm>
                <a:off x="8256195" y="2165667"/>
                <a:ext cx="386355" cy="212495"/>
                <a:chOff x="7681520" y="1918017"/>
                <a:chExt cx="386355" cy="212495"/>
              </a:xfrm>
            </p:grpSpPr>
            <p:sp>
              <p:nvSpPr>
                <p:cNvPr id="171" name="Freeform: Shape 707">
                  <a:extLst>
                    <a:ext uri="{FF2B5EF4-FFF2-40B4-BE49-F238E27FC236}">
                      <a16:creationId xmlns:a16="http://schemas.microsoft.com/office/drawing/2014/main" id="{203F7D2B-F5CB-4B61-8987-8D1ED35D1AD4}"/>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 name="Freeform: Shape 708">
                  <a:extLst>
                    <a:ext uri="{FF2B5EF4-FFF2-40B4-BE49-F238E27FC236}">
                      <a16:creationId xmlns:a16="http://schemas.microsoft.com/office/drawing/2014/main" id="{BEFB5D86-B84E-4C38-AC2F-D325429429DA}"/>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 name="Freeform: Shape 709">
                  <a:extLst>
                    <a:ext uri="{FF2B5EF4-FFF2-40B4-BE49-F238E27FC236}">
                      <a16:creationId xmlns:a16="http://schemas.microsoft.com/office/drawing/2014/main" id="{AA87997F-85D3-476F-9D39-2E59D4F7D359}"/>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 name="Freeform: Shape 710">
                  <a:extLst>
                    <a:ext uri="{FF2B5EF4-FFF2-40B4-BE49-F238E27FC236}">
                      <a16:creationId xmlns:a16="http://schemas.microsoft.com/office/drawing/2014/main" id="{3261E925-D374-430D-BE66-428624434C85}"/>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 name="Freeform: Shape 711">
                  <a:extLst>
                    <a:ext uri="{FF2B5EF4-FFF2-40B4-BE49-F238E27FC236}">
                      <a16:creationId xmlns:a16="http://schemas.microsoft.com/office/drawing/2014/main" id="{0860838F-CFDC-41BC-B92A-163A0EE3F14F}"/>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 name="Freeform: Shape 712">
                  <a:extLst>
                    <a:ext uri="{FF2B5EF4-FFF2-40B4-BE49-F238E27FC236}">
                      <a16:creationId xmlns:a16="http://schemas.microsoft.com/office/drawing/2014/main" id="{E55480F1-1893-484D-8FF9-85A0A94DD473}"/>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 name="Freeform: Shape 713">
                  <a:extLst>
                    <a:ext uri="{FF2B5EF4-FFF2-40B4-BE49-F238E27FC236}">
                      <a16:creationId xmlns:a16="http://schemas.microsoft.com/office/drawing/2014/main" id="{1D41F713-F934-41C1-8730-4A748EF41DD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 name="Freeform: Shape 714">
                  <a:extLst>
                    <a:ext uri="{FF2B5EF4-FFF2-40B4-BE49-F238E27FC236}">
                      <a16:creationId xmlns:a16="http://schemas.microsoft.com/office/drawing/2014/main" id="{3268174C-3044-42A4-AD12-A0903062DADB}"/>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53" name="Group 152">
                <a:extLst>
                  <a:ext uri="{FF2B5EF4-FFF2-40B4-BE49-F238E27FC236}">
                    <a16:creationId xmlns:a16="http://schemas.microsoft.com/office/drawing/2014/main" id="{82C37B37-BA84-47CF-B761-1B8DF16E95A3}"/>
                  </a:ext>
                </a:extLst>
              </p:cNvPr>
              <p:cNvGrpSpPr/>
              <p:nvPr/>
            </p:nvGrpSpPr>
            <p:grpSpPr>
              <a:xfrm>
                <a:off x="8256195" y="2429192"/>
                <a:ext cx="386355" cy="212495"/>
                <a:chOff x="7681520" y="1918017"/>
                <a:chExt cx="386355" cy="212495"/>
              </a:xfrm>
            </p:grpSpPr>
            <p:sp>
              <p:nvSpPr>
                <p:cNvPr id="163" name="Freeform: Shape 699">
                  <a:extLst>
                    <a:ext uri="{FF2B5EF4-FFF2-40B4-BE49-F238E27FC236}">
                      <a16:creationId xmlns:a16="http://schemas.microsoft.com/office/drawing/2014/main" id="{54015EB5-AFCF-441A-B529-7B008BA11323}"/>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 name="Freeform: Shape 700">
                  <a:extLst>
                    <a:ext uri="{FF2B5EF4-FFF2-40B4-BE49-F238E27FC236}">
                      <a16:creationId xmlns:a16="http://schemas.microsoft.com/office/drawing/2014/main" id="{5C0325B9-FEC8-4CF2-A84F-E7EDF9734AF9}"/>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 name="Freeform: Shape 701">
                  <a:extLst>
                    <a:ext uri="{FF2B5EF4-FFF2-40B4-BE49-F238E27FC236}">
                      <a16:creationId xmlns:a16="http://schemas.microsoft.com/office/drawing/2014/main" id="{715C2893-6A38-4995-AB07-EDB72A2B6020}"/>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 name="Freeform: Shape 702">
                  <a:extLst>
                    <a:ext uri="{FF2B5EF4-FFF2-40B4-BE49-F238E27FC236}">
                      <a16:creationId xmlns:a16="http://schemas.microsoft.com/office/drawing/2014/main" id="{B2E524EA-7500-401B-AA51-ACDA7049C5D7}"/>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 name="Freeform: Shape 703">
                  <a:extLst>
                    <a:ext uri="{FF2B5EF4-FFF2-40B4-BE49-F238E27FC236}">
                      <a16:creationId xmlns:a16="http://schemas.microsoft.com/office/drawing/2014/main" id="{4DEAB885-F959-44BC-9663-983D9EB5377A}"/>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 name="Freeform: Shape 704">
                  <a:extLst>
                    <a:ext uri="{FF2B5EF4-FFF2-40B4-BE49-F238E27FC236}">
                      <a16:creationId xmlns:a16="http://schemas.microsoft.com/office/drawing/2014/main" id="{3FF6C649-EAFC-4D3E-B311-CF8D6A2E342C}"/>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 name="Freeform: Shape 705">
                  <a:extLst>
                    <a:ext uri="{FF2B5EF4-FFF2-40B4-BE49-F238E27FC236}">
                      <a16:creationId xmlns:a16="http://schemas.microsoft.com/office/drawing/2014/main" id="{51CF9C68-DDD8-42E2-B73D-CBF745F6AD3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 name="Freeform: Shape 706">
                  <a:extLst>
                    <a:ext uri="{FF2B5EF4-FFF2-40B4-BE49-F238E27FC236}">
                      <a16:creationId xmlns:a16="http://schemas.microsoft.com/office/drawing/2014/main" id="{620A3177-F1C6-4C99-9E55-F8621C372FBF}"/>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54" name="Group 153">
                <a:extLst>
                  <a:ext uri="{FF2B5EF4-FFF2-40B4-BE49-F238E27FC236}">
                    <a16:creationId xmlns:a16="http://schemas.microsoft.com/office/drawing/2014/main" id="{0CC9FADE-28F9-49BB-A344-BDF29A40C9C5}"/>
                  </a:ext>
                </a:extLst>
              </p:cNvPr>
              <p:cNvGrpSpPr/>
              <p:nvPr/>
            </p:nvGrpSpPr>
            <p:grpSpPr>
              <a:xfrm>
                <a:off x="8256195" y="2692717"/>
                <a:ext cx="386355" cy="212495"/>
                <a:chOff x="7681520" y="1918017"/>
                <a:chExt cx="386355" cy="212495"/>
              </a:xfrm>
            </p:grpSpPr>
            <p:sp>
              <p:nvSpPr>
                <p:cNvPr id="155" name="Freeform: Shape 691">
                  <a:extLst>
                    <a:ext uri="{FF2B5EF4-FFF2-40B4-BE49-F238E27FC236}">
                      <a16:creationId xmlns:a16="http://schemas.microsoft.com/office/drawing/2014/main" id="{E6D347EC-194B-4960-86DC-D0E0E8626DD5}"/>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 name="Freeform: Shape 692">
                  <a:extLst>
                    <a:ext uri="{FF2B5EF4-FFF2-40B4-BE49-F238E27FC236}">
                      <a16:creationId xmlns:a16="http://schemas.microsoft.com/office/drawing/2014/main" id="{C5FE6987-2FA3-417F-B341-52792038C0DE}"/>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 name="Freeform: Shape 693">
                  <a:extLst>
                    <a:ext uri="{FF2B5EF4-FFF2-40B4-BE49-F238E27FC236}">
                      <a16:creationId xmlns:a16="http://schemas.microsoft.com/office/drawing/2014/main" id="{9B352CD8-25B0-4EDE-9A03-873248250118}"/>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 name="Freeform: Shape 694">
                  <a:extLst>
                    <a:ext uri="{FF2B5EF4-FFF2-40B4-BE49-F238E27FC236}">
                      <a16:creationId xmlns:a16="http://schemas.microsoft.com/office/drawing/2014/main" id="{D6DA0E0A-A52E-4E08-8F8B-9B7EA9ECD4C1}"/>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 name="Freeform: Shape 695">
                  <a:extLst>
                    <a:ext uri="{FF2B5EF4-FFF2-40B4-BE49-F238E27FC236}">
                      <a16:creationId xmlns:a16="http://schemas.microsoft.com/office/drawing/2014/main" id="{D46D8B46-5EB2-4AFB-B842-E2D25BAA1B84}"/>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 name="Freeform: Shape 696">
                  <a:extLst>
                    <a:ext uri="{FF2B5EF4-FFF2-40B4-BE49-F238E27FC236}">
                      <a16:creationId xmlns:a16="http://schemas.microsoft.com/office/drawing/2014/main" id="{063D1DC3-42EE-4D5E-9219-F2B3D5AA2BB0}"/>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 name="Freeform: Shape 697">
                  <a:extLst>
                    <a:ext uri="{FF2B5EF4-FFF2-40B4-BE49-F238E27FC236}">
                      <a16:creationId xmlns:a16="http://schemas.microsoft.com/office/drawing/2014/main" id="{88BA0CC1-4D2D-46AD-925E-A89044247021}"/>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 name="Freeform: Shape 698">
                  <a:extLst>
                    <a:ext uri="{FF2B5EF4-FFF2-40B4-BE49-F238E27FC236}">
                      <a16:creationId xmlns:a16="http://schemas.microsoft.com/office/drawing/2014/main" id="{FC9383D1-ED48-4DF1-B637-C22F7ABB820F}"/>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grpSp>
        <p:nvGrpSpPr>
          <p:cNvPr id="267" name="Group 266">
            <a:extLst>
              <a:ext uri="{FF2B5EF4-FFF2-40B4-BE49-F238E27FC236}">
                <a16:creationId xmlns:a16="http://schemas.microsoft.com/office/drawing/2014/main" id="{E80F6F4E-8D26-4AA5-90D5-21EC266C4918}"/>
              </a:ext>
            </a:extLst>
          </p:cNvPr>
          <p:cNvGrpSpPr/>
          <p:nvPr/>
        </p:nvGrpSpPr>
        <p:grpSpPr>
          <a:xfrm>
            <a:off x="8352425" y="1675650"/>
            <a:ext cx="3288814" cy="1507156"/>
            <a:chOff x="6486211" y="1739620"/>
            <a:chExt cx="2801675" cy="1283916"/>
          </a:xfrm>
        </p:grpSpPr>
        <p:grpSp>
          <p:nvGrpSpPr>
            <p:cNvPr id="268" name="Group 267">
              <a:extLst>
                <a:ext uri="{FF2B5EF4-FFF2-40B4-BE49-F238E27FC236}">
                  <a16:creationId xmlns:a16="http://schemas.microsoft.com/office/drawing/2014/main" id="{6E4EAD5C-7924-4B1F-9DFF-D1AD8232C318}"/>
                </a:ext>
              </a:extLst>
            </p:cNvPr>
            <p:cNvGrpSpPr/>
            <p:nvPr/>
          </p:nvGrpSpPr>
          <p:grpSpPr>
            <a:xfrm>
              <a:off x="6486211" y="2427446"/>
              <a:ext cx="596090" cy="596090"/>
              <a:chOff x="6340161" y="2433796"/>
              <a:chExt cx="596090" cy="596090"/>
            </a:xfrm>
          </p:grpSpPr>
          <p:sp>
            <p:nvSpPr>
              <p:cNvPr id="378" name="Freeform: Shape 498">
                <a:extLst>
                  <a:ext uri="{FF2B5EF4-FFF2-40B4-BE49-F238E27FC236}">
                    <a16:creationId xmlns:a16="http://schemas.microsoft.com/office/drawing/2014/main" id="{52517459-A55E-400A-8290-6C0D2E0D05B7}"/>
                  </a:ext>
                </a:extLst>
              </p:cNvPr>
              <p:cNvSpPr/>
              <p:nvPr/>
            </p:nvSpPr>
            <p:spPr>
              <a:xfrm>
                <a:off x="6340161" y="2433796"/>
                <a:ext cx="596090" cy="596090"/>
              </a:xfrm>
              <a:custGeom>
                <a:avLst/>
                <a:gdLst>
                  <a:gd name="connsiteX0" fmla="*/ 16669 w 771525"/>
                  <a:gd name="connsiteY0" fmla="*/ 769144 h 771525"/>
                  <a:gd name="connsiteX1" fmla="*/ 759619 w 771525"/>
                  <a:gd name="connsiteY1" fmla="*/ 769144 h 771525"/>
                  <a:gd name="connsiteX2" fmla="*/ 769144 w 771525"/>
                  <a:gd name="connsiteY2" fmla="*/ 759619 h 771525"/>
                  <a:gd name="connsiteX3" fmla="*/ 769144 w 771525"/>
                  <a:gd name="connsiteY3" fmla="*/ 693344 h 771525"/>
                  <a:gd name="connsiteX4" fmla="*/ 759619 w 771525"/>
                  <a:gd name="connsiteY4" fmla="*/ 683819 h 771525"/>
                  <a:gd name="connsiteX5" fmla="*/ 718547 w 771525"/>
                  <a:gd name="connsiteY5" fmla="*/ 683819 h 771525"/>
                  <a:gd name="connsiteX6" fmla="*/ 718547 w 771525"/>
                  <a:gd name="connsiteY6" fmla="*/ 92469 h 771525"/>
                  <a:gd name="connsiteX7" fmla="*/ 732596 w 771525"/>
                  <a:gd name="connsiteY7" fmla="*/ 92469 h 771525"/>
                  <a:gd name="connsiteX8" fmla="*/ 742121 w 771525"/>
                  <a:gd name="connsiteY8" fmla="*/ 82944 h 771525"/>
                  <a:gd name="connsiteX9" fmla="*/ 742121 w 771525"/>
                  <a:gd name="connsiteY9" fmla="*/ 16669 h 771525"/>
                  <a:gd name="connsiteX10" fmla="*/ 732596 w 771525"/>
                  <a:gd name="connsiteY10" fmla="*/ 7144 h 771525"/>
                  <a:gd name="connsiteX11" fmla="*/ 43691 w 771525"/>
                  <a:gd name="connsiteY11" fmla="*/ 7144 h 771525"/>
                  <a:gd name="connsiteX12" fmla="*/ 34166 w 771525"/>
                  <a:gd name="connsiteY12" fmla="*/ 16669 h 771525"/>
                  <a:gd name="connsiteX13" fmla="*/ 34166 w 771525"/>
                  <a:gd name="connsiteY13" fmla="*/ 82944 h 771525"/>
                  <a:gd name="connsiteX14" fmla="*/ 43691 w 771525"/>
                  <a:gd name="connsiteY14" fmla="*/ 92469 h 771525"/>
                  <a:gd name="connsiteX15" fmla="*/ 57741 w 771525"/>
                  <a:gd name="connsiteY15" fmla="*/ 92469 h 771525"/>
                  <a:gd name="connsiteX16" fmla="*/ 57741 w 771525"/>
                  <a:gd name="connsiteY16" fmla="*/ 683819 h 771525"/>
                  <a:gd name="connsiteX17" fmla="*/ 16669 w 771525"/>
                  <a:gd name="connsiteY17" fmla="*/ 683819 h 771525"/>
                  <a:gd name="connsiteX18" fmla="*/ 7144 w 771525"/>
                  <a:gd name="connsiteY18" fmla="*/ 693344 h 771525"/>
                  <a:gd name="connsiteX19" fmla="*/ 7144 w 771525"/>
                  <a:gd name="connsiteY19" fmla="*/ 759619 h 771525"/>
                  <a:gd name="connsiteX20" fmla="*/ 16669 w 771525"/>
                  <a:gd name="connsiteY20" fmla="*/ 769144 h 771525"/>
                  <a:gd name="connsiteX21" fmla="*/ 53216 w 771525"/>
                  <a:gd name="connsiteY21" fmla="*/ 26194 h 771525"/>
                  <a:gd name="connsiteX22" fmla="*/ 723062 w 771525"/>
                  <a:gd name="connsiteY22" fmla="*/ 26194 h 771525"/>
                  <a:gd name="connsiteX23" fmla="*/ 723062 w 771525"/>
                  <a:gd name="connsiteY23" fmla="*/ 73419 h 771525"/>
                  <a:gd name="connsiteX24" fmla="*/ 53216 w 771525"/>
                  <a:gd name="connsiteY24" fmla="*/ 73419 h 771525"/>
                  <a:gd name="connsiteX25" fmla="*/ 53216 w 771525"/>
                  <a:gd name="connsiteY25" fmla="*/ 26194 h 771525"/>
                  <a:gd name="connsiteX26" fmla="*/ 76791 w 771525"/>
                  <a:gd name="connsiteY26" fmla="*/ 92469 h 771525"/>
                  <a:gd name="connsiteX27" fmla="*/ 699487 w 771525"/>
                  <a:gd name="connsiteY27" fmla="*/ 92469 h 771525"/>
                  <a:gd name="connsiteX28" fmla="*/ 699487 w 771525"/>
                  <a:gd name="connsiteY28" fmla="*/ 683819 h 771525"/>
                  <a:gd name="connsiteX29" fmla="*/ 496491 w 771525"/>
                  <a:gd name="connsiteY29" fmla="*/ 683819 h 771525"/>
                  <a:gd name="connsiteX30" fmla="*/ 496491 w 771525"/>
                  <a:gd name="connsiteY30" fmla="*/ 470402 h 771525"/>
                  <a:gd name="connsiteX31" fmla="*/ 486966 w 771525"/>
                  <a:gd name="connsiteY31" fmla="*/ 460877 h 771525"/>
                  <a:gd name="connsiteX32" fmla="*/ 289322 w 771525"/>
                  <a:gd name="connsiteY32" fmla="*/ 460877 h 771525"/>
                  <a:gd name="connsiteX33" fmla="*/ 279797 w 771525"/>
                  <a:gd name="connsiteY33" fmla="*/ 470402 h 771525"/>
                  <a:gd name="connsiteX34" fmla="*/ 279797 w 771525"/>
                  <a:gd name="connsiteY34" fmla="*/ 683819 h 771525"/>
                  <a:gd name="connsiteX35" fmla="*/ 76791 w 771525"/>
                  <a:gd name="connsiteY35" fmla="*/ 683819 h 771525"/>
                  <a:gd name="connsiteX36" fmla="*/ 76791 w 771525"/>
                  <a:gd name="connsiteY36" fmla="*/ 92469 h 771525"/>
                  <a:gd name="connsiteX37" fmla="*/ 298847 w 771525"/>
                  <a:gd name="connsiteY37" fmla="*/ 683819 h 771525"/>
                  <a:gd name="connsiteX38" fmla="*/ 298847 w 771525"/>
                  <a:gd name="connsiteY38" fmla="*/ 479927 h 771525"/>
                  <a:gd name="connsiteX39" fmla="*/ 378619 w 771525"/>
                  <a:gd name="connsiteY39" fmla="*/ 479927 h 771525"/>
                  <a:gd name="connsiteX40" fmla="*/ 378619 w 771525"/>
                  <a:gd name="connsiteY40" fmla="*/ 683819 h 771525"/>
                  <a:gd name="connsiteX41" fmla="*/ 298847 w 771525"/>
                  <a:gd name="connsiteY41" fmla="*/ 683819 h 771525"/>
                  <a:gd name="connsiteX42" fmla="*/ 397669 w 771525"/>
                  <a:gd name="connsiteY42" fmla="*/ 479927 h 771525"/>
                  <a:gd name="connsiteX43" fmla="*/ 477441 w 771525"/>
                  <a:gd name="connsiteY43" fmla="*/ 479927 h 771525"/>
                  <a:gd name="connsiteX44" fmla="*/ 477441 w 771525"/>
                  <a:gd name="connsiteY44" fmla="*/ 683819 h 771525"/>
                  <a:gd name="connsiteX45" fmla="*/ 397669 w 771525"/>
                  <a:gd name="connsiteY45" fmla="*/ 683819 h 771525"/>
                  <a:gd name="connsiteX46" fmla="*/ 397669 w 771525"/>
                  <a:gd name="connsiteY46" fmla="*/ 479927 h 771525"/>
                  <a:gd name="connsiteX47" fmla="*/ 26194 w 771525"/>
                  <a:gd name="connsiteY47" fmla="*/ 702869 h 771525"/>
                  <a:gd name="connsiteX48" fmla="*/ 750094 w 771525"/>
                  <a:gd name="connsiteY48" fmla="*/ 702869 h 771525"/>
                  <a:gd name="connsiteX49" fmla="*/ 750094 w 771525"/>
                  <a:gd name="connsiteY49" fmla="*/ 750094 h 771525"/>
                  <a:gd name="connsiteX50" fmla="*/ 26194 w 771525"/>
                  <a:gd name="connsiteY50" fmla="*/ 750094 h 771525"/>
                  <a:gd name="connsiteX51" fmla="*/ 26194 w 771525"/>
                  <a:gd name="connsiteY51" fmla="*/ 702869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771525" h="771525">
                    <a:moveTo>
                      <a:pt x="16669" y="769144"/>
                    </a:moveTo>
                    <a:lnTo>
                      <a:pt x="759619" y="769144"/>
                    </a:lnTo>
                    <a:cubicBezTo>
                      <a:pt x="764877" y="769144"/>
                      <a:pt x="769144" y="764886"/>
                      <a:pt x="769144" y="759619"/>
                    </a:cubicBezTo>
                    <a:lnTo>
                      <a:pt x="769144" y="693344"/>
                    </a:lnTo>
                    <a:cubicBezTo>
                      <a:pt x="769144" y="688076"/>
                      <a:pt x="764877" y="683819"/>
                      <a:pt x="759619" y="683819"/>
                    </a:cubicBezTo>
                    <a:lnTo>
                      <a:pt x="718547" y="683819"/>
                    </a:lnTo>
                    <a:lnTo>
                      <a:pt x="718547" y="92469"/>
                    </a:lnTo>
                    <a:lnTo>
                      <a:pt x="732596" y="92469"/>
                    </a:lnTo>
                    <a:cubicBezTo>
                      <a:pt x="737854" y="92469"/>
                      <a:pt x="742121" y="88211"/>
                      <a:pt x="742121" y="82944"/>
                    </a:cubicBezTo>
                    <a:lnTo>
                      <a:pt x="742121" y="16669"/>
                    </a:lnTo>
                    <a:cubicBezTo>
                      <a:pt x="742121" y="11401"/>
                      <a:pt x="737854" y="7144"/>
                      <a:pt x="732596" y="7144"/>
                    </a:cubicBezTo>
                    <a:lnTo>
                      <a:pt x="43691" y="7144"/>
                    </a:lnTo>
                    <a:cubicBezTo>
                      <a:pt x="38433" y="7144"/>
                      <a:pt x="34166" y="11401"/>
                      <a:pt x="34166" y="16669"/>
                    </a:cubicBezTo>
                    <a:lnTo>
                      <a:pt x="34166" y="82944"/>
                    </a:lnTo>
                    <a:cubicBezTo>
                      <a:pt x="34166" y="88211"/>
                      <a:pt x="38433" y="92469"/>
                      <a:pt x="43691" y="92469"/>
                    </a:cubicBezTo>
                    <a:lnTo>
                      <a:pt x="57741" y="92469"/>
                    </a:lnTo>
                    <a:lnTo>
                      <a:pt x="57741" y="683819"/>
                    </a:lnTo>
                    <a:lnTo>
                      <a:pt x="16669" y="683819"/>
                    </a:lnTo>
                    <a:cubicBezTo>
                      <a:pt x="11411" y="683819"/>
                      <a:pt x="7144" y="688076"/>
                      <a:pt x="7144" y="693344"/>
                    </a:cubicBezTo>
                    <a:lnTo>
                      <a:pt x="7144" y="759619"/>
                    </a:lnTo>
                    <a:cubicBezTo>
                      <a:pt x="7144" y="764886"/>
                      <a:pt x="11411" y="769144"/>
                      <a:pt x="16669" y="769144"/>
                    </a:cubicBezTo>
                    <a:close/>
                    <a:moveTo>
                      <a:pt x="53216" y="26194"/>
                    </a:moveTo>
                    <a:lnTo>
                      <a:pt x="723062" y="26194"/>
                    </a:lnTo>
                    <a:lnTo>
                      <a:pt x="723062" y="73419"/>
                    </a:lnTo>
                    <a:lnTo>
                      <a:pt x="53216" y="73419"/>
                    </a:lnTo>
                    <a:lnTo>
                      <a:pt x="53216" y="26194"/>
                    </a:lnTo>
                    <a:close/>
                    <a:moveTo>
                      <a:pt x="76791" y="92469"/>
                    </a:moveTo>
                    <a:lnTo>
                      <a:pt x="699487" y="92469"/>
                    </a:lnTo>
                    <a:lnTo>
                      <a:pt x="699487" y="683819"/>
                    </a:lnTo>
                    <a:lnTo>
                      <a:pt x="496491" y="683819"/>
                    </a:lnTo>
                    <a:lnTo>
                      <a:pt x="496491" y="470402"/>
                    </a:lnTo>
                    <a:cubicBezTo>
                      <a:pt x="496491" y="465134"/>
                      <a:pt x="492223" y="460877"/>
                      <a:pt x="486966" y="460877"/>
                    </a:cubicBezTo>
                    <a:lnTo>
                      <a:pt x="289322" y="460877"/>
                    </a:lnTo>
                    <a:cubicBezTo>
                      <a:pt x="284064" y="460877"/>
                      <a:pt x="279797" y="465134"/>
                      <a:pt x="279797" y="470402"/>
                    </a:cubicBezTo>
                    <a:lnTo>
                      <a:pt x="279797" y="683819"/>
                    </a:lnTo>
                    <a:lnTo>
                      <a:pt x="76791" y="683819"/>
                    </a:lnTo>
                    <a:lnTo>
                      <a:pt x="76791" y="92469"/>
                    </a:lnTo>
                    <a:close/>
                    <a:moveTo>
                      <a:pt x="298847" y="683819"/>
                    </a:moveTo>
                    <a:lnTo>
                      <a:pt x="298847" y="479927"/>
                    </a:lnTo>
                    <a:lnTo>
                      <a:pt x="378619" y="479927"/>
                    </a:lnTo>
                    <a:lnTo>
                      <a:pt x="378619" y="683819"/>
                    </a:lnTo>
                    <a:lnTo>
                      <a:pt x="298847" y="683819"/>
                    </a:lnTo>
                    <a:close/>
                    <a:moveTo>
                      <a:pt x="397669" y="479927"/>
                    </a:moveTo>
                    <a:lnTo>
                      <a:pt x="477441" y="479927"/>
                    </a:lnTo>
                    <a:lnTo>
                      <a:pt x="477441" y="683819"/>
                    </a:lnTo>
                    <a:lnTo>
                      <a:pt x="397669" y="683819"/>
                    </a:lnTo>
                    <a:lnTo>
                      <a:pt x="397669" y="479927"/>
                    </a:lnTo>
                    <a:close/>
                    <a:moveTo>
                      <a:pt x="26194" y="702869"/>
                    </a:moveTo>
                    <a:lnTo>
                      <a:pt x="750094" y="702869"/>
                    </a:lnTo>
                    <a:lnTo>
                      <a:pt x="750094" y="750094"/>
                    </a:lnTo>
                    <a:lnTo>
                      <a:pt x="26194" y="750094"/>
                    </a:lnTo>
                    <a:lnTo>
                      <a:pt x="26194" y="702869"/>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 name="Freeform: Shape 499">
                <a:extLst>
                  <a:ext uri="{FF2B5EF4-FFF2-40B4-BE49-F238E27FC236}">
                    <a16:creationId xmlns:a16="http://schemas.microsoft.com/office/drawing/2014/main" id="{C234E4DC-8BF4-4232-B4C7-D48E7F3CC541}"/>
                  </a:ext>
                </a:extLst>
              </p:cNvPr>
              <p:cNvSpPr/>
              <p:nvPr/>
            </p:nvSpPr>
            <p:spPr>
              <a:xfrm>
                <a:off x="6763393" y="2783495"/>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 name="Freeform: Shape 500">
                <a:extLst>
                  <a:ext uri="{FF2B5EF4-FFF2-40B4-BE49-F238E27FC236}">
                    <a16:creationId xmlns:a16="http://schemas.microsoft.com/office/drawing/2014/main" id="{244FF703-73B5-400C-AF9D-E63E9295D613}"/>
                  </a:ext>
                </a:extLst>
              </p:cNvPr>
              <p:cNvSpPr/>
              <p:nvPr/>
            </p:nvSpPr>
            <p:spPr>
              <a:xfrm>
                <a:off x="6443270" y="2783495"/>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 name="Freeform: Shape 501">
                <a:extLst>
                  <a:ext uri="{FF2B5EF4-FFF2-40B4-BE49-F238E27FC236}">
                    <a16:creationId xmlns:a16="http://schemas.microsoft.com/office/drawing/2014/main" id="{5A7F3558-AB63-49D2-85F8-78BD0CF39CA9}"/>
                  </a:ext>
                </a:extLst>
              </p:cNvPr>
              <p:cNvSpPr/>
              <p:nvPr/>
            </p:nvSpPr>
            <p:spPr>
              <a:xfrm>
                <a:off x="6763393" y="2666668"/>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 name="Freeform: Shape 502">
                <a:extLst>
                  <a:ext uri="{FF2B5EF4-FFF2-40B4-BE49-F238E27FC236}">
                    <a16:creationId xmlns:a16="http://schemas.microsoft.com/office/drawing/2014/main" id="{E491DDF7-1F22-4026-B037-0EE1E8E2CA8B}"/>
                  </a:ext>
                </a:extLst>
              </p:cNvPr>
              <p:cNvSpPr/>
              <p:nvPr/>
            </p:nvSpPr>
            <p:spPr>
              <a:xfrm>
                <a:off x="6656766" y="2666668"/>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 name="Freeform: Shape 503">
                <a:extLst>
                  <a:ext uri="{FF2B5EF4-FFF2-40B4-BE49-F238E27FC236}">
                    <a16:creationId xmlns:a16="http://schemas.microsoft.com/office/drawing/2014/main" id="{E90C71D2-FD0E-4DEB-9168-156B709B7248}"/>
                  </a:ext>
                </a:extLst>
              </p:cNvPr>
              <p:cNvSpPr/>
              <p:nvPr/>
            </p:nvSpPr>
            <p:spPr>
              <a:xfrm>
                <a:off x="6550817" y="2666668"/>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 name="Freeform: Shape 504">
                <a:extLst>
                  <a:ext uri="{FF2B5EF4-FFF2-40B4-BE49-F238E27FC236}">
                    <a16:creationId xmlns:a16="http://schemas.microsoft.com/office/drawing/2014/main" id="{468FE0E6-2E10-4571-BEF4-B972DC8A5716}"/>
                  </a:ext>
                </a:extLst>
              </p:cNvPr>
              <p:cNvSpPr/>
              <p:nvPr/>
            </p:nvSpPr>
            <p:spPr>
              <a:xfrm>
                <a:off x="6656766" y="2549842"/>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 name="Freeform: Shape 505">
                <a:extLst>
                  <a:ext uri="{FF2B5EF4-FFF2-40B4-BE49-F238E27FC236}">
                    <a16:creationId xmlns:a16="http://schemas.microsoft.com/office/drawing/2014/main" id="{F0A130AE-D6CA-496A-B0ED-AA509C171A77}"/>
                  </a:ext>
                </a:extLst>
              </p:cNvPr>
              <p:cNvSpPr/>
              <p:nvPr/>
            </p:nvSpPr>
            <p:spPr>
              <a:xfrm>
                <a:off x="6550817" y="2549842"/>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 name="Freeform: Shape 506">
                <a:extLst>
                  <a:ext uri="{FF2B5EF4-FFF2-40B4-BE49-F238E27FC236}">
                    <a16:creationId xmlns:a16="http://schemas.microsoft.com/office/drawing/2014/main" id="{38D846A2-5C49-4B78-9042-3EC8C7F82DBC}"/>
                  </a:ext>
                </a:extLst>
              </p:cNvPr>
              <p:cNvSpPr/>
              <p:nvPr/>
            </p:nvSpPr>
            <p:spPr>
              <a:xfrm>
                <a:off x="6443270" y="2666668"/>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 name="Freeform: Shape 507">
                <a:extLst>
                  <a:ext uri="{FF2B5EF4-FFF2-40B4-BE49-F238E27FC236}">
                    <a16:creationId xmlns:a16="http://schemas.microsoft.com/office/drawing/2014/main" id="{0D4ADF69-2385-428D-8373-8B0535DBF489}"/>
                  </a:ext>
                </a:extLst>
              </p:cNvPr>
              <p:cNvSpPr/>
              <p:nvPr/>
            </p:nvSpPr>
            <p:spPr>
              <a:xfrm>
                <a:off x="6763393" y="2549842"/>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 name="Freeform: Shape 508">
                <a:extLst>
                  <a:ext uri="{FF2B5EF4-FFF2-40B4-BE49-F238E27FC236}">
                    <a16:creationId xmlns:a16="http://schemas.microsoft.com/office/drawing/2014/main" id="{13EEFAC8-E33D-459A-A23D-4545B64E5E74}"/>
                  </a:ext>
                </a:extLst>
              </p:cNvPr>
              <p:cNvSpPr/>
              <p:nvPr/>
            </p:nvSpPr>
            <p:spPr>
              <a:xfrm>
                <a:off x="6443270" y="2549842"/>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69" name="Group 268">
              <a:extLst>
                <a:ext uri="{FF2B5EF4-FFF2-40B4-BE49-F238E27FC236}">
                  <a16:creationId xmlns:a16="http://schemas.microsoft.com/office/drawing/2014/main" id="{414C381E-3EF6-49FD-8548-F64955F2A892}"/>
                </a:ext>
              </a:extLst>
            </p:cNvPr>
            <p:cNvGrpSpPr/>
            <p:nvPr/>
          </p:nvGrpSpPr>
          <p:grpSpPr>
            <a:xfrm>
              <a:off x="8710808" y="2446457"/>
              <a:ext cx="577078" cy="577079"/>
              <a:chOff x="5709056" y="2921793"/>
              <a:chExt cx="771525" cy="771525"/>
            </a:xfrm>
            <a:solidFill>
              <a:srgbClr val="999999"/>
            </a:solidFill>
          </p:grpSpPr>
          <p:sp>
            <p:nvSpPr>
              <p:cNvPr id="367" name="Freeform: Shape 447">
                <a:extLst>
                  <a:ext uri="{FF2B5EF4-FFF2-40B4-BE49-F238E27FC236}">
                    <a16:creationId xmlns:a16="http://schemas.microsoft.com/office/drawing/2014/main" id="{2019140F-7B51-422A-B271-1EB6183FC1B7}"/>
                  </a:ext>
                </a:extLst>
              </p:cNvPr>
              <p:cNvSpPr/>
              <p:nvPr/>
            </p:nvSpPr>
            <p:spPr>
              <a:xfrm>
                <a:off x="5709056" y="2921793"/>
                <a:ext cx="771525" cy="771525"/>
              </a:xfrm>
              <a:custGeom>
                <a:avLst/>
                <a:gdLst>
                  <a:gd name="connsiteX0" fmla="*/ 16669 w 771525"/>
                  <a:gd name="connsiteY0" fmla="*/ 769144 h 771525"/>
                  <a:gd name="connsiteX1" fmla="*/ 759619 w 771525"/>
                  <a:gd name="connsiteY1" fmla="*/ 769144 h 771525"/>
                  <a:gd name="connsiteX2" fmla="*/ 769144 w 771525"/>
                  <a:gd name="connsiteY2" fmla="*/ 759619 h 771525"/>
                  <a:gd name="connsiteX3" fmla="*/ 769144 w 771525"/>
                  <a:gd name="connsiteY3" fmla="*/ 693344 h 771525"/>
                  <a:gd name="connsiteX4" fmla="*/ 759619 w 771525"/>
                  <a:gd name="connsiteY4" fmla="*/ 683819 h 771525"/>
                  <a:gd name="connsiteX5" fmla="*/ 718547 w 771525"/>
                  <a:gd name="connsiteY5" fmla="*/ 683819 h 771525"/>
                  <a:gd name="connsiteX6" fmla="*/ 718547 w 771525"/>
                  <a:gd name="connsiteY6" fmla="*/ 92469 h 771525"/>
                  <a:gd name="connsiteX7" fmla="*/ 732596 w 771525"/>
                  <a:gd name="connsiteY7" fmla="*/ 92469 h 771525"/>
                  <a:gd name="connsiteX8" fmla="*/ 742121 w 771525"/>
                  <a:gd name="connsiteY8" fmla="*/ 82944 h 771525"/>
                  <a:gd name="connsiteX9" fmla="*/ 742121 w 771525"/>
                  <a:gd name="connsiteY9" fmla="*/ 16669 h 771525"/>
                  <a:gd name="connsiteX10" fmla="*/ 732596 w 771525"/>
                  <a:gd name="connsiteY10" fmla="*/ 7144 h 771525"/>
                  <a:gd name="connsiteX11" fmla="*/ 43691 w 771525"/>
                  <a:gd name="connsiteY11" fmla="*/ 7144 h 771525"/>
                  <a:gd name="connsiteX12" fmla="*/ 34166 w 771525"/>
                  <a:gd name="connsiteY12" fmla="*/ 16669 h 771525"/>
                  <a:gd name="connsiteX13" fmla="*/ 34166 w 771525"/>
                  <a:gd name="connsiteY13" fmla="*/ 82944 h 771525"/>
                  <a:gd name="connsiteX14" fmla="*/ 43691 w 771525"/>
                  <a:gd name="connsiteY14" fmla="*/ 92469 h 771525"/>
                  <a:gd name="connsiteX15" fmla="*/ 57741 w 771525"/>
                  <a:gd name="connsiteY15" fmla="*/ 92469 h 771525"/>
                  <a:gd name="connsiteX16" fmla="*/ 57741 w 771525"/>
                  <a:gd name="connsiteY16" fmla="*/ 683819 h 771525"/>
                  <a:gd name="connsiteX17" fmla="*/ 16669 w 771525"/>
                  <a:gd name="connsiteY17" fmla="*/ 683819 h 771525"/>
                  <a:gd name="connsiteX18" fmla="*/ 7144 w 771525"/>
                  <a:gd name="connsiteY18" fmla="*/ 693344 h 771525"/>
                  <a:gd name="connsiteX19" fmla="*/ 7144 w 771525"/>
                  <a:gd name="connsiteY19" fmla="*/ 759619 h 771525"/>
                  <a:gd name="connsiteX20" fmla="*/ 16669 w 771525"/>
                  <a:gd name="connsiteY20" fmla="*/ 769144 h 771525"/>
                  <a:gd name="connsiteX21" fmla="*/ 53216 w 771525"/>
                  <a:gd name="connsiteY21" fmla="*/ 26194 h 771525"/>
                  <a:gd name="connsiteX22" fmla="*/ 723062 w 771525"/>
                  <a:gd name="connsiteY22" fmla="*/ 26194 h 771525"/>
                  <a:gd name="connsiteX23" fmla="*/ 723062 w 771525"/>
                  <a:gd name="connsiteY23" fmla="*/ 73419 h 771525"/>
                  <a:gd name="connsiteX24" fmla="*/ 53216 w 771525"/>
                  <a:gd name="connsiteY24" fmla="*/ 73419 h 771525"/>
                  <a:gd name="connsiteX25" fmla="*/ 53216 w 771525"/>
                  <a:gd name="connsiteY25" fmla="*/ 26194 h 771525"/>
                  <a:gd name="connsiteX26" fmla="*/ 76791 w 771525"/>
                  <a:gd name="connsiteY26" fmla="*/ 92469 h 771525"/>
                  <a:gd name="connsiteX27" fmla="*/ 699487 w 771525"/>
                  <a:gd name="connsiteY27" fmla="*/ 92469 h 771525"/>
                  <a:gd name="connsiteX28" fmla="*/ 699487 w 771525"/>
                  <a:gd name="connsiteY28" fmla="*/ 683819 h 771525"/>
                  <a:gd name="connsiteX29" fmla="*/ 496491 w 771525"/>
                  <a:gd name="connsiteY29" fmla="*/ 683819 h 771525"/>
                  <a:gd name="connsiteX30" fmla="*/ 496491 w 771525"/>
                  <a:gd name="connsiteY30" fmla="*/ 470402 h 771525"/>
                  <a:gd name="connsiteX31" fmla="*/ 486966 w 771525"/>
                  <a:gd name="connsiteY31" fmla="*/ 460877 h 771525"/>
                  <a:gd name="connsiteX32" fmla="*/ 289322 w 771525"/>
                  <a:gd name="connsiteY32" fmla="*/ 460877 h 771525"/>
                  <a:gd name="connsiteX33" fmla="*/ 279797 w 771525"/>
                  <a:gd name="connsiteY33" fmla="*/ 470402 h 771525"/>
                  <a:gd name="connsiteX34" fmla="*/ 279797 w 771525"/>
                  <a:gd name="connsiteY34" fmla="*/ 683819 h 771525"/>
                  <a:gd name="connsiteX35" fmla="*/ 76791 w 771525"/>
                  <a:gd name="connsiteY35" fmla="*/ 683819 h 771525"/>
                  <a:gd name="connsiteX36" fmla="*/ 76791 w 771525"/>
                  <a:gd name="connsiteY36" fmla="*/ 92469 h 771525"/>
                  <a:gd name="connsiteX37" fmla="*/ 298847 w 771525"/>
                  <a:gd name="connsiteY37" fmla="*/ 683819 h 771525"/>
                  <a:gd name="connsiteX38" fmla="*/ 298847 w 771525"/>
                  <a:gd name="connsiteY38" fmla="*/ 479927 h 771525"/>
                  <a:gd name="connsiteX39" fmla="*/ 378619 w 771525"/>
                  <a:gd name="connsiteY39" fmla="*/ 479927 h 771525"/>
                  <a:gd name="connsiteX40" fmla="*/ 378619 w 771525"/>
                  <a:gd name="connsiteY40" fmla="*/ 683819 h 771525"/>
                  <a:gd name="connsiteX41" fmla="*/ 298847 w 771525"/>
                  <a:gd name="connsiteY41" fmla="*/ 683819 h 771525"/>
                  <a:gd name="connsiteX42" fmla="*/ 397669 w 771525"/>
                  <a:gd name="connsiteY42" fmla="*/ 479927 h 771525"/>
                  <a:gd name="connsiteX43" fmla="*/ 477441 w 771525"/>
                  <a:gd name="connsiteY43" fmla="*/ 479927 h 771525"/>
                  <a:gd name="connsiteX44" fmla="*/ 477441 w 771525"/>
                  <a:gd name="connsiteY44" fmla="*/ 683819 h 771525"/>
                  <a:gd name="connsiteX45" fmla="*/ 397669 w 771525"/>
                  <a:gd name="connsiteY45" fmla="*/ 683819 h 771525"/>
                  <a:gd name="connsiteX46" fmla="*/ 397669 w 771525"/>
                  <a:gd name="connsiteY46" fmla="*/ 479927 h 771525"/>
                  <a:gd name="connsiteX47" fmla="*/ 26194 w 771525"/>
                  <a:gd name="connsiteY47" fmla="*/ 702869 h 771525"/>
                  <a:gd name="connsiteX48" fmla="*/ 750094 w 771525"/>
                  <a:gd name="connsiteY48" fmla="*/ 702869 h 771525"/>
                  <a:gd name="connsiteX49" fmla="*/ 750094 w 771525"/>
                  <a:gd name="connsiteY49" fmla="*/ 750094 h 771525"/>
                  <a:gd name="connsiteX50" fmla="*/ 26194 w 771525"/>
                  <a:gd name="connsiteY50" fmla="*/ 750094 h 771525"/>
                  <a:gd name="connsiteX51" fmla="*/ 26194 w 771525"/>
                  <a:gd name="connsiteY51" fmla="*/ 702869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771525" h="771525">
                    <a:moveTo>
                      <a:pt x="16669" y="769144"/>
                    </a:moveTo>
                    <a:lnTo>
                      <a:pt x="759619" y="769144"/>
                    </a:lnTo>
                    <a:cubicBezTo>
                      <a:pt x="764877" y="769144"/>
                      <a:pt x="769144" y="764886"/>
                      <a:pt x="769144" y="759619"/>
                    </a:cubicBezTo>
                    <a:lnTo>
                      <a:pt x="769144" y="693344"/>
                    </a:lnTo>
                    <a:cubicBezTo>
                      <a:pt x="769144" y="688076"/>
                      <a:pt x="764877" y="683819"/>
                      <a:pt x="759619" y="683819"/>
                    </a:cubicBezTo>
                    <a:lnTo>
                      <a:pt x="718547" y="683819"/>
                    </a:lnTo>
                    <a:lnTo>
                      <a:pt x="718547" y="92469"/>
                    </a:lnTo>
                    <a:lnTo>
                      <a:pt x="732596" y="92469"/>
                    </a:lnTo>
                    <a:cubicBezTo>
                      <a:pt x="737854" y="92469"/>
                      <a:pt x="742121" y="88211"/>
                      <a:pt x="742121" y="82944"/>
                    </a:cubicBezTo>
                    <a:lnTo>
                      <a:pt x="742121" y="16669"/>
                    </a:lnTo>
                    <a:cubicBezTo>
                      <a:pt x="742121" y="11401"/>
                      <a:pt x="737854" y="7144"/>
                      <a:pt x="732596" y="7144"/>
                    </a:cubicBezTo>
                    <a:lnTo>
                      <a:pt x="43691" y="7144"/>
                    </a:lnTo>
                    <a:cubicBezTo>
                      <a:pt x="38433" y="7144"/>
                      <a:pt x="34166" y="11401"/>
                      <a:pt x="34166" y="16669"/>
                    </a:cubicBezTo>
                    <a:lnTo>
                      <a:pt x="34166" y="82944"/>
                    </a:lnTo>
                    <a:cubicBezTo>
                      <a:pt x="34166" y="88211"/>
                      <a:pt x="38433" y="92469"/>
                      <a:pt x="43691" y="92469"/>
                    </a:cubicBezTo>
                    <a:lnTo>
                      <a:pt x="57741" y="92469"/>
                    </a:lnTo>
                    <a:lnTo>
                      <a:pt x="57741" y="683819"/>
                    </a:lnTo>
                    <a:lnTo>
                      <a:pt x="16669" y="683819"/>
                    </a:lnTo>
                    <a:cubicBezTo>
                      <a:pt x="11411" y="683819"/>
                      <a:pt x="7144" y="688076"/>
                      <a:pt x="7144" y="693344"/>
                    </a:cubicBezTo>
                    <a:lnTo>
                      <a:pt x="7144" y="759619"/>
                    </a:lnTo>
                    <a:cubicBezTo>
                      <a:pt x="7144" y="764886"/>
                      <a:pt x="11411" y="769144"/>
                      <a:pt x="16669" y="769144"/>
                    </a:cubicBezTo>
                    <a:close/>
                    <a:moveTo>
                      <a:pt x="53216" y="26194"/>
                    </a:moveTo>
                    <a:lnTo>
                      <a:pt x="723062" y="26194"/>
                    </a:lnTo>
                    <a:lnTo>
                      <a:pt x="723062" y="73419"/>
                    </a:lnTo>
                    <a:lnTo>
                      <a:pt x="53216" y="73419"/>
                    </a:lnTo>
                    <a:lnTo>
                      <a:pt x="53216" y="26194"/>
                    </a:lnTo>
                    <a:close/>
                    <a:moveTo>
                      <a:pt x="76791" y="92469"/>
                    </a:moveTo>
                    <a:lnTo>
                      <a:pt x="699487" y="92469"/>
                    </a:lnTo>
                    <a:lnTo>
                      <a:pt x="699487" y="683819"/>
                    </a:lnTo>
                    <a:lnTo>
                      <a:pt x="496491" y="683819"/>
                    </a:lnTo>
                    <a:lnTo>
                      <a:pt x="496491" y="470402"/>
                    </a:lnTo>
                    <a:cubicBezTo>
                      <a:pt x="496491" y="465134"/>
                      <a:pt x="492223" y="460877"/>
                      <a:pt x="486966" y="460877"/>
                    </a:cubicBezTo>
                    <a:lnTo>
                      <a:pt x="289322" y="460877"/>
                    </a:lnTo>
                    <a:cubicBezTo>
                      <a:pt x="284064" y="460877"/>
                      <a:pt x="279797" y="465134"/>
                      <a:pt x="279797" y="470402"/>
                    </a:cubicBezTo>
                    <a:lnTo>
                      <a:pt x="279797" y="683819"/>
                    </a:lnTo>
                    <a:lnTo>
                      <a:pt x="76791" y="683819"/>
                    </a:lnTo>
                    <a:lnTo>
                      <a:pt x="76791" y="92469"/>
                    </a:lnTo>
                    <a:close/>
                    <a:moveTo>
                      <a:pt x="298847" y="683819"/>
                    </a:moveTo>
                    <a:lnTo>
                      <a:pt x="298847" y="479927"/>
                    </a:lnTo>
                    <a:lnTo>
                      <a:pt x="378619" y="479927"/>
                    </a:lnTo>
                    <a:lnTo>
                      <a:pt x="378619" y="683819"/>
                    </a:lnTo>
                    <a:lnTo>
                      <a:pt x="298847" y="683819"/>
                    </a:lnTo>
                    <a:close/>
                    <a:moveTo>
                      <a:pt x="397669" y="479927"/>
                    </a:moveTo>
                    <a:lnTo>
                      <a:pt x="477441" y="479927"/>
                    </a:lnTo>
                    <a:lnTo>
                      <a:pt x="477441" y="683819"/>
                    </a:lnTo>
                    <a:lnTo>
                      <a:pt x="397669" y="683819"/>
                    </a:lnTo>
                    <a:lnTo>
                      <a:pt x="397669" y="479927"/>
                    </a:lnTo>
                    <a:close/>
                    <a:moveTo>
                      <a:pt x="26194" y="702869"/>
                    </a:moveTo>
                    <a:lnTo>
                      <a:pt x="750094" y="702869"/>
                    </a:lnTo>
                    <a:lnTo>
                      <a:pt x="750094" y="750094"/>
                    </a:lnTo>
                    <a:lnTo>
                      <a:pt x="26194" y="750094"/>
                    </a:lnTo>
                    <a:lnTo>
                      <a:pt x="26194" y="70286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 name="Freeform: Shape 448">
                <a:extLst>
                  <a:ext uri="{FF2B5EF4-FFF2-40B4-BE49-F238E27FC236}">
                    <a16:creationId xmlns:a16="http://schemas.microsoft.com/office/drawing/2014/main" id="{F454034B-6763-4A0A-B0FE-D1DB9F72670E}"/>
                  </a:ext>
                </a:extLst>
              </p:cNvPr>
              <p:cNvSpPr/>
              <p:nvPr/>
            </p:nvSpPr>
            <p:spPr>
              <a:xfrm>
                <a:off x="6256849" y="337441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 name="Freeform: Shape 449">
                <a:extLst>
                  <a:ext uri="{FF2B5EF4-FFF2-40B4-BE49-F238E27FC236}">
                    <a16:creationId xmlns:a16="http://schemas.microsoft.com/office/drawing/2014/main" id="{24EF349C-A899-4CF6-B22D-E0DCD32D8C30}"/>
                  </a:ext>
                </a:extLst>
              </p:cNvPr>
              <p:cNvSpPr/>
              <p:nvPr/>
            </p:nvSpPr>
            <p:spPr>
              <a:xfrm>
                <a:off x="5842511" y="3374412"/>
                <a:ext cx="85725" cy="123825"/>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 name="Freeform: Shape 450">
                <a:extLst>
                  <a:ext uri="{FF2B5EF4-FFF2-40B4-BE49-F238E27FC236}">
                    <a16:creationId xmlns:a16="http://schemas.microsoft.com/office/drawing/2014/main" id="{7F3FE53C-CBF1-48F9-BA17-9AC14B5F8DAF}"/>
                  </a:ext>
                </a:extLst>
              </p:cNvPr>
              <p:cNvSpPr/>
              <p:nvPr/>
            </p:nvSpPr>
            <p:spPr>
              <a:xfrm>
                <a:off x="6256849" y="322320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 name="Freeform: Shape 451">
                <a:extLst>
                  <a:ext uri="{FF2B5EF4-FFF2-40B4-BE49-F238E27FC236}">
                    <a16:creationId xmlns:a16="http://schemas.microsoft.com/office/drawing/2014/main" id="{A8683496-7CDF-4C07-B477-B23572014B8D}"/>
                  </a:ext>
                </a:extLst>
              </p:cNvPr>
              <p:cNvSpPr/>
              <p:nvPr/>
            </p:nvSpPr>
            <p:spPr>
              <a:xfrm>
                <a:off x="6118841" y="322320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 name="Freeform: Shape 452">
                <a:extLst>
                  <a:ext uri="{FF2B5EF4-FFF2-40B4-BE49-F238E27FC236}">
                    <a16:creationId xmlns:a16="http://schemas.microsoft.com/office/drawing/2014/main" id="{E2309ABB-96AB-40B1-9E0A-EDF4B55385B7}"/>
                  </a:ext>
                </a:extLst>
              </p:cNvPr>
              <p:cNvSpPr/>
              <p:nvPr/>
            </p:nvSpPr>
            <p:spPr>
              <a:xfrm>
                <a:off x="5981710" y="322320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 name="Freeform: Shape 453">
                <a:extLst>
                  <a:ext uri="{FF2B5EF4-FFF2-40B4-BE49-F238E27FC236}">
                    <a16:creationId xmlns:a16="http://schemas.microsoft.com/office/drawing/2014/main" id="{F9BD3954-FCD8-4AE4-845C-21F5BEA83024}"/>
                  </a:ext>
                </a:extLst>
              </p:cNvPr>
              <p:cNvSpPr/>
              <p:nvPr/>
            </p:nvSpPr>
            <p:spPr>
              <a:xfrm>
                <a:off x="6118841" y="3071993"/>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 name="Freeform: Shape 454">
                <a:extLst>
                  <a:ext uri="{FF2B5EF4-FFF2-40B4-BE49-F238E27FC236}">
                    <a16:creationId xmlns:a16="http://schemas.microsoft.com/office/drawing/2014/main" id="{76CA987B-3DC7-4A24-9F8E-6D6C6CD1AAFB}"/>
                  </a:ext>
                </a:extLst>
              </p:cNvPr>
              <p:cNvSpPr/>
              <p:nvPr/>
            </p:nvSpPr>
            <p:spPr>
              <a:xfrm>
                <a:off x="5981710" y="3071993"/>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 name="Freeform: Shape 455">
                <a:extLst>
                  <a:ext uri="{FF2B5EF4-FFF2-40B4-BE49-F238E27FC236}">
                    <a16:creationId xmlns:a16="http://schemas.microsoft.com/office/drawing/2014/main" id="{D84E9FFA-61A1-4597-A96A-AF267E0FA218}"/>
                  </a:ext>
                </a:extLst>
              </p:cNvPr>
              <p:cNvSpPr/>
              <p:nvPr/>
            </p:nvSpPr>
            <p:spPr>
              <a:xfrm>
                <a:off x="5842511" y="3223202"/>
                <a:ext cx="85725" cy="123825"/>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 name="Freeform: Shape 456">
                <a:extLst>
                  <a:ext uri="{FF2B5EF4-FFF2-40B4-BE49-F238E27FC236}">
                    <a16:creationId xmlns:a16="http://schemas.microsoft.com/office/drawing/2014/main" id="{5B51065B-697D-458C-A1D3-CB303B7688C9}"/>
                  </a:ext>
                </a:extLst>
              </p:cNvPr>
              <p:cNvSpPr/>
              <p:nvPr/>
            </p:nvSpPr>
            <p:spPr>
              <a:xfrm>
                <a:off x="6256849" y="3071993"/>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 name="Freeform: Shape 457">
                <a:extLst>
                  <a:ext uri="{FF2B5EF4-FFF2-40B4-BE49-F238E27FC236}">
                    <a16:creationId xmlns:a16="http://schemas.microsoft.com/office/drawing/2014/main" id="{F3140EAF-9D64-4078-BBA5-6E461F2BA9B2}"/>
                  </a:ext>
                </a:extLst>
              </p:cNvPr>
              <p:cNvSpPr/>
              <p:nvPr/>
            </p:nvSpPr>
            <p:spPr>
              <a:xfrm>
                <a:off x="5842511" y="3071993"/>
                <a:ext cx="85725" cy="123825"/>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70" name="Group 269">
              <a:extLst>
                <a:ext uri="{FF2B5EF4-FFF2-40B4-BE49-F238E27FC236}">
                  <a16:creationId xmlns:a16="http://schemas.microsoft.com/office/drawing/2014/main" id="{8619C4E9-DEE1-44AB-9CAF-7CBD4EEBBF30}"/>
                </a:ext>
              </a:extLst>
            </p:cNvPr>
            <p:cNvGrpSpPr/>
            <p:nvPr/>
          </p:nvGrpSpPr>
          <p:grpSpPr>
            <a:xfrm>
              <a:off x="7602496" y="1739620"/>
              <a:ext cx="570891" cy="1272744"/>
              <a:chOff x="7602496" y="1739620"/>
              <a:chExt cx="570891" cy="1272744"/>
            </a:xfrm>
          </p:grpSpPr>
          <p:sp>
            <p:nvSpPr>
              <p:cNvPr id="329" name="Rectangle 328">
                <a:extLst>
                  <a:ext uri="{FF2B5EF4-FFF2-40B4-BE49-F238E27FC236}">
                    <a16:creationId xmlns:a16="http://schemas.microsoft.com/office/drawing/2014/main" id="{6F025070-A94E-4FD2-A480-A14146E83AE7}"/>
                  </a:ext>
                </a:extLst>
              </p:cNvPr>
              <p:cNvSpPr/>
              <p:nvPr/>
            </p:nvSpPr>
            <p:spPr>
              <a:xfrm>
                <a:off x="7602496" y="1863445"/>
                <a:ext cx="570891" cy="1148919"/>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330" name="Group 329">
                <a:extLst>
                  <a:ext uri="{FF2B5EF4-FFF2-40B4-BE49-F238E27FC236}">
                    <a16:creationId xmlns:a16="http://schemas.microsoft.com/office/drawing/2014/main" id="{0743A971-F4D0-4F49-A5B4-23D41CF3C6F5}"/>
                  </a:ext>
                </a:extLst>
              </p:cNvPr>
              <p:cNvGrpSpPr/>
              <p:nvPr/>
            </p:nvGrpSpPr>
            <p:grpSpPr>
              <a:xfrm>
                <a:off x="7681520" y="1918017"/>
                <a:ext cx="386355" cy="212495"/>
                <a:chOff x="7681520" y="1918017"/>
                <a:chExt cx="386355" cy="212495"/>
              </a:xfrm>
            </p:grpSpPr>
            <p:sp>
              <p:nvSpPr>
                <p:cNvPr id="359" name="Freeform: Shape 613">
                  <a:extLst>
                    <a:ext uri="{FF2B5EF4-FFF2-40B4-BE49-F238E27FC236}">
                      <a16:creationId xmlns:a16="http://schemas.microsoft.com/office/drawing/2014/main" id="{31D3003D-69D0-43AB-8F47-3B90954BB0A0}"/>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 name="Freeform: Shape 614">
                  <a:extLst>
                    <a:ext uri="{FF2B5EF4-FFF2-40B4-BE49-F238E27FC236}">
                      <a16:creationId xmlns:a16="http://schemas.microsoft.com/office/drawing/2014/main" id="{0ACDB22F-2041-487F-96F0-4D53C955592E}"/>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 name="Freeform: Shape 615">
                  <a:extLst>
                    <a:ext uri="{FF2B5EF4-FFF2-40B4-BE49-F238E27FC236}">
                      <a16:creationId xmlns:a16="http://schemas.microsoft.com/office/drawing/2014/main" id="{1D0F5495-80E2-4276-AD8A-E2CCB8379B87}"/>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 name="Freeform: Shape 616">
                  <a:extLst>
                    <a:ext uri="{FF2B5EF4-FFF2-40B4-BE49-F238E27FC236}">
                      <a16:creationId xmlns:a16="http://schemas.microsoft.com/office/drawing/2014/main" id="{75F5C856-CA0C-4DF8-ADE5-E9A692CC3F35}"/>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 name="Freeform: Shape 617">
                  <a:extLst>
                    <a:ext uri="{FF2B5EF4-FFF2-40B4-BE49-F238E27FC236}">
                      <a16:creationId xmlns:a16="http://schemas.microsoft.com/office/drawing/2014/main" id="{03C41B6B-DF1C-413C-BF10-948DC90FEFF2}"/>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 name="Freeform: Shape 618">
                  <a:extLst>
                    <a:ext uri="{FF2B5EF4-FFF2-40B4-BE49-F238E27FC236}">
                      <a16:creationId xmlns:a16="http://schemas.microsoft.com/office/drawing/2014/main" id="{B0871FBF-7C12-46A8-9D48-5E361F25A0E7}"/>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 name="Freeform: Shape 619">
                  <a:extLst>
                    <a:ext uri="{FF2B5EF4-FFF2-40B4-BE49-F238E27FC236}">
                      <a16:creationId xmlns:a16="http://schemas.microsoft.com/office/drawing/2014/main" id="{23776C9E-D53A-47EB-914D-03DB163B75DA}"/>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 name="Freeform: Shape 620">
                  <a:extLst>
                    <a:ext uri="{FF2B5EF4-FFF2-40B4-BE49-F238E27FC236}">
                      <a16:creationId xmlns:a16="http://schemas.microsoft.com/office/drawing/2014/main" id="{6FCE1129-6EEA-4818-9C22-5C96A9E1CB3E}"/>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31" name="Group 330">
                <a:extLst>
                  <a:ext uri="{FF2B5EF4-FFF2-40B4-BE49-F238E27FC236}">
                    <a16:creationId xmlns:a16="http://schemas.microsoft.com/office/drawing/2014/main" id="{623D1DE8-FB9E-431A-B1E6-25FADC13CD77}"/>
                  </a:ext>
                </a:extLst>
              </p:cNvPr>
              <p:cNvGrpSpPr/>
              <p:nvPr/>
            </p:nvGrpSpPr>
            <p:grpSpPr>
              <a:xfrm>
                <a:off x="7681520" y="2165667"/>
                <a:ext cx="386355" cy="212495"/>
                <a:chOff x="7681520" y="1918017"/>
                <a:chExt cx="386355" cy="212495"/>
              </a:xfrm>
            </p:grpSpPr>
            <p:sp>
              <p:nvSpPr>
                <p:cNvPr id="351" name="Freeform: Shape 622">
                  <a:extLst>
                    <a:ext uri="{FF2B5EF4-FFF2-40B4-BE49-F238E27FC236}">
                      <a16:creationId xmlns:a16="http://schemas.microsoft.com/office/drawing/2014/main" id="{5CFEA125-032F-43B6-A7B5-3B3E13B65B5A}"/>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 name="Freeform: Shape 623">
                  <a:extLst>
                    <a:ext uri="{FF2B5EF4-FFF2-40B4-BE49-F238E27FC236}">
                      <a16:creationId xmlns:a16="http://schemas.microsoft.com/office/drawing/2014/main" id="{1F95517B-8B68-4881-8DC1-4963D259D046}"/>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 name="Freeform: Shape 624">
                  <a:extLst>
                    <a:ext uri="{FF2B5EF4-FFF2-40B4-BE49-F238E27FC236}">
                      <a16:creationId xmlns:a16="http://schemas.microsoft.com/office/drawing/2014/main" id="{31A338DE-2041-42A7-852A-B440F865B845}"/>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 name="Freeform: Shape 625">
                  <a:extLst>
                    <a:ext uri="{FF2B5EF4-FFF2-40B4-BE49-F238E27FC236}">
                      <a16:creationId xmlns:a16="http://schemas.microsoft.com/office/drawing/2014/main" id="{2FA7AE4D-85F2-4C1B-970B-4BD418277FDC}"/>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 name="Freeform: Shape 626">
                  <a:extLst>
                    <a:ext uri="{FF2B5EF4-FFF2-40B4-BE49-F238E27FC236}">
                      <a16:creationId xmlns:a16="http://schemas.microsoft.com/office/drawing/2014/main" id="{2BB500AE-A26E-4651-B142-FEBDDFC045ED}"/>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 name="Freeform: Shape 627">
                  <a:extLst>
                    <a:ext uri="{FF2B5EF4-FFF2-40B4-BE49-F238E27FC236}">
                      <a16:creationId xmlns:a16="http://schemas.microsoft.com/office/drawing/2014/main" id="{9E3F810C-862D-4C6A-A7D8-A313D39B6BB2}"/>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 name="Freeform: Shape 628">
                  <a:extLst>
                    <a:ext uri="{FF2B5EF4-FFF2-40B4-BE49-F238E27FC236}">
                      <a16:creationId xmlns:a16="http://schemas.microsoft.com/office/drawing/2014/main" id="{D50613AF-9DAC-49B5-956A-94E8465E204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 name="Freeform: Shape 629">
                  <a:extLst>
                    <a:ext uri="{FF2B5EF4-FFF2-40B4-BE49-F238E27FC236}">
                      <a16:creationId xmlns:a16="http://schemas.microsoft.com/office/drawing/2014/main" id="{4B9269CF-6878-4C31-B7A6-D3A91E055EC4}"/>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32" name="Group 331">
                <a:extLst>
                  <a:ext uri="{FF2B5EF4-FFF2-40B4-BE49-F238E27FC236}">
                    <a16:creationId xmlns:a16="http://schemas.microsoft.com/office/drawing/2014/main" id="{83398368-FF21-4690-9F47-3C01B401F17E}"/>
                  </a:ext>
                </a:extLst>
              </p:cNvPr>
              <p:cNvGrpSpPr/>
              <p:nvPr/>
            </p:nvGrpSpPr>
            <p:grpSpPr>
              <a:xfrm>
                <a:off x="7681520" y="2429192"/>
                <a:ext cx="386355" cy="212495"/>
                <a:chOff x="7681520" y="1918017"/>
                <a:chExt cx="386355" cy="212495"/>
              </a:xfrm>
            </p:grpSpPr>
            <p:sp>
              <p:nvSpPr>
                <p:cNvPr id="343" name="Freeform: Shape 631">
                  <a:extLst>
                    <a:ext uri="{FF2B5EF4-FFF2-40B4-BE49-F238E27FC236}">
                      <a16:creationId xmlns:a16="http://schemas.microsoft.com/office/drawing/2014/main" id="{FADF1AD1-FBC6-4AFA-B95A-C3E1A6ABAE76}"/>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 name="Freeform: Shape 632">
                  <a:extLst>
                    <a:ext uri="{FF2B5EF4-FFF2-40B4-BE49-F238E27FC236}">
                      <a16:creationId xmlns:a16="http://schemas.microsoft.com/office/drawing/2014/main" id="{ECC23EDB-DDBE-4FD3-986F-B514BBCDA4EC}"/>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 name="Freeform: Shape 633">
                  <a:extLst>
                    <a:ext uri="{FF2B5EF4-FFF2-40B4-BE49-F238E27FC236}">
                      <a16:creationId xmlns:a16="http://schemas.microsoft.com/office/drawing/2014/main" id="{9F2142F2-3069-4C1D-8EF2-F90C79FA3AB8}"/>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 name="Freeform: Shape 634">
                  <a:extLst>
                    <a:ext uri="{FF2B5EF4-FFF2-40B4-BE49-F238E27FC236}">
                      <a16:creationId xmlns:a16="http://schemas.microsoft.com/office/drawing/2014/main" id="{B1EA25BE-5F9F-43FA-AEE5-154AD3736A64}"/>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 name="Freeform: Shape 635">
                  <a:extLst>
                    <a:ext uri="{FF2B5EF4-FFF2-40B4-BE49-F238E27FC236}">
                      <a16:creationId xmlns:a16="http://schemas.microsoft.com/office/drawing/2014/main" id="{613BC104-4FCD-4B68-A3F0-1D79B4254772}"/>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 name="Freeform: Shape 636">
                  <a:extLst>
                    <a:ext uri="{FF2B5EF4-FFF2-40B4-BE49-F238E27FC236}">
                      <a16:creationId xmlns:a16="http://schemas.microsoft.com/office/drawing/2014/main" id="{FD79181F-63B5-44AE-81D3-92203C35C660}"/>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 name="Freeform: Shape 637">
                  <a:extLst>
                    <a:ext uri="{FF2B5EF4-FFF2-40B4-BE49-F238E27FC236}">
                      <a16:creationId xmlns:a16="http://schemas.microsoft.com/office/drawing/2014/main" id="{5F5F1658-98D3-480F-87EE-7864866DCD00}"/>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 name="Freeform: Shape 638">
                  <a:extLst>
                    <a:ext uri="{FF2B5EF4-FFF2-40B4-BE49-F238E27FC236}">
                      <a16:creationId xmlns:a16="http://schemas.microsoft.com/office/drawing/2014/main" id="{0168CFCA-B35F-41A5-94B1-6202B4643E0A}"/>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33" name="Group 332">
                <a:extLst>
                  <a:ext uri="{FF2B5EF4-FFF2-40B4-BE49-F238E27FC236}">
                    <a16:creationId xmlns:a16="http://schemas.microsoft.com/office/drawing/2014/main" id="{1371FD26-6207-45DE-8FFF-F63928D3219E}"/>
                  </a:ext>
                </a:extLst>
              </p:cNvPr>
              <p:cNvGrpSpPr/>
              <p:nvPr/>
            </p:nvGrpSpPr>
            <p:grpSpPr>
              <a:xfrm>
                <a:off x="7681520" y="2692717"/>
                <a:ext cx="386355" cy="212495"/>
                <a:chOff x="7681520" y="1918017"/>
                <a:chExt cx="386355" cy="212495"/>
              </a:xfrm>
            </p:grpSpPr>
            <p:sp>
              <p:nvSpPr>
                <p:cNvPr id="335" name="Freeform: Shape 640">
                  <a:extLst>
                    <a:ext uri="{FF2B5EF4-FFF2-40B4-BE49-F238E27FC236}">
                      <a16:creationId xmlns:a16="http://schemas.microsoft.com/office/drawing/2014/main" id="{9227E197-9FA0-4FF6-B998-BCD32CACFCAF}"/>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 name="Freeform: Shape 641">
                  <a:extLst>
                    <a:ext uri="{FF2B5EF4-FFF2-40B4-BE49-F238E27FC236}">
                      <a16:creationId xmlns:a16="http://schemas.microsoft.com/office/drawing/2014/main" id="{A62770A8-41DA-4AA6-8DB0-48B9FF5E7174}"/>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 name="Freeform: Shape 642">
                  <a:extLst>
                    <a:ext uri="{FF2B5EF4-FFF2-40B4-BE49-F238E27FC236}">
                      <a16:creationId xmlns:a16="http://schemas.microsoft.com/office/drawing/2014/main" id="{99FD1C56-9940-44D5-B806-8F5641AED512}"/>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 name="Freeform: Shape 643">
                  <a:extLst>
                    <a:ext uri="{FF2B5EF4-FFF2-40B4-BE49-F238E27FC236}">
                      <a16:creationId xmlns:a16="http://schemas.microsoft.com/office/drawing/2014/main" id="{F45FCD9E-03EF-4961-B467-A1363C31AA26}"/>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 name="Freeform: Shape 644">
                  <a:extLst>
                    <a:ext uri="{FF2B5EF4-FFF2-40B4-BE49-F238E27FC236}">
                      <a16:creationId xmlns:a16="http://schemas.microsoft.com/office/drawing/2014/main" id="{D2678F5B-FFBA-44DD-829D-645CFC56D566}"/>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 name="Freeform: Shape 645">
                  <a:extLst>
                    <a:ext uri="{FF2B5EF4-FFF2-40B4-BE49-F238E27FC236}">
                      <a16:creationId xmlns:a16="http://schemas.microsoft.com/office/drawing/2014/main" id="{46552C97-E191-4623-8588-29F039D488DC}"/>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 name="Freeform: Shape 646">
                  <a:extLst>
                    <a:ext uri="{FF2B5EF4-FFF2-40B4-BE49-F238E27FC236}">
                      <a16:creationId xmlns:a16="http://schemas.microsoft.com/office/drawing/2014/main" id="{9C4EEF16-E9D3-42BB-B419-5978A70D805D}"/>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 name="Freeform: Shape 647">
                  <a:extLst>
                    <a:ext uri="{FF2B5EF4-FFF2-40B4-BE49-F238E27FC236}">
                      <a16:creationId xmlns:a16="http://schemas.microsoft.com/office/drawing/2014/main" id="{D525B7EF-BF21-47F2-AC13-B8C9B1284233}"/>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334" name="Rectangle 333">
                <a:extLst>
                  <a:ext uri="{FF2B5EF4-FFF2-40B4-BE49-F238E27FC236}">
                    <a16:creationId xmlns:a16="http://schemas.microsoft.com/office/drawing/2014/main" id="{49F05559-D241-48B8-ADA8-3F58000635BC}"/>
                  </a:ext>
                </a:extLst>
              </p:cNvPr>
              <p:cNvSpPr/>
              <p:nvPr/>
            </p:nvSpPr>
            <p:spPr>
              <a:xfrm>
                <a:off x="7710446" y="1739620"/>
                <a:ext cx="363579" cy="124105"/>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grpSp>
          <p:nvGrpSpPr>
            <p:cNvPr id="271" name="Group 270">
              <a:extLst>
                <a:ext uri="{FF2B5EF4-FFF2-40B4-BE49-F238E27FC236}">
                  <a16:creationId xmlns:a16="http://schemas.microsoft.com/office/drawing/2014/main" id="{FEA3E8C3-F514-452F-874E-9F8AB70A629E}"/>
                </a:ext>
              </a:extLst>
            </p:cNvPr>
            <p:cNvGrpSpPr/>
            <p:nvPr/>
          </p:nvGrpSpPr>
          <p:grpSpPr>
            <a:xfrm>
              <a:off x="8177171" y="2098675"/>
              <a:ext cx="570891" cy="913689"/>
              <a:chOff x="8177171" y="2098675"/>
              <a:chExt cx="570891" cy="913689"/>
            </a:xfrm>
          </p:grpSpPr>
          <p:sp>
            <p:nvSpPr>
              <p:cNvPr id="301" name="Rectangle 300">
                <a:extLst>
                  <a:ext uri="{FF2B5EF4-FFF2-40B4-BE49-F238E27FC236}">
                    <a16:creationId xmlns:a16="http://schemas.microsoft.com/office/drawing/2014/main" id="{D35675EB-DAC8-44CA-A3E3-FF7673828F1F}"/>
                  </a:ext>
                </a:extLst>
              </p:cNvPr>
              <p:cNvSpPr/>
              <p:nvPr/>
            </p:nvSpPr>
            <p:spPr>
              <a:xfrm>
                <a:off x="8177171" y="2098675"/>
                <a:ext cx="570891" cy="913689"/>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302" name="Group 301">
                <a:extLst>
                  <a:ext uri="{FF2B5EF4-FFF2-40B4-BE49-F238E27FC236}">
                    <a16:creationId xmlns:a16="http://schemas.microsoft.com/office/drawing/2014/main" id="{E88663B7-7F40-4F03-BC22-E4F1ECE0F746}"/>
                  </a:ext>
                </a:extLst>
              </p:cNvPr>
              <p:cNvGrpSpPr/>
              <p:nvPr/>
            </p:nvGrpSpPr>
            <p:grpSpPr>
              <a:xfrm>
                <a:off x="8256195" y="2165667"/>
                <a:ext cx="386355" cy="212495"/>
                <a:chOff x="7681520" y="1918017"/>
                <a:chExt cx="386355" cy="212495"/>
              </a:xfrm>
            </p:grpSpPr>
            <p:sp>
              <p:nvSpPr>
                <p:cNvPr id="321" name="Freeform: Shape 670">
                  <a:extLst>
                    <a:ext uri="{FF2B5EF4-FFF2-40B4-BE49-F238E27FC236}">
                      <a16:creationId xmlns:a16="http://schemas.microsoft.com/office/drawing/2014/main" id="{A8137716-D672-4DC9-9B3E-259C52644D02}"/>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 name="Freeform: Shape 671">
                  <a:extLst>
                    <a:ext uri="{FF2B5EF4-FFF2-40B4-BE49-F238E27FC236}">
                      <a16:creationId xmlns:a16="http://schemas.microsoft.com/office/drawing/2014/main" id="{4ED7132E-1AA7-4D65-93E4-5AF6FCB82695}"/>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 name="Freeform: Shape 672">
                  <a:extLst>
                    <a:ext uri="{FF2B5EF4-FFF2-40B4-BE49-F238E27FC236}">
                      <a16:creationId xmlns:a16="http://schemas.microsoft.com/office/drawing/2014/main" id="{8DDFE472-0C23-4E92-8762-FE9269710FF3}"/>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 name="Freeform: Shape 673">
                  <a:extLst>
                    <a:ext uri="{FF2B5EF4-FFF2-40B4-BE49-F238E27FC236}">
                      <a16:creationId xmlns:a16="http://schemas.microsoft.com/office/drawing/2014/main" id="{AF1C5192-1210-4FFB-81D5-35B4DE196F3C}"/>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 name="Freeform: Shape 674">
                  <a:extLst>
                    <a:ext uri="{FF2B5EF4-FFF2-40B4-BE49-F238E27FC236}">
                      <a16:creationId xmlns:a16="http://schemas.microsoft.com/office/drawing/2014/main" id="{7FECE02D-BD9A-453F-90FC-782E497486DF}"/>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 name="Freeform: Shape 675">
                  <a:extLst>
                    <a:ext uri="{FF2B5EF4-FFF2-40B4-BE49-F238E27FC236}">
                      <a16:creationId xmlns:a16="http://schemas.microsoft.com/office/drawing/2014/main" id="{2E87A703-6368-4475-B778-00D541B0C605}"/>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 name="Freeform: Shape 676">
                  <a:extLst>
                    <a:ext uri="{FF2B5EF4-FFF2-40B4-BE49-F238E27FC236}">
                      <a16:creationId xmlns:a16="http://schemas.microsoft.com/office/drawing/2014/main" id="{2FF07726-6A9F-4C80-BACC-453BE1104DB5}"/>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 name="Freeform: Shape 677">
                  <a:extLst>
                    <a:ext uri="{FF2B5EF4-FFF2-40B4-BE49-F238E27FC236}">
                      <a16:creationId xmlns:a16="http://schemas.microsoft.com/office/drawing/2014/main" id="{343B4E2C-23C4-471B-B287-CF1F22B8D71F}"/>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03" name="Group 302">
                <a:extLst>
                  <a:ext uri="{FF2B5EF4-FFF2-40B4-BE49-F238E27FC236}">
                    <a16:creationId xmlns:a16="http://schemas.microsoft.com/office/drawing/2014/main" id="{5EC42186-E0B0-4B42-A20D-A2E2F18DD4FD}"/>
                  </a:ext>
                </a:extLst>
              </p:cNvPr>
              <p:cNvGrpSpPr/>
              <p:nvPr/>
            </p:nvGrpSpPr>
            <p:grpSpPr>
              <a:xfrm>
                <a:off x="8256195" y="2429192"/>
                <a:ext cx="386355" cy="212495"/>
                <a:chOff x="7681520" y="1918017"/>
                <a:chExt cx="386355" cy="212495"/>
              </a:xfrm>
            </p:grpSpPr>
            <p:sp>
              <p:nvSpPr>
                <p:cNvPr id="313" name="Freeform: Shape 662">
                  <a:extLst>
                    <a:ext uri="{FF2B5EF4-FFF2-40B4-BE49-F238E27FC236}">
                      <a16:creationId xmlns:a16="http://schemas.microsoft.com/office/drawing/2014/main" id="{F5CD9D99-C5C7-43D6-A58F-C210C0D3148A}"/>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 name="Freeform: Shape 663">
                  <a:extLst>
                    <a:ext uri="{FF2B5EF4-FFF2-40B4-BE49-F238E27FC236}">
                      <a16:creationId xmlns:a16="http://schemas.microsoft.com/office/drawing/2014/main" id="{5010DB45-97F6-43E3-BABD-611841BC84C1}"/>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 name="Freeform: Shape 664">
                  <a:extLst>
                    <a:ext uri="{FF2B5EF4-FFF2-40B4-BE49-F238E27FC236}">
                      <a16:creationId xmlns:a16="http://schemas.microsoft.com/office/drawing/2014/main" id="{1A7A5710-8F56-4FE6-9D52-A395CE62612B}"/>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 name="Freeform: Shape 665">
                  <a:extLst>
                    <a:ext uri="{FF2B5EF4-FFF2-40B4-BE49-F238E27FC236}">
                      <a16:creationId xmlns:a16="http://schemas.microsoft.com/office/drawing/2014/main" id="{59C8D57C-1648-447C-A166-D34CBDC404DC}"/>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 name="Freeform: Shape 666">
                  <a:extLst>
                    <a:ext uri="{FF2B5EF4-FFF2-40B4-BE49-F238E27FC236}">
                      <a16:creationId xmlns:a16="http://schemas.microsoft.com/office/drawing/2014/main" id="{0348AE04-E05E-4E72-B18E-9CAC2E5699AE}"/>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 name="Freeform: Shape 667">
                  <a:extLst>
                    <a:ext uri="{FF2B5EF4-FFF2-40B4-BE49-F238E27FC236}">
                      <a16:creationId xmlns:a16="http://schemas.microsoft.com/office/drawing/2014/main" id="{7531DB24-EFEE-462D-827D-C41060AACB53}"/>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 name="Freeform: Shape 668">
                  <a:extLst>
                    <a:ext uri="{FF2B5EF4-FFF2-40B4-BE49-F238E27FC236}">
                      <a16:creationId xmlns:a16="http://schemas.microsoft.com/office/drawing/2014/main" id="{C2C381B5-CF91-45F4-BAE6-A514FBD82D30}"/>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 name="Freeform: Shape 669">
                  <a:extLst>
                    <a:ext uri="{FF2B5EF4-FFF2-40B4-BE49-F238E27FC236}">
                      <a16:creationId xmlns:a16="http://schemas.microsoft.com/office/drawing/2014/main" id="{4AE38176-2FCA-48D8-917A-DF6F671DF3E2}"/>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04" name="Group 303">
                <a:extLst>
                  <a:ext uri="{FF2B5EF4-FFF2-40B4-BE49-F238E27FC236}">
                    <a16:creationId xmlns:a16="http://schemas.microsoft.com/office/drawing/2014/main" id="{72E74082-CEFB-4D10-91F2-8AE218698A18}"/>
                  </a:ext>
                </a:extLst>
              </p:cNvPr>
              <p:cNvGrpSpPr/>
              <p:nvPr/>
            </p:nvGrpSpPr>
            <p:grpSpPr>
              <a:xfrm>
                <a:off x="8256195" y="2692717"/>
                <a:ext cx="386355" cy="212495"/>
                <a:chOff x="7681520" y="1918017"/>
                <a:chExt cx="386355" cy="212495"/>
              </a:xfrm>
            </p:grpSpPr>
            <p:sp>
              <p:nvSpPr>
                <p:cNvPr id="305" name="Freeform: Shape 654">
                  <a:extLst>
                    <a:ext uri="{FF2B5EF4-FFF2-40B4-BE49-F238E27FC236}">
                      <a16:creationId xmlns:a16="http://schemas.microsoft.com/office/drawing/2014/main" id="{B463FEBF-3CF6-4BD2-A0D4-E2281CE33BA8}"/>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 name="Freeform: Shape 655">
                  <a:extLst>
                    <a:ext uri="{FF2B5EF4-FFF2-40B4-BE49-F238E27FC236}">
                      <a16:creationId xmlns:a16="http://schemas.microsoft.com/office/drawing/2014/main" id="{113EAD5A-6DA8-430E-882D-497E4086B4BF}"/>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 name="Freeform: Shape 656">
                  <a:extLst>
                    <a:ext uri="{FF2B5EF4-FFF2-40B4-BE49-F238E27FC236}">
                      <a16:creationId xmlns:a16="http://schemas.microsoft.com/office/drawing/2014/main" id="{67B2CE8D-1312-42F2-8504-18D9ECDEEE54}"/>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 name="Freeform: Shape 657">
                  <a:extLst>
                    <a:ext uri="{FF2B5EF4-FFF2-40B4-BE49-F238E27FC236}">
                      <a16:creationId xmlns:a16="http://schemas.microsoft.com/office/drawing/2014/main" id="{6E533FA1-EEBC-46E2-8117-A2BC0013469A}"/>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 name="Freeform: Shape 658">
                  <a:extLst>
                    <a:ext uri="{FF2B5EF4-FFF2-40B4-BE49-F238E27FC236}">
                      <a16:creationId xmlns:a16="http://schemas.microsoft.com/office/drawing/2014/main" id="{5A5F440A-58EE-4BE1-A601-BCB0285B4FC5}"/>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 name="Freeform: Shape 659">
                  <a:extLst>
                    <a:ext uri="{FF2B5EF4-FFF2-40B4-BE49-F238E27FC236}">
                      <a16:creationId xmlns:a16="http://schemas.microsoft.com/office/drawing/2014/main" id="{CAA0817C-3CDF-45AD-A68D-39675EC5F38C}"/>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 name="Freeform: Shape 660">
                  <a:extLst>
                    <a:ext uri="{FF2B5EF4-FFF2-40B4-BE49-F238E27FC236}">
                      <a16:creationId xmlns:a16="http://schemas.microsoft.com/office/drawing/2014/main" id="{929D3AED-C93D-427B-BC2D-FC5C304383D5}"/>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 name="Freeform: Shape 661">
                  <a:extLst>
                    <a:ext uri="{FF2B5EF4-FFF2-40B4-BE49-F238E27FC236}">
                      <a16:creationId xmlns:a16="http://schemas.microsoft.com/office/drawing/2014/main" id="{3C12F8D7-4B06-4D42-9CC2-866EE1E6A617}"/>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nvGrpSpPr>
            <p:cNvPr id="272" name="Group 271">
              <a:extLst>
                <a:ext uri="{FF2B5EF4-FFF2-40B4-BE49-F238E27FC236}">
                  <a16:creationId xmlns:a16="http://schemas.microsoft.com/office/drawing/2014/main" id="{32724CEB-FDE7-4F9B-AFAF-D12123EE2027}"/>
                </a:ext>
              </a:extLst>
            </p:cNvPr>
            <p:cNvGrpSpPr/>
            <p:nvPr/>
          </p:nvGrpSpPr>
          <p:grpSpPr>
            <a:xfrm>
              <a:off x="7030996" y="2098675"/>
              <a:ext cx="570891" cy="913689"/>
              <a:chOff x="8177171" y="2098675"/>
              <a:chExt cx="570891" cy="913689"/>
            </a:xfrm>
          </p:grpSpPr>
          <p:sp>
            <p:nvSpPr>
              <p:cNvPr id="273" name="Rectangle 272">
                <a:extLst>
                  <a:ext uri="{FF2B5EF4-FFF2-40B4-BE49-F238E27FC236}">
                    <a16:creationId xmlns:a16="http://schemas.microsoft.com/office/drawing/2014/main" id="{3F2AE079-085F-4CCD-9DF8-846D273EA67E}"/>
                  </a:ext>
                </a:extLst>
              </p:cNvPr>
              <p:cNvSpPr/>
              <p:nvPr/>
            </p:nvSpPr>
            <p:spPr>
              <a:xfrm>
                <a:off x="8177171" y="2098675"/>
                <a:ext cx="570891" cy="913689"/>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274" name="Group 273">
                <a:extLst>
                  <a:ext uri="{FF2B5EF4-FFF2-40B4-BE49-F238E27FC236}">
                    <a16:creationId xmlns:a16="http://schemas.microsoft.com/office/drawing/2014/main" id="{82F2CD1B-8EF3-4FD5-B6BB-4ED9806F627E}"/>
                  </a:ext>
                </a:extLst>
              </p:cNvPr>
              <p:cNvGrpSpPr/>
              <p:nvPr/>
            </p:nvGrpSpPr>
            <p:grpSpPr>
              <a:xfrm>
                <a:off x="8256195" y="2165667"/>
                <a:ext cx="386355" cy="212495"/>
                <a:chOff x="7681520" y="1918017"/>
                <a:chExt cx="386355" cy="212495"/>
              </a:xfrm>
            </p:grpSpPr>
            <p:sp>
              <p:nvSpPr>
                <p:cNvPr id="293" name="Freeform: Shape 707">
                  <a:extLst>
                    <a:ext uri="{FF2B5EF4-FFF2-40B4-BE49-F238E27FC236}">
                      <a16:creationId xmlns:a16="http://schemas.microsoft.com/office/drawing/2014/main" id="{203F7D2B-F5CB-4B61-8987-8D1ED35D1AD4}"/>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 name="Freeform: Shape 708">
                  <a:extLst>
                    <a:ext uri="{FF2B5EF4-FFF2-40B4-BE49-F238E27FC236}">
                      <a16:creationId xmlns:a16="http://schemas.microsoft.com/office/drawing/2014/main" id="{BEFB5D86-B84E-4C38-AC2F-D325429429DA}"/>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 name="Freeform: Shape 709">
                  <a:extLst>
                    <a:ext uri="{FF2B5EF4-FFF2-40B4-BE49-F238E27FC236}">
                      <a16:creationId xmlns:a16="http://schemas.microsoft.com/office/drawing/2014/main" id="{AA87997F-85D3-476F-9D39-2E59D4F7D359}"/>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 name="Freeform: Shape 710">
                  <a:extLst>
                    <a:ext uri="{FF2B5EF4-FFF2-40B4-BE49-F238E27FC236}">
                      <a16:creationId xmlns:a16="http://schemas.microsoft.com/office/drawing/2014/main" id="{3261E925-D374-430D-BE66-428624434C85}"/>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 name="Freeform: Shape 711">
                  <a:extLst>
                    <a:ext uri="{FF2B5EF4-FFF2-40B4-BE49-F238E27FC236}">
                      <a16:creationId xmlns:a16="http://schemas.microsoft.com/office/drawing/2014/main" id="{0860838F-CFDC-41BC-B92A-163A0EE3F14F}"/>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 name="Freeform: Shape 712">
                  <a:extLst>
                    <a:ext uri="{FF2B5EF4-FFF2-40B4-BE49-F238E27FC236}">
                      <a16:creationId xmlns:a16="http://schemas.microsoft.com/office/drawing/2014/main" id="{E55480F1-1893-484D-8FF9-85A0A94DD473}"/>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 name="Freeform: Shape 713">
                  <a:extLst>
                    <a:ext uri="{FF2B5EF4-FFF2-40B4-BE49-F238E27FC236}">
                      <a16:creationId xmlns:a16="http://schemas.microsoft.com/office/drawing/2014/main" id="{1D41F713-F934-41C1-8730-4A748EF41DD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 name="Freeform: Shape 714">
                  <a:extLst>
                    <a:ext uri="{FF2B5EF4-FFF2-40B4-BE49-F238E27FC236}">
                      <a16:creationId xmlns:a16="http://schemas.microsoft.com/office/drawing/2014/main" id="{3268174C-3044-42A4-AD12-A0903062DADB}"/>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75" name="Group 274">
                <a:extLst>
                  <a:ext uri="{FF2B5EF4-FFF2-40B4-BE49-F238E27FC236}">
                    <a16:creationId xmlns:a16="http://schemas.microsoft.com/office/drawing/2014/main" id="{82C37B37-BA84-47CF-B761-1B8DF16E95A3}"/>
                  </a:ext>
                </a:extLst>
              </p:cNvPr>
              <p:cNvGrpSpPr/>
              <p:nvPr/>
            </p:nvGrpSpPr>
            <p:grpSpPr>
              <a:xfrm>
                <a:off x="8256195" y="2429192"/>
                <a:ext cx="386355" cy="212495"/>
                <a:chOff x="7681520" y="1918017"/>
                <a:chExt cx="386355" cy="212495"/>
              </a:xfrm>
            </p:grpSpPr>
            <p:sp>
              <p:nvSpPr>
                <p:cNvPr id="285" name="Freeform: Shape 699">
                  <a:extLst>
                    <a:ext uri="{FF2B5EF4-FFF2-40B4-BE49-F238E27FC236}">
                      <a16:creationId xmlns:a16="http://schemas.microsoft.com/office/drawing/2014/main" id="{54015EB5-AFCF-441A-B529-7B008BA11323}"/>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 name="Freeform: Shape 700">
                  <a:extLst>
                    <a:ext uri="{FF2B5EF4-FFF2-40B4-BE49-F238E27FC236}">
                      <a16:creationId xmlns:a16="http://schemas.microsoft.com/office/drawing/2014/main" id="{5C0325B9-FEC8-4CF2-A84F-E7EDF9734AF9}"/>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 name="Freeform: Shape 701">
                  <a:extLst>
                    <a:ext uri="{FF2B5EF4-FFF2-40B4-BE49-F238E27FC236}">
                      <a16:creationId xmlns:a16="http://schemas.microsoft.com/office/drawing/2014/main" id="{715C2893-6A38-4995-AB07-EDB72A2B6020}"/>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 name="Freeform: Shape 702">
                  <a:extLst>
                    <a:ext uri="{FF2B5EF4-FFF2-40B4-BE49-F238E27FC236}">
                      <a16:creationId xmlns:a16="http://schemas.microsoft.com/office/drawing/2014/main" id="{B2E524EA-7500-401B-AA51-ACDA7049C5D7}"/>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 name="Freeform: Shape 703">
                  <a:extLst>
                    <a:ext uri="{FF2B5EF4-FFF2-40B4-BE49-F238E27FC236}">
                      <a16:creationId xmlns:a16="http://schemas.microsoft.com/office/drawing/2014/main" id="{4DEAB885-F959-44BC-9663-983D9EB5377A}"/>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 name="Freeform: Shape 704">
                  <a:extLst>
                    <a:ext uri="{FF2B5EF4-FFF2-40B4-BE49-F238E27FC236}">
                      <a16:creationId xmlns:a16="http://schemas.microsoft.com/office/drawing/2014/main" id="{3FF6C649-EAFC-4D3E-B311-CF8D6A2E342C}"/>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 name="Freeform: Shape 705">
                  <a:extLst>
                    <a:ext uri="{FF2B5EF4-FFF2-40B4-BE49-F238E27FC236}">
                      <a16:creationId xmlns:a16="http://schemas.microsoft.com/office/drawing/2014/main" id="{51CF9C68-DDD8-42E2-B73D-CBF745F6AD3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 name="Freeform: Shape 706">
                  <a:extLst>
                    <a:ext uri="{FF2B5EF4-FFF2-40B4-BE49-F238E27FC236}">
                      <a16:creationId xmlns:a16="http://schemas.microsoft.com/office/drawing/2014/main" id="{620A3177-F1C6-4C99-9E55-F8621C372FBF}"/>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76" name="Group 275">
                <a:extLst>
                  <a:ext uri="{FF2B5EF4-FFF2-40B4-BE49-F238E27FC236}">
                    <a16:creationId xmlns:a16="http://schemas.microsoft.com/office/drawing/2014/main" id="{0CC9FADE-28F9-49BB-A344-BDF29A40C9C5}"/>
                  </a:ext>
                </a:extLst>
              </p:cNvPr>
              <p:cNvGrpSpPr/>
              <p:nvPr/>
            </p:nvGrpSpPr>
            <p:grpSpPr>
              <a:xfrm>
                <a:off x="8256195" y="2692717"/>
                <a:ext cx="386355" cy="212495"/>
                <a:chOff x="7681520" y="1918017"/>
                <a:chExt cx="386355" cy="212495"/>
              </a:xfrm>
            </p:grpSpPr>
            <p:sp>
              <p:nvSpPr>
                <p:cNvPr id="277" name="Freeform: Shape 691">
                  <a:extLst>
                    <a:ext uri="{FF2B5EF4-FFF2-40B4-BE49-F238E27FC236}">
                      <a16:creationId xmlns:a16="http://schemas.microsoft.com/office/drawing/2014/main" id="{E6D347EC-194B-4960-86DC-D0E0E8626DD5}"/>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 name="Freeform: Shape 692">
                  <a:extLst>
                    <a:ext uri="{FF2B5EF4-FFF2-40B4-BE49-F238E27FC236}">
                      <a16:creationId xmlns:a16="http://schemas.microsoft.com/office/drawing/2014/main" id="{C5FE6987-2FA3-417F-B341-52792038C0DE}"/>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 name="Freeform: Shape 693">
                  <a:extLst>
                    <a:ext uri="{FF2B5EF4-FFF2-40B4-BE49-F238E27FC236}">
                      <a16:creationId xmlns:a16="http://schemas.microsoft.com/office/drawing/2014/main" id="{9B352CD8-25B0-4EDE-9A03-873248250118}"/>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 name="Freeform: Shape 694">
                  <a:extLst>
                    <a:ext uri="{FF2B5EF4-FFF2-40B4-BE49-F238E27FC236}">
                      <a16:creationId xmlns:a16="http://schemas.microsoft.com/office/drawing/2014/main" id="{D6DA0E0A-A52E-4E08-8F8B-9B7EA9ECD4C1}"/>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 name="Freeform: Shape 695">
                  <a:extLst>
                    <a:ext uri="{FF2B5EF4-FFF2-40B4-BE49-F238E27FC236}">
                      <a16:creationId xmlns:a16="http://schemas.microsoft.com/office/drawing/2014/main" id="{D46D8B46-5EB2-4AFB-B842-E2D25BAA1B84}"/>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 name="Freeform: Shape 696">
                  <a:extLst>
                    <a:ext uri="{FF2B5EF4-FFF2-40B4-BE49-F238E27FC236}">
                      <a16:creationId xmlns:a16="http://schemas.microsoft.com/office/drawing/2014/main" id="{063D1DC3-42EE-4D5E-9219-F2B3D5AA2BB0}"/>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 name="Freeform: Shape 697">
                  <a:extLst>
                    <a:ext uri="{FF2B5EF4-FFF2-40B4-BE49-F238E27FC236}">
                      <a16:creationId xmlns:a16="http://schemas.microsoft.com/office/drawing/2014/main" id="{88BA0CC1-4D2D-46AD-925E-A89044247021}"/>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 name="Freeform: Shape 698">
                  <a:extLst>
                    <a:ext uri="{FF2B5EF4-FFF2-40B4-BE49-F238E27FC236}">
                      <a16:creationId xmlns:a16="http://schemas.microsoft.com/office/drawing/2014/main" id="{FC9383D1-ED48-4DF1-B637-C22F7ABB820F}"/>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sp>
        <p:nvSpPr>
          <p:cNvPr id="389" name="Rectangle 388">
            <a:extLst>
              <a:ext uri="{FF2B5EF4-FFF2-40B4-BE49-F238E27FC236}">
                <a16:creationId xmlns:a16="http://schemas.microsoft.com/office/drawing/2014/main" id="{0C5E4CCE-D8F2-4565-A100-B03D159874A3}"/>
              </a:ext>
            </a:extLst>
          </p:cNvPr>
          <p:cNvSpPr/>
          <p:nvPr/>
        </p:nvSpPr>
        <p:spPr>
          <a:xfrm>
            <a:off x="26464" y="3533233"/>
            <a:ext cx="12192001" cy="5818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5" name="Right Arrow 4"/>
          <p:cNvSpPr/>
          <p:nvPr/>
        </p:nvSpPr>
        <p:spPr>
          <a:xfrm>
            <a:off x="2919254" y="1525465"/>
            <a:ext cx="1254202" cy="546206"/>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2015</a:t>
            </a:r>
            <a:endParaRPr lang="en-US" dirty="0">
              <a:solidFill>
                <a:schemeClr val="tx1"/>
              </a:solidFill>
            </a:endParaRPr>
          </a:p>
        </p:txBody>
      </p:sp>
      <p:sp>
        <p:nvSpPr>
          <p:cNvPr id="398" name="Right Arrow 397"/>
          <p:cNvSpPr/>
          <p:nvPr/>
        </p:nvSpPr>
        <p:spPr>
          <a:xfrm>
            <a:off x="135091" y="1528000"/>
            <a:ext cx="940370" cy="546206"/>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1999</a:t>
            </a:r>
            <a:endParaRPr lang="en-US" dirty="0">
              <a:solidFill>
                <a:schemeClr val="tx1"/>
              </a:solidFill>
            </a:endParaRPr>
          </a:p>
        </p:txBody>
      </p:sp>
      <p:sp>
        <p:nvSpPr>
          <p:cNvPr id="399" name="Right Arrow 398"/>
          <p:cNvSpPr/>
          <p:nvPr/>
        </p:nvSpPr>
        <p:spPr>
          <a:xfrm>
            <a:off x="7398909" y="1543752"/>
            <a:ext cx="1254202" cy="546206"/>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2019</a:t>
            </a:r>
            <a:endParaRPr lang="en-US" dirty="0">
              <a:solidFill>
                <a:schemeClr val="tx1"/>
              </a:solidFill>
            </a:endParaRPr>
          </a:p>
        </p:txBody>
      </p:sp>
      <p:sp>
        <p:nvSpPr>
          <p:cNvPr id="400" name="Right Arrow 399"/>
          <p:cNvSpPr/>
          <p:nvPr/>
        </p:nvSpPr>
        <p:spPr>
          <a:xfrm>
            <a:off x="10898227" y="1497399"/>
            <a:ext cx="1254202" cy="546206"/>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Retire?</a:t>
            </a:r>
            <a:endParaRPr lang="en-US" dirty="0">
              <a:solidFill>
                <a:schemeClr val="tx1"/>
              </a:solidFill>
            </a:endParaRPr>
          </a:p>
        </p:txBody>
      </p:sp>
      <p:sp>
        <p:nvSpPr>
          <p:cNvPr id="529" name="Graphic 125">
            <a:extLst>
              <a:ext uri="{FF2B5EF4-FFF2-40B4-BE49-F238E27FC236}">
                <a16:creationId xmlns:a16="http://schemas.microsoft.com/office/drawing/2014/main" id="{9D287ABE-AD34-4808-82C5-6ED567104BDF}"/>
              </a:ext>
            </a:extLst>
          </p:cNvPr>
          <p:cNvSpPr/>
          <p:nvPr/>
        </p:nvSpPr>
        <p:spPr>
          <a:xfrm>
            <a:off x="3986094" y="862815"/>
            <a:ext cx="378618" cy="257528"/>
          </a:xfrm>
          <a:custGeom>
            <a:avLst/>
            <a:gdLst>
              <a:gd name="connsiteX0" fmla="*/ 959644 w 4229100"/>
              <a:gd name="connsiteY0" fmla="*/ 1074306 h 2876550"/>
              <a:gd name="connsiteX1" fmla="*/ 1645444 w 4229100"/>
              <a:gd name="connsiteY1" fmla="*/ 674256 h 2876550"/>
              <a:gd name="connsiteX2" fmla="*/ 2797969 w 4229100"/>
              <a:gd name="connsiteY2" fmla="*/ 17031 h 2876550"/>
              <a:gd name="connsiteX3" fmla="*/ 3759994 w 4229100"/>
              <a:gd name="connsiteY3" fmla="*/ 1188606 h 2876550"/>
              <a:gd name="connsiteX4" fmla="*/ 4226719 w 4229100"/>
              <a:gd name="connsiteY4" fmla="*/ 1979181 h 2876550"/>
              <a:gd name="connsiteX5" fmla="*/ 3331369 w 4229100"/>
              <a:gd name="connsiteY5" fmla="*/ 2874531 h 2876550"/>
              <a:gd name="connsiteX6" fmla="*/ 912019 w 4229100"/>
              <a:gd name="connsiteY6" fmla="*/ 2874531 h 2876550"/>
              <a:gd name="connsiteX7" fmla="*/ 7144 w 4229100"/>
              <a:gd name="connsiteY7" fmla="*/ 1979181 h 2876550"/>
              <a:gd name="connsiteX8" fmla="*/ 959644 w 4229100"/>
              <a:gd name="connsiteY8" fmla="*/ 1074306 h 2876550"/>
              <a:gd name="connsiteX9" fmla="*/ 197644 w 4229100"/>
              <a:gd name="connsiteY9" fmla="*/ 1979181 h 2876550"/>
              <a:gd name="connsiteX10" fmla="*/ 912019 w 4229100"/>
              <a:gd name="connsiteY10" fmla="*/ 2684031 h 2876550"/>
              <a:gd name="connsiteX11" fmla="*/ 3331369 w 4229100"/>
              <a:gd name="connsiteY11" fmla="*/ 2684031 h 2876550"/>
              <a:gd name="connsiteX12" fmla="*/ 4036219 w 4229100"/>
              <a:gd name="connsiteY12" fmla="*/ 1979181 h 2876550"/>
              <a:gd name="connsiteX13" fmla="*/ 3626644 w 4229100"/>
              <a:gd name="connsiteY13" fmla="*/ 1331481 h 2876550"/>
              <a:gd name="connsiteX14" fmla="*/ 3569494 w 4229100"/>
              <a:gd name="connsiteY14" fmla="*/ 1226706 h 2876550"/>
              <a:gd name="connsiteX15" fmla="*/ 2778919 w 4229100"/>
              <a:gd name="connsiteY15" fmla="*/ 207531 h 2876550"/>
              <a:gd name="connsiteX16" fmla="*/ 1797844 w 4229100"/>
              <a:gd name="connsiteY16" fmla="*/ 798081 h 2876550"/>
              <a:gd name="connsiteX17" fmla="*/ 1712119 w 4229100"/>
              <a:gd name="connsiteY17" fmla="*/ 864756 h 2876550"/>
              <a:gd name="connsiteX18" fmla="*/ 1092994 w 4229100"/>
              <a:gd name="connsiteY18" fmla="*/ 1226706 h 2876550"/>
              <a:gd name="connsiteX19" fmla="*/ 997744 w 4229100"/>
              <a:gd name="connsiteY19" fmla="*/ 1274331 h 2876550"/>
              <a:gd name="connsiteX20" fmla="*/ 197644 w 4229100"/>
              <a:gd name="connsiteY20" fmla="*/ 1979181 h 287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229100" h="2876550">
                <a:moveTo>
                  <a:pt x="959644" y="1074306"/>
                </a:moveTo>
                <a:cubicBezTo>
                  <a:pt x="1112044" y="845706"/>
                  <a:pt x="1369219" y="693306"/>
                  <a:pt x="1645444" y="674256"/>
                </a:cubicBezTo>
                <a:cubicBezTo>
                  <a:pt x="1835944" y="226581"/>
                  <a:pt x="2312194" y="-49644"/>
                  <a:pt x="2797969" y="17031"/>
                </a:cubicBezTo>
                <a:cubicBezTo>
                  <a:pt x="3378994" y="83706"/>
                  <a:pt x="3798094" y="607581"/>
                  <a:pt x="3759994" y="1188606"/>
                </a:cubicBezTo>
                <a:cubicBezTo>
                  <a:pt x="4055269" y="1341006"/>
                  <a:pt x="4226719" y="1645806"/>
                  <a:pt x="4226719" y="1979181"/>
                </a:cubicBezTo>
                <a:cubicBezTo>
                  <a:pt x="4226719" y="2474481"/>
                  <a:pt x="3826669" y="2874531"/>
                  <a:pt x="3331369" y="2874531"/>
                </a:cubicBezTo>
                <a:lnTo>
                  <a:pt x="912019" y="2874531"/>
                </a:lnTo>
                <a:cubicBezTo>
                  <a:pt x="407194" y="2874531"/>
                  <a:pt x="7144" y="2474481"/>
                  <a:pt x="7144" y="1979181"/>
                </a:cubicBezTo>
                <a:cubicBezTo>
                  <a:pt x="7144" y="1455306"/>
                  <a:pt x="445294" y="1045731"/>
                  <a:pt x="959644" y="1074306"/>
                </a:cubicBezTo>
                <a:close/>
                <a:moveTo>
                  <a:pt x="197644" y="1979181"/>
                </a:moveTo>
                <a:cubicBezTo>
                  <a:pt x="197644" y="2369706"/>
                  <a:pt x="511969" y="2684031"/>
                  <a:pt x="912019" y="2684031"/>
                </a:cubicBezTo>
                <a:lnTo>
                  <a:pt x="3331369" y="2684031"/>
                </a:lnTo>
                <a:cubicBezTo>
                  <a:pt x="3721894" y="2684031"/>
                  <a:pt x="4036219" y="2369706"/>
                  <a:pt x="4036219" y="1979181"/>
                </a:cubicBezTo>
                <a:cubicBezTo>
                  <a:pt x="4036219" y="1702956"/>
                  <a:pt x="3883819" y="1445781"/>
                  <a:pt x="3626644" y="1331481"/>
                </a:cubicBezTo>
                <a:cubicBezTo>
                  <a:pt x="3588544" y="1312431"/>
                  <a:pt x="3559969" y="1274331"/>
                  <a:pt x="3569494" y="1226706"/>
                </a:cubicBezTo>
                <a:cubicBezTo>
                  <a:pt x="3626644" y="731406"/>
                  <a:pt x="3283744" y="264681"/>
                  <a:pt x="2778919" y="207531"/>
                </a:cubicBezTo>
                <a:cubicBezTo>
                  <a:pt x="2350294" y="150381"/>
                  <a:pt x="1950244" y="398031"/>
                  <a:pt x="1797844" y="798081"/>
                </a:cubicBezTo>
                <a:cubicBezTo>
                  <a:pt x="1788319" y="836181"/>
                  <a:pt x="1750219" y="864756"/>
                  <a:pt x="1712119" y="864756"/>
                </a:cubicBezTo>
                <a:cubicBezTo>
                  <a:pt x="1454944" y="864756"/>
                  <a:pt x="1216819" y="998106"/>
                  <a:pt x="1092994" y="1226706"/>
                </a:cubicBezTo>
                <a:cubicBezTo>
                  <a:pt x="1073944" y="1255281"/>
                  <a:pt x="1045369" y="1274331"/>
                  <a:pt x="997744" y="1274331"/>
                </a:cubicBezTo>
                <a:cubicBezTo>
                  <a:pt x="578644" y="1217181"/>
                  <a:pt x="197644" y="1550556"/>
                  <a:pt x="197644" y="1979181"/>
                </a:cubicBezTo>
                <a:close/>
              </a:path>
            </a:pathLst>
          </a:custGeom>
          <a:solidFill>
            <a:srgbClr val="CCCCC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0" name="Graphic 125">
            <a:extLst>
              <a:ext uri="{FF2B5EF4-FFF2-40B4-BE49-F238E27FC236}">
                <a16:creationId xmlns:a16="http://schemas.microsoft.com/office/drawing/2014/main" id="{D85CED6B-9419-44B8-B4C5-73F557D8481F}"/>
              </a:ext>
            </a:extLst>
          </p:cNvPr>
          <p:cNvSpPr/>
          <p:nvPr/>
        </p:nvSpPr>
        <p:spPr>
          <a:xfrm>
            <a:off x="6776919" y="834240"/>
            <a:ext cx="378618" cy="257528"/>
          </a:xfrm>
          <a:custGeom>
            <a:avLst/>
            <a:gdLst>
              <a:gd name="connsiteX0" fmla="*/ 959644 w 4229100"/>
              <a:gd name="connsiteY0" fmla="*/ 1074306 h 2876550"/>
              <a:gd name="connsiteX1" fmla="*/ 1645444 w 4229100"/>
              <a:gd name="connsiteY1" fmla="*/ 674256 h 2876550"/>
              <a:gd name="connsiteX2" fmla="*/ 2797969 w 4229100"/>
              <a:gd name="connsiteY2" fmla="*/ 17031 h 2876550"/>
              <a:gd name="connsiteX3" fmla="*/ 3759994 w 4229100"/>
              <a:gd name="connsiteY3" fmla="*/ 1188606 h 2876550"/>
              <a:gd name="connsiteX4" fmla="*/ 4226719 w 4229100"/>
              <a:gd name="connsiteY4" fmla="*/ 1979181 h 2876550"/>
              <a:gd name="connsiteX5" fmla="*/ 3331369 w 4229100"/>
              <a:gd name="connsiteY5" fmla="*/ 2874531 h 2876550"/>
              <a:gd name="connsiteX6" fmla="*/ 912019 w 4229100"/>
              <a:gd name="connsiteY6" fmla="*/ 2874531 h 2876550"/>
              <a:gd name="connsiteX7" fmla="*/ 7144 w 4229100"/>
              <a:gd name="connsiteY7" fmla="*/ 1979181 h 2876550"/>
              <a:gd name="connsiteX8" fmla="*/ 959644 w 4229100"/>
              <a:gd name="connsiteY8" fmla="*/ 1074306 h 2876550"/>
              <a:gd name="connsiteX9" fmla="*/ 197644 w 4229100"/>
              <a:gd name="connsiteY9" fmla="*/ 1979181 h 2876550"/>
              <a:gd name="connsiteX10" fmla="*/ 912019 w 4229100"/>
              <a:gd name="connsiteY10" fmla="*/ 2684031 h 2876550"/>
              <a:gd name="connsiteX11" fmla="*/ 3331369 w 4229100"/>
              <a:gd name="connsiteY11" fmla="*/ 2684031 h 2876550"/>
              <a:gd name="connsiteX12" fmla="*/ 4036219 w 4229100"/>
              <a:gd name="connsiteY12" fmla="*/ 1979181 h 2876550"/>
              <a:gd name="connsiteX13" fmla="*/ 3626644 w 4229100"/>
              <a:gd name="connsiteY13" fmla="*/ 1331481 h 2876550"/>
              <a:gd name="connsiteX14" fmla="*/ 3569494 w 4229100"/>
              <a:gd name="connsiteY14" fmla="*/ 1226706 h 2876550"/>
              <a:gd name="connsiteX15" fmla="*/ 2778919 w 4229100"/>
              <a:gd name="connsiteY15" fmla="*/ 207531 h 2876550"/>
              <a:gd name="connsiteX16" fmla="*/ 1797844 w 4229100"/>
              <a:gd name="connsiteY16" fmla="*/ 798081 h 2876550"/>
              <a:gd name="connsiteX17" fmla="*/ 1712119 w 4229100"/>
              <a:gd name="connsiteY17" fmla="*/ 864756 h 2876550"/>
              <a:gd name="connsiteX18" fmla="*/ 1092994 w 4229100"/>
              <a:gd name="connsiteY18" fmla="*/ 1226706 h 2876550"/>
              <a:gd name="connsiteX19" fmla="*/ 997744 w 4229100"/>
              <a:gd name="connsiteY19" fmla="*/ 1274331 h 2876550"/>
              <a:gd name="connsiteX20" fmla="*/ 197644 w 4229100"/>
              <a:gd name="connsiteY20" fmla="*/ 1979181 h 287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229100" h="2876550">
                <a:moveTo>
                  <a:pt x="959644" y="1074306"/>
                </a:moveTo>
                <a:cubicBezTo>
                  <a:pt x="1112044" y="845706"/>
                  <a:pt x="1369219" y="693306"/>
                  <a:pt x="1645444" y="674256"/>
                </a:cubicBezTo>
                <a:cubicBezTo>
                  <a:pt x="1835944" y="226581"/>
                  <a:pt x="2312194" y="-49644"/>
                  <a:pt x="2797969" y="17031"/>
                </a:cubicBezTo>
                <a:cubicBezTo>
                  <a:pt x="3378994" y="83706"/>
                  <a:pt x="3798094" y="607581"/>
                  <a:pt x="3759994" y="1188606"/>
                </a:cubicBezTo>
                <a:cubicBezTo>
                  <a:pt x="4055269" y="1341006"/>
                  <a:pt x="4226719" y="1645806"/>
                  <a:pt x="4226719" y="1979181"/>
                </a:cubicBezTo>
                <a:cubicBezTo>
                  <a:pt x="4226719" y="2474481"/>
                  <a:pt x="3826669" y="2874531"/>
                  <a:pt x="3331369" y="2874531"/>
                </a:cubicBezTo>
                <a:lnTo>
                  <a:pt x="912019" y="2874531"/>
                </a:lnTo>
                <a:cubicBezTo>
                  <a:pt x="407194" y="2874531"/>
                  <a:pt x="7144" y="2474481"/>
                  <a:pt x="7144" y="1979181"/>
                </a:cubicBezTo>
                <a:cubicBezTo>
                  <a:pt x="7144" y="1455306"/>
                  <a:pt x="445294" y="1045731"/>
                  <a:pt x="959644" y="1074306"/>
                </a:cubicBezTo>
                <a:close/>
                <a:moveTo>
                  <a:pt x="197644" y="1979181"/>
                </a:moveTo>
                <a:cubicBezTo>
                  <a:pt x="197644" y="2369706"/>
                  <a:pt x="511969" y="2684031"/>
                  <a:pt x="912019" y="2684031"/>
                </a:cubicBezTo>
                <a:lnTo>
                  <a:pt x="3331369" y="2684031"/>
                </a:lnTo>
                <a:cubicBezTo>
                  <a:pt x="3721894" y="2684031"/>
                  <a:pt x="4036219" y="2369706"/>
                  <a:pt x="4036219" y="1979181"/>
                </a:cubicBezTo>
                <a:cubicBezTo>
                  <a:pt x="4036219" y="1702956"/>
                  <a:pt x="3883819" y="1445781"/>
                  <a:pt x="3626644" y="1331481"/>
                </a:cubicBezTo>
                <a:cubicBezTo>
                  <a:pt x="3588544" y="1312431"/>
                  <a:pt x="3559969" y="1274331"/>
                  <a:pt x="3569494" y="1226706"/>
                </a:cubicBezTo>
                <a:cubicBezTo>
                  <a:pt x="3626644" y="731406"/>
                  <a:pt x="3283744" y="264681"/>
                  <a:pt x="2778919" y="207531"/>
                </a:cubicBezTo>
                <a:cubicBezTo>
                  <a:pt x="2350294" y="150381"/>
                  <a:pt x="1950244" y="398031"/>
                  <a:pt x="1797844" y="798081"/>
                </a:cubicBezTo>
                <a:cubicBezTo>
                  <a:pt x="1788319" y="836181"/>
                  <a:pt x="1750219" y="864756"/>
                  <a:pt x="1712119" y="864756"/>
                </a:cubicBezTo>
                <a:cubicBezTo>
                  <a:pt x="1454944" y="864756"/>
                  <a:pt x="1216819" y="998106"/>
                  <a:pt x="1092994" y="1226706"/>
                </a:cubicBezTo>
                <a:cubicBezTo>
                  <a:pt x="1073944" y="1255281"/>
                  <a:pt x="1045369" y="1274331"/>
                  <a:pt x="997744" y="1274331"/>
                </a:cubicBezTo>
                <a:cubicBezTo>
                  <a:pt x="578644" y="1217181"/>
                  <a:pt x="197644" y="1550556"/>
                  <a:pt x="197644" y="1979181"/>
                </a:cubicBezTo>
                <a:close/>
              </a:path>
            </a:pathLst>
          </a:custGeom>
          <a:solidFill>
            <a:srgbClr val="CCCCC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1" name="Graphic 131">
            <a:extLst>
              <a:ext uri="{FF2B5EF4-FFF2-40B4-BE49-F238E27FC236}">
                <a16:creationId xmlns:a16="http://schemas.microsoft.com/office/drawing/2014/main" id="{41BD4DA3-19FE-462B-A6DE-21F53FF18EAA}"/>
              </a:ext>
            </a:extLst>
          </p:cNvPr>
          <p:cNvSpPr/>
          <p:nvPr/>
        </p:nvSpPr>
        <p:spPr>
          <a:xfrm>
            <a:off x="7195486" y="2952342"/>
            <a:ext cx="632126" cy="502765"/>
          </a:xfrm>
          <a:custGeom>
            <a:avLst/>
            <a:gdLst>
              <a:gd name="connsiteX0" fmla="*/ 937390 w 5342634"/>
              <a:gd name="connsiteY0" fmla="*/ 769016 h 3833745"/>
              <a:gd name="connsiteX1" fmla="*/ 1869922 w 5342634"/>
              <a:gd name="connsiteY1" fmla="*/ 2038296 h 3833745"/>
              <a:gd name="connsiteX2" fmla="*/ 989197 w 5342634"/>
              <a:gd name="connsiteY2" fmla="*/ 3307577 h 3833745"/>
              <a:gd name="connsiteX3" fmla="*/ 989197 w 5342634"/>
              <a:gd name="connsiteY3" fmla="*/ 3747939 h 3833745"/>
              <a:gd name="connsiteX4" fmla="*/ 2757123 w 5342634"/>
              <a:gd name="connsiteY4" fmla="*/ 3747939 h 3833745"/>
              <a:gd name="connsiteX5" fmla="*/ 2757123 w 5342634"/>
              <a:gd name="connsiteY5" fmla="*/ 3307577 h 3833745"/>
              <a:gd name="connsiteX6" fmla="*/ 1999441 w 5342634"/>
              <a:gd name="connsiteY6" fmla="*/ 2511038 h 3833745"/>
              <a:gd name="connsiteX7" fmla="*/ 2802455 w 5342634"/>
              <a:gd name="connsiteY7" fmla="*/ 1708024 h 3833745"/>
              <a:gd name="connsiteX8" fmla="*/ 3605469 w 5342634"/>
              <a:gd name="connsiteY8" fmla="*/ 2511038 h 3833745"/>
              <a:gd name="connsiteX9" fmla="*/ 2847786 w 5342634"/>
              <a:gd name="connsiteY9" fmla="*/ 3307577 h 3833745"/>
              <a:gd name="connsiteX10" fmla="*/ 2847786 w 5342634"/>
              <a:gd name="connsiteY10" fmla="*/ 3747939 h 3833745"/>
              <a:gd name="connsiteX11" fmla="*/ 4453815 w 5342634"/>
              <a:gd name="connsiteY11" fmla="*/ 3747939 h 3833745"/>
              <a:gd name="connsiteX12" fmla="*/ 4453815 w 5342634"/>
              <a:gd name="connsiteY12" fmla="*/ 3048540 h 3833745"/>
              <a:gd name="connsiteX13" fmla="*/ 3760891 w 5342634"/>
              <a:gd name="connsiteY13" fmla="*/ 1818115 h 3833745"/>
              <a:gd name="connsiteX14" fmla="*/ 4505622 w 5342634"/>
              <a:gd name="connsiteY14" fmla="*/ 4857 h 3833745"/>
              <a:gd name="connsiteX15" fmla="*/ 5250353 w 5342634"/>
              <a:gd name="connsiteY15" fmla="*/ 1818115 h 3833745"/>
              <a:gd name="connsiteX16" fmla="*/ 4550954 w 5342634"/>
              <a:gd name="connsiteY16" fmla="*/ 3048540 h 3833745"/>
              <a:gd name="connsiteX17" fmla="*/ 4550954 w 5342634"/>
              <a:gd name="connsiteY17" fmla="*/ 3747939 h 3833745"/>
              <a:gd name="connsiteX18" fmla="*/ 5146738 w 5342634"/>
              <a:gd name="connsiteY18" fmla="*/ 3747939 h 3833745"/>
              <a:gd name="connsiteX19" fmla="*/ 5140262 w 5342634"/>
              <a:gd name="connsiteY19" fmla="*/ 3832126 h 3833745"/>
              <a:gd name="connsiteX20" fmla="*/ 464647 w 5342634"/>
              <a:gd name="connsiteY20" fmla="*/ 3832126 h 3833745"/>
              <a:gd name="connsiteX21" fmla="*/ 458171 w 5342634"/>
              <a:gd name="connsiteY21" fmla="*/ 3747939 h 3833745"/>
              <a:gd name="connsiteX22" fmla="*/ 892058 w 5342634"/>
              <a:gd name="connsiteY22" fmla="*/ 3747939 h 3833745"/>
              <a:gd name="connsiteX23" fmla="*/ 892058 w 5342634"/>
              <a:gd name="connsiteY23" fmla="*/ 3307577 h 3833745"/>
              <a:gd name="connsiteX24" fmla="*/ 4857 w 5342634"/>
              <a:gd name="connsiteY24" fmla="*/ 2038296 h 3833745"/>
              <a:gd name="connsiteX25" fmla="*/ 937390 w 5342634"/>
              <a:gd name="connsiteY25" fmla="*/ 769016 h 3833745"/>
              <a:gd name="connsiteX26" fmla="*/ 1384228 w 5342634"/>
              <a:gd name="connsiteY26" fmla="*/ 1908778 h 3833745"/>
              <a:gd name="connsiteX27" fmla="*/ 989197 w 5342634"/>
              <a:gd name="connsiteY27" fmla="*/ 2329713 h 3833745"/>
              <a:gd name="connsiteX28" fmla="*/ 989197 w 5342634"/>
              <a:gd name="connsiteY28" fmla="*/ 3210438 h 3833745"/>
              <a:gd name="connsiteX29" fmla="*/ 1772783 w 5342634"/>
              <a:gd name="connsiteY29" fmla="*/ 2038296 h 3833745"/>
              <a:gd name="connsiteX30" fmla="*/ 937390 w 5342634"/>
              <a:gd name="connsiteY30" fmla="*/ 866154 h 3833745"/>
              <a:gd name="connsiteX31" fmla="*/ 101996 w 5342634"/>
              <a:gd name="connsiteY31" fmla="*/ 2038296 h 3833745"/>
              <a:gd name="connsiteX32" fmla="*/ 892058 w 5342634"/>
              <a:gd name="connsiteY32" fmla="*/ 3210438 h 3833745"/>
              <a:gd name="connsiteX33" fmla="*/ 892058 w 5342634"/>
              <a:gd name="connsiteY33" fmla="*/ 2770075 h 3833745"/>
              <a:gd name="connsiteX34" fmla="*/ 497027 w 5342634"/>
              <a:gd name="connsiteY34" fmla="*/ 2349140 h 3833745"/>
              <a:gd name="connsiteX35" fmla="*/ 561786 w 5342634"/>
              <a:gd name="connsiteY35" fmla="*/ 2290857 h 3833745"/>
              <a:gd name="connsiteX36" fmla="*/ 892058 w 5342634"/>
              <a:gd name="connsiteY36" fmla="*/ 2647033 h 3833745"/>
              <a:gd name="connsiteX37" fmla="*/ 892058 w 5342634"/>
              <a:gd name="connsiteY37" fmla="*/ 1798687 h 3833745"/>
              <a:gd name="connsiteX38" fmla="*/ 989197 w 5342634"/>
              <a:gd name="connsiteY38" fmla="*/ 1798687 h 3833745"/>
              <a:gd name="connsiteX39" fmla="*/ 989197 w 5342634"/>
              <a:gd name="connsiteY39" fmla="*/ 2206670 h 3833745"/>
              <a:gd name="connsiteX40" fmla="*/ 1319469 w 5342634"/>
              <a:gd name="connsiteY40" fmla="*/ 1850494 h 3833745"/>
              <a:gd name="connsiteX41" fmla="*/ 1384228 w 5342634"/>
              <a:gd name="connsiteY41" fmla="*/ 1908778 h 3833745"/>
              <a:gd name="connsiteX42" fmla="*/ 2614653 w 5342634"/>
              <a:gd name="connsiteY42" fmla="*/ 2679412 h 3833745"/>
              <a:gd name="connsiteX43" fmla="*/ 2757123 w 5342634"/>
              <a:gd name="connsiteY43" fmla="*/ 2847786 h 3833745"/>
              <a:gd name="connsiteX44" fmla="*/ 2757123 w 5342634"/>
              <a:gd name="connsiteY44" fmla="*/ 2323237 h 3833745"/>
              <a:gd name="connsiteX45" fmla="*/ 2847786 w 5342634"/>
              <a:gd name="connsiteY45" fmla="*/ 2323237 h 3833745"/>
              <a:gd name="connsiteX46" fmla="*/ 2847786 w 5342634"/>
              <a:gd name="connsiteY46" fmla="*/ 3210438 h 3833745"/>
              <a:gd name="connsiteX47" fmla="*/ 3508330 w 5342634"/>
              <a:gd name="connsiteY47" fmla="*/ 2511038 h 3833745"/>
              <a:gd name="connsiteX48" fmla="*/ 2802455 w 5342634"/>
              <a:gd name="connsiteY48" fmla="*/ 1805163 h 3833745"/>
              <a:gd name="connsiteX49" fmla="*/ 2096579 w 5342634"/>
              <a:gd name="connsiteY49" fmla="*/ 2511038 h 3833745"/>
              <a:gd name="connsiteX50" fmla="*/ 2757123 w 5342634"/>
              <a:gd name="connsiteY50" fmla="*/ 3210438 h 3833745"/>
              <a:gd name="connsiteX51" fmla="*/ 2757123 w 5342634"/>
              <a:gd name="connsiteY51" fmla="*/ 2983781 h 3833745"/>
              <a:gd name="connsiteX52" fmla="*/ 2549894 w 5342634"/>
              <a:gd name="connsiteY52" fmla="*/ 2737696 h 3833745"/>
              <a:gd name="connsiteX53" fmla="*/ 2614653 w 5342634"/>
              <a:gd name="connsiteY53" fmla="*/ 2679412 h 3833745"/>
              <a:gd name="connsiteX54" fmla="*/ 4058784 w 5342634"/>
              <a:gd name="connsiteY54" fmla="*/ 1487843 h 3833745"/>
              <a:gd name="connsiteX55" fmla="*/ 4453815 w 5342634"/>
              <a:gd name="connsiteY55" fmla="*/ 1908778 h 3833745"/>
              <a:gd name="connsiteX56" fmla="*/ 4453815 w 5342634"/>
              <a:gd name="connsiteY56" fmla="*/ 2951401 h 3833745"/>
              <a:gd name="connsiteX57" fmla="*/ 3864506 w 5342634"/>
              <a:gd name="connsiteY57" fmla="*/ 1837543 h 3833745"/>
              <a:gd name="connsiteX58" fmla="*/ 4505622 w 5342634"/>
              <a:gd name="connsiteY58" fmla="*/ 101996 h 3833745"/>
              <a:gd name="connsiteX59" fmla="*/ 5146738 w 5342634"/>
              <a:gd name="connsiteY59" fmla="*/ 1837543 h 3833745"/>
              <a:gd name="connsiteX60" fmla="*/ 4550954 w 5342634"/>
              <a:gd name="connsiteY60" fmla="*/ 2951401 h 3833745"/>
              <a:gd name="connsiteX61" fmla="*/ 4550954 w 5342634"/>
              <a:gd name="connsiteY61" fmla="*/ 2511038 h 3833745"/>
              <a:gd name="connsiteX62" fmla="*/ 4945985 w 5342634"/>
              <a:gd name="connsiteY62" fmla="*/ 2096579 h 3833745"/>
              <a:gd name="connsiteX63" fmla="*/ 4881226 w 5342634"/>
              <a:gd name="connsiteY63" fmla="*/ 2038296 h 3833745"/>
              <a:gd name="connsiteX64" fmla="*/ 4550954 w 5342634"/>
              <a:gd name="connsiteY64" fmla="*/ 2387996 h 3833745"/>
              <a:gd name="connsiteX65" fmla="*/ 4550954 w 5342634"/>
              <a:gd name="connsiteY65" fmla="*/ 1138143 h 3833745"/>
              <a:gd name="connsiteX66" fmla="*/ 4453815 w 5342634"/>
              <a:gd name="connsiteY66" fmla="*/ 1144619 h 3833745"/>
              <a:gd name="connsiteX67" fmla="*/ 4453815 w 5342634"/>
              <a:gd name="connsiteY67" fmla="*/ 1785735 h 3833745"/>
              <a:gd name="connsiteX68" fmla="*/ 4123543 w 5342634"/>
              <a:gd name="connsiteY68" fmla="*/ 1436035 h 3833745"/>
              <a:gd name="connsiteX69" fmla="*/ 4058784 w 5342634"/>
              <a:gd name="connsiteY69" fmla="*/ 1487843 h 3833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342634" h="3833745">
                <a:moveTo>
                  <a:pt x="937390" y="769016"/>
                </a:moveTo>
                <a:cubicBezTo>
                  <a:pt x="1565554" y="769016"/>
                  <a:pt x="1869922" y="1500795"/>
                  <a:pt x="1869922" y="2038296"/>
                </a:cubicBezTo>
                <a:cubicBezTo>
                  <a:pt x="1869922" y="2562846"/>
                  <a:pt x="1584982" y="3268721"/>
                  <a:pt x="989197" y="3307577"/>
                </a:cubicBezTo>
                <a:lnTo>
                  <a:pt x="989197" y="3747939"/>
                </a:lnTo>
                <a:lnTo>
                  <a:pt x="2757123" y="3747939"/>
                </a:lnTo>
                <a:lnTo>
                  <a:pt x="2757123" y="3307577"/>
                </a:lnTo>
                <a:cubicBezTo>
                  <a:pt x="2336189" y="3281673"/>
                  <a:pt x="1999441" y="2931973"/>
                  <a:pt x="1999441" y="2511038"/>
                </a:cubicBezTo>
                <a:cubicBezTo>
                  <a:pt x="1999441" y="2064200"/>
                  <a:pt x="2362092" y="1708024"/>
                  <a:pt x="2802455" y="1708024"/>
                </a:cubicBezTo>
                <a:cubicBezTo>
                  <a:pt x="3242818" y="1708024"/>
                  <a:pt x="3605469" y="2064200"/>
                  <a:pt x="3605469" y="2511038"/>
                </a:cubicBezTo>
                <a:cubicBezTo>
                  <a:pt x="3605469" y="2931973"/>
                  <a:pt x="3268721" y="3281673"/>
                  <a:pt x="2847786" y="3307577"/>
                </a:cubicBezTo>
                <a:lnTo>
                  <a:pt x="2847786" y="3747939"/>
                </a:lnTo>
                <a:lnTo>
                  <a:pt x="4453815" y="3747939"/>
                </a:lnTo>
                <a:lnTo>
                  <a:pt x="4453815" y="3048540"/>
                </a:lnTo>
                <a:cubicBezTo>
                  <a:pt x="3851554" y="3016160"/>
                  <a:pt x="3475951" y="2355616"/>
                  <a:pt x="3760891" y="1818115"/>
                </a:cubicBezTo>
                <a:cubicBezTo>
                  <a:pt x="3722036" y="1306517"/>
                  <a:pt x="3832126" y="4857"/>
                  <a:pt x="4505622" y="4857"/>
                </a:cubicBezTo>
                <a:cubicBezTo>
                  <a:pt x="5179118" y="4857"/>
                  <a:pt x="5289209" y="1306517"/>
                  <a:pt x="5250353" y="1818115"/>
                </a:cubicBezTo>
                <a:cubicBezTo>
                  <a:pt x="5528818" y="2355616"/>
                  <a:pt x="5153214" y="3016160"/>
                  <a:pt x="4550954" y="3048540"/>
                </a:cubicBezTo>
                <a:lnTo>
                  <a:pt x="4550954" y="3747939"/>
                </a:lnTo>
                <a:lnTo>
                  <a:pt x="5146738" y="3747939"/>
                </a:lnTo>
                <a:cubicBezTo>
                  <a:pt x="5205022" y="3747939"/>
                  <a:pt x="5198546" y="3838602"/>
                  <a:pt x="5140262" y="3832126"/>
                </a:cubicBezTo>
                <a:cubicBezTo>
                  <a:pt x="4719328" y="3832126"/>
                  <a:pt x="885582" y="3832126"/>
                  <a:pt x="464647" y="3832126"/>
                </a:cubicBezTo>
                <a:cubicBezTo>
                  <a:pt x="406364" y="3838602"/>
                  <a:pt x="399888" y="3747939"/>
                  <a:pt x="458171" y="3747939"/>
                </a:cubicBezTo>
                <a:lnTo>
                  <a:pt x="892058" y="3747939"/>
                </a:lnTo>
                <a:lnTo>
                  <a:pt x="892058" y="3307577"/>
                </a:lnTo>
                <a:cubicBezTo>
                  <a:pt x="296273" y="3268721"/>
                  <a:pt x="4857" y="2562846"/>
                  <a:pt x="4857" y="2038296"/>
                </a:cubicBezTo>
                <a:cubicBezTo>
                  <a:pt x="4857" y="1500795"/>
                  <a:pt x="309225" y="769016"/>
                  <a:pt x="937390" y="769016"/>
                </a:cubicBezTo>
                <a:close/>
                <a:moveTo>
                  <a:pt x="1384228" y="1908778"/>
                </a:moveTo>
                <a:lnTo>
                  <a:pt x="989197" y="2329713"/>
                </a:lnTo>
                <a:lnTo>
                  <a:pt x="989197" y="3210438"/>
                </a:lnTo>
                <a:cubicBezTo>
                  <a:pt x="1423084" y="3178058"/>
                  <a:pt x="1772783" y="2666460"/>
                  <a:pt x="1772783" y="2038296"/>
                </a:cubicBezTo>
                <a:cubicBezTo>
                  <a:pt x="1772783" y="1390704"/>
                  <a:pt x="1397180" y="866154"/>
                  <a:pt x="937390" y="866154"/>
                </a:cubicBezTo>
                <a:cubicBezTo>
                  <a:pt x="477599" y="866154"/>
                  <a:pt x="101996" y="1390704"/>
                  <a:pt x="101996" y="2038296"/>
                </a:cubicBezTo>
                <a:cubicBezTo>
                  <a:pt x="101996" y="2666460"/>
                  <a:pt x="451695" y="3178058"/>
                  <a:pt x="892058" y="3210438"/>
                </a:cubicBezTo>
                <a:lnTo>
                  <a:pt x="892058" y="2770075"/>
                </a:lnTo>
                <a:lnTo>
                  <a:pt x="497027" y="2349140"/>
                </a:lnTo>
                <a:cubicBezTo>
                  <a:pt x="458171" y="2310285"/>
                  <a:pt x="522931" y="2252002"/>
                  <a:pt x="561786" y="2290857"/>
                </a:cubicBezTo>
                <a:lnTo>
                  <a:pt x="892058" y="2647033"/>
                </a:lnTo>
                <a:lnTo>
                  <a:pt x="892058" y="1798687"/>
                </a:lnTo>
                <a:cubicBezTo>
                  <a:pt x="885582" y="1733928"/>
                  <a:pt x="989197" y="1733928"/>
                  <a:pt x="989197" y="1798687"/>
                </a:cubicBezTo>
                <a:lnTo>
                  <a:pt x="989197" y="2206670"/>
                </a:lnTo>
                <a:lnTo>
                  <a:pt x="1319469" y="1850494"/>
                </a:lnTo>
                <a:cubicBezTo>
                  <a:pt x="1358324" y="1805163"/>
                  <a:pt x="1423084" y="1863446"/>
                  <a:pt x="1384228" y="1908778"/>
                </a:cubicBezTo>
                <a:close/>
                <a:moveTo>
                  <a:pt x="2614653" y="2679412"/>
                </a:moveTo>
                <a:lnTo>
                  <a:pt x="2757123" y="2847786"/>
                </a:lnTo>
                <a:lnTo>
                  <a:pt x="2757123" y="2323237"/>
                </a:lnTo>
                <a:cubicBezTo>
                  <a:pt x="2750648" y="2258477"/>
                  <a:pt x="2847786" y="2258477"/>
                  <a:pt x="2847786" y="2323237"/>
                </a:cubicBezTo>
                <a:lnTo>
                  <a:pt x="2847786" y="3210438"/>
                </a:lnTo>
                <a:cubicBezTo>
                  <a:pt x="3216914" y="3184534"/>
                  <a:pt x="3508330" y="2880166"/>
                  <a:pt x="3508330" y="2511038"/>
                </a:cubicBezTo>
                <a:cubicBezTo>
                  <a:pt x="3508330" y="2116007"/>
                  <a:pt x="3191010" y="1805163"/>
                  <a:pt x="2802455" y="1805163"/>
                </a:cubicBezTo>
                <a:cubicBezTo>
                  <a:pt x="2413900" y="1805163"/>
                  <a:pt x="2096579" y="2116007"/>
                  <a:pt x="2096579" y="2511038"/>
                </a:cubicBezTo>
                <a:cubicBezTo>
                  <a:pt x="2096579" y="2880166"/>
                  <a:pt x="2387996" y="3184534"/>
                  <a:pt x="2757123" y="3210438"/>
                </a:cubicBezTo>
                <a:lnTo>
                  <a:pt x="2757123" y="2983781"/>
                </a:lnTo>
                <a:lnTo>
                  <a:pt x="2549894" y="2737696"/>
                </a:lnTo>
                <a:cubicBezTo>
                  <a:pt x="2511038" y="2692364"/>
                  <a:pt x="2575798" y="2634081"/>
                  <a:pt x="2614653" y="2679412"/>
                </a:cubicBezTo>
                <a:close/>
                <a:moveTo>
                  <a:pt x="4058784" y="1487843"/>
                </a:moveTo>
                <a:lnTo>
                  <a:pt x="4453815" y="1908778"/>
                </a:lnTo>
                <a:lnTo>
                  <a:pt x="4453815" y="2951401"/>
                </a:lnTo>
                <a:cubicBezTo>
                  <a:pt x="3909837" y="2919021"/>
                  <a:pt x="3586041" y="2310285"/>
                  <a:pt x="3864506" y="1837543"/>
                </a:cubicBezTo>
                <a:cubicBezTo>
                  <a:pt x="3812699" y="1377752"/>
                  <a:pt x="3916313" y="101996"/>
                  <a:pt x="4505622" y="101996"/>
                </a:cubicBezTo>
                <a:cubicBezTo>
                  <a:pt x="5094931" y="101996"/>
                  <a:pt x="5198546" y="1377752"/>
                  <a:pt x="5146738" y="1837543"/>
                </a:cubicBezTo>
                <a:cubicBezTo>
                  <a:pt x="5418727" y="2310285"/>
                  <a:pt x="5101407" y="2919021"/>
                  <a:pt x="4550954" y="2951401"/>
                </a:cubicBezTo>
                <a:lnTo>
                  <a:pt x="4550954" y="2511038"/>
                </a:lnTo>
                <a:lnTo>
                  <a:pt x="4945985" y="2096579"/>
                </a:lnTo>
                <a:cubicBezTo>
                  <a:pt x="4984840" y="2051248"/>
                  <a:pt x="4920081" y="1992965"/>
                  <a:pt x="4881226" y="2038296"/>
                </a:cubicBezTo>
                <a:lnTo>
                  <a:pt x="4550954" y="2387996"/>
                </a:lnTo>
                <a:lnTo>
                  <a:pt x="4550954" y="1138143"/>
                </a:lnTo>
                <a:cubicBezTo>
                  <a:pt x="4550954" y="1073384"/>
                  <a:pt x="4453815" y="1073384"/>
                  <a:pt x="4453815" y="1144619"/>
                </a:cubicBezTo>
                <a:lnTo>
                  <a:pt x="4453815" y="1785735"/>
                </a:lnTo>
                <a:lnTo>
                  <a:pt x="4123543" y="1436035"/>
                </a:lnTo>
                <a:cubicBezTo>
                  <a:pt x="4084687" y="1390704"/>
                  <a:pt x="4019928" y="1448987"/>
                  <a:pt x="4058784" y="1487843"/>
                </a:cubicBezTo>
                <a:close/>
              </a:path>
            </a:pathLst>
          </a:custGeom>
          <a:solidFill>
            <a:srgbClr val="CCCCC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532" name="Group 531">
            <a:extLst>
              <a:ext uri="{FF2B5EF4-FFF2-40B4-BE49-F238E27FC236}">
                <a16:creationId xmlns:a16="http://schemas.microsoft.com/office/drawing/2014/main" id="{98281823-F31F-41DA-B2CF-CAE6D0FEF905}"/>
              </a:ext>
            </a:extLst>
          </p:cNvPr>
          <p:cNvGrpSpPr/>
          <p:nvPr/>
        </p:nvGrpSpPr>
        <p:grpSpPr>
          <a:xfrm flipH="1">
            <a:off x="3141897" y="3009124"/>
            <a:ext cx="559707" cy="437271"/>
            <a:chOff x="-1402556" y="3597116"/>
            <a:chExt cx="1219200" cy="952500"/>
          </a:xfrm>
          <a:solidFill>
            <a:srgbClr val="CCCCCC"/>
          </a:solidFill>
        </p:grpSpPr>
        <p:sp>
          <p:nvSpPr>
            <p:cNvPr id="533" name="Freeform: Shape 143">
              <a:extLst>
                <a:ext uri="{FF2B5EF4-FFF2-40B4-BE49-F238E27FC236}">
                  <a16:creationId xmlns:a16="http://schemas.microsoft.com/office/drawing/2014/main" id="{0A6C75EB-AA63-4413-859C-8EE83450D2A5}"/>
                </a:ext>
              </a:extLst>
            </p:cNvPr>
            <p:cNvSpPr/>
            <p:nvPr/>
          </p:nvSpPr>
          <p:spPr>
            <a:xfrm>
              <a:off x="-1402556" y="3879056"/>
              <a:ext cx="1219200" cy="561975"/>
            </a:xfrm>
            <a:custGeom>
              <a:avLst/>
              <a:gdLst>
                <a:gd name="connsiteX0" fmla="*/ 1197769 w 1219200"/>
                <a:gd name="connsiteY0" fmla="*/ 563404 h 561975"/>
                <a:gd name="connsiteX1" fmla="*/ 1137761 w 1219200"/>
                <a:gd name="connsiteY1" fmla="*/ 563404 h 561975"/>
                <a:gd name="connsiteX2" fmla="*/ 1118711 w 1219200"/>
                <a:gd name="connsiteY2" fmla="*/ 546259 h 561975"/>
                <a:gd name="connsiteX3" fmla="*/ 1042511 w 1219200"/>
                <a:gd name="connsiteY3" fmla="*/ 477679 h 561975"/>
                <a:gd name="connsiteX4" fmla="*/ 966311 w 1219200"/>
                <a:gd name="connsiteY4" fmla="*/ 546259 h 561975"/>
                <a:gd name="connsiteX5" fmla="*/ 947261 w 1219200"/>
                <a:gd name="connsiteY5" fmla="*/ 563404 h 561975"/>
                <a:gd name="connsiteX6" fmla="*/ 469106 w 1219200"/>
                <a:gd name="connsiteY6" fmla="*/ 563404 h 561975"/>
                <a:gd name="connsiteX7" fmla="*/ 450056 w 1219200"/>
                <a:gd name="connsiteY7" fmla="*/ 546259 h 561975"/>
                <a:gd name="connsiteX8" fmla="*/ 373856 w 1219200"/>
                <a:gd name="connsiteY8" fmla="*/ 477679 h 561975"/>
                <a:gd name="connsiteX9" fmla="*/ 297656 w 1219200"/>
                <a:gd name="connsiteY9" fmla="*/ 546259 h 561975"/>
                <a:gd name="connsiteX10" fmla="*/ 278606 w 1219200"/>
                <a:gd name="connsiteY10" fmla="*/ 563404 h 561975"/>
                <a:gd name="connsiteX11" fmla="*/ 277654 w 1219200"/>
                <a:gd name="connsiteY11" fmla="*/ 563404 h 561975"/>
                <a:gd name="connsiteX12" fmla="*/ 258604 w 1219200"/>
                <a:gd name="connsiteY12" fmla="*/ 546259 h 561975"/>
                <a:gd name="connsiteX13" fmla="*/ 182404 w 1219200"/>
                <a:gd name="connsiteY13" fmla="*/ 477679 h 561975"/>
                <a:gd name="connsiteX14" fmla="*/ 106204 w 1219200"/>
                <a:gd name="connsiteY14" fmla="*/ 546259 h 561975"/>
                <a:gd name="connsiteX15" fmla="*/ 87154 w 1219200"/>
                <a:gd name="connsiteY15" fmla="*/ 563404 h 561975"/>
                <a:gd name="connsiteX16" fmla="*/ 26194 w 1219200"/>
                <a:gd name="connsiteY16" fmla="*/ 563404 h 561975"/>
                <a:gd name="connsiteX17" fmla="*/ 7144 w 1219200"/>
                <a:gd name="connsiteY17" fmla="*/ 544354 h 561975"/>
                <a:gd name="connsiteX18" fmla="*/ 7144 w 1219200"/>
                <a:gd name="connsiteY18" fmla="*/ 374809 h 561975"/>
                <a:gd name="connsiteX19" fmla="*/ 26194 w 1219200"/>
                <a:gd name="connsiteY19" fmla="*/ 355759 h 561975"/>
                <a:gd name="connsiteX20" fmla="*/ 868204 w 1219200"/>
                <a:gd name="connsiteY20" fmla="*/ 355759 h 561975"/>
                <a:gd name="connsiteX21" fmla="*/ 868204 w 1219200"/>
                <a:gd name="connsiteY21" fmla="*/ 26194 h 561975"/>
                <a:gd name="connsiteX22" fmla="*/ 887254 w 1219200"/>
                <a:gd name="connsiteY22" fmla="*/ 7144 h 561975"/>
                <a:gd name="connsiteX23" fmla="*/ 1052036 w 1219200"/>
                <a:gd name="connsiteY23" fmla="*/ 7144 h 561975"/>
                <a:gd name="connsiteX24" fmla="*/ 1068229 w 1219200"/>
                <a:gd name="connsiteY24" fmla="*/ 15716 h 561975"/>
                <a:gd name="connsiteX25" fmla="*/ 1213009 w 1219200"/>
                <a:gd name="connsiteY25" fmla="*/ 240506 h 561975"/>
                <a:gd name="connsiteX26" fmla="*/ 1215866 w 1219200"/>
                <a:gd name="connsiteY26" fmla="*/ 250984 h 561975"/>
                <a:gd name="connsiteX27" fmla="*/ 1215866 w 1219200"/>
                <a:gd name="connsiteY27" fmla="*/ 544354 h 561975"/>
                <a:gd name="connsiteX28" fmla="*/ 1197769 w 1219200"/>
                <a:gd name="connsiteY28" fmla="*/ 563404 h 561975"/>
                <a:gd name="connsiteX29" fmla="*/ 1153954 w 1219200"/>
                <a:gd name="connsiteY29" fmla="*/ 525304 h 561975"/>
                <a:gd name="connsiteX30" fmla="*/ 1178719 w 1219200"/>
                <a:gd name="connsiteY30" fmla="*/ 525304 h 561975"/>
                <a:gd name="connsiteX31" fmla="*/ 1178719 w 1219200"/>
                <a:gd name="connsiteY31" fmla="*/ 256699 h 561975"/>
                <a:gd name="connsiteX32" fmla="*/ 1042511 w 1219200"/>
                <a:gd name="connsiteY32" fmla="*/ 45244 h 561975"/>
                <a:gd name="connsiteX33" fmla="*/ 906304 w 1219200"/>
                <a:gd name="connsiteY33" fmla="*/ 45244 h 561975"/>
                <a:gd name="connsiteX34" fmla="*/ 906304 w 1219200"/>
                <a:gd name="connsiteY34" fmla="*/ 374809 h 561975"/>
                <a:gd name="connsiteX35" fmla="*/ 887254 w 1219200"/>
                <a:gd name="connsiteY35" fmla="*/ 393859 h 561975"/>
                <a:gd name="connsiteX36" fmla="*/ 45244 w 1219200"/>
                <a:gd name="connsiteY36" fmla="*/ 393859 h 561975"/>
                <a:gd name="connsiteX37" fmla="*/ 45244 w 1219200"/>
                <a:gd name="connsiteY37" fmla="*/ 525304 h 561975"/>
                <a:gd name="connsiteX38" fmla="*/ 70961 w 1219200"/>
                <a:gd name="connsiteY38" fmla="*/ 525304 h 561975"/>
                <a:gd name="connsiteX39" fmla="*/ 182404 w 1219200"/>
                <a:gd name="connsiteY39" fmla="*/ 440531 h 561975"/>
                <a:gd name="connsiteX40" fmla="*/ 278606 w 1219200"/>
                <a:gd name="connsiteY40" fmla="*/ 491966 h 561975"/>
                <a:gd name="connsiteX41" fmla="*/ 374809 w 1219200"/>
                <a:gd name="connsiteY41" fmla="*/ 440531 h 561975"/>
                <a:gd name="connsiteX42" fmla="*/ 486251 w 1219200"/>
                <a:gd name="connsiteY42" fmla="*/ 525304 h 561975"/>
                <a:gd name="connsiteX43" fmla="*/ 932974 w 1219200"/>
                <a:gd name="connsiteY43" fmla="*/ 525304 h 561975"/>
                <a:gd name="connsiteX44" fmla="*/ 1044416 w 1219200"/>
                <a:gd name="connsiteY44" fmla="*/ 440531 h 561975"/>
                <a:gd name="connsiteX45" fmla="*/ 1153954 w 1219200"/>
                <a:gd name="connsiteY45" fmla="*/ 525304 h 561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219200" h="561975">
                  <a:moveTo>
                    <a:pt x="1197769" y="563404"/>
                  </a:moveTo>
                  <a:lnTo>
                    <a:pt x="1137761" y="563404"/>
                  </a:lnTo>
                  <a:cubicBezTo>
                    <a:pt x="1128236" y="563404"/>
                    <a:pt x="1119664" y="555784"/>
                    <a:pt x="1118711" y="546259"/>
                  </a:cubicBezTo>
                  <a:cubicBezTo>
                    <a:pt x="1113949" y="507206"/>
                    <a:pt x="1081564" y="477679"/>
                    <a:pt x="1042511" y="477679"/>
                  </a:cubicBezTo>
                  <a:cubicBezTo>
                    <a:pt x="1003459" y="477679"/>
                    <a:pt x="970121" y="507206"/>
                    <a:pt x="966311" y="546259"/>
                  </a:cubicBezTo>
                  <a:cubicBezTo>
                    <a:pt x="965359" y="555784"/>
                    <a:pt x="956786" y="563404"/>
                    <a:pt x="947261" y="563404"/>
                  </a:cubicBezTo>
                  <a:lnTo>
                    <a:pt x="469106" y="563404"/>
                  </a:lnTo>
                  <a:cubicBezTo>
                    <a:pt x="459581" y="563404"/>
                    <a:pt x="451009" y="555784"/>
                    <a:pt x="450056" y="546259"/>
                  </a:cubicBezTo>
                  <a:cubicBezTo>
                    <a:pt x="445294" y="507206"/>
                    <a:pt x="412909" y="477679"/>
                    <a:pt x="373856" y="477679"/>
                  </a:cubicBezTo>
                  <a:cubicBezTo>
                    <a:pt x="334804" y="477679"/>
                    <a:pt x="301466" y="507206"/>
                    <a:pt x="297656" y="546259"/>
                  </a:cubicBezTo>
                  <a:cubicBezTo>
                    <a:pt x="296704" y="555784"/>
                    <a:pt x="288131" y="563404"/>
                    <a:pt x="278606" y="563404"/>
                  </a:cubicBezTo>
                  <a:lnTo>
                    <a:pt x="277654" y="563404"/>
                  </a:lnTo>
                  <a:cubicBezTo>
                    <a:pt x="268129" y="563404"/>
                    <a:pt x="259556" y="555784"/>
                    <a:pt x="258604" y="546259"/>
                  </a:cubicBezTo>
                  <a:cubicBezTo>
                    <a:pt x="253841" y="507206"/>
                    <a:pt x="221456" y="477679"/>
                    <a:pt x="182404" y="477679"/>
                  </a:cubicBezTo>
                  <a:cubicBezTo>
                    <a:pt x="143351" y="477679"/>
                    <a:pt x="110014" y="507206"/>
                    <a:pt x="106204" y="546259"/>
                  </a:cubicBezTo>
                  <a:cubicBezTo>
                    <a:pt x="105251" y="555784"/>
                    <a:pt x="96679" y="563404"/>
                    <a:pt x="87154" y="563404"/>
                  </a:cubicBezTo>
                  <a:lnTo>
                    <a:pt x="26194" y="563404"/>
                  </a:lnTo>
                  <a:cubicBezTo>
                    <a:pt x="15716" y="563404"/>
                    <a:pt x="7144" y="554831"/>
                    <a:pt x="7144" y="544354"/>
                  </a:cubicBezTo>
                  <a:lnTo>
                    <a:pt x="7144" y="374809"/>
                  </a:lnTo>
                  <a:cubicBezTo>
                    <a:pt x="7144" y="364331"/>
                    <a:pt x="15716" y="355759"/>
                    <a:pt x="26194" y="355759"/>
                  </a:cubicBezTo>
                  <a:lnTo>
                    <a:pt x="868204" y="355759"/>
                  </a:lnTo>
                  <a:lnTo>
                    <a:pt x="868204" y="26194"/>
                  </a:lnTo>
                  <a:cubicBezTo>
                    <a:pt x="868204" y="15716"/>
                    <a:pt x="876776" y="7144"/>
                    <a:pt x="887254" y="7144"/>
                  </a:cubicBezTo>
                  <a:lnTo>
                    <a:pt x="1052036" y="7144"/>
                  </a:lnTo>
                  <a:cubicBezTo>
                    <a:pt x="1058704" y="7144"/>
                    <a:pt x="1064419" y="10001"/>
                    <a:pt x="1068229" y="15716"/>
                  </a:cubicBezTo>
                  <a:lnTo>
                    <a:pt x="1213009" y="240506"/>
                  </a:lnTo>
                  <a:cubicBezTo>
                    <a:pt x="1214914" y="243364"/>
                    <a:pt x="1215866" y="247174"/>
                    <a:pt x="1215866" y="250984"/>
                  </a:cubicBezTo>
                  <a:lnTo>
                    <a:pt x="1215866" y="544354"/>
                  </a:lnTo>
                  <a:cubicBezTo>
                    <a:pt x="1216819" y="554831"/>
                    <a:pt x="1208246" y="563404"/>
                    <a:pt x="1197769" y="563404"/>
                  </a:cubicBezTo>
                  <a:close/>
                  <a:moveTo>
                    <a:pt x="1153954" y="525304"/>
                  </a:moveTo>
                  <a:lnTo>
                    <a:pt x="1178719" y="525304"/>
                  </a:lnTo>
                  <a:lnTo>
                    <a:pt x="1178719" y="256699"/>
                  </a:lnTo>
                  <a:lnTo>
                    <a:pt x="1042511" y="45244"/>
                  </a:lnTo>
                  <a:lnTo>
                    <a:pt x="906304" y="45244"/>
                  </a:lnTo>
                  <a:lnTo>
                    <a:pt x="906304" y="374809"/>
                  </a:lnTo>
                  <a:cubicBezTo>
                    <a:pt x="906304" y="385286"/>
                    <a:pt x="897731" y="393859"/>
                    <a:pt x="887254" y="393859"/>
                  </a:cubicBezTo>
                  <a:lnTo>
                    <a:pt x="45244" y="393859"/>
                  </a:lnTo>
                  <a:lnTo>
                    <a:pt x="45244" y="525304"/>
                  </a:lnTo>
                  <a:lnTo>
                    <a:pt x="70961" y="525304"/>
                  </a:lnTo>
                  <a:cubicBezTo>
                    <a:pt x="84296" y="475774"/>
                    <a:pt x="129064" y="440531"/>
                    <a:pt x="182404" y="440531"/>
                  </a:cubicBezTo>
                  <a:cubicBezTo>
                    <a:pt x="222409" y="440531"/>
                    <a:pt x="257651" y="460534"/>
                    <a:pt x="278606" y="491966"/>
                  </a:cubicBezTo>
                  <a:cubicBezTo>
                    <a:pt x="299561" y="460534"/>
                    <a:pt x="334804" y="440531"/>
                    <a:pt x="374809" y="440531"/>
                  </a:cubicBezTo>
                  <a:cubicBezTo>
                    <a:pt x="427196" y="440531"/>
                    <a:pt x="472916" y="475774"/>
                    <a:pt x="486251" y="525304"/>
                  </a:cubicBezTo>
                  <a:lnTo>
                    <a:pt x="932974" y="525304"/>
                  </a:lnTo>
                  <a:cubicBezTo>
                    <a:pt x="946309" y="475774"/>
                    <a:pt x="991076" y="440531"/>
                    <a:pt x="1044416" y="440531"/>
                  </a:cubicBezTo>
                  <a:cubicBezTo>
                    <a:pt x="1094899" y="439579"/>
                    <a:pt x="1140619" y="475774"/>
                    <a:pt x="1153954" y="52530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4" name="Freeform: Shape 144">
              <a:extLst>
                <a:ext uri="{FF2B5EF4-FFF2-40B4-BE49-F238E27FC236}">
                  <a16:creationId xmlns:a16="http://schemas.microsoft.com/office/drawing/2014/main" id="{035B8035-79FD-4010-9F70-A620E281ECF7}"/>
                </a:ext>
              </a:extLst>
            </p:cNvPr>
            <p:cNvSpPr/>
            <p:nvPr/>
          </p:nvSpPr>
          <p:spPr>
            <a:xfrm>
              <a:off x="-475774" y="3944779"/>
              <a:ext cx="209550" cy="190500"/>
            </a:xfrm>
            <a:custGeom>
              <a:avLst/>
              <a:gdLst>
                <a:gd name="connsiteX0" fmla="*/ 199549 w 209550"/>
                <a:gd name="connsiteY0" fmla="*/ 188119 h 190500"/>
                <a:gd name="connsiteX1" fmla="*/ 16669 w 209550"/>
                <a:gd name="connsiteY1" fmla="*/ 188119 h 190500"/>
                <a:gd name="connsiteX2" fmla="*/ 7144 w 209550"/>
                <a:gd name="connsiteY2" fmla="*/ 178594 h 190500"/>
                <a:gd name="connsiteX3" fmla="*/ 7144 w 209550"/>
                <a:gd name="connsiteY3" fmla="*/ 16669 h 190500"/>
                <a:gd name="connsiteX4" fmla="*/ 16669 w 209550"/>
                <a:gd name="connsiteY4" fmla="*/ 7144 h 190500"/>
                <a:gd name="connsiteX5" fmla="*/ 95726 w 209550"/>
                <a:gd name="connsiteY5" fmla="*/ 7144 h 190500"/>
                <a:gd name="connsiteX6" fmla="*/ 103346 w 209550"/>
                <a:gd name="connsiteY6" fmla="*/ 11906 h 190500"/>
                <a:gd name="connsiteX7" fmla="*/ 208121 w 209550"/>
                <a:gd name="connsiteY7" fmla="*/ 173831 h 190500"/>
                <a:gd name="connsiteX8" fmla="*/ 208121 w 209550"/>
                <a:gd name="connsiteY8" fmla="*/ 183356 h 190500"/>
                <a:gd name="connsiteX9" fmla="*/ 199549 w 209550"/>
                <a:gd name="connsiteY9" fmla="*/ 188119 h 190500"/>
                <a:gd name="connsiteX10" fmla="*/ 26194 w 209550"/>
                <a:gd name="connsiteY10" fmla="*/ 169069 h 190500"/>
                <a:gd name="connsiteX11" fmla="*/ 182404 w 209550"/>
                <a:gd name="connsiteY11" fmla="*/ 169069 h 190500"/>
                <a:gd name="connsiteX12" fmla="*/ 90011 w 209550"/>
                <a:gd name="connsiteY12" fmla="*/ 26194 h 190500"/>
                <a:gd name="connsiteX13" fmla="*/ 26194 w 209550"/>
                <a:gd name="connsiteY13" fmla="*/ 26194 h 190500"/>
                <a:gd name="connsiteX14" fmla="*/ 26194 w 209550"/>
                <a:gd name="connsiteY14" fmla="*/ 169069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9550" h="190500">
                  <a:moveTo>
                    <a:pt x="199549" y="188119"/>
                  </a:moveTo>
                  <a:lnTo>
                    <a:pt x="16669" y="188119"/>
                  </a:lnTo>
                  <a:cubicBezTo>
                    <a:pt x="10954" y="188119"/>
                    <a:pt x="7144" y="184309"/>
                    <a:pt x="7144" y="178594"/>
                  </a:cubicBezTo>
                  <a:lnTo>
                    <a:pt x="7144" y="16669"/>
                  </a:lnTo>
                  <a:cubicBezTo>
                    <a:pt x="7144" y="10954"/>
                    <a:pt x="10954" y="7144"/>
                    <a:pt x="16669" y="7144"/>
                  </a:cubicBezTo>
                  <a:lnTo>
                    <a:pt x="95726" y="7144"/>
                  </a:lnTo>
                  <a:cubicBezTo>
                    <a:pt x="98584" y="7144"/>
                    <a:pt x="102394" y="9049"/>
                    <a:pt x="103346" y="11906"/>
                  </a:cubicBezTo>
                  <a:lnTo>
                    <a:pt x="208121" y="173831"/>
                  </a:lnTo>
                  <a:cubicBezTo>
                    <a:pt x="210026" y="176689"/>
                    <a:pt x="210026" y="180499"/>
                    <a:pt x="208121" y="183356"/>
                  </a:cubicBezTo>
                  <a:cubicBezTo>
                    <a:pt x="206216" y="186214"/>
                    <a:pt x="203359" y="188119"/>
                    <a:pt x="199549" y="188119"/>
                  </a:cubicBezTo>
                  <a:close/>
                  <a:moveTo>
                    <a:pt x="26194" y="169069"/>
                  </a:moveTo>
                  <a:lnTo>
                    <a:pt x="182404" y="169069"/>
                  </a:lnTo>
                  <a:lnTo>
                    <a:pt x="90011" y="26194"/>
                  </a:lnTo>
                  <a:lnTo>
                    <a:pt x="26194" y="26194"/>
                  </a:lnTo>
                  <a:lnTo>
                    <a:pt x="26194" y="16906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5" name="Freeform: Shape 145">
              <a:extLst>
                <a:ext uri="{FF2B5EF4-FFF2-40B4-BE49-F238E27FC236}">
                  <a16:creationId xmlns:a16="http://schemas.microsoft.com/office/drawing/2014/main" id="{3EF2B20E-6B13-4AAA-BC7D-AD02D4ED264C}"/>
                </a:ext>
              </a:extLst>
            </p:cNvPr>
            <p:cNvSpPr/>
            <p:nvPr/>
          </p:nvSpPr>
          <p:spPr>
            <a:xfrm>
              <a:off x="-1402556" y="3775234"/>
              <a:ext cx="904875" cy="504825"/>
            </a:xfrm>
            <a:custGeom>
              <a:avLst/>
              <a:gdLst>
                <a:gd name="connsiteX0" fmla="*/ 887254 w 904875"/>
                <a:gd name="connsiteY0" fmla="*/ 497681 h 504825"/>
                <a:gd name="connsiteX1" fmla="*/ 26194 w 904875"/>
                <a:gd name="connsiteY1" fmla="*/ 497681 h 504825"/>
                <a:gd name="connsiteX2" fmla="*/ 7144 w 904875"/>
                <a:gd name="connsiteY2" fmla="*/ 478631 h 504825"/>
                <a:gd name="connsiteX3" fmla="*/ 7144 w 904875"/>
                <a:gd name="connsiteY3" fmla="*/ 26194 h 504825"/>
                <a:gd name="connsiteX4" fmla="*/ 26194 w 904875"/>
                <a:gd name="connsiteY4" fmla="*/ 7144 h 504825"/>
                <a:gd name="connsiteX5" fmla="*/ 887254 w 904875"/>
                <a:gd name="connsiteY5" fmla="*/ 7144 h 504825"/>
                <a:gd name="connsiteX6" fmla="*/ 906304 w 904875"/>
                <a:gd name="connsiteY6" fmla="*/ 26194 h 504825"/>
                <a:gd name="connsiteX7" fmla="*/ 906304 w 904875"/>
                <a:gd name="connsiteY7" fmla="*/ 478631 h 504825"/>
                <a:gd name="connsiteX8" fmla="*/ 887254 w 904875"/>
                <a:gd name="connsiteY8" fmla="*/ 497681 h 504825"/>
                <a:gd name="connsiteX9" fmla="*/ 45244 w 904875"/>
                <a:gd name="connsiteY9" fmla="*/ 459581 h 504825"/>
                <a:gd name="connsiteX10" fmla="*/ 868204 w 904875"/>
                <a:gd name="connsiteY10" fmla="*/ 459581 h 504825"/>
                <a:gd name="connsiteX11" fmla="*/ 868204 w 904875"/>
                <a:gd name="connsiteY11" fmla="*/ 45244 h 504825"/>
                <a:gd name="connsiteX12" fmla="*/ 45244 w 904875"/>
                <a:gd name="connsiteY12" fmla="*/ 45244 h 504825"/>
                <a:gd name="connsiteX13" fmla="*/ 45244 w 904875"/>
                <a:gd name="connsiteY13" fmla="*/ 459581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04875" h="504825">
                  <a:moveTo>
                    <a:pt x="887254" y="497681"/>
                  </a:moveTo>
                  <a:lnTo>
                    <a:pt x="26194" y="497681"/>
                  </a:lnTo>
                  <a:cubicBezTo>
                    <a:pt x="15716" y="497681"/>
                    <a:pt x="7144" y="489109"/>
                    <a:pt x="7144" y="478631"/>
                  </a:cubicBezTo>
                  <a:lnTo>
                    <a:pt x="7144" y="26194"/>
                  </a:lnTo>
                  <a:cubicBezTo>
                    <a:pt x="7144" y="15716"/>
                    <a:pt x="15716" y="7144"/>
                    <a:pt x="26194" y="7144"/>
                  </a:cubicBezTo>
                  <a:lnTo>
                    <a:pt x="887254" y="7144"/>
                  </a:lnTo>
                  <a:cubicBezTo>
                    <a:pt x="897731" y="7144"/>
                    <a:pt x="906304" y="15716"/>
                    <a:pt x="906304" y="26194"/>
                  </a:cubicBezTo>
                  <a:lnTo>
                    <a:pt x="906304" y="478631"/>
                  </a:lnTo>
                  <a:cubicBezTo>
                    <a:pt x="906304" y="489109"/>
                    <a:pt x="897731" y="497681"/>
                    <a:pt x="887254" y="497681"/>
                  </a:cubicBezTo>
                  <a:close/>
                  <a:moveTo>
                    <a:pt x="45244" y="459581"/>
                  </a:moveTo>
                  <a:lnTo>
                    <a:pt x="868204" y="459581"/>
                  </a:lnTo>
                  <a:lnTo>
                    <a:pt x="868204" y="45244"/>
                  </a:lnTo>
                  <a:lnTo>
                    <a:pt x="45244" y="45244"/>
                  </a:lnTo>
                  <a:lnTo>
                    <a:pt x="45244" y="45958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6" name="Freeform: Shape 146">
              <a:extLst>
                <a:ext uri="{FF2B5EF4-FFF2-40B4-BE49-F238E27FC236}">
                  <a16:creationId xmlns:a16="http://schemas.microsoft.com/office/drawing/2014/main" id="{CACFD6C9-B46E-41D9-919D-F4324184A7B2}"/>
                </a:ext>
              </a:extLst>
            </p:cNvPr>
            <p:cNvSpPr/>
            <p:nvPr/>
          </p:nvSpPr>
          <p:spPr>
            <a:xfrm>
              <a:off x="-482441" y="4311491"/>
              <a:ext cx="238125" cy="238125"/>
            </a:xfrm>
            <a:custGeom>
              <a:avLst/>
              <a:gdLst>
                <a:gd name="connsiteX0" fmla="*/ 122396 w 238125"/>
                <a:gd name="connsiteY0" fmla="*/ 237649 h 238125"/>
                <a:gd name="connsiteX1" fmla="*/ 7144 w 238125"/>
                <a:gd name="connsiteY1" fmla="*/ 122396 h 238125"/>
                <a:gd name="connsiteX2" fmla="*/ 8096 w 238125"/>
                <a:gd name="connsiteY2" fmla="*/ 109061 h 238125"/>
                <a:gd name="connsiteX3" fmla="*/ 122396 w 238125"/>
                <a:gd name="connsiteY3" fmla="*/ 7144 h 238125"/>
                <a:gd name="connsiteX4" fmla="*/ 236696 w 238125"/>
                <a:gd name="connsiteY4" fmla="*/ 109061 h 238125"/>
                <a:gd name="connsiteX5" fmla="*/ 237649 w 238125"/>
                <a:gd name="connsiteY5" fmla="*/ 122396 h 238125"/>
                <a:gd name="connsiteX6" fmla="*/ 122396 w 238125"/>
                <a:gd name="connsiteY6" fmla="*/ 237649 h 238125"/>
                <a:gd name="connsiteX7" fmla="*/ 122396 w 238125"/>
                <a:gd name="connsiteY7" fmla="*/ 45244 h 238125"/>
                <a:gd name="connsiteX8" fmla="*/ 46196 w 238125"/>
                <a:gd name="connsiteY8" fmla="*/ 113824 h 238125"/>
                <a:gd name="connsiteX9" fmla="*/ 45244 w 238125"/>
                <a:gd name="connsiteY9" fmla="*/ 122396 h 238125"/>
                <a:gd name="connsiteX10" fmla="*/ 122396 w 238125"/>
                <a:gd name="connsiteY10" fmla="*/ 199549 h 238125"/>
                <a:gd name="connsiteX11" fmla="*/ 199549 w 238125"/>
                <a:gd name="connsiteY11" fmla="*/ 122396 h 238125"/>
                <a:gd name="connsiteX12" fmla="*/ 198596 w 238125"/>
                <a:gd name="connsiteY12" fmla="*/ 113824 h 238125"/>
                <a:gd name="connsiteX13" fmla="*/ 122396 w 238125"/>
                <a:gd name="connsiteY13" fmla="*/ 452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8125" h="238125">
                  <a:moveTo>
                    <a:pt x="122396" y="237649"/>
                  </a:moveTo>
                  <a:cubicBezTo>
                    <a:pt x="58579" y="237649"/>
                    <a:pt x="7144" y="186214"/>
                    <a:pt x="7144" y="122396"/>
                  </a:cubicBezTo>
                  <a:cubicBezTo>
                    <a:pt x="7144" y="118586"/>
                    <a:pt x="7144" y="113824"/>
                    <a:pt x="8096" y="109061"/>
                  </a:cubicBezTo>
                  <a:cubicBezTo>
                    <a:pt x="14764" y="50959"/>
                    <a:pt x="63341" y="7144"/>
                    <a:pt x="122396" y="7144"/>
                  </a:cubicBezTo>
                  <a:cubicBezTo>
                    <a:pt x="180499" y="7144"/>
                    <a:pt x="230029" y="50959"/>
                    <a:pt x="236696" y="109061"/>
                  </a:cubicBezTo>
                  <a:cubicBezTo>
                    <a:pt x="237649" y="113824"/>
                    <a:pt x="237649" y="117634"/>
                    <a:pt x="237649" y="122396"/>
                  </a:cubicBezTo>
                  <a:cubicBezTo>
                    <a:pt x="237649" y="186214"/>
                    <a:pt x="186214" y="237649"/>
                    <a:pt x="122396" y="237649"/>
                  </a:cubicBezTo>
                  <a:close/>
                  <a:moveTo>
                    <a:pt x="122396" y="45244"/>
                  </a:moveTo>
                  <a:cubicBezTo>
                    <a:pt x="83344" y="45244"/>
                    <a:pt x="50006" y="74771"/>
                    <a:pt x="46196" y="113824"/>
                  </a:cubicBezTo>
                  <a:cubicBezTo>
                    <a:pt x="46196" y="116681"/>
                    <a:pt x="45244" y="119539"/>
                    <a:pt x="45244" y="122396"/>
                  </a:cubicBezTo>
                  <a:cubicBezTo>
                    <a:pt x="45244" y="165259"/>
                    <a:pt x="79534" y="199549"/>
                    <a:pt x="122396" y="199549"/>
                  </a:cubicBezTo>
                  <a:cubicBezTo>
                    <a:pt x="165259" y="199549"/>
                    <a:pt x="199549" y="165259"/>
                    <a:pt x="199549" y="122396"/>
                  </a:cubicBezTo>
                  <a:cubicBezTo>
                    <a:pt x="199549" y="119539"/>
                    <a:pt x="199549" y="116681"/>
                    <a:pt x="198596" y="113824"/>
                  </a:cubicBezTo>
                  <a:cubicBezTo>
                    <a:pt x="194786" y="74771"/>
                    <a:pt x="161449" y="45244"/>
                    <a:pt x="122396" y="4524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7" name="Freeform: Shape 147">
              <a:extLst>
                <a:ext uri="{FF2B5EF4-FFF2-40B4-BE49-F238E27FC236}">
                  <a16:creationId xmlns:a16="http://schemas.microsoft.com/office/drawing/2014/main" id="{FE3D8405-5286-4903-AAEE-B6C7372D64A8}"/>
                </a:ext>
              </a:extLst>
            </p:cNvPr>
            <p:cNvSpPr/>
            <p:nvPr/>
          </p:nvSpPr>
          <p:spPr>
            <a:xfrm>
              <a:off x="-415766" y="4378166"/>
              <a:ext cx="104775" cy="104775"/>
            </a:xfrm>
            <a:custGeom>
              <a:avLst/>
              <a:gdLst>
                <a:gd name="connsiteX0" fmla="*/ 55721 w 104775"/>
                <a:gd name="connsiteY0" fmla="*/ 104299 h 104775"/>
                <a:gd name="connsiteX1" fmla="*/ 7144 w 104775"/>
                <a:gd name="connsiteY1" fmla="*/ 55721 h 104775"/>
                <a:gd name="connsiteX2" fmla="*/ 7144 w 104775"/>
                <a:gd name="connsiteY2" fmla="*/ 50006 h 104775"/>
                <a:gd name="connsiteX3" fmla="*/ 54769 w 104775"/>
                <a:gd name="connsiteY3" fmla="*/ 7144 h 104775"/>
                <a:gd name="connsiteX4" fmla="*/ 102394 w 104775"/>
                <a:gd name="connsiteY4" fmla="*/ 50006 h 104775"/>
                <a:gd name="connsiteX5" fmla="*/ 102394 w 104775"/>
                <a:gd name="connsiteY5" fmla="*/ 55721 h 104775"/>
                <a:gd name="connsiteX6" fmla="*/ 55721 w 104775"/>
                <a:gd name="connsiteY6" fmla="*/ 104299 h 104775"/>
                <a:gd name="connsiteX7" fmla="*/ 55721 w 104775"/>
                <a:gd name="connsiteY7" fmla="*/ 26194 h 104775"/>
                <a:gd name="connsiteX8" fmla="*/ 27146 w 104775"/>
                <a:gd name="connsiteY8" fmla="*/ 51911 h 104775"/>
                <a:gd name="connsiteX9" fmla="*/ 27146 w 104775"/>
                <a:gd name="connsiteY9" fmla="*/ 55721 h 104775"/>
                <a:gd name="connsiteX10" fmla="*/ 56674 w 104775"/>
                <a:gd name="connsiteY10" fmla="*/ 85249 h 104775"/>
                <a:gd name="connsiteX11" fmla="*/ 86201 w 104775"/>
                <a:gd name="connsiteY11" fmla="*/ 55721 h 104775"/>
                <a:gd name="connsiteX12" fmla="*/ 86201 w 104775"/>
                <a:gd name="connsiteY12" fmla="*/ 51911 h 104775"/>
                <a:gd name="connsiteX13" fmla="*/ 55721 w 104775"/>
                <a:gd name="connsiteY13" fmla="*/ 26194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775" h="104775">
                  <a:moveTo>
                    <a:pt x="55721" y="104299"/>
                  </a:moveTo>
                  <a:cubicBezTo>
                    <a:pt x="29051" y="104299"/>
                    <a:pt x="7144" y="82391"/>
                    <a:pt x="7144" y="55721"/>
                  </a:cubicBezTo>
                  <a:cubicBezTo>
                    <a:pt x="7144" y="53816"/>
                    <a:pt x="7144" y="51911"/>
                    <a:pt x="7144" y="50006"/>
                  </a:cubicBezTo>
                  <a:cubicBezTo>
                    <a:pt x="10001" y="25241"/>
                    <a:pt x="30956" y="7144"/>
                    <a:pt x="54769" y="7144"/>
                  </a:cubicBezTo>
                  <a:cubicBezTo>
                    <a:pt x="79534" y="7144"/>
                    <a:pt x="99536" y="25241"/>
                    <a:pt x="102394" y="50006"/>
                  </a:cubicBezTo>
                  <a:cubicBezTo>
                    <a:pt x="102394" y="51911"/>
                    <a:pt x="102394" y="53816"/>
                    <a:pt x="102394" y="55721"/>
                  </a:cubicBezTo>
                  <a:cubicBezTo>
                    <a:pt x="104299" y="82391"/>
                    <a:pt x="82391" y="104299"/>
                    <a:pt x="55721" y="104299"/>
                  </a:cubicBezTo>
                  <a:close/>
                  <a:moveTo>
                    <a:pt x="55721" y="26194"/>
                  </a:moveTo>
                  <a:cubicBezTo>
                    <a:pt x="40481" y="26194"/>
                    <a:pt x="28099" y="37624"/>
                    <a:pt x="27146" y="51911"/>
                  </a:cubicBezTo>
                  <a:cubicBezTo>
                    <a:pt x="27146" y="52864"/>
                    <a:pt x="27146" y="53816"/>
                    <a:pt x="27146" y="55721"/>
                  </a:cubicBezTo>
                  <a:cubicBezTo>
                    <a:pt x="27146" y="71914"/>
                    <a:pt x="40481" y="85249"/>
                    <a:pt x="56674" y="85249"/>
                  </a:cubicBezTo>
                  <a:cubicBezTo>
                    <a:pt x="72866" y="85249"/>
                    <a:pt x="86201" y="71914"/>
                    <a:pt x="86201" y="55721"/>
                  </a:cubicBezTo>
                  <a:cubicBezTo>
                    <a:pt x="86201" y="54769"/>
                    <a:pt x="86201" y="53816"/>
                    <a:pt x="86201" y="51911"/>
                  </a:cubicBezTo>
                  <a:cubicBezTo>
                    <a:pt x="83344" y="37624"/>
                    <a:pt x="70961" y="26194"/>
                    <a:pt x="55721" y="2619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8" name="Freeform: Shape 148">
              <a:extLst>
                <a:ext uri="{FF2B5EF4-FFF2-40B4-BE49-F238E27FC236}">
                  <a16:creationId xmlns:a16="http://schemas.microsoft.com/office/drawing/2014/main" id="{C3AE5245-FC9C-42EE-9039-FB4084CDE63E}"/>
                </a:ext>
              </a:extLst>
            </p:cNvPr>
            <p:cNvSpPr/>
            <p:nvPr/>
          </p:nvSpPr>
          <p:spPr>
            <a:xfrm>
              <a:off x="-1343501" y="4311491"/>
              <a:ext cx="238125" cy="238125"/>
            </a:xfrm>
            <a:custGeom>
              <a:avLst/>
              <a:gdLst>
                <a:gd name="connsiteX0" fmla="*/ 122396 w 238125"/>
                <a:gd name="connsiteY0" fmla="*/ 237649 h 238125"/>
                <a:gd name="connsiteX1" fmla="*/ 7144 w 238125"/>
                <a:gd name="connsiteY1" fmla="*/ 122396 h 238125"/>
                <a:gd name="connsiteX2" fmla="*/ 8096 w 238125"/>
                <a:gd name="connsiteY2" fmla="*/ 109061 h 238125"/>
                <a:gd name="connsiteX3" fmla="*/ 122396 w 238125"/>
                <a:gd name="connsiteY3" fmla="*/ 7144 h 238125"/>
                <a:gd name="connsiteX4" fmla="*/ 236696 w 238125"/>
                <a:gd name="connsiteY4" fmla="*/ 109061 h 238125"/>
                <a:gd name="connsiteX5" fmla="*/ 237649 w 238125"/>
                <a:gd name="connsiteY5" fmla="*/ 122396 h 238125"/>
                <a:gd name="connsiteX6" fmla="*/ 122396 w 238125"/>
                <a:gd name="connsiteY6" fmla="*/ 237649 h 238125"/>
                <a:gd name="connsiteX7" fmla="*/ 122396 w 238125"/>
                <a:gd name="connsiteY7" fmla="*/ 45244 h 238125"/>
                <a:gd name="connsiteX8" fmla="*/ 46196 w 238125"/>
                <a:gd name="connsiteY8" fmla="*/ 113824 h 238125"/>
                <a:gd name="connsiteX9" fmla="*/ 45244 w 238125"/>
                <a:gd name="connsiteY9" fmla="*/ 122396 h 238125"/>
                <a:gd name="connsiteX10" fmla="*/ 122396 w 238125"/>
                <a:gd name="connsiteY10" fmla="*/ 199549 h 238125"/>
                <a:gd name="connsiteX11" fmla="*/ 199549 w 238125"/>
                <a:gd name="connsiteY11" fmla="*/ 122396 h 238125"/>
                <a:gd name="connsiteX12" fmla="*/ 198596 w 238125"/>
                <a:gd name="connsiteY12" fmla="*/ 113824 h 238125"/>
                <a:gd name="connsiteX13" fmla="*/ 122396 w 238125"/>
                <a:gd name="connsiteY13" fmla="*/ 452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8125" h="238125">
                  <a:moveTo>
                    <a:pt x="122396" y="237649"/>
                  </a:moveTo>
                  <a:cubicBezTo>
                    <a:pt x="58579" y="237649"/>
                    <a:pt x="7144" y="186214"/>
                    <a:pt x="7144" y="122396"/>
                  </a:cubicBezTo>
                  <a:cubicBezTo>
                    <a:pt x="7144" y="118586"/>
                    <a:pt x="7144" y="113824"/>
                    <a:pt x="8096" y="109061"/>
                  </a:cubicBezTo>
                  <a:cubicBezTo>
                    <a:pt x="14764" y="50959"/>
                    <a:pt x="63341" y="7144"/>
                    <a:pt x="122396" y="7144"/>
                  </a:cubicBezTo>
                  <a:cubicBezTo>
                    <a:pt x="180499" y="7144"/>
                    <a:pt x="230029" y="50959"/>
                    <a:pt x="236696" y="109061"/>
                  </a:cubicBezTo>
                  <a:cubicBezTo>
                    <a:pt x="237649" y="113824"/>
                    <a:pt x="237649" y="117634"/>
                    <a:pt x="237649" y="122396"/>
                  </a:cubicBezTo>
                  <a:cubicBezTo>
                    <a:pt x="237649" y="186214"/>
                    <a:pt x="186214" y="237649"/>
                    <a:pt x="122396" y="237649"/>
                  </a:cubicBezTo>
                  <a:close/>
                  <a:moveTo>
                    <a:pt x="122396" y="45244"/>
                  </a:moveTo>
                  <a:cubicBezTo>
                    <a:pt x="83344" y="45244"/>
                    <a:pt x="50006" y="74771"/>
                    <a:pt x="46196" y="113824"/>
                  </a:cubicBezTo>
                  <a:cubicBezTo>
                    <a:pt x="46196" y="116681"/>
                    <a:pt x="45244" y="119539"/>
                    <a:pt x="45244" y="122396"/>
                  </a:cubicBezTo>
                  <a:cubicBezTo>
                    <a:pt x="45244" y="165259"/>
                    <a:pt x="79534" y="199549"/>
                    <a:pt x="122396" y="199549"/>
                  </a:cubicBezTo>
                  <a:cubicBezTo>
                    <a:pt x="165259" y="199549"/>
                    <a:pt x="199549" y="165259"/>
                    <a:pt x="199549" y="122396"/>
                  </a:cubicBezTo>
                  <a:cubicBezTo>
                    <a:pt x="199549" y="119539"/>
                    <a:pt x="199549" y="116681"/>
                    <a:pt x="198596" y="113824"/>
                  </a:cubicBezTo>
                  <a:cubicBezTo>
                    <a:pt x="194786" y="74771"/>
                    <a:pt x="161449" y="45244"/>
                    <a:pt x="122396" y="4524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9" name="Freeform: Shape 149">
              <a:extLst>
                <a:ext uri="{FF2B5EF4-FFF2-40B4-BE49-F238E27FC236}">
                  <a16:creationId xmlns:a16="http://schemas.microsoft.com/office/drawing/2014/main" id="{BD31B175-9F59-45FB-BE83-F5AE3C67E8D2}"/>
                </a:ext>
              </a:extLst>
            </p:cNvPr>
            <p:cNvSpPr/>
            <p:nvPr/>
          </p:nvSpPr>
          <p:spPr>
            <a:xfrm>
              <a:off x="-1276826" y="4378166"/>
              <a:ext cx="104775" cy="104775"/>
            </a:xfrm>
            <a:custGeom>
              <a:avLst/>
              <a:gdLst>
                <a:gd name="connsiteX0" fmla="*/ 55721 w 104775"/>
                <a:gd name="connsiteY0" fmla="*/ 104299 h 104775"/>
                <a:gd name="connsiteX1" fmla="*/ 7144 w 104775"/>
                <a:gd name="connsiteY1" fmla="*/ 55721 h 104775"/>
                <a:gd name="connsiteX2" fmla="*/ 7144 w 104775"/>
                <a:gd name="connsiteY2" fmla="*/ 50006 h 104775"/>
                <a:gd name="connsiteX3" fmla="*/ 54769 w 104775"/>
                <a:gd name="connsiteY3" fmla="*/ 7144 h 104775"/>
                <a:gd name="connsiteX4" fmla="*/ 102394 w 104775"/>
                <a:gd name="connsiteY4" fmla="*/ 50006 h 104775"/>
                <a:gd name="connsiteX5" fmla="*/ 102394 w 104775"/>
                <a:gd name="connsiteY5" fmla="*/ 55721 h 104775"/>
                <a:gd name="connsiteX6" fmla="*/ 55721 w 104775"/>
                <a:gd name="connsiteY6" fmla="*/ 104299 h 104775"/>
                <a:gd name="connsiteX7" fmla="*/ 55721 w 104775"/>
                <a:gd name="connsiteY7" fmla="*/ 26194 h 104775"/>
                <a:gd name="connsiteX8" fmla="*/ 27146 w 104775"/>
                <a:gd name="connsiteY8" fmla="*/ 51911 h 104775"/>
                <a:gd name="connsiteX9" fmla="*/ 27146 w 104775"/>
                <a:gd name="connsiteY9" fmla="*/ 55721 h 104775"/>
                <a:gd name="connsiteX10" fmla="*/ 56674 w 104775"/>
                <a:gd name="connsiteY10" fmla="*/ 85249 h 104775"/>
                <a:gd name="connsiteX11" fmla="*/ 86201 w 104775"/>
                <a:gd name="connsiteY11" fmla="*/ 55721 h 104775"/>
                <a:gd name="connsiteX12" fmla="*/ 86201 w 104775"/>
                <a:gd name="connsiteY12" fmla="*/ 51911 h 104775"/>
                <a:gd name="connsiteX13" fmla="*/ 55721 w 104775"/>
                <a:gd name="connsiteY13" fmla="*/ 26194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775" h="104775">
                  <a:moveTo>
                    <a:pt x="55721" y="104299"/>
                  </a:moveTo>
                  <a:cubicBezTo>
                    <a:pt x="29051" y="104299"/>
                    <a:pt x="7144" y="82391"/>
                    <a:pt x="7144" y="55721"/>
                  </a:cubicBezTo>
                  <a:cubicBezTo>
                    <a:pt x="7144" y="53816"/>
                    <a:pt x="7144" y="51911"/>
                    <a:pt x="7144" y="50006"/>
                  </a:cubicBezTo>
                  <a:cubicBezTo>
                    <a:pt x="10001" y="25241"/>
                    <a:pt x="30956" y="7144"/>
                    <a:pt x="54769" y="7144"/>
                  </a:cubicBezTo>
                  <a:cubicBezTo>
                    <a:pt x="79534" y="7144"/>
                    <a:pt x="99536" y="25241"/>
                    <a:pt x="102394" y="50006"/>
                  </a:cubicBezTo>
                  <a:cubicBezTo>
                    <a:pt x="102394" y="51911"/>
                    <a:pt x="102394" y="53816"/>
                    <a:pt x="102394" y="55721"/>
                  </a:cubicBezTo>
                  <a:cubicBezTo>
                    <a:pt x="104299" y="82391"/>
                    <a:pt x="82391" y="104299"/>
                    <a:pt x="55721" y="104299"/>
                  </a:cubicBezTo>
                  <a:close/>
                  <a:moveTo>
                    <a:pt x="55721" y="26194"/>
                  </a:moveTo>
                  <a:cubicBezTo>
                    <a:pt x="40481" y="26194"/>
                    <a:pt x="28099" y="37624"/>
                    <a:pt x="27146" y="51911"/>
                  </a:cubicBezTo>
                  <a:cubicBezTo>
                    <a:pt x="27146" y="52864"/>
                    <a:pt x="27146" y="53816"/>
                    <a:pt x="27146" y="55721"/>
                  </a:cubicBezTo>
                  <a:cubicBezTo>
                    <a:pt x="27146" y="71914"/>
                    <a:pt x="40481" y="85249"/>
                    <a:pt x="56674" y="85249"/>
                  </a:cubicBezTo>
                  <a:cubicBezTo>
                    <a:pt x="72866" y="85249"/>
                    <a:pt x="86201" y="71914"/>
                    <a:pt x="86201" y="55721"/>
                  </a:cubicBezTo>
                  <a:cubicBezTo>
                    <a:pt x="86201" y="54769"/>
                    <a:pt x="86201" y="53816"/>
                    <a:pt x="86201" y="51911"/>
                  </a:cubicBezTo>
                  <a:cubicBezTo>
                    <a:pt x="83344" y="37624"/>
                    <a:pt x="70961" y="26194"/>
                    <a:pt x="55721" y="2619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0" name="Freeform: Shape 150">
              <a:extLst>
                <a:ext uri="{FF2B5EF4-FFF2-40B4-BE49-F238E27FC236}">
                  <a16:creationId xmlns:a16="http://schemas.microsoft.com/office/drawing/2014/main" id="{2593724A-EBFA-4B96-8EF7-0AD2808B18FB}"/>
                </a:ext>
              </a:extLst>
            </p:cNvPr>
            <p:cNvSpPr/>
            <p:nvPr/>
          </p:nvSpPr>
          <p:spPr>
            <a:xfrm>
              <a:off x="-1151096" y="4311491"/>
              <a:ext cx="238125" cy="238125"/>
            </a:xfrm>
            <a:custGeom>
              <a:avLst/>
              <a:gdLst>
                <a:gd name="connsiteX0" fmla="*/ 122396 w 238125"/>
                <a:gd name="connsiteY0" fmla="*/ 237649 h 238125"/>
                <a:gd name="connsiteX1" fmla="*/ 7144 w 238125"/>
                <a:gd name="connsiteY1" fmla="*/ 122396 h 238125"/>
                <a:gd name="connsiteX2" fmla="*/ 8096 w 238125"/>
                <a:gd name="connsiteY2" fmla="*/ 109061 h 238125"/>
                <a:gd name="connsiteX3" fmla="*/ 122396 w 238125"/>
                <a:gd name="connsiteY3" fmla="*/ 7144 h 238125"/>
                <a:gd name="connsiteX4" fmla="*/ 236696 w 238125"/>
                <a:gd name="connsiteY4" fmla="*/ 109061 h 238125"/>
                <a:gd name="connsiteX5" fmla="*/ 237649 w 238125"/>
                <a:gd name="connsiteY5" fmla="*/ 122396 h 238125"/>
                <a:gd name="connsiteX6" fmla="*/ 122396 w 238125"/>
                <a:gd name="connsiteY6" fmla="*/ 237649 h 238125"/>
                <a:gd name="connsiteX7" fmla="*/ 122396 w 238125"/>
                <a:gd name="connsiteY7" fmla="*/ 45244 h 238125"/>
                <a:gd name="connsiteX8" fmla="*/ 46196 w 238125"/>
                <a:gd name="connsiteY8" fmla="*/ 113824 h 238125"/>
                <a:gd name="connsiteX9" fmla="*/ 45244 w 238125"/>
                <a:gd name="connsiteY9" fmla="*/ 122396 h 238125"/>
                <a:gd name="connsiteX10" fmla="*/ 122396 w 238125"/>
                <a:gd name="connsiteY10" fmla="*/ 199549 h 238125"/>
                <a:gd name="connsiteX11" fmla="*/ 199549 w 238125"/>
                <a:gd name="connsiteY11" fmla="*/ 122396 h 238125"/>
                <a:gd name="connsiteX12" fmla="*/ 198596 w 238125"/>
                <a:gd name="connsiteY12" fmla="*/ 113824 h 238125"/>
                <a:gd name="connsiteX13" fmla="*/ 122396 w 238125"/>
                <a:gd name="connsiteY13" fmla="*/ 452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8125" h="238125">
                  <a:moveTo>
                    <a:pt x="122396" y="237649"/>
                  </a:moveTo>
                  <a:cubicBezTo>
                    <a:pt x="58579" y="237649"/>
                    <a:pt x="7144" y="186214"/>
                    <a:pt x="7144" y="122396"/>
                  </a:cubicBezTo>
                  <a:cubicBezTo>
                    <a:pt x="7144" y="118586"/>
                    <a:pt x="7144" y="113824"/>
                    <a:pt x="8096" y="109061"/>
                  </a:cubicBezTo>
                  <a:cubicBezTo>
                    <a:pt x="14764" y="50959"/>
                    <a:pt x="63341" y="7144"/>
                    <a:pt x="122396" y="7144"/>
                  </a:cubicBezTo>
                  <a:cubicBezTo>
                    <a:pt x="180499" y="7144"/>
                    <a:pt x="230029" y="50959"/>
                    <a:pt x="236696" y="109061"/>
                  </a:cubicBezTo>
                  <a:cubicBezTo>
                    <a:pt x="237649" y="113824"/>
                    <a:pt x="237649" y="117634"/>
                    <a:pt x="237649" y="122396"/>
                  </a:cubicBezTo>
                  <a:cubicBezTo>
                    <a:pt x="236696" y="186214"/>
                    <a:pt x="185261" y="237649"/>
                    <a:pt x="122396" y="237649"/>
                  </a:cubicBezTo>
                  <a:close/>
                  <a:moveTo>
                    <a:pt x="122396" y="45244"/>
                  </a:moveTo>
                  <a:cubicBezTo>
                    <a:pt x="83344" y="45244"/>
                    <a:pt x="50006" y="74771"/>
                    <a:pt x="46196" y="113824"/>
                  </a:cubicBezTo>
                  <a:cubicBezTo>
                    <a:pt x="46196" y="116681"/>
                    <a:pt x="45244" y="119539"/>
                    <a:pt x="45244" y="122396"/>
                  </a:cubicBezTo>
                  <a:cubicBezTo>
                    <a:pt x="45244" y="165259"/>
                    <a:pt x="79534" y="199549"/>
                    <a:pt x="122396" y="199549"/>
                  </a:cubicBezTo>
                  <a:cubicBezTo>
                    <a:pt x="165259" y="199549"/>
                    <a:pt x="199549" y="165259"/>
                    <a:pt x="199549" y="122396"/>
                  </a:cubicBezTo>
                  <a:cubicBezTo>
                    <a:pt x="199549" y="119539"/>
                    <a:pt x="199549" y="116681"/>
                    <a:pt x="198596" y="113824"/>
                  </a:cubicBezTo>
                  <a:cubicBezTo>
                    <a:pt x="193834" y="74771"/>
                    <a:pt x="161449" y="45244"/>
                    <a:pt x="122396" y="4524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1" name="Freeform: Shape 151">
              <a:extLst>
                <a:ext uri="{FF2B5EF4-FFF2-40B4-BE49-F238E27FC236}">
                  <a16:creationId xmlns:a16="http://schemas.microsoft.com/office/drawing/2014/main" id="{B85B7B37-D8B5-420F-8C75-552F9E2E3E6B}"/>
                </a:ext>
              </a:extLst>
            </p:cNvPr>
            <p:cNvSpPr/>
            <p:nvPr/>
          </p:nvSpPr>
          <p:spPr>
            <a:xfrm>
              <a:off x="-1084421" y="4378166"/>
              <a:ext cx="104775" cy="104775"/>
            </a:xfrm>
            <a:custGeom>
              <a:avLst/>
              <a:gdLst>
                <a:gd name="connsiteX0" fmla="*/ 55721 w 104775"/>
                <a:gd name="connsiteY0" fmla="*/ 104299 h 104775"/>
                <a:gd name="connsiteX1" fmla="*/ 7144 w 104775"/>
                <a:gd name="connsiteY1" fmla="*/ 55721 h 104775"/>
                <a:gd name="connsiteX2" fmla="*/ 7144 w 104775"/>
                <a:gd name="connsiteY2" fmla="*/ 50006 h 104775"/>
                <a:gd name="connsiteX3" fmla="*/ 54769 w 104775"/>
                <a:gd name="connsiteY3" fmla="*/ 7144 h 104775"/>
                <a:gd name="connsiteX4" fmla="*/ 102394 w 104775"/>
                <a:gd name="connsiteY4" fmla="*/ 50006 h 104775"/>
                <a:gd name="connsiteX5" fmla="*/ 102394 w 104775"/>
                <a:gd name="connsiteY5" fmla="*/ 55721 h 104775"/>
                <a:gd name="connsiteX6" fmla="*/ 55721 w 104775"/>
                <a:gd name="connsiteY6" fmla="*/ 104299 h 104775"/>
                <a:gd name="connsiteX7" fmla="*/ 55721 w 104775"/>
                <a:gd name="connsiteY7" fmla="*/ 26194 h 104775"/>
                <a:gd name="connsiteX8" fmla="*/ 27146 w 104775"/>
                <a:gd name="connsiteY8" fmla="*/ 51911 h 104775"/>
                <a:gd name="connsiteX9" fmla="*/ 27146 w 104775"/>
                <a:gd name="connsiteY9" fmla="*/ 55721 h 104775"/>
                <a:gd name="connsiteX10" fmla="*/ 56674 w 104775"/>
                <a:gd name="connsiteY10" fmla="*/ 85249 h 104775"/>
                <a:gd name="connsiteX11" fmla="*/ 86201 w 104775"/>
                <a:gd name="connsiteY11" fmla="*/ 55721 h 104775"/>
                <a:gd name="connsiteX12" fmla="*/ 86201 w 104775"/>
                <a:gd name="connsiteY12" fmla="*/ 51911 h 104775"/>
                <a:gd name="connsiteX13" fmla="*/ 55721 w 104775"/>
                <a:gd name="connsiteY13" fmla="*/ 26194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775" h="104775">
                  <a:moveTo>
                    <a:pt x="55721" y="104299"/>
                  </a:moveTo>
                  <a:cubicBezTo>
                    <a:pt x="29051" y="104299"/>
                    <a:pt x="7144" y="82391"/>
                    <a:pt x="7144" y="55721"/>
                  </a:cubicBezTo>
                  <a:cubicBezTo>
                    <a:pt x="7144" y="53816"/>
                    <a:pt x="7144" y="51911"/>
                    <a:pt x="7144" y="50006"/>
                  </a:cubicBezTo>
                  <a:cubicBezTo>
                    <a:pt x="10001" y="25241"/>
                    <a:pt x="30956" y="7144"/>
                    <a:pt x="54769" y="7144"/>
                  </a:cubicBezTo>
                  <a:cubicBezTo>
                    <a:pt x="79534" y="7144"/>
                    <a:pt x="99536" y="25241"/>
                    <a:pt x="102394" y="50006"/>
                  </a:cubicBezTo>
                  <a:cubicBezTo>
                    <a:pt x="102394" y="51911"/>
                    <a:pt x="102394" y="53816"/>
                    <a:pt x="102394" y="55721"/>
                  </a:cubicBezTo>
                  <a:cubicBezTo>
                    <a:pt x="103346" y="82391"/>
                    <a:pt x="81439" y="104299"/>
                    <a:pt x="55721" y="104299"/>
                  </a:cubicBezTo>
                  <a:close/>
                  <a:moveTo>
                    <a:pt x="55721" y="26194"/>
                  </a:moveTo>
                  <a:cubicBezTo>
                    <a:pt x="40481" y="26194"/>
                    <a:pt x="28099" y="37624"/>
                    <a:pt x="27146" y="51911"/>
                  </a:cubicBezTo>
                  <a:cubicBezTo>
                    <a:pt x="27146" y="52864"/>
                    <a:pt x="27146" y="53816"/>
                    <a:pt x="27146" y="55721"/>
                  </a:cubicBezTo>
                  <a:cubicBezTo>
                    <a:pt x="27146" y="71914"/>
                    <a:pt x="40481" y="85249"/>
                    <a:pt x="56674" y="85249"/>
                  </a:cubicBezTo>
                  <a:cubicBezTo>
                    <a:pt x="72866" y="85249"/>
                    <a:pt x="86201" y="71914"/>
                    <a:pt x="86201" y="55721"/>
                  </a:cubicBezTo>
                  <a:cubicBezTo>
                    <a:pt x="86201" y="54769"/>
                    <a:pt x="86201" y="53816"/>
                    <a:pt x="86201" y="51911"/>
                  </a:cubicBezTo>
                  <a:cubicBezTo>
                    <a:pt x="82391" y="37624"/>
                    <a:pt x="70009" y="26194"/>
                    <a:pt x="55721" y="2619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2" name="Freeform: Shape 153">
              <a:extLst>
                <a:ext uri="{FF2B5EF4-FFF2-40B4-BE49-F238E27FC236}">
                  <a16:creationId xmlns:a16="http://schemas.microsoft.com/office/drawing/2014/main" id="{BB3A0C03-D456-4A99-BEE9-AC37E04E6628}"/>
                </a:ext>
              </a:extLst>
            </p:cNvPr>
            <p:cNvSpPr/>
            <p:nvPr/>
          </p:nvSpPr>
          <p:spPr>
            <a:xfrm>
              <a:off x="-452914" y="4161949"/>
              <a:ext cx="76200" cy="28575"/>
            </a:xfrm>
            <a:custGeom>
              <a:avLst/>
              <a:gdLst>
                <a:gd name="connsiteX0" fmla="*/ 63341 w 76200"/>
                <a:gd name="connsiteY0" fmla="*/ 26194 h 28575"/>
                <a:gd name="connsiteX1" fmla="*/ 16669 w 76200"/>
                <a:gd name="connsiteY1" fmla="*/ 26194 h 28575"/>
                <a:gd name="connsiteX2" fmla="*/ 7144 w 76200"/>
                <a:gd name="connsiteY2" fmla="*/ 16669 h 28575"/>
                <a:gd name="connsiteX3" fmla="*/ 16669 w 76200"/>
                <a:gd name="connsiteY3" fmla="*/ 7144 h 28575"/>
                <a:gd name="connsiteX4" fmla="*/ 63341 w 76200"/>
                <a:gd name="connsiteY4" fmla="*/ 7144 h 28575"/>
                <a:gd name="connsiteX5" fmla="*/ 72866 w 76200"/>
                <a:gd name="connsiteY5" fmla="*/ 16669 h 28575"/>
                <a:gd name="connsiteX6" fmla="*/ 63341 w 76200"/>
                <a:gd name="connsiteY6" fmla="*/ 2619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28575">
                  <a:moveTo>
                    <a:pt x="63341" y="26194"/>
                  </a:moveTo>
                  <a:lnTo>
                    <a:pt x="16669" y="26194"/>
                  </a:lnTo>
                  <a:cubicBezTo>
                    <a:pt x="10954" y="26194"/>
                    <a:pt x="7144" y="22384"/>
                    <a:pt x="7144" y="16669"/>
                  </a:cubicBezTo>
                  <a:cubicBezTo>
                    <a:pt x="7144" y="10954"/>
                    <a:pt x="10954" y="7144"/>
                    <a:pt x="16669" y="7144"/>
                  </a:cubicBezTo>
                  <a:lnTo>
                    <a:pt x="63341" y="7144"/>
                  </a:lnTo>
                  <a:cubicBezTo>
                    <a:pt x="69056" y="7144"/>
                    <a:pt x="72866" y="10954"/>
                    <a:pt x="72866" y="16669"/>
                  </a:cubicBezTo>
                  <a:cubicBezTo>
                    <a:pt x="72866" y="22384"/>
                    <a:pt x="68104" y="26194"/>
                    <a:pt x="63341" y="2619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3" name="Freeform: Shape 156">
              <a:extLst>
                <a:ext uri="{FF2B5EF4-FFF2-40B4-BE49-F238E27FC236}">
                  <a16:creationId xmlns:a16="http://schemas.microsoft.com/office/drawing/2014/main" id="{D3E450D4-7D90-4D68-BD4A-293954C2134D}"/>
                </a:ext>
              </a:extLst>
            </p:cNvPr>
            <p:cNvSpPr/>
            <p:nvPr/>
          </p:nvSpPr>
          <p:spPr>
            <a:xfrm>
              <a:off x="-910114" y="3631406"/>
              <a:ext cx="333375" cy="190500"/>
            </a:xfrm>
            <a:custGeom>
              <a:avLst/>
              <a:gdLst>
                <a:gd name="connsiteX0" fmla="*/ 308134 w 333375"/>
                <a:gd name="connsiteY0" fmla="*/ 189071 h 190500"/>
                <a:gd name="connsiteX1" fmla="*/ 155734 w 333375"/>
                <a:gd name="connsiteY1" fmla="*/ 189071 h 190500"/>
                <a:gd name="connsiteX2" fmla="*/ 144304 w 333375"/>
                <a:gd name="connsiteY2" fmla="*/ 185261 h 190500"/>
                <a:gd name="connsiteX3" fmla="*/ 14764 w 333375"/>
                <a:gd name="connsiteY3" fmla="*/ 90011 h 190500"/>
                <a:gd name="connsiteX4" fmla="*/ 7144 w 333375"/>
                <a:gd name="connsiteY4" fmla="*/ 74771 h 190500"/>
                <a:gd name="connsiteX5" fmla="*/ 13811 w 333375"/>
                <a:gd name="connsiteY5" fmla="*/ 59531 h 190500"/>
                <a:gd name="connsiteX6" fmla="*/ 51911 w 333375"/>
                <a:gd name="connsiteY6" fmla="*/ 28099 h 190500"/>
                <a:gd name="connsiteX7" fmla="*/ 110014 w 333375"/>
                <a:gd name="connsiteY7" fmla="*/ 7144 h 190500"/>
                <a:gd name="connsiteX8" fmla="*/ 168116 w 333375"/>
                <a:gd name="connsiteY8" fmla="*/ 28099 h 190500"/>
                <a:gd name="connsiteX9" fmla="*/ 321469 w 333375"/>
                <a:gd name="connsiteY9" fmla="*/ 154781 h 190500"/>
                <a:gd name="connsiteX10" fmla="*/ 327184 w 333375"/>
                <a:gd name="connsiteY10" fmla="*/ 175736 h 190500"/>
                <a:gd name="connsiteX11" fmla="*/ 308134 w 333375"/>
                <a:gd name="connsiteY11" fmla="*/ 189071 h 190500"/>
                <a:gd name="connsiteX12" fmla="*/ 162401 w 333375"/>
                <a:gd name="connsiteY12" fmla="*/ 150971 h 190500"/>
                <a:gd name="connsiteX13" fmla="*/ 254794 w 333375"/>
                <a:gd name="connsiteY13" fmla="*/ 150971 h 190500"/>
                <a:gd name="connsiteX14" fmla="*/ 142399 w 333375"/>
                <a:gd name="connsiteY14" fmla="*/ 58579 h 190500"/>
                <a:gd name="connsiteX15" fmla="*/ 74771 w 333375"/>
                <a:gd name="connsiteY15" fmla="*/ 58579 h 190500"/>
                <a:gd name="connsiteX16" fmla="*/ 55721 w 333375"/>
                <a:gd name="connsiteY16" fmla="*/ 73819 h 190500"/>
                <a:gd name="connsiteX17" fmla="*/ 162401 w 333375"/>
                <a:gd name="connsiteY17" fmla="*/ 150971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3375" h="190500">
                  <a:moveTo>
                    <a:pt x="308134" y="189071"/>
                  </a:moveTo>
                  <a:lnTo>
                    <a:pt x="155734" y="189071"/>
                  </a:lnTo>
                  <a:cubicBezTo>
                    <a:pt x="151924" y="189071"/>
                    <a:pt x="148114" y="188119"/>
                    <a:pt x="144304" y="185261"/>
                  </a:cubicBezTo>
                  <a:lnTo>
                    <a:pt x="14764" y="90011"/>
                  </a:lnTo>
                  <a:cubicBezTo>
                    <a:pt x="10001" y="86201"/>
                    <a:pt x="7144" y="81439"/>
                    <a:pt x="7144" y="74771"/>
                  </a:cubicBezTo>
                  <a:cubicBezTo>
                    <a:pt x="7144" y="69056"/>
                    <a:pt x="9049" y="63341"/>
                    <a:pt x="13811" y="59531"/>
                  </a:cubicBezTo>
                  <a:lnTo>
                    <a:pt x="51911" y="28099"/>
                  </a:lnTo>
                  <a:cubicBezTo>
                    <a:pt x="68104" y="14764"/>
                    <a:pt x="89059" y="7144"/>
                    <a:pt x="110014" y="7144"/>
                  </a:cubicBezTo>
                  <a:cubicBezTo>
                    <a:pt x="130969" y="7144"/>
                    <a:pt x="151924" y="14764"/>
                    <a:pt x="168116" y="28099"/>
                  </a:cubicBezTo>
                  <a:lnTo>
                    <a:pt x="321469" y="154781"/>
                  </a:lnTo>
                  <a:cubicBezTo>
                    <a:pt x="328136" y="159544"/>
                    <a:pt x="330041" y="168116"/>
                    <a:pt x="327184" y="175736"/>
                  </a:cubicBezTo>
                  <a:cubicBezTo>
                    <a:pt x="323374" y="184309"/>
                    <a:pt x="316706" y="189071"/>
                    <a:pt x="308134" y="189071"/>
                  </a:cubicBezTo>
                  <a:close/>
                  <a:moveTo>
                    <a:pt x="162401" y="150971"/>
                  </a:moveTo>
                  <a:lnTo>
                    <a:pt x="254794" y="150971"/>
                  </a:lnTo>
                  <a:lnTo>
                    <a:pt x="142399" y="58579"/>
                  </a:lnTo>
                  <a:cubicBezTo>
                    <a:pt x="123349" y="43339"/>
                    <a:pt x="93821" y="43339"/>
                    <a:pt x="74771" y="58579"/>
                  </a:cubicBezTo>
                  <a:lnTo>
                    <a:pt x="55721" y="73819"/>
                  </a:lnTo>
                  <a:lnTo>
                    <a:pt x="162401" y="15097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4" name="Freeform: Shape 163">
              <a:extLst>
                <a:ext uri="{FF2B5EF4-FFF2-40B4-BE49-F238E27FC236}">
                  <a16:creationId xmlns:a16="http://schemas.microsoft.com/office/drawing/2014/main" id="{AD63EAD9-CDF0-4F73-ACDB-08AC5944E194}"/>
                </a:ext>
              </a:extLst>
            </p:cNvPr>
            <p:cNvSpPr/>
            <p:nvPr/>
          </p:nvSpPr>
          <p:spPr>
            <a:xfrm>
              <a:off x="-1316030" y="3597116"/>
              <a:ext cx="581025" cy="228600"/>
            </a:xfrm>
            <a:custGeom>
              <a:avLst/>
              <a:gdLst>
                <a:gd name="connsiteX0" fmla="*/ 561650 w 581025"/>
                <a:gd name="connsiteY0" fmla="*/ 223361 h 228600"/>
                <a:gd name="connsiteX1" fmla="*/ 26345 w 581025"/>
                <a:gd name="connsiteY1" fmla="*/ 223361 h 228600"/>
                <a:gd name="connsiteX2" fmla="*/ 8247 w 581025"/>
                <a:gd name="connsiteY2" fmla="*/ 210026 h 228600"/>
                <a:gd name="connsiteX3" fmla="*/ 14915 w 581025"/>
                <a:gd name="connsiteY3" fmla="*/ 189071 h 228600"/>
                <a:gd name="connsiteX4" fmla="*/ 240657 w 581025"/>
                <a:gd name="connsiteY4" fmla="*/ 24289 h 228600"/>
                <a:gd name="connsiteX5" fmla="*/ 293997 w 581025"/>
                <a:gd name="connsiteY5" fmla="*/ 7144 h 228600"/>
                <a:gd name="connsiteX6" fmla="*/ 347337 w 581025"/>
                <a:gd name="connsiteY6" fmla="*/ 24289 h 228600"/>
                <a:gd name="connsiteX7" fmla="*/ 573080 w 581025"/>
                <a:gd name="connsiteY7" fmla="*/ 189071 h 228600"/>
                <a:gd name="connsiteX8" fmla="*/ 579747 w 581025"/>
                <a:gd name="connsiteY8" fmla="*/ 210026 h 228600"/>
                <a:gd name="connsiteX9" fmla="*/ 561650 w 581025"/>
                <a:gd name="connsiteY9" fmla="*/ 223361 h 228600"/>
                <a:gd name="connsiteX10" fmla="*/ 84447 w 581025"/>
                <a:gd name="connsiteY10" fmla="*/ 185261 h 228600"/>
                <a:gd name="connsiteX11" fmla="*/ 503547 w 581025"/>
                <a:gd name="connsiteY11" fmla="*/ 185261 h 228600"/>
                <a:gd name="connsiteX12" fmla="*/ 325430 w 581025"/>
                <a:gd name="connsiteY12" fmla="*/ 55721 h 228600"/>
                <a:gd name="connsiteX13" fmla="*/ 262565 w 581025"/>
                <a:gd name="connsiteY13" fmla="*/ 55721 h 228600"/>
                <a:gd name="connsiteX14" fmla="*/ 84447 w 581025"/>
                <a:gd name="connsiteY14" fmla="*/ 185261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1025" h="228600">
                  <a:moveTo>
                    <a:pt x="561650" y="223361"/>
                  </a:moveTo>
                  <a:lnTo>
                    <a:pt x="26345" y="223361"/>
                  </a:lnTo>
                  <a:cubicBezTo>
                    <a:pt x="17772" y="223361"/>
                    <a:pt x="11105" y="217646"/>
                    <a:pt x="8247" y="210026"/>
                  </a:cubicBezTo>
                  <a:cubicBezTo>
                    <a:pt x="5390" y="202406"/>
                    <a:pt x="8247" y="193834"/>
                    <a:pt x="14915" y="189071"/>
                  </a:cubicBezTo>
                  <a:lnTo>
                    <a:pt x="240657" y="24289"/>
                  </a:lnTo>
                  <a:cubicBezTo>
                    <a:pt x="256850" y="12859"/>
                    <a:pt x="274947" y="7144"/>
                    <a:pt x="293997" y="7144"/>
                  </a:cubicBezTo>
                  <a:cubicBezTo>
                    <a:pt x="313047" y="7144"/>
                    <a:pt x="332097" y="12859"/>
                    <a:pt x="347337" y="24289"/>
                  </a:cubicBezTo>
                  <a:lnTo>
                    <a:pt x="573080" y="189071"/>
                  </a:lnTo>
                  <a:cubicBezTo>
                    <a:pt x="579747" y="193834"/>
                    <a:pt x="582605" y="202406"/>
                    <a:pt x="579747" y="210026"/>
                  </a:cubicBezTo>
                  <a:cubicBezTo>
                    <a:pt x="577842" y="218599"/>
                    <a:pt x="570222" y="223361"/>
                    <a:pt x="561650" y="223361"/>
                  </a:cubicBezTo>
                  <a:close/>
                  <a:moveTo>
                    <a:pt x="84447" y="185261"/>
                  </a:moveTo>
                  <a:lnTo>
                    <a:pt x="503547" y="185261"/>
                  </a:lnTo>
                  <a:lnTo>
                    <a:pt x="325430" y="55721"/>
                  </a:lnTo>
                  <a:cubicBezTo>
                    <a:pt x="307332" y="42386"/>
                    <a:pt x="280662" y="42386"/>
                    <a:pt x="262565" y="55721"/>
                  </a:cubicBezTo>
                  <a:lnTo>
                    <a:pt x="84447" y="18526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5" name="Freeform: Shape 757">
              <a:extLst>
                <a:ext uri="{FF2B5EF4-FFF2-40B4-BE49-F238E27FC236}">
                  <a16:creationId xmlns:a16="http://schemas.microsoft.com/office/drawing/2014/main" id="{5967EB2F-E4A0-4B19-8FB7-D9CE66C4CB4B}"/>
                </a:ext>
              </a:extLst>
            </p:cNvPr>
            <p:cNvSpPr/>
            <p:nvPr/>
          </p:nvSpPr>
          <p:spPr>
            <a:xfrm>
              <a:off x="-1214914" y="3901916"/>
              <a:ext cx="28575" cy="247650"/>
            </a:xfrm>
            <a:custGeom>
              <a:avLst/>
              <a:gdLst>
                <a:gd name="connsiteX0" fmla="*/ 16669 w 28575"/>
                <a:gd name="connsiteY0" fmla="*/ 244316 h 247650"/>
                <a:gd name="connsiteX1" fmla="*/ 7144 w 28575"/>
                <a:gd name="connsiteY1" fmla="*/ 234791 h 247650"/>
                <a:gd name="connsiteX2" fmla="*/ 7144 w 28575"/>
                <a:gd name="connsiteY2" fmla="*/ 16669 h 247650"/>
                <a:gd name="connsiteX3" fmla="*/ 16669 w 28575"/>
                <a:gd name="connsiteY3" fmla="*/ 7144 h 247650"/>
                <a:gd name="connsiteX4" fmla="*/ 26194 w 28575"/>
                <a:gd name="connsiteY4" fmla="*/ 16669 h 247650"/>
                <a:gd name="connsiteX5" fmla="*/ 26194 w 28575"/>
                <a:gd name="connsiteY5" fmla="*/ 233839 h 247650"/>
                <a:gd name="connsiteX6" fmla="*/ 16669 w 28575"/>
                <a:gd name="connsiteY6" fmla="*/ 24431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 h="247650">
                  <a:moveTo>
                    <a:pt x="16669" y="244316"/>
                  </a:moveTo>
                  <a:cubicBezTo>
                    <a:pt x="10954" y="244316"/>
                    <a:pt x="7144" y="240506"/>
                    <a:pt x="7144" y="234791"/>
                  </a:cubicBezTo>
                  <a:lnTo>
                    <a:pt x="7144" y="16669"/>
                  </a:lnTo>
                  <a:cubicBezTo>
                    <a:pt x="7144" y="10954"/>
                    <a:pt x="10954" y="7144"/>
                    <a:pt x="16669" y="7144"/>
                  </a:cubicBezTo>
                  <a:cubicBezTo>
                    <a:pt x="22384" y="7144"/>
                    <a:pt x="26194" y="10954"/>
                    <a:pt x="26194" y="16669"/>
                  </a:cubicBezTo>
                  <a:lnTo>
                    <a:pt x="26194" y="233839"/>
                  </a:lnTo>
                  <a:cubicBezTo>
                    <a:pt x="26194" y="239554"/>
                    <a:pt x="21431" y="244316"/>
                    <a:pt x="16669" y="24431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6" name="Freeform: Shape 758">
              <a:extLst>
                <a:ext uri="{FF2B5EF4-FFF2-40B4-BE49-F238E27FC236}">
                  <a16:creationId xmlns:a16="http://schemas.microsoft.com/office/drawing/2014/main" id="{85F87B06-BF15-4C9B-B6A9-DFD01F879E89}"/>
                </a:ext>
              </a:extLst>
            </p:cNvPr>
            <p:cNvSpPr/>
            <p:nvPr/>
          </p:nvSpPr>
          <p:spPr>
            <a:xfrm>
              <a:off x="-1046321" y="3901916"/>
              <a:ext cx="28575" cy="247650"/>
            </a:xfrm>
            <a:custGeom>
              <a:avLst/>
              <a:gdLst>
                <a:gd name="connsiteX0" fmla="*/ 16669 w 28575"/>
                <a:gd name="connsiteY0" fmla="*/ 244316 h 247650"/>
                <a:gd name="connsiteX1" fmla="*/ 7144 w 28575"/>
                <a:gd name="connsiteY1" fmla="*/ 234791 h 247650"/>
                <a:gd name="connsiteX2" fmla="*/ 7144 w 28575"/>
                <a:gd name="connsiteY2" fmla="*/ 16669 h 247650"/>
                <a:gd name="connsiteX3" fmla="*/ 16669 w 28575"/>
                <a:gd name="connsiteY3" fmla="*/ 7144 h 247650"/>
                <a:gd name="connsiteX4" fmla="*/ 26194 w 28575"/>
                <a:gd name="connsiteY4" fmla="*/ 16669 h 247650"/>
                <a:gd name="connsiteX5" fmla="*/ 26194 w 28575"/>
                <a:gd name="connsiteY5" fmla="*/ 233839 h 247650"/>
                <a:gd name="connsiteX6" fmla="*/ 16669 w 28575"/>
                <a:gd name="connsiteY6" fmla="*/ 24431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 h="247650">
                  <a:moveTo>
                    <a:pt x="16669" y="244316"/>
                  </a:moveTo>
                  <a:cubicBezTo>
                    <a:pt x="10954" y="244316"/>
                    <a:pt x="7144" y="240506"/>
                    <a:pt x="7144" y="234791"/>
                  </a:cubicBezTo>
                  <a:lnTo>
                    <a:pt x="7144" y="16669"/>
                  </a:lnTo>
                  <a:cubicBezTo>
                    <a:pt x="7144" y="10954"/>
                    <a:pt x="10954" y="7144"/>
                    <a:pt x="16669" y="7144"/>
                  </a:cubicBezTo>
                  <a:cubicBezTo>
                    <a:pt x="22384" y="7144"/>
                    <a:pt x="26194" y="10954"/>
                    <a:pt x="26194" y="16669"/>
                  </a:cubicBezTo>
                  <a:lnTo>
                    <a:pt x="26194" y="233839"/>
                  </a:lnTo>
                  <a:cubicBezTo>
                    <a:pt x="26194" y="239554"/>
                    <a:pt x="21431" y="244316"/>
                    <a:pt x="16669" y="24431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7" name="Freeform: Shape 759">
              <a:extLst>
                <a:ext uri="{FF2B5EF4-FFF2-40B4-BE49-F238E27FC236}">
                  <a16:creationId xmlns:a16="http://schemas.microsoft.com/office/drawing/2014/main" id="{3AA32B22-118F-431C-AA3B-BA91A3F67E58}"/>
                </a:ext>
              </a:extLst>
            </p:cNvPr>
            <p:cNvSpPr/>
            <p:nvPr/>
          </p:nvSpPr>
          <p:spPr>
            <a:xfrm>
              <a:off x="-877729" y="3901916"/>
              <a:ext cx="28575" cy="247650"/>
            </a:xfrm>
            <a:custGeom>
              <a:avLst/>
              <a:gdLst>
                <a:gd name="connsiteX0" fmla="*/ 16669 w 28575"/>
                <a:gd name="connsiteY0" fmla="*/ 244316 h 247650"/>
                <a:gd name="connsiteX1" fmla="*/ 7144 w 28575"/>
                <a:gd name="connsiteY1" fmla="*/ 234791 h 247650"/>
                <a:gd name="connsiteX2" fmla="*/ 7144 w 28575"/>
                <a:gd name="connsiteY2" fmla="*/ 16669 h 247650"/>
                <a:gd name="connsiteX3" fmla="*/ 16669 w 28575"/>
                <a:gd name="connsiteY3" fmla="*/ 7144 h 247650"/>
                <a:gd name="connsiteX4" fmla="*/ 26194 w 28575"/>
                <a:gd name="connsiteY4" fmla="*/ 16669 h 247650"/>
                <a:gd name="connsiteX5" fmla="*/ 26194 w 28575"/>
                <a:gd name="connsiteY5" fmla="*/ 233839 h 247650"/>
                <a:gd name="connsiteX6" fmla="*/ 16669 w 28575"/>
                <a:gd name="connsiteY6" fmla="*/ 24431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 h="247650">
                  <a:moveTo>
                    <a:pt x="16669" y="244316"/>
                  </a:moveTo>
                  <a:cubicBezTo>
                    <a:pt x="10954" y="244316"/>
                    <a:pt x="7144" y="240506"/>
                    <a:pt x="7144" y="234791"/>
                  </a:cubicBezTo>
                  <a:lnTo>
                    <a:pt x="7144" y="16669"/>
                  </a:lnTo>
                  <a:cubicBezTo>
                    <a:pt x="7144" y="10954"/>
                    <a:pt x="10954" y="7144"/>
                    <a:pt x="16669" y="7144"/>
                  </a:cubicBezTo>
                  <a:cubicBezTo>
                    <a:pt x="22384" y="7144"/>
                    <a:pt x="26194" y="10954"/>
                    <a:pt x="26194" y="16669"/>
                  </a:cubicBezTo>
                  <a:lnTo>
                    <a:pt x="26194" y="233839"/>
                  </a:lnTo>
                  <a:cubicBezTo>
                    <a:pt x="26194" y="239554"/>
                    <a:pt x="21431" y="244316"/>
                    <a:pt x="16669" y="24431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8" name="Freeform: Shape 760">
              <a:extLst>
                <a:ext uri="{FF2B5EF4-FFF2-40B4-BE49-F238E27FC236}">
                  <a16:creationId xmlns:a16="http://schemas.microsoft.com/office/drawing/2014/main" id="{68BC07A0-33D8-4C43-8261-48F92AF4BE6D}"/>
                </a:ext>
              </a:extLst>
            </p:cNvPr>
            <p:cNvSpPr/>
            <p:nvPr/>
          </p:nvSpPr>
          <p:spPr>
            <a:xfrm>
              <a:off x="-709136" y="3901916"/>
              <a:ext cx="28575" cy="247650"/>
            </a:xfrm>
            <a:custGeom>
              <a:avLst/>
              <a:gdLst>
                <a:gd name="connsiteX0" fmla="*/ 16669 w 28575"/>
                <a:gd name="connsiteY0" fmla="*/ 244316 h 247650"/>
                <a:gd name="connsiteX1" fmla="*/ 7144 w 28575"/>
                <a:gd name="connsiteY1" fmla="*/ 234791 h 247650"/>
                <a:gd name="connsiteX2" fmla="*/ 7144 w 28575"/>
                <a:gd name="connsiteY2" fmla="*/ 16669 h 247650"/>
                <a:gd name="connsiteX3" fmla="*/ 16669 w 28575"/>
                <a:gd name="connsiteY3" fmla="*/ 7144 h 247650"/>
                <a:gd name="connsiteX4" fmla="*/ 26194 w 28575"/>
                <a:gd name="connsiteY4" fmla="*/ 16669 h 247650"/>
                <a:gd name="connsiteX5" fmla="*/ 26194 w 28575"/>
                <a:gd name="connsiteY5" fmla="*/ 233839 h 247650"/>
                <a:gd name="connsiteX6" fmla="*/ 16669 w 28575"/>
                <a:gd name="connsiteY6" fmla="*/ 24431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 h="247650">
                  <a:moveTo>
                    <a:pt x="16669" y="244316"/>
                  </a:moveTo>
                  <a:cubicBezTo>
                    <a:pt x="10954" y="244316"/>
                    <a:pt x="7144" y="240506"/>
                    <a:pt x="7144" y="234791"/>
                  </a:cubicBezTo>
                  <a:lnTo>
                    <a:pt x="7144" y="16669"/>
                  </a:lnTo>
                  <a:cubicBezTo>
                    <a:pt x="7144" y="10954"/>
                    <a:pt x="10954" y="7144"/>
                    <a:pt x="16669" y="7144"/>
                  </a:cubicBezTo>
                  <a:cubicBezTo>
                    <a:pt x="22384" y="7144"/>
                    <a:pt x="26194" y="10954"/>
                    <a:pt x="26194" y="16669"/>
                  </a:cubicBezTo>
                  <a:lnTo>
                    <a:pt x="26194" y="233839"/>
                  </a:lnTo>
                  <a:cubicBezTo>
                    <a:pt x="26194" y="239554"/>
                    <a:pt x="21431" y="244316"/>
                    <a:pt x="16669" y="24431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549" name="Group 548">
            <a:extLst>
              <a:ext uri="{FF2B5EF4-FFF2-40B4-BE49-F238E27FC236}">
                <a16:creationId xmlns:a16="http://schemas.microsoft.com/office/drawing/2014/main" id="{E80F6F4E-8D26-4AA5-90D5-21EC266C4918}"/>
              </a:ext>
            </a:extLst>
          </p:cNvPr>
          <p:cNvGrpSpPr/>
          <p:nvPr/>
        </p:nvGrpSpPr>
        <p:grpSpPr>
          <a:xfrm>
            <a:off x="4184080" y="1621807"/>
            <a:ext cx="3288814" cy="1507156"/>
            <a:chOff x="6486211" y="1739620"/>
            <a:chExt cx="2801675" cy="1283916"/>
          </a:xfrm>
        </p:grpSpPr>
        <p:grpSp>
          <p:nvGrpSpPr>
            <p:cNvPr id="550" name="Group 549">
              <a:extLst>
                <a:ext uri="{FF2B5EF4-FFF2-40B4-BE49-F238E27FC236}">
                  <a16:creationId xmlns:a16="http://schemas.microsoft.com/office/drawing/2014/main" id="{6E4EAD5C-7924-4B1F-9DFF-D1AD8232C318}"/>
                </a:ext>
              </a:extLst>
            </p:cNvPr>
            <p:cNvGrpSpPr/>
            <p:nvPr/>
          </p:nvGrpSpPr>
          <p:grpSpPr>
            <a:xfrm>
              <a:off x="6486211" y="2427446"/>
              <a:ext cx="596090" cy="596090"/>
              <a:chOff x="6340161" y="2433796"/>
              <a:chExt cx="596090" cy="596090"/>
            </a:xfrm>
          </p:grpSpPr>
          <p:sp>
            <p:nvSpPr>
              <p:cNvPr id="660" name="Freeform: Shape 498">
                <a:extLst>
                  <a:ext uri="{FF2B5EF4-FFF2-40B4-BE49-F238E27FC236}">
                    <a16:creationId xmlns:a16="http://schemas.microsoft.com/office/drawing/2014/main" id="{52517459-A55E-400A-8290-6C0D2E0D05B7}"/>
                  </a:ext>
                </a:extLst>
              </p:cNvPr>
              <p:cNvSpPr/>
              <p:nvPr/>
            </p:nvSpPr>
            <p:spPr>
              <a:xfrm>
                <a:off x="6340161" y="2433796"/>
                <a:ext cx="596090" cy="596090"/>
              </a:xfrm>
              <a:custGeom>
                <a:avLst/>
                <a:gdLst>
                  <a:gd name="connsiteX0" fmla="*/ 16669 w 771525"/>
                  <a:gd name="connsiteY0" fmla="*/ 769144 h 771525"/>
                  <a:gd name="connsiteX1" fmla="*/ 759619 w 771525"/>
                  <a:gd name="connsiteY1" fmla="*/ 769144 h 771525"/>
                  <a:gd name="connsiteX2" fmla="*/ 769144 w 771525"/>
                  <a:gd name="connsiteY2" fmla="*/ 759619 h 771525"/>
                  <a:gd name="connsiteX3" fmla="*/ 769144 w 771525"/>
                  <a:gd name="connsiteY3" fmla="*/ 693344 h 771525"/>
                  <a:gd name="connsiteX4" fmla="*/ 759619 w 771525"/>
                  <a:gd name="connsiteY4" fmla="*/ 683819 h 771525"/>
                  <a:gd name="connsiteX5" fmla="*/ 718547 w 771525"/>
                  <a:gd name="connsiteY5" fmla="*/ 683819 h 771525"/>
                  <a:gd name="connsiteX6" fmla="*/ 718547 w 771525"/>
                  <a:gd name="connsiteY6" fmla="*/ 92469 h 771525"/>
                  <a:gd name="connsiteX7" fmla="*/ 732596 w 771525"/>
                  <a:gd name="connsiteY7" fmla="*/ 92469 h 771525"/>
                  <a:gd name="connsiteX8" fmla="*/ 742121 w 771525"/>
                  <a:gd name="connsiteY8" fmla="*/ 82944 h 771525"/>
                  <a:gd name="connsiteX9" fmla="*/ 742121 w 771525"/>
                  <a:gd name="connsiteY9" fmla="*/ 16669 h 771525"/>
                  <a:gd name="connsiteX10" fmla="*/ 732596 w 771525"/>
                  <a:gd name="connsiteY10" fmla="*/ 7144 h 771525"/>
                  <a:gd name="connsiteX11" fmla="*/ 43691 w 771525"/>
                  <a:gd name="connsiteY11" fmla="*/ 7144 h 771525"/>
                  <a:gd name="connsiteX12" fmla="*/ 34166 w 771525"/>
                  <a:gd name="connsiteY12" fmla="*/ 16669 h 771525"/>
                  <a:gd name="connsiteX13" fmla="*/ 34166 w 771525"/>
                  <a:gd name="connsiteY13" fmla="*/ 82944 h 771525"/>
                  <a:gd name="connsiteX14" fmla="*/ 43691 w 771525"/>
                  <a:gd name="connsiteY14" fmla="*/ 92469 h 771525"/>
                  <a:gd name="connsiteX15" fmla="*/ 57741 w 771525"/>
                  <a:gd name="connsiteY15" fmla="*/ 92469 h 771525"/>
                  <a:gd name="connsiteX16" fmla="*/ 57741 w 771525"/>
                  <a:gd name="connsiteY16" fmla="*/ 683819 h 771525"/>
                  <a:gd name="connsiteX17" fmla="*/ 16669 w 771525"/>
                  <a:gd name="connsiteY17" fmla="*/ 683819 h 771525"/>
                  <a:gd name="connsiteX18" fmla="*/ 7144 w 771525"/>
                  <a:gd name="connsiteY18" fmla="*/ 693344 h 771525"/>
                  <a:gd name="connsiteX19" fmla="*/ 7144 w 771525"/>
                  <a:gd name="connsiteY19" fmla="*/ 759619 h 771525"/>
                  <a:gd name="connsiteX20" fmla="*/ 16669 w 771525"/>
                  <a:gd name="connsiteY20" fmla="*/ 769144 h 771525"/>
                  <a:gd name="connsiteX21" fmla="*/ 53216 w 771525"/>
                  <a:gd name="connsiteY21" fmla="*/ 26194 h 771525"/>
                  <a:gd name="connsiteX22" fmla="*/ 723062 w 771525"/>
                  <a:gd name="connsiteY22" fmla="*/ 26194 h 771525"/>
                  <a:gd name="connsiteX23" fmla="*/ 723062 w 771525"/>
                  <a:gd name="connsiteY23" fmla="*/ 73419 h 771525"/>
                  <a:gd name="connsiteX24" fmla="*/ 53216 w 771525"/>
                  <a:gd name="connsiteY24" fmla="*/ 73419 h 771525"/>
                  <a:gd name="connsiteX25" fmla="*/ 53216 w 771525"/>
                  <a:gd name="connsiteY25" fmla="*/ 26194 h 771525"/>
                  <a:gd name="connsiteX26" fmla="*/ 76791 w 771525"/>
                  <a:gd name="connsiteY26" fmla="*/ 92469 h 771525"/>
                  <a:gd name="connsiteX27" fmla="*/ 699487 w 771525"/>
                  <a:gd name="connsiteY27" fmla="*/ 92469 h 771525"/>
                  <a:gd name="connsiteX28" fmla="*/ 699487 w 771525"/>
                  <a:gd name="connsiteY28" fmla="*/ 683819 h 771525"/>
                  <a:gd name="connsiteX29" fmla="*/ 496491 w 771525"/>
                  <a:gd name="connsiteY29" fmla="*/ 683819 h 771525"/>
                  <a:gd name="connsiteX30" fmla="*/ 496491 w 771525"/>
                  <a:gd name="connsiteY30" fmla="*/ 470402 h 771525"/>
                  <a:gd name="connsiteX31" fmla="*/ 486966 w 771525"/>
                  <a:gd name="connsiteY31" fmla="*/ 460877 h 771525"/>
                  <a:gd name="connsiteX32" fmla="*/ 289322 w 771525"/>
                  <a:gd name="connsiteY32" fmla="*/ 460877 h 771525"/>
                  <a:gd name="connsiteX33" fmla="*/ 279797 w 771525"/>
                  <a:gd name="connsiteY33" fmla="*/ 470402 h 771525"/>
                  <a:gd name="connsiteX34" fmla="*/ 279797 w 771525"/>
                  <a:gd name="connsiteY34" fmla="*/ 683819 h 771525"/>
                  <a:gd name="connsiteX35" fmla="*/ 76791 w 771525"/>
                  <a:gd name="connsiteY35" fmla="*/ 683819 h 771525"/>
                  <a:gd name="connsiteX36" fmla="*/ 76791 w 771525"/>
                  <a:gd name="connsiteY36" fmla="*/ 92469 h 771525"/>
                  <a:gd name="connsiteX37" fmla="*/ 298847 w 771525"/>
                  <a:gd name="connsiteY37" fmla="*/ 683819 h 771525"/>
                  <a:gd name="connsiteX38" fmla="*/ 298847 w 771525"/>
                  <a:gd name="connsiteY38" fmla="*/ 479927 h 771525"/>
                  <a:gd name="connsiteX39" fmla="*/ 378619 w 771525"/>
                  <a:gd name="connsiteY39" fmla="*/ 479927 h 771525"/>
                  <a:gd name="connsiteX40" fmla="*/ 378619 w 771525"/>
                  <a:gd name="connsiteY40" fmla="*/ 683819 h 771525"/>
                  <a:gd name="connsiteX41" fmla="*/ 298847 w 771525"/>
                  <a:gd name="connsiteY41" fmla="*/ 683819 h 771525"/>
                  <a:gd name="connsiteX42" fmla="*/ 397669 w 771525"/>
                  <a:gd name="connsiteY42" fmla="*/ 479927 h 771525"/>
                  <a:gd name="connsiteX43" fmla="*/ 477441 w 771525"/>
                  <a:gd name="connsiteY43" fmla="*/ 479927 h 771525"/>
                  <a:gd name="connsiteX44" fmla="*/ 477441 w 771525"/>
                  <a:gd name="connsiteY44" fmla="*/ 683819 h 771525"/>
                  <a:gd name="connsiteX45" fmla="*/ 397669 w 771525"/>
                  <a:gd name="connsiteY45" fmla="*/ 683819 h 771525"/>
                  <a:gd name="connsiteX46" fmla="*/ 397669 w 771525"/>
                  <a:gd name="connsiteY46" fmla="*/ 479927 h 771525"/>
                  <a:gd name="connsiteX47" fmla="*/ 26194 w 771525"/>
                  <a:gd name="connsiteY47" fmla="*/ 702869 h 771525"/>
                  <a:gd name="connsiteX48" fmla="*/ 750094 w 771525"/>
                  <a:gd name="connsiteY48" fmla="*/ 702869 h 771525"/>
                  <a:gd name="connsiteX49" fmla="*/ 750094 w 771525"/>
                  <a:gd name="connsiteY49" fmla="*/ 750094 h 771525"/>
                  <a:gd name="connsiteX50" fmla="*/ 26194 w 771525"/>
                  <a:gd name="connsiteY50" fmla="*/ 750094 h 771525"/>
                  <a:gd name="connsiteX51" fmla="*/ 26194 w 771525"/>
                  <a:gd name="connsiteY51" fmla="*/ 702869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771525" h="771525">
                    <a:moveTo>
                      <a:pt x="16669" y="769144"/>
                    </a:moveTo>
                    <a:lnTo>
                      <a:pt x="759619" y="769144"/>
                    </a:lnTo>
                    <a:cubicBezTo>
                      <a:pt x="764877" y="769144"/>
                      <a:pt x="769144" y="764886"/>
                      <a:pt x="769144" y="759619"/>
                    </a:cubicBezTo>
                    <a:lnTo>
                      <a:pt x="769144" y="693344"/>
                    </a:lnTo>
                    <a:cubicBezTo>
                      <a:pt x="769144" y="688076"/>
                      <a:pt x="764877" y="683819"/>
                      <a:pt x="759619" y="683819"/>
                    </a:cubicBezTo>
                    <a:lnTo>
                      <a:pt x="718547" y="683819"/>
                    </a:lnTo>
                    <a:lnTo>
                      <a:pt x="718547" y="92469"/>
                    </a:lnTo>
                    <a:lnTo>
                      <a:pt x="732596" y="92469"/>
                    </a:lnTo>
                    <a:cubicBezTo>
                      <a:pt x="737854" y="92469"/>
                      <a:pt x="742121" y="88211"/>
                      <a:pt x="742121" y="82944"/>
                    </a:cubicBezTo>
                    <a:lnTo>
                      <a:pt x="742121" y="16669"/>
                    </a:lnTo>
                    <a:cubicBezTo>
                      <a:pt x="742121" y="11401"/>
                      <a:pt x="737854" y="7144"/>
                      <a:pt x="732596" y="7144"/>
                    </a:cubicBezTo>
                    <a:lnTo>
                      <a:pt x="43691" y="7144"/>
                    </a:lnTo>
                    <a:cubicBezTo>
                      <a:pt x="38433" y="7144"/>
                      <a:pt x="34166" y="11401"/>
                      <a:pt x="34166" y="16669"/>
                    </a:cubicBezTo>
                    <a:lnTo>
                      <a:pt x="34166" y="82944"/>
                    </a:lnTo>
                    <a:cubicBezTo>
                      <a:pt x="34166" y="88211"/>
                      <a:pt x="38433" y="92469"/>
                      <a:pt x="43691" y="92469"/>
                    </a:cubicBezTo>
                    <a:lnTo>
                      <a:pt x="57741" y="92469"/>
                    </a:lnTo>
                    <a:lnTo>
                      <a:pt x="57741" y="683819"/>
                    </a:lnTo>
                    <a:lnTo>
                      <a:pt x="16669" y="683819"/>
                    </a:lnTo>
                    <a:cubicBezTo>
                      <a:pt x="11411" y="683819"/>
                      <a:pt x="7144" y="688076"/>
                      <a:pt x="7144" y="693344"/>
                    </a:cubicBezTo>
                    <a:lnTo>
                      <a:pt x="7144" y="759619"/>
                    </a:lnTo>
                    <a:cubicBezTo>
                      <a:pt x="7144" y="764886"/>
                      <a:pt x="11411" y="769144"/>
                      <a:pt x="16669" y="769144"/>
                    </a:cubicBezTo>
                    <a:close/>
                    <a:moveTo>
                      <a:pt x="53216" y="26194"/>
                    </a:moveTo>
                    <a:lnTo>
                      <a:pt x="723062" y="26194"/>
                    </a:lnTo>
                    <a:lnTo>
                      <a:pt x="723062" y="73419"/>
                    </a:lnTo>
                    <a:lnTo>
                      <a:pt x="53216" y="73419"/>
                    </a:lnTo>
                    <a:lnTo>
                      <a:pt x="53216" y="26194"/>
                    </a:lnTo>
                    <a:close/>
                    <a:moveTo>
                      <a:pt x="76791" y="92469"/>
                    </a:moveTo>
                    <a:lnTo>
                      <a:pt x="699487" y="92469"/>
                    </a:lnTo>
                    <a:lnTo>
                      <a:pt x="699487" y="683819"/>
                    </a:lnTo>
                    <a:lnTo>
                      <a:pt x="496491" y="683819"/>
                    </a:lnTo>
                    <a:lnTo>
                      <a:pt x="496491" y="470402"/>
                    </a:lnTo>
                    <a:cubicBezTo>
                      <a:pt x="496491" y="465134"/>
                      <a:pt x="492223" y="460877"/>
                      <a:pt x="486966" y="460877"/>
                    </a:cubicBezTo>
                    <a:lnTo>
                      <a:pt x="289322" y="460877"/>
                    </a:lnTo>
                    <a:cubicBezTo>
                      <a:pt x="284064" y="460877"/>
                      <a:pt x="279797" y="465134"/>
                      <a:pt x="279797" y="470402"/>
                    </a:cubicBezTo>
                    <a:lnTo>
                      <a:pt x="279797" y="683819"/>
                    </a:lnTo>
                    <a:lnTo>
                      <a:pt x="76791" y="683819"/>
                    </a:lnTo>
                    <a:lnTo>
                      <a:pt x="76791" y="92469"/>
                    </a:lnTo>
                    <a:close/>
                    <a:moveTo>
                      <a:pt x="298847" y="683819"/>
                    </a:moveTo>
                    <a:lnTo>
                      <a:pt x="298847" y="479927"/>
                    </a:lnTo>
                    <a:lnTo>
                      <a:pt x="378619" y="479927"/>
                    </a:lnTo>
                    <a:lnTo>
                      <a:pt x="378619" y="683819"/>
                    </a:lnTo>
                    <a:lnTo>
                      <a:pt x="298847" y="683819"/>
                    </a:lnTo>
                    <a:close/>
                    <a:moveTo>
                      <a:pt x="397669" y="479927"/>
                    </a:moveTo>
                    <a:lnTo>
                      <a:pt x="477441" y="479927"/>
                    </a:lnTo>
                    <a:lnTo>
                      <a:pt x="477441" y="683819"/>
                    </a:lnTo>
                    <a:lnTo>
                      <a:pt x="397669" y="683819"/>
                    </a:lnTo>
                    <a:lnTo>
                      <a:pt x="397669" y="479927"/>
                    </a:lnTo>
                    <a:close/>
                    <a:moveTo>
                      <a:pt x="26194" y="702869"/>
                    </a:moveTo>
                    <a:lnTo>
                      <a:pt x="750094" y="702869"/>
                    </a:lnTo>
                    <a:lnTo>
                      <a:pt x="750094" y="750094"/>
                    </a:lnTo>
                    <a:lnTo>
                      <a:pt x="26194" y="750094"/>
                    </a:lnTo>
                    <a:lnTo>
                      <a:pt x="26194" y="702869"/>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1" name="Freeform: Shape 499">
                <a:extLst>
                  <a:ext uri="{FF2B5EF4-FFF2-40B4-BE49-F238E27FC236}">
                    <a16:creationId xmlns:a16="http://schemas.microsoft.com/office/drawing/2014/main" id="{C234E4DC-8BF4-4232-B4C7-D48E7F3CC541}"/>
                  </a:ext>
                </a:extLst>
              </p:cNvPr>
              <p:cNvSpPr/>
              <p:nvPr/>
            </p:nvSpPr>
            <p:spPr>
              <a:xfrm>
                <a:off x="6763393" y="2783495"/>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2" name="Freeform: Shape 500">
                <a:extLst>
                  <a:ext uri="{FF2B5EF4-FFF2-40B4-BE49-F238E27FC236}">
                    <a16:creationId xmlns:a16="http://schemas.microsoft.com/office/drawing/2014/main" id="{244FF703-73B5-400C-AF9D-E63E9295D613}"/>
                  </a:ext>
                </a:extLst>
              </p:cNvPr>
              <p:cNvSpPr/>
              <p:nvPr/>
            </p:nvSpPr>
            <p:spPr>
              <a:xfrm>
                <a:off x="6443270" y="2783495"/>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3" name="Freeform: Shape 501">
                <a:extLst>
                  <a:ext uri="{FF2B5EF4-FFF2-40B4-BE49-F238E27FC236}">
                    <a16:creationId xmlns:a16="http://schemas.microsoft.com/office/drawing/2014/main" id="{5A7F3558-AB63-49D2-85F8-78BD0CF39CA9}"/>
                  </a:ext>
                </a:extLst>
              </p:cNvPr>
              <p:cNvSpPr/>
              <p:nvPr/>
            </p:nvSpPr>
            <p:spPr>
              <a:xfrm>
                <a:off x="6763393" y="2666668"/>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4" name="Freeform: Shape 502">
                <a:extLst>
                  <a:ext uri="{FF2B5EF4-FFF2-40B4-BE49-F238E27FC236}">
                    <a16:creationId xmlns:a16="http://schemas.microsoft.com/office/drawing/2014/main" id="{E491DDF7-1F22-4026-B037-0EE1E8E2CA8B}"/>
                  </a:ext>
                </a:extLst>
              </p:cNvPr>
              <p:cNvSpPr/>
              <p:nvPr/>
            </p:nvSpPr>
            <p:spPr>
              <a:xfrm>
                <a:off x="6656766" y="2666668"/>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5" name="Freeform: Shape 503">
                <a:extLst>
                  <a:ext uri="{FF2B5EF4-FFF2-40B4-BE49-F238E27FC236}">
                    <a16:creationId xmlns:a16="http://schemas.microsoft.com/office/drawing/2014/main" id="{E90C71D2-FD0E-4DEB-9168-156B709B7248}"/>
                  </a:ext>
                </a:extLst>
              </p:cNvPr>
              <p:cNvSpPr/>
              <p:nvPr/>
            </p:nvSpPr>
            <p:spPr>
              <a:xfrm>
                <a:off x="6550817" y="2666668"/>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6" name="Freeform: Shape 504">
                <a:extLst>
                  <a:ext uri="{FF2B5EF4-FFF2-40B4-BE49-F238E27FC236}">
                    <a16:creationId xmlns:a16="http://schemas.microsoft.com/office/drawing/2014/main" id="{468FE0E6-2E10-4571-BEF4-B972DC8A5716}"/>
                  </a:ext>
                </a:extLst>
              </p:cNvPr>
              <p:cNvSpPr/>
              <p:nvPr/>
            </p:nvSpPr>
            <p:spPr>
              <a:xfrm>
                <a:off x="6656766" y="2549842"/>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7" name="Freeform: Shape 505">
                <a:extLst>
                  <a:ext uri="{FF2B5EF4-FFF2-40B4-BE49-F238E27FC236}">
                    <a16:creationId xmlns:a16="http://schemas.microsoft.com/office/drawing/2014/main" id="{F0A130AE-D6CA-496A-B0ED-AA509C171A77}"/>
                  </a:ext>
                </a:extLst>
              </p:cNvPr>
              <p:cNvSpPr/>
              <p:nvPr/>
            </p:nvSpPr>
            <p:spPr>
              <a:xfrm>
                <a:off x="6550817" y="2549842"/>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8" name="Freeform: Shape 506">
                <a:extLst>
                  <a:ext uri="{FF2B5EF4-FFF2-40B4-BE49-F238E27FC236}">
                    <a16:creationId xmlns:a16="http://schemas.microsoft.com/office/drawing/2014/main" id="{38D846A2-5C49-4B78-9042-3EC8C7F82DBC}"/>
                  </a:ext>
                </a:extLst>
              </p:cNvPr>
              <p:cNvSpPr/>
              <p:nvPr/>
            </p:nvSpPr>
            <p:spPr>
              <a:xfrm>
                <a:off x="6443270" y="2666668"/>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9" name="Freeform: Shape 507">
                <a:extLst>
                  <a:ext uri="{FF2B5EF4-FFF2-40B4-BE49-F238E27FC236}">
                    <a16:creationId xmlns:a16="http://schemas.microsoft.com/office/drawing/2014/main" id="{0D4ADF69-2385-428D-8373-8B0535DBF489}"/>
                  </a:ext>
                </a:extLst>
              </p:cNvPr>
              <p:cNvSpPr/>
              <p:nvPr/>
            </p:nvSpPr>
            <p:spPr>
              <a:xfrm>
                <a:off x="6763393" y="2549842"/>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0" name="Freeform: Shape 508">
                <a:extLst>
                  <a:ext uri="{FF2B5EF4-FFF2-40B4-BE49-F238E27FC236}">
                    <a16:creationId xmlns:a16="http://schemas.microsoft.com/office/drawing/2014/main" id="{13EEFAC8-E33D-459A-A23D-4545B64E5E74}"/>
                  </a:ext>
                </a:extLst>
              </p:cNvPr>
              <p:cNvSpPr/>
              <p:nvPr/>
            </p:nvSpPr>
            <p:spPr>
              <a:xfrm>
                <a:off x="6443270" y="2549842"/>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551" name="Group 550">
              <a:extLst>
                <a:ext uri="{FF2B5EF4-FFF2-40B4-BE49-F238E27FC236}">
                  <a16:creationId xmlns:a16="http://schemas.microsoft.com/office/drawing/2014/main" id="{414C381E-3EF6-49FD-8548-F64955F2A892}"/>
                </a:ext>
              </a:extLst>
            </p:cNvPr>
            <p:cNvGrpSpPr/>
            <p:nvPr/>
          </p:nvGrpSpPr>
          <p:grpSpPr>
            <a:xfrm>
              <a:off x="8710808" y="2446457"/>
              <a:ext cx="577078" cy="577079"/>
              <a:chOff x="5709056" y="2921793"/>
              <a:chExt cx="771525" cy="771525"/>
            </a:xfrm>
            <a:solidFill>
              <a:srgbClr val="999999"/>
            </a:solidFill>
          </p:grpSpPr>
          <p:sp>
            <p:nvSpPr>
              <p:cNvPr id="649" name="Freeform: Shape 447">
                <a:extLst>
                  <a:ext uri="{FF2B5EF4-FFF2-40B4-BE49-F238E27FC236}">
                    <a16:creationId xmlns:a16="http://schemas.microsoft.com/office/drawing/2014/main" id="{2019140F-7B51-422A-B271-1EB6183FC1B7}"/>
                  </a:ext>
                </a:extLst>
              </p:cNvPr>
              <p:cNvSpPr/>
              <p:nvPr/>
            </p:nvSpPr>
            <p:spPr>
              <a:xfrm>
                <a:off x="5709056" y="2921793"/>
                <a:ext cx="771525" cy="771525"/>
              </a:xfrm>
              <a:custGeom>
                <a:avLst/>
                <a:gdLst>
                  <a:gd name="connsiteX0" fmla="*/ 16669 w 771525"/>
                  <a:gd name="connsiteY0" fmla="*/ 769144 h 771525"/>
                  <a:gd name="connsiteX1" fmla="*/ 759619 w 771525"/>
                  <a:gd name="connsiteY1" fmla="*/ 769144 h 771525"/>
                  <a:gd name="connsiteX2" fmla="*/ 769144 w 771525"/>
                  <a:gd name="connsiteY2" fmla="*/ 759619 h 771525"/>
                  <a:gd name="connsiteX3" fmla="*/ 769144 w 771525"/>
                  <a:gd name="connsiteY3" fmla="*/ 693344 h 771525"/>
                  <a:gd name="connsiteX4" fmla="*/ 759619 w 771525"/>
                  <a:gd name="connsiteY4" fmla="*/ 683819 h 771525"/>
                  <a:gd name="connsiteX5" fmla="*/ 718547 w 771525"/>
                  <a:gd name="connsiteY5" fmla="*/ 683819 h 771525"/>
                  <a:gd name="connsiteX6" fmla="*/ 718547 w 771525"/>
                  <a:gd name="connsiteY6" fmla="*/ 92469 h 771525"/>
                  <a:gd name="connsiteX7" fmla="*/ 732596 w 771525"/>
                  <a:gd name="connsiteY7" fmla="*/ 92469 h 771525"/>
                  <a:gd name="connsiteX8" fmla="*/ 742121 w 771525"/>
                  <a:gd name="connsiteY8" fmla="*/ 82944 h 771525"/>
                  <a:gd name="connsiteX9" fmla="*/ 742121 w 771525"/>
                  <a:gd name="connsiteY9" fmla="*/ 16669 h 771525"/>
                  <a:gd name="connsiteX10" fmla="*/ 732596 w 771525"/>
                  <a:gd name="connsiteY10" fmla="*/ 7144 h 771525"/>
                  <a:gd name="connsiteX11" fmla="*/ 43691 w 771525"/>
                  <a:gd name="connsiteY11" fmla="*/ 7144 h 771525"/>
                  <a:gd name="connsiteX12" fmla="*/ 34166 w 771525"/>
                  <a:gd name="connsiteY12" fmla="*/ 16669 h 771525"/>
                  <a:gd name="connsiteX13" fmla="*/ 34166 w 771525"/>
                  <a:gd name="connsiteY13" fmla="*/ 82944 h 771525"/>
                  <a:gd name="connsiteX14" fmla="*/ 43691 w 771525"/>
                  <a:gd name="connsiteY14" fmla="*/ 92469 h 771525"/>
                  <a:gd name="connsiteX15" fmla="*/ 57741 w 771525"/>
                  <a:gd name="connsiteY15" fmla="*/ 92469 h 771525"/>
                  <a:gd name="connsiteX16" fmla="*/ 57741 w 771525"/>
                  <a:gd name="connsiteY16" fmla="*/ 683819 h 771525"/>
                  <a:gd name="connsiteX17" fmla="*/ 16669 w 771525"/>
                  <a:gd name="connsiteY17" fmla="*/ 683819 h 771525"/>
                  <a:gd name="connsiteX18" fmla="*/ 7144 w 771525"/>
                  <a:gd name="connsiteY18" fmla="*/ 693344 h 771525"/>
                  <a:gd name="connsiteX19" fmla="*/ 7144 w 771525"/>
                  <a:gd name="connsiteY19" fmla="*/ 759619 h 771525"/>
                  <a:gd name="connsiteX20" fmla="*/ 16669 w 771525"/>
                  <a:gd name="connsiteY20" fmla="*/ 769144 h 771525"/>
                  <a:gd name="connsiteX21" fmla="*/ 53216 w 771525"/>
                  <a:gd name="connsiteY21" fmla="*/ 26194 h 771525"/>
                  <a:gd name="connsiteX22" fmla="*/ 723062 w 771525"/>
                  <a:gd name="connsiteY22" fmla="*/ 26194 h 771525"/>
                  <a:gd name="connsiteX23" fmla="*/ 723062 w 771525"/>
                  <a:gd name="connsiteY23" fmla="*/ 73419 h 771525"/>
                  <a:gd name="connsiteX24" fmla="*/ 53216 w 771525"/>
                  <a:gd name="connsiteY24" fmla="*/ 73419 h 771525"/>
                  <a:gd name="connsiteX25" fmla="*/ 53216 w 771525"/>
                  <a:gd name="connsiteY25" fmla="*/ 26194 h 771525"/>
                  <a:gd name="connsiteX26" fmla="*/ 76791 w 771525"/>
                  <a:gd name="connsiteY26" fmla="*/ 92469 h 771525"/>
                  <a:gd name="connsiteX27" fmla="*/ 699487 w 771525"/>
                  <a:gd name="connsiteY27" fmla="*/ 92469 h 771525"/>
                  <a:gd name="connsiteX28" fmla="*/ 699487 w 771525"/>
                  <a:gd name="connsiteY28" fmla="*/ 683819 h 771525"/>
                  <a:gd name="connsiteX29" fmla="*/ 496491 w 771525"/>
                  <a:gd name="connsiteY29" fmla="*/ 683819 h 771525"/>
                  <a:gd name="connsiteX30" fmla="*/ 496491 w 771525"/>
                  <a:gd name="connsiteY30" fmla="*/ 470402 h 771525"/>
                  <a:gd name="connsiteX31" fmla="*/ 486966 w 771525"/>
                  <a:gd name="connsiteY31" fmla="*/ 460877 h 771525"/>
                  <a:gd name="connsiteX32" fmla="*/ 289322 w 771525"/>
                  <a:gd name="connsiteY32" fmla="*/ 460877 h 771525"/>
                  <a:gd name="connsiteX33" fmla="*/ 279797 w 771525"/>
                  <a:gd name="connsiteY33" fmla="*/ 470402 h 771525"/>
                  <a:gd name="connsiteX34" fmla="*/ 279797 w 771525"/>
                  <a:gd name="connsiteY34" fmla="*/ 683819 h 771525"/>
                  <a:gd name="connsiteX35" fmla="*/ 76791 w 771525"/>
                  <a:gd name="connsiteY35" fmla="*/ 683819 h 771525"/>
                  <a:gd name="connsiteX36" fmla="*/ 76791 w 771525"/>
                  <a:gd name="connsiteY36" fmla="*/ 92469 h 771525"/>
                  <a:gd name="connsiteX37" fmla="*/ 298847 w 771525"/>
                  <a:gd name="connsiteY37" fmla="*/ 683819 h 771525"/>
                  <a:gd name="connsiteX38" fmla="*/ 298847 w 771525"/>
                  <a:gd name="connsiteY38" fmla="*/ 479927 h 771525"/>
                  <a:gd name="connsiteX39" fmla="*/ 378619 w 771525"/>
                  <a:gd name="connsiteY39" fmla="*/ 479927 h 771525"/>
                  <a:gd name="connsiteX40" fmla="*/ 378619 w 771525"/>
                  <a:gd name="connsiteY40" fmla="*/ 683819 h 771525"/>
                  <a:gd name="connsiteX41" fmla="*/ 298847 w 771525"/>
                  <a:gd name="connsiteY41" fmla="*/ 683819 h 771525"/>
                  <a:gd name="connsiteX42" fmla="*/ 397669 w 771525"/>
                  <a:gd name="connsiteY42" fmla="*/ 479927 h 771525"/>
                  <a:gd name="connsiteX43" fmla="*/ 477441 w 771525"/>
                  <a:gd name="connsiteY43" fmla="*/ 479927 h 771525"/>
                  <a:gd name="connsiteX44" fmla="*/ 477441 w 771525"/>
                  <a:gd name="connsiteY44" fmla="*/ 683819 h 771525"/>
                  <a:gd name="connsiteX45" fmla="*/ 397669 w 771525"/>
                  <a:gd name="connsiteY45" fmla="*/ 683819 h 771525"/>
                  <a:gd name="connsiteX46" fmla="*/ 397669 w 771525"/>
                  <a:gd name="connsiteY46" fmla="*/ 479927 h 771525"/>
                  <a:gd name="connsiteX47" fmla="*/ 26194 w 771525"/>
                  <a:gd name="connsiteY47" fmla="*/ 702869 h 771525"/>
                  <a:gd name="connsiteX48" fmla="*/ 750094 w 771525"/>
                  <a:gd name="connsiteY48" fmla="*/ 702869 h 771525"/>
                  <a:gd name="connsiteX49" fmla="*/ 750094 w 771525"/>
                  <a:gd name="connsiteY49" fmla="*/ 750094 h 771525"/>
                  <a:gd name="connsiteX50" fmla="*/ 26194 w 771525"/>
                  <a:gd name="connsiteY50" fmla="*/ 750094 h 771525"/>
                  <a:gd name="connsiteX51" fmla="*/ 26194 w 771525"/>
                  <a:gd name="connsiteY51" fmla="*/ 702869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771525" h="771525">
                    <a:moveTo>
                      <a:pt x="16669" y="769144"/>
                    </a:moveTo>
                    <a:lnTo>
                      <a:pt x="759619" y="769144"/>
                    </a:lnTo>
                    <a:cubicBezTo>
                      <a:pt x="764877" y="769144"/>
                      <a:pt x="769144" y="764886"/>
                      <a:pt x="769144" y="759619"/>
                    </a:cubicBezTo>
                    <a:lnTo>
                      <a:pt x="769144" y="693344"/>
                    </a:lnTo>
                    <a:cubicBezTo>
                      <a:pt x="769144" y="688076"/>
                      <a:pt x="764877" y="683819"/>
                      <a:pt x="759619" y="683819"/>
                    </a:cubicBezTo>
                    <a:lnTo>
                      <a:pt x="718547" y="683819"/>
                    </a:lnTo>
                    <a:lnTo>
                      <a:pt x="718547" y="92469"/>
                    </a:lnTo>
                    <a:lnTo>
                      <a:pt x="732596" y="92469"/>
                    </a:lnTo>
                    <a:cubicBezTo>
                      <a:pt x="737854" y="92469"/>
                      <a:pt x="742121" y="88211"/>
                      <a:pt x="742121" y="82944"/>
                    </a:cubicBezTo>
                    <a:lnTo>
                      <a:pt x="742121" y="16669"/>
                    </a:lnTo>
                    <a:cubicBezTo>
                      <a:pt x="742121" y="11401"/>
                      <a:pt x="737854" y="7144"/>
                      <a:pt x="732596" y="7144"/>
                    </a:cubicBezTo>
                    <a:lnTo>
                      <a:pt x="43691" y="7144"/>
                    </a:lnTo>
                    <a:cubicBezTo>
                      <a:pt x="38433" y="7144"/>
                      <a:pt x="34166" y="11401"/>
                      <a:pt x="34166" y="16669"/>
                    </a:cubicBezTo>
                    <a:lnTo>
                      <a:pt x="34166" y="82944"/>
                    </a:lnTo>
                    <a:cubicBezTo>
                      <a:pt x="34166" y="88211"/>
                      <a:pt x="38433" y="92469"/>
                      <a:pt x="43691" y="92469"/>
                    </a:cubicBezTo>
                    <a:lnTo>
                      <a:pt x="57741" y="92469"/>
                    </a:lnTo>
                    <a:lnTo>
                      <a:pt x="57741" y="683819"/>
                    </a:lnTo>
                    <a:lnTo>
                      <a:pt x="16669" y="683819"/>
                    </a:lnTo>
                    <a:cubicBezTo>
                      <a:pt x="11411" y="683819"/>
                      <a:pt x="7144" y="688076"/>
                      <a:pt x="7144" y="693344"/>
                    </a:cubicBezTo>
                    <a:lnTo>
                      <a:pt x="7144" y="759619"/>
                    </a:lnTo>
                    <a:cubicBezTo>
                      <a:pt x="7144" y="764886"/>
                      <a:pt x="11411" y="769144"/>
                      <a:pt x="16669" y="769144"/>
                    </a:cubicBezTo>
                    <a:close/>
                    <a:moveTo>
                      <a:pt x="53216" y="26194"/>
                    </a:moveTo>
                    <a:lnTo>
                      <a:pt x="723062" y="26194"/>
                    </a:lnTo>
                    <a:lnTo>
                      <a:pt x="723062" y="73419"/>
                    </a:lnTo>
                    <a:lnTo>
                      <a:pt x="53216" y="73419"/>
                    </a:lnTo>
                    <a:lnTo>
                      <a:pt x="53216" y="26194"/>
                    </a:lnTo>
                    <a:close/>
                    <a:moveTo>
                      <a:pt x="76791" y="92469"/>
                    </a:moveTo>
                    <a:lnTo>
                      <a:pt x="699487" y="92469"/>
                    </a:lnTo>
                    <a:lnTo>
                      <a:pt x="699487" y="683819"/>
                    </a:lnTo>
                    <a:lnTo>
                      <a:pt x="496491" y="683819"/>
                    </a:lnTo>
                    <a:lnTo>
                      <a:pt x="496491" y="470402"/>
                    </a:lnTo>
                    <a:cubicBezTo>
                      <a:pt x="496491" y="465134"/>
                      <a:pt x="492223" y="460877"/>
                      <a:pt x="486966" y="460877"/>
                    </a:cubicBezTo>
                    <a:lnTo>
                      <a:pt x="289322" y="460877"/>
                    </a:lnTo>
                    <a:cubicBezTo>
                      <a:pt x="284064" y="460877"/>
                      <a:pt x="279797" y="465134"/>
                      <a:pt x="279797" y="470402"/>
                    </a:cubicBezTo>
                    <a:lnTo>
                      <a:pt x="279797" y="683819"/>
                    </a:lnTo>
                    <a:lnTo>
                      <a:pt x="76791" y="683819"/>
                    </a:lnTo>
                    <a:lnTo>
                      <a:pt x="76791" y="92469"/>
                    </a:lnTo>
                    <a:close/>
                    <a:moveTo>
                      <a:pt x="298847" y="683819"/>
                    </a:moveTo>
                    <a:lnTo>
                      <a:pt x="298847" y="479927"/>
                    </a:lnTo>
                    <a:lnTo>
                      <a:pt x="378619" y="479927"/>
                    </a:lnTo>
                    <a:lnTo>
                      <a:pt x="378619" y="683819"/>
                    </a:lnTo>
                    <a:lnTo>
                      <a:pt x="298847" y="683819"/>
                    </a:lnTo>
                    <a:close/>
                    <a:moveTo>
                      <a:pt x="397669" y="479927"/>
                    </a:moveTo>
                    <a:lnTo>
                      <a:pt x="477441" y="479927"/>
                    </a:lnTo>
                    <a:lnTo>
                      <a:pt x="477441" y="683819"/>
                    </a:lnTo>
                    <a:lnTo>
                      <a:pt x="397669" y="683819"/>
                    </a:lnTo>
                    <a:lnTo>
                      <a:pt x="397669" y="479927"/>
                    </a:lnTo>
                    <a:close/>
                    <a:moveTo>
                      <a:pt x="26194" y="702869"/>
                    </a:moveTo>
                    <a:lnTo>
                      <a:pt x="750094" y="702869"/>
                    </a:lnTo>
                    <a:lnTo>
                      <a:pt x="750094" y="750094"/>
                    </a:lnTo>
                    <a:lnTo>
                      <a:pt x="26194" y="750094"/>
                    </a:lnTo>
                    <a:lnTo>
                      <a:pt x="26194" y="70286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0" name="Freeform: Shape 448">
                <a:extLst>
                  <a:ext uri="{FF2B5EF4-FFF2-40B4-BE49-F238E27FC236}">
                    <a16:creationId xmlns:a16="http://schemas.microsoft.com/office/drawing/2014/main" id="{F454034B-6763-4A0A-B0FE-D1DB9F72670E}"/>
                  </a:ext>
                </a:extLst>
              </p:cNvPr>
              <p:cNvSpPr/>
              <p:nvPr/>
            </p:nvSpPr>
            <p:spPr>
              <a:xfrm>
                <a:off x="6256849" y="337441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1" name="Freeform: Shape 449">
                <a:extLst>
                  <a:ext uri="{FF2B5EF4-FFF2-40B4-BE49-F238E27FC236}">
                    <a16:creationId xmlns:a16="http://schemas.microsoft.com/office/drawing/2014/main" id="{24EF349C-A899-4CF6-B22D-E0DCD32D8C30}"/>
                  </a:ext>
                </a:extLst>
              </p:cNvPr>
              <p:cNvSpPr/>
              <p:nvPr/>
            </p:nvSpPr>
            <p:spPr>
              <a:xfrm>
                <a:off x="5842511" y="3374412"/>
                <a:ext cx="85725" cy="123825"/>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2" name="Freeform: Shape 450">
                <a:extLst>
                  <a:ext uri="{FF2B5EF4-FFF2-40B4-BE49-F238E27FC236}">
                    <a16:creationId xmlns:a16="http://schemas.microsoft.com/office/drawing/2014/main" id="{7F3FE53C-CBF1-48F9-BA17-9AC14B5F8DAF}"/>
                  </a:ext>
                </a:extLst>
              </p:cNvPr>
              <p:cNvSpPr/>
              <p:nvPr/>
            </p:nvSpPr>
            <p:spPr>
              <a:xfrm>
                <a:off x="6256849" y="322320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3" name="Freeform: Shape 451">
                <a:extLst>
                  <a:ext uri="{FF2B5EF4-FFF2-40B4-BE49-F238E27FC236}">
                    <a16:creationId xmlns:a16="http://schemas.microsoft.com/office/drawing/2014/main" id="{A8683496-7CDF-4C07-B477-B23572014B8D}"/>
                  </a:ext>
                </a:extLst>
              </p:cNvPr>
              <p:cNvSpPr/>
              <p:nvPr/>
            </p:nvSpPr>
            <p:spPr>
              <a:xfrm>
                <a:off x="6118841" y="322320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4" name="Freeform: Shape 452">
                <a:extLst>
                  <a:ext uri="{FF2B5EF4-FFF2-40B4-BE49-F238E27FC236}">
                    <a16:creationId xmlns:a16="http://schemas.microsoft.com/office/drawing/2014/main" id="{E2309ABB-96AB-40B1-9E0A-EDF4B55385B7}"/>
                  </a:ext>
                </a:extLst>
              </p:cNvPr>
              <p:cNvSpPr/>
              <p:nvPr/>
            </p:nvSpPr>
            <p:spPr>
              <a:xfrm>
                <a:off x="5981710" y="322320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5" name="Freeform: Shape 453">
                <a:extLst>
                  <a:ext uri="{FF2B5EF4-FFF2-40B4-BE49-F238E27FC236}">
                    <a16:creationId xmlns:a16="http://schemas.microsoft.com/office/drawing/2014/main" id="{F9BD3954-FCD8-4AE4-845C-21F5BEA83024}"/>
                  </a:ext>
                </a:extLst>
              </p:cNvPr>
              <p:cNvSpPr/>
              <p:nvPr/>
            </p:nvSpPr>
            <p:spPr>
              <a:xfrm>
                <a:off x="6118841" y="3071993"/>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6" name="Freeform: Shape 454">
                <a:extLst>
                  <a:ext uri="{FF2B5EF4-FFF2-40B4-BE49-F238E27FC236}">
                    <a16:creationId xmlns:a16="http://schemas.microsoft.com/office/drawing/2014/main" id="{76CA987B-3DC7-4A24-9F8E-6D6C6CD1AAFB}"/>
                  </a:ext>
                </a:extLst>
              </p:cNvPr>
              <p:cNvSpPr/>
              <p:nvPr/>
            </p:nvSpPr>
            <p:spPr>
              <a:xfrm>
                <a:off x="5981710" y="3071993"/>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7" name="Freeform: Shape 455">
                <a:extLst>
                  <a:ext uri="{FF2B5EF4-FFF2-40B4-BE49-F238E27FC236}">
                    <a16:creationId xmlns:a16="http://schemas.microsoft.com/office/drawing/2014/main" id="{D84E9FFA-61A1-4597-A96A-AF267E0FA218}"/>
                  </a:ext>
                </a:extLst>
              </p:cNvPr>
              <p:cNvSpPr/>
              <p:nvPr/>
            </p:nvSpPr>
            <p:spPr>
              <a:xfrm>
                <a:off x="5842511" y="3223202"/>
                <a:ext cx="85725" cy="123825"/>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8" name="Freeform: Shape 456">
                <a:extLst>
                  <a:ext uri="{FF2B5EF4-FFF2-40B4-BE49-F238E27FC236}">
                    <a16:creationId xmlns:a16="http://schemas.microsoft.com/office/drawing/2014/main" id="{5B51065B-697D-458C-A1D3-CB303B7688C9}"/>
                  </a:ext>
                </a:extLst>
              </p:cNvPr>
              <p:cNvSpPr/>
              <p:nvPr/>
            </p:nvSpPr>
            <p:spPr>
              <a:xfrm>
                <a:off x="6256849" y="3071993"/>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9" name="Freeform: Shape 457">
                <a:extLst>
                  <a:ext uri="{FF2B5EF4-FFF2-40B4-BE49-F238E27FC236}">
                    <a16:creationId xmlns:a16="http://schemas.microsoft.com/office/drawing/2014/main" id="{F3140EAF-9D64-4078-BBA5-6E461F2BA9B2}"/>
                  </a:ext>
                </a:extLst>
              </p:cNvPr>
              <p:cNvSpPr/>
              <p:nvPr/>
            </p:nvSpPr>
            <p:spPr>
              <a:xfrm>
                <a:off x="5842511" y="3071993"/>
                <a:ext cx="85725" cy="123825"/>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552" name="Group 551">
              <a:extLst>
                <a:ext uri="{FF2B5EF4-FFF2-40B4-BE49-F238E27FC236}">
                  <a16:creationId xmlns:a16="http://schemas.microsoft.com/office/drawing/2014/main" id="{8619C4E9-DEE1-44AB-9CAF-7CBD4EEBBF30}"/>
                </a:ext>
              </a:extLst>
            </p:cNvPr>
            <p:cNvGrpSpPr/>
            <p:nvPr/>
          </p:nvGrpSpPr>
          <p:grpSpPr>
            <a:xfrm>
              <a:off x="7602496" y="1739620"/>
              <a:ext cx="570891" cy="1272744"/>
              <a:chOff x="7602496" y="1739620"/>
              <a:chExt cx="570891" cy="1272744"/>
            </a:xfrm>
          </p:grpSpPr>
          <p:sp>
            <p:nvSpPr>
              <p:cNvPr id="611" name="Rectangle 610">
                <a:extLst>
                  <a:ext uri="{FF2B5EF4-FFF2-40B4-BE49-F238E27FC236}">
                    <a16:creationId xmlns:a16="http://schemas.microsoft.com/office/drawing/2014/main" id="{6F025070-A94E-4FD2-A480-A14146E83AE7}"/>
                  </a:ext>
                </a:extLst>
              </p:cNvPr>
              <p:cNvSpPr/>
              <p:nvPr/>
            </p:nvSpPr>
            <p:spPr>
              <a:xfrm>
                <a:off x="7602496" y="1863445"/>
                <a:ext cx="570891" cy="1148919"/>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612" name="Group 611">
                <a:extLst>
                  <a:ext uri="{FF2B5EF4-FFF2-40B4-BE49-F238E27FC236}">
                    <a16:creationId xmlns:a16="http://schemas.microsoft.com/office/drawing/2014/main" id="{0743A971-F4D0-4F49-A5B4-23D41CF3C6F5}"/>
                  </a:ext>
                </a:extLst>
              </p:cNvPr>
              <p:cNvGrpSpPr/>
              <p:nvPr/>
            </p:nvGrpSpPr>
            <p:grpSpPr>
              <a:xfrm>
                <a:off x="7681520" y="1918017"/>
                <a:ext cx="386355" cy="212495"/>
                <a:chOff x="7681520" y="1918017"/>
                <a:chExt cx="386355" cy="212495"/>
              </a:xfrm>
            </p:grpSpPr>
            <p:sp>
              <p:nvSpPr>
                <p:cNvPr id="641" name="Freeform: Shape 613">
                  <a:extLst>
                    <a:ext uri="{FF2B5EF4-FFF2-40B4-BE49-F238E27FC236}">
                      <a16:creationId xmlns:a16="http://schemas.microsoft.com/office/drawing/2014/main" id="{31D3003D-69D0-43AB-8F47-3B90954BB0A0}"/>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2" name="Freeform: Shape 614">
                  <a:extLst>
                    <a:ext uri="{FF2B5EF4-FFF2-40B4-BE49-F238E27FC236}">
                      <a16:creationId xmlns:a16="http://schemas.microsoft.com/office/drawing/2014/main" id="{0ACDB22F-2041-487F-96F0-4D53C955592E}"/>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3" name="Freeform: Shape 615">
                  <a:extLst>
                    <a:ext uri="{FF2B5EF4-FFF2-40B4-BE49-F238E27FC236}">
                      <a16:creationId xmlns:a16="http://schemas.microsoft.com/office/drawing/2014/main" id="{1D0F5495-80E2-4276-AD8A-E2CCB8379B87}"/>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4" name="Freeform: Shape 616">
                  <a:extLst>
                    <a:ext uri="{FF2B5EF4-FFF2-40B4-BE49-F238E27FC236}">
                      <a16:creationId xmlns:a16="http://schemas.microsoft.com/office/drawing/2014/main" id="{75F5C856-CA0C-4DF8-ADE5-E9A692CC3F35}"/>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5" name="Freeform: Shape 617">
                  <a:extLst>
                    <a:ext uri="{FF2B5EF4-FFF2-40B4-BE49-F238E27FC236}">
                      <a16:creationId xmlns:a16="http://schemas.microsoft.com/office/drawing/2014/main" id="{03C41B6B-DF1C-413C-BF10-948DC90FEFF2}"/>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6" name="Freeform: Shape 618">
                  <a:extLst>
                    <a:ext uri="{FF2B5EF4-FFF2-40B4-BE49-F238E27FC236}">
                      <a16:creationId xmlns:a16="http://schemas.microsoft.com/office/drawing/2014/main" id="{B0871FBF-7C12-46A8-9D48-5E361F25A0E7}"/>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7" name="Freeform: Shape 619">
                  <a:extLst>
                    <a:ext uri="{FF2B5EF4-FFF2-40B4-BE49-F238E27FC236}">
                      <a16:creationId xmlns:a16="http://schemas.microsoft.com/office/drawing/2014/main" id="{23776C9E-D53A-47EB-914D-03DB163B75DA}"/>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8" name="Freeform: Shape 620">
                  <a:extLst>
                    <a:ext uri="{FF2B5EF4-FFF2-40B4-BE49-F238E27FC236}">
                      <a16:creationId xmlns:a16="http://schemas.microsoft.com/office/drawing/2014/main" id="{6FCE1129-6EEA-4818-9C22-5C96A9E1CB3E}"/>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613" name="Group 612">
                <a:extLst>
                  <a:ext uri="{FF2B5EF4-FFF2-40B4-BE49-F238E27FC236}">
                    <a16:creationId xmlns:a16="http://schemas.microsoft.com/office/drawing/2014/main" id="{623D1DE8-FB9E-431A-B1E6-25FADC13CD77}"/>
                  </a:ext>
                </a:extLst>
              </p:cNvPr>
              <p:cNvGrpSpPr/>
              <p:nvPr/>
            </p:nvGrpSpPr>
            <p:grpSpPr>
              <a:xfrm>
                <a:off x="7681520" y="2165667"/>
                <a:ext cx="386355" cy="212495"/>
                <a:chOff x="7681520" y="1918017"/>
                <a:chExt cx="386355" cy="212495"/>
              </a:xfrm>
            </p:grpSpPr>
            <p:sp>
              <p:nvSpPr>
                <p:cNvPr id="633" name="Freeform: Shape 622">
                  <a:extLst>
                    <a:ext uri="{FF2B5EF4-FFF2-40B4-BE49-F238E27FC236}">
                      <a16:creationId xmlns:a16="http://schemas.microsoft.com/office/drawing/2014/main" id="{5CFEA125-032F-43B6-A7B5-3B3E13B65B5A}"/>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4" name="Freeform: Shape 623">
                  <a:extLst>
                    <a:ext uri="{FF2B5EF4-FFF2-40B4-BE49-F238E27FC236}">
                      <a16:creationId xmlns:a16="http://schemas.microsoft.com/office/drawing/2014/main" id="{1F95517B-8B68-4881-8DC1-4963D259D046}"/>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5" name="Freeform: Shape 624">
                  <a:extLst>
                    <a:ext uri="{FF2B5EF4-FFF2-40B4-BE49-F238E27FC236}">
                      <a16:creationId xmlns:a16="http://schemas.microsoft.com/office/drawing/2014/main" id="{31A338DE-2041-42A7-852A-B440F865B845}"/>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6" name="Freeform: Shape 625">
                  <a:extLst>
                    <a:ext uri="{FF2B5EF4-FFF2-40B4-BE49-F238E27FC236}">
                      <a16:creationId xmlns:a16="http://schemas.microsoft.com/office/drawing/2014/main" id="{2FA7AE4D-85F2-4C1B-970B-4BD418277FDC}"/>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7" name="Freeform: Shape 626">
                  <a:extLst>
                    <a:ext uri="{FF2B5EF4-FFF2-40B4-BE49-F238E27FC236}">
                      <a16:creationId xmlns:a16="http://schemas.microsoft.com/office/drawing/2014/main" id="{2BB500AE-A26E-4651-B142-FEBDDFC045ED}"/>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8" name="Freeform: Shape 627">
                  <a:extLst>
                    <a:ext uri="{FF2B5EF4-FFF2-40B4-BE49-F238E27FC236}">
                      <a16:creationId xmlns:a16="http://schemas.microsoft.com/office/drawing/2014/main" id="{9E3F810C-862D-4C6A-A7D8-A313D39B6BB2}"/>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9" name="Freeform: Shape 628">
                  <a:extLst>
                    <a:ext uri="{FF2B5EF4-FFF2-40B4-BE49-F238E27FC236}">
                      <a16:creationId xmlns:a16="http://schemas.microsoft.com/office/drawing/2014/main" id="{D50613AF-9DAC-49B5-956A-94E8465E204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0" name="Freeform: Shape 629">
                  <a:extLst>
                    <a:ext uri="{FF2B5EF4-FFF2-40B4-BE49-F238E27FC236}">
                      <a16:creationId xmlns:a16="http://schemas.microsoft.com/office/drawing/2014/main" id="{4B9269CF-6878-4C31-B7A6-D3A91E055EC4}"/>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614" name="Group 613">
                <a:extLst>
                  <a:ext uri="{FF2B5EF4-FFF2-40B4-BE49-F238E27FC236}">
                    <a16:creationId xmlns:a16="http://schemas.microsoft.com/office/drawing/2014/main" id="{83398368-FF21-4690-9F47-3C01B401F17E}"/>
                  </a:ext>
                </a:extLst>
              </p:cNvPr>
              <p:cNvGrpSpPr/>
              <p:nvPr/>
            </p:nvGrpSpPr>
            <p:grpSpPr>
              <a:xfrm>
                <a:off x="7681520" y="2429192"/>
                <a:ext cx="386355" cy="212495"/>
                <a:chOff x="7681520" y="1918017"/>
                <a:chExt cx="386355" cy="212495"/>
              </a:xfrm>
            </p:grpSpPr>
            <p:sp>
              <p:nvSpPr>
                <p:cNvPr id="625" name="Freeform: Shape 631">
                  <a:extLst>
                    <a:ext uri="{FF2B5EF4-FFF2-40B4-BE49-F238E27FC236}">
                      <a16:creationId xmlns:a16="http://schemas.microsoft.com/office/drawing/2014/main" id="{FADF1AD1-FBC6-4AFA-B95A-C3E1A6ABAE76}"/>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6" name="Freeform: Shape 632">
                  <a:extLst>
                    <a:ext uri="{FF2B5EF4-FFF2-40B4-BE49-F238E27FC236}">
                      <a16:creationId xmlns:a16="http://schemas.microsoft.com/office/drawing/2014/main" id="{ECC23EDB-DDBE-4FD3-986F-B514BBCDA4EC}"/>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7" name="Freeform: Shape 633">
                  <a:extLst>
                    <a:ext uri="{FF2B5EF4-FFF2-40B4-BE49-F238E27FC236}">
                      <a16:creationId xmlns:a16="http://schemas.microsoft.com/office/drawing/2014/main" id="{9F2142F2-3069-4C1D-8EF2-F90C79FA3AB8}"/>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8" name="Freeform: Shape 634">
                  <a:extLst>
                    <a:ext uri="{FF2B5EF4-FFF2-40B4-BE49-F238E27FC236}">
                      <a16:creationId xmlns:a16="http://schemas.microsoft.com/office/drawing/2014/main" id="{B1EA25BE-5F9F-43FA-AEE5-154AD3736A64}"/>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9" name="Freeform: Shape 635">
                  <a:extLst>
                    <a:ext uri="{FF2B5EF4-FFF2-40B4-BE49-F238E27FC236}">
                      <a16:creationId xmlns:a16="http://schemas.microsoft.com/office/drawing/2014/main" id="{613BC104-4FCD-4B68-A3F0-1D79B4254772}"/>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0" name="Freeform: Shape 636">
                  <a:extLst>
                    <a:ext uri="{FF2B5EF4-FFF2-40B4-BE49-F238E27FC236}">
                      <a16:creationId xmlns:a16="http://schemas.microsoft.com/office/drawing/2014/main" id="{FD79181F-63B5-44AE-81D3-92203C35C660}"/>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1" name="Freeform: Shape 637">
                  <a:extLst>
                    <a:ext uri="{FF2B5EF4-FFF2-40B4-BE49-F238E27FC236}">
                      <a16:creationId xmlns:a16="http://schemas.microsoft.com/office/drawing/2014/main" id="{5F5F1658-98D3-480F-87EE-7864866DCD00}"/>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2" name="Freeform: Shape 638">
                  <a:extLst>
                    <a:ext uri="{FF2B5EF4-FFF2-40B4-BE49-F238E27FC236}">
                      <a16:creationId xmlns:a16="http://schemas.microsoft.com/office/drawing/2014/main" id="{0168CFCA-B35F-41A5-94B1-6202B4643E0A}"/>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615" name="Group 614">
                <a:extLst>
                  <a:ext uri="{FF2B5EF4-FFF2-40B4-BE49-F238E27FC236}">
                    <a16:creationId xmlns:a16="http://schemas.microsoft.com/office/drawing/2014/main" id="{1371FD26-6207-45DE-8FFF-F63928D3219E}"/>
                  </a:ext>
                </a:extLst>
              </p:cNvPr>
              <p:cNvGrpSpPr/>
              <p:nvPr/>
            </p:nvGrpSpPr>
            <p:grpSpPr>
              <a:xfrm>
                <a:off x="7681520" y="2692717"/>
                <a:ext cx="386355" cy="212495"/>
                <a:chOff x="7681520" y="1918017"/>
                <a:chExt cx="386355" cy="212495"/>
              </a:xfrm>
            </p:grpSpPr>
            <p:sp>
              <p:nvSpPr>
                <p:cNvPr id="617" name="Freeform: Shape 640">
                  <a:extLst>
                    <a:ext uri="{FF2B5EF4-FFF2-40B4-BE49-F238E27FC236}">
                      <a16:creationId xmlns:a16="http://schemas.microsoft.com/office/drawing/2014/main" id="{9227E197-9FA0-4FF6-B998-BCD32CACFCAF}"/>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8" name="Freeform: Shape 641">
                  <a:extLst>
                    <a:ext uri="{FF2B5EF4-FFF2-40B4-BE49-F238E27FC236}">
                      <a16:creationId xmlns:a16="http://schemas.microsoft.com/office/drawing/2014/main" id="{A62770A8-41DA-4AA6-8DB0-48B9FF5E7174}"/>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9" name="Freeform: Shape 642">
                  <a:extLst>
                    <a:ext uri="{FF2B5EF4-FFF2-40B4-BE49-F238E27FC236}">
                      <a16:creationId xmlns:a16="http://schemas.microsoft.com/office/drawing/2014/main" id="{99FD1C56-9940-44D5-B806-8F5641AED512}"/>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0" name="Freeform: Shape 643">
                  <a:extLst>
                    <a:ext uri="{FF2B5EF4-FFF2-40B4-BE49-F238E27FC236}">
                      <a16:creationId xmlns:a16="http://schemas.microsoft.com/office/drawing/2014/main" id="{F45FCD9E-03EF-4961-B467-A1363C31AA26}"/>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1" name="Freeform: Shape 644">
                  <a:extLst>
                    <a:ext uri="{FF2B5EF4-FFF2-40B4-BE49-F238E27FC236}">
                      <a16:creationId xmlns:a16="http://schemas.microsoft.com/office/drawing/2014/main" id="{D2678F5B-FFBA-44DD-829D-645CFC56D566}"/>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2" name="Freeform: Shape 645">
                  <a:extLst>
                    <a:ext uri="{FF2B5EF4-FFF2-40B4-BE49-F238E27FC236}">
                      <a16:creationId xmlns:a16="http://schemas.microsoft.com/office/drawing/2014/main" id="{46552C97-E191-4623-8588-29F039D488DC}"/>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3" name="Freeform: Shape 646">
                  <a:extLst>
                    <a:ext uri="{FF2B5EF4-FFF2-40B4-BE49-F238E27FC236}">
                      <a16:creationId xmlns:a16="http://schemas.microsoft.com/office/drawing/2014/main" id="{9C4EEF16-E9D3-42BB-B419-5978A70D805D}"/>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4" name="Freeform: Shape 647">
                  <a:extLst>
                    <a:ext uri="{FF2B5EF4-FFF2-40B4-BE49-F238E27FC236}">
                      <a16:creationId xmlns:a16="http://schemas.microsoft.com/office/drawing/2014/main" id="{D525B7EF-BF21-47F2-AC13-B8C9B1284233}"/>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616" name="Rectangle 615">
                <a:extLst>
                  <a:ext uri="{FF2B5EF4-FFF2-40B4-BE49-F238E27FC236}">
                    <a16:creationId xmlns:a16="http://schemas.microsoft.com/office/drawing/2014/main" id="{49F05559-D241-48B8-ADA8-3F58000635BC}"/>
                  </a:ext>
                </a:extLst>
              </p:cNvPr>
              <p:cNvSpPr/>
              <p:nvPr/>
            </p:nvSpPr>
            <p:spPr>
              <a:xfrm>
                <a:off x="7710446" y="1739620"/>
                <a:ext cx="363579" cy="124105"/>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grpSp>
          <p:nvGrpSpPr>
            <p:cNvPr id="553" name="Group 552">
              <a:extLst>
                <a:ext uri="{FF2B5EF4-FFF2-40B4-BE49-F238E27FC236}">
                  <a16:creationId xmlns:a16="http://schemas.microsoft.com/office/drawing/2014/main" id="{FEA3E8C3-F514-452F-874E-9F8AB70A629E}"/>
                </a:ext>
              </a:extLst>
            </p:cNvPr>
            <p:cNvGrpSpPr/>
            <p:nvPr/>
          </p:nvGrpSpPr>
          <p:grpSpPr>
            <a:xfrm>
              <a:off x="8177171" y="2098675"/>
              <a:ext cx="570891" cy="913689"/>
              <a:chOff x="8177171" y="2098675"/>
              <a:chExt cx="570891" cy="913689"/>
            </a:xfrm>
          </p:grpSpPr>
          <p:sp>
            <p:nvSpPr>
              <p:cNvPr id="583" name="Rectangle 582">
                <a:extLst>
                  <a:ext uri="{FF2B5EF4-FFF2-40B4-BE49-F238E27FC236}">
                    <a16:creationId xmlns:a16="http://schemas.microsoft.com/office/drawing/2014/main" id="{D35675EB-DAC8-44CA-A3E3-FF7673828F1F}"/>
                  </a:ext>
                </a:extLst>
              </p:cNvPr>
              <p:cNvSpPr/>
              <p:nvPr/>
            </p:nvSpPr>
            <p:spPr>
              <a:xfrm>
                <a:off x="8177171" y="2098675"/>
                <a:ext cx="570891" cy="913689"/>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584" name="Group 583">
                <a:extLst>
                  <a:ext uri="{FF2B5EF4-FFF2-40B4-BE49-F238E27FC236}">
                    <a16:creationId xmlns:a16="http://schemas.microsoft.com/office/drawing/2014/main" id="{E88663B7-7F40-4F03-BC22-E4F1ECE0F746}"/>
                  </a:ext>
                </a:extLst>
              </p:cNvPr>
              <p:cNvGrpSpPr/>
              <p:nvPr/>
            </p:nvGrpSpPr>
            <p:grpSpPr>
              <a:xfrm>
                <a:off x="8256195" y="2165667"/>
                <a:ext cx="386355" cy="212495"/>
                <a:chOff x="7681520" y="1918017"/>
                <a:chExt cx="386355" cy="212495"/>
              </a:xfrm>
            </p:grpSpPr>
            <p:sp>
              <p:nvSpPr>
                <p:cNvPr id="603" name="Freeform: Shape 670">
                  <a:extLst>
                    <a:ext uri="{FF2B5EF4-FFF2-40B4-BE49-F238E27FC236}">
                      <a16:creationId xmlns:a16="http://schemas.microsoft.com/office/drawing/2014/main" id="{A8137716-D672-4DC9-9B3E-259C52644D02}"/>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4" name="Freeform: Shape 671">
                  <a:extLst>
                    <a:ext uri="{FF2B5EF4-FFF2-40B4-BE49-F238E27FC236}">
                      <a16:creationId xmlns:a16="http://schemas.microsoft.com/office/drawing/2014/main" id="{4ED7132E-1AA7-4D65-93E4-5AF6FCB82695}"/>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5" name="Freeform: Shape 672">
                  <a:extLst>
                    <a:ext uri="{FF2B5EF4-FFF2-40B4-BE49-F238E27FC236}">
                      <a16:creationId xmlns:a16="http://schemas.microsoft.com/office/drawing/2014/main" id="{8DDFE472-0C23-4E92-8762-FE9269710FF3}"/>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6" name="Freeform: Shape 673">
                  <a:extLst>
                    <a:ext uri="{FF2B5EF4-FFF2-40B4-BE49-F238E27FC236}">
                      <a16:creationId xmlns:a16="http://schemas.microsoft.com/office/drawing/2014/main" id="{AF1C5192-1210-4FFB-81D5-35B4DE196F3C}"/>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7" name="Freeform: Shape 674">
                  <a:extLst>
                    <a:ext uri="{FF2B5EF4-FFF2-40B4-BE49-F238E27FC236}">
                      <a16:creationId xmlns:a16="http://schemas.microsoft.com/office/drawing/2014/main" id="{7FECE02D-BD9A-453F-90FC-782E497486DF}"/>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8" name="Freeform: Shape 675">
                  <a:extLst>
                    <a:ext uri="{FF2B5EF4-FFF2-40B4-BE49-F238E27FC236}">
                      <a16:creationId xmlns:a16="http://schemas.microsoft.com/office/drawing/2014/main" id="{2E87A703-6368-4475-B778-00D541B0C605}"/>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9" name="Freeform: Shape 676">
                  <a:extLst>
                    <a:ext uri="{FF2B5EF4-FFF2-40B4-BE49-F238E27FC236}">
                      <a16:creationId xmlns:a16="http://schemas.microsoft.com/office/drawing/2014/main" id="{2FF07726-6A9F-4C80-BACC-453BE1104DB5}"/>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0" name="Freeform: Shape 677">
                  <a:extLst>
                    <a:ext uri="{FF2B5EF4-FFF2-40B4-BE49-F238E27FC236}">
                      <a16:creationId xmlns:a16="http://schemas.microsoft.com/office/drawing/2014/main" id="{343B4E2C-23C4-471B-B287-CF1F22B8D71F}"/>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585" name="Group 584">
                <a:extLst>
                  <a:ext uri="{FF2B5EF4-FFF2-40B4-BE49-F238E27FC236}">
                    <a16:creationId xmlns:a16="http://schemas.microsoft.com/office/drawing/2014/main" id="{5EC42186-E0B0-4B42-A20D-A2E2F18DD4FD}"/>
                  </a:ext>
                </a:extLst>
              </p:cNvPr>
              <p:cNvGrpSpPr/>
              <p:nvPr/>
            </p:nvGrpSpPr>
            <p:grpSpPr>
              <a:xfrm>
                <a:off x="8256195" y="2429192"/>
                <a:ext cx="386355" cy="212495"/>
                <a:chOff x="7681520" y="1918017"/>
                <a:chExt cx="386355" cy="212495"/>
              </a:xfrm>
            </p:grpSpPr>
            <p:sp>
              <p:nvSpPr>
                <p:cNvPr id="595" name="Freeform: Shape 662">
                  <a:extLst>
                    <a:ext uri="{FF2B5EF4-FFF2-40B4-BE49-F238E27FC236}">
                      <a16:creationId xmlns:a16="http://schemas.microsoft.com/office/drawing/2014/main" id="{F5CD9D99-C5C7-43D6-A58F-C210C0D3148A}"/>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6" name="Freeform: Shape 663">
                  <a:extLst>
                    <a:ext uri="{FF2B5EF4-FFF2-40B4-BE49-F238E27FC236}">
                      <a16:creationId xmlns:a16="http://schemas.microsoft.com/office/drawing/2014/main" id="{5010DB45-97F6-43E3-BABD-611841BC84C1}"/>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7" name="Freeform: Shape 664">
                  <a:extLst>
                    <a:ext uri="{FF2B5EF4-FFF2-40B4-BE49-F238E27FC236}">
                      <a16:creationId xmlns:a16="http://schemas.microsoft.com/office/drawing/2014/main" id="{1A7A5710-8F56-4FE6-9D52-A395CE62612B}"/>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8" name="Freeform: Shape 665">
                  <a:extLst>
                    <a:ext uri="{FF2B5EF4-FFF2-40B4-BE49-F238E27FC236}">
                      <a16:creationId xmlns:a16="http://schemas.microsoft.com/office/drawing/2014/main" id="{59C8D57C-1648-447C-A166-D34CBDC404DC}"/>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9" name="Freeform: Shape 666">
                  <a:extLst>
                    <a:ext uri="{FF2B5EF4-FFF2-40B4-BE49-F238E27FC236}">
                      <a16:creationId xmlns:a16="http://schemas.microsoft.com/office/drawing/2014/main" id="{0348AE04-E05E-4E72-B18E-9CAC2E5699AE}"/>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0" name="Freeform: Shape 667">
                  <a:extLst>
                    <a:ext uri="{FF2B5EF4-FFF2-40B4-BE49-F238E27FC236}">
                      <a16:creationId xmlns:a16="http://schemas.microsoft.com/office/drawing/2014/main" id="{7531DB24-EFEE-462D-827D-C41060AACB53}"/>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1" name="Freeform: Shape 668">
                  <a:extLst>
                    <a:ext uri="{FF2B5EF4-FFF2-40B4-BE49-F238E27FC236}">
                      <a16:creationId xmlns:a16="http://schemas.microsoft.com/office/drawing/2014/main" id="{C2C381B5-CF91-45F4-BAE6-A514FBD82D30}"/>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2" name="Freeform: Shape 669">
                  <a:extLst>
                    <a:ext uri="{FF2B5EF4-FFF2-40B4-BE49-F238E27FC236}">
                      <a16:creationId xmlns:a16="http://schemas.microsoft.com/office/drawing/2014/main" id="{4AE38176-2FCA-48D8-917A-DF6F671DF3E2}"/>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586" name="Group 585">
                <a:extLst>
                  <a:ext uri="{FF2B5EF4-FFF2-40B4-BE49-F238E27FC236}">
                    <a16:creationId xmlns:a16="http://schemas.microsoft.com/office/drawing/2014/main" id="{72E74082-CEFB-4D10-91F2-8AE218698A18}"/>
                  </a:ext>
                </a:extLst>
              </p:cNvPr>
              <p:cNvGrpSpPr/>
              <p:nvPr/>
            </p:nvGrpSpPr>
            <p:grpSpPr>
              <a:xfrm>
                <a:off x="8256195" y="2692717"/>
                <a:ext cx="386355" cy="212495"/>
                <a:chOff x="7681520" y="1918017"/>
                <a:chExt cx="386355" cy="212495"/>
              </a:xfrm>
            </p:grpSpPr>
            <p:sp>
              <p:nvSpPr>
                <p:cNvPr id="587" name="Freeform: Shape 654">
                  <a:extLst>
                    <a:ext uri="{FF2B5EF4-FFF2-40B4-BE49-F238E27FC236}">
                      <a16:creationId xmlns:a16="http://schemas.microsoft.com/office/drawing/2014/main" id="{B463FEBF-3CF6-4BD2-A0D4-E2281CE33BA8}"/>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8" name="Freeform: Shape 655">
                  <a:extLst>
                    <a:ext uri="{FF2B5EF4-FFF2-40B4-BE49-F238E27FC236}">
                      <a16:creationId xmlns:a16="http://schemas.microsoft.com/office/drawing/2014/main" id="{113EAD5A-6DA8-430E-882D-497E4086B4BF}"/>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9" name="Freeform: Shape 656">
                  <a:extLst>
                    <a:ext uri="{FF2B5EF4-FFF2-40B4-BE49-F238E27FC236}">
                      <a16:creationId xmlns:a16="http://schemas.microsoft.com/office/drawing/2014/main" id="{67B2CE8D-1312-42F2-8504-18D9ECDEEE54}"/>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0" name="Freeform: Shape 657">
                  <a:extLst>
                    <a:ext uri="{FF2B5EF4-FFF2-40B4-BE49-F238E27FC236}">
                      <a16:creationId xmlns:a16="http://schemas.microsoft.com/office/drawing/2014/main" id="{6E533FA1-EEBC-46E2-8117-A2BC0013469A}"/>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1" name="Freeform: Shape 658">
                  <a:extLst>
                    <a:ext uri="{FF2B5EF4-FFF2-40B4-BE49-F238E27FC236}">
                      <a16:creationId xmlns:a16="http://schemas.microsoft.com/office/drawing/2014/main" id="{5A5F440A-58EE-4BE1-A601-BCB0285B4FC5}"/>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2" name="Freeform: Shape 659">
                  <a:extLst>
                    <a:ext uri="{FF2B5EF4-FFF2-40B4-BE49-F238E27FC236}">
                      <a16:creationId xmlns:a16="http://schemas.microsoft.com/office/drawing/2014/main" id="{CAA0817C-3CDF-45AD-A68D-39675EC5F38C}"/>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3" name="Freeform: Shape 660">
                  <a:extLst>
                    <a:ext uri="{FF2B5EF4-FFF2-40B4-BE49-F238E27FC236}">
                      <a16:creationId xmlns:a16="http://schemas.microsoft.com/office/drawing/2014/main" id="{929D3AED-C93D-427B-BC2D-FC5C304383D5}"/>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4" name="Freeform: Shape 661">
                  <a:extLst>
                    <a:ext uri="{FF2B5EF4-FFF2-40B4-BE49-F238E27FC236}">
                      <a16:creationId xmlns:a16="http://schemas.microsoft.com/office/drawing/2014/main" id="{3C12F8D7-4B06-4D42-9CC2-866EE1E6A617}"/>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nvGrpSpPr>
            <p:cNvPr id="554" name="Group 553">
              <a:extLst>
                <a:ext uri="{FF2B5EF4-FFF2-40B4-BE49-F238E27FC236}">
                  <a16:creationId xmlns:a16="http://schemas.microsoft.com/office/drawing/2014/main" id="{32724CEB-FDE7-4F9B-AFAF-D12123EE2027}"/>
                </a:ext>
              </a:extLst>
            </p:cNvPr>
            <p:cNvGrpSpPr/>
            <p:nvPr/>
          </p:nvGrpSpPr>
          <p:grpSpPr>
            <a:xfrm>
              <a:off x="7030996" y="2098675"/>
              <a:ext cx="570891" cy="913689"/>
              <a:chOff x="8177171" y="2098675"/>
              <a:chExt cx="570891" cy="913689"/>
            </a:xfrm>
          </p:grpSpPr>
          <p:sp>
            <p:nvSpPr>
              <p:cNvPr id="555" name="Rectangle 554">
                <a:extLst>
                  <a:ext uri="{FF2B5EF4-FFF2-40B4-BE49-F238E27FC236}">
                    <a16:creationId xmlns:a16="http://schemas.microsoft.com/office/drawing/2014/main" id="{3F2AE079-085F-4CCD-9DF8-846D273EA67E}"/>
                  </a:ext>
                </a:extLst>
              </p:cNvPr>
              <p:cNvSpPr/>
              <p:nvPr/>
            </p:nvSpPr>
            <p:spPr>
              <a:xfrm>
                <a:off x="8177171" y="2098675"/>
                <a:ext cx="570891" cy="913689"/>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556" name="Group 555">
                <a:extLst>
                  <a:ext uri="{FF2B5EF4-FFF2-40B4-BE49-F238E27FC236}">
                    <a16:creationId xmlns:a16="http://schemas.microsoft.com/office/drawing/2014/main" id="{82F2CD1B-8EF3-4FD5-B6BB-4ED9806F627E}"/>
                  </a:ext>
                </a:extLst>
              </p:cNvPr>
              <p:cNvGrpSpPr/>
              <p:nvPr/>
            </p:nvGrpSpPr>
            <p:grpSpPr>
              <a:xfrm>
                <a:off x="8256195" y="2165667"/>
                <a:ext cx="386355" cy="212495"/>
                <a:chOff x="7681520" y="1918017"/>
                <a:chExt cx="386355" cy="212495"/>
              </a:xfrm>
            </p:grpSpPr>
            <p:sp>
              <p:nvSpPr>
                <p:cNvPr id="575" name="Freeform: Shape 707">
                  <a:extLst>
                    <a:ext uri="{FF2B5EF4-FFF2-40B4-BE49-F238E27FC236}">
                      <a16:creationId xmlns:a16="http://schemas.microsoft.com/office/drawing/2014/main" id="{203F7D2B-F5CB-4B61-8987-8D1ED35D1AD4}"/>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6" name="Freeform: Shape 708">
                  <a:extLst>
                    <a:ext uri="{FF2B5EF4-FFF2-40B4-BE49-F238E27FC236}">
                      <a16:creationId xmlns:a16="http://schemas.microsoft.com/office/drawing/2014/main" id="{BEFB5D86-B84E-4C38-AC2F-D325429429DA}"/>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7" name="Freeform: Shape 709">
                  <a:extLst>
                    <a:ext uri="{FF2B5EF4-FFF2-40B4-BE49-F238E27FC236}">
                      <a16:creationId xmlns:a16="http://schemas.microsoft.com/office/drawing/2014/main" id="{AA87997F-85D3-476F-9D39-2E59D4F7D359}"/>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8" name="Freeform: Shape 710">
                  <a:extLst>
                    <a:ext uri="{FF2B5EF4-FFF2-40B4-BE49-F238E27FC236}">
                      <a16:creationId xmlns:a16="http://schemas.microsoft.com/office/drawing/2014/main" id="{3261E925-D374-430D-BE66-428624434C85}"/>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9" name="Freeform: Shape 711">
                  <a:extLst>
                    <a:ext uri="{FF2B5EF4-FFF2-40B4-BE49-F238E27FC236}">
                      <a16:creationId xmlns:a16="http://schemas.microsoft.com/office/drawing/2014/main" id="{0860838F-CFDC-41BC-B92A-163A0EE3F14F}"/>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0" name="Freeform: Shape 712">
                  <a:extLst>
                    <a:ext uri="{FF2B5EF4-FFF2-40B4-BE49-F238E27FC236}">
                      <a16:creationId xmlns:a16="http://schemas.microsoft.com/office/drawing/2014/main" id="{E55480F1-1893-484D-8FF9-85A0A94DD473}"/>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1" name="Freeform: Shape 713">
                  <a:extLst>
                    <a:ext uri="{FF2B5EF4-FFF2-40B4-BE49-F238E27FC236}">
                      <a16:creationId xmlns:a16="http://schemas.microsoft.com/office/drawing/2014/main" id="{1D41F713-F934-41C1-8730-4A748EF41DD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2" name="Freeform: Shape 714">
                  <a:extLst>
                    <a:ext uri="{FF2B5EF4-FFF2-40B4-BE49-F238E27FC236}">
                      <a16:creationId xmlns:a16="http://schemas.microsoft.com/office/drawing/2014/main" id="{3268174C-3044-42A4-AD12-A0903062DADB}"/>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557" name="Group 556">
                <a:extLst>
                  <a:ext uri="{FF2B5EF4-FFF2-40B4-BE49-F238E27FC236}">
                    <a16:creationId xmlns:a16="http://schemas.microsoft.com/office/drawing/2014/main" id="{82C37B37-BA84-47CF-B761-1B8DF16E95A3}"/>
                  </a:ext>
                </a:extLst>
              </p:cNvPr>
              <p:cNvGrpSpPr/>
              <p:nvPr/>
            </p:nvGrpSpPr>
            <p:grpSpPr>
              <a:xfrm>
                <a:off x="8256195" y="2429192"/>
                <a:ext cx="386355" cy="212495"/>
                <a:chOff x="7681520" y="1918017"/>
                <a:chExt cx="386355" cy="212495"/>
              </a:xfrm>
            </p:grpSpPr>
            <p:sp>
              <p:nvSpPr>
                <p:cNvPr id="567" name="Freeform: Shape 699">
                  <a:extLst>
                    <a:ext uri="{FF2B5EF4-FFF2-40B4-BE49-F238E27FC236}">
                      <a16:creationId xmlns:a16="http://schemas.microsoft.com/office/drawing/2014/main" id="{54015EB5-AFCF-441A-B529-7B008BA11323}"/>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8" name="Freeform: Shape 700">
                  <a:extLst>
                    <a:ext uri="{FF2B5EF4-FFF2-40B4-BE49-F238E27FC236}">
                      <a16:creationId xmlns:a16="http://schemas.microsoft.com/office/drawing/2014/main" id="{5C0325B9-FEC8-4CF2-A84F-E7EDF9734AF9}"/>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9" name="Freeform: Shape 701">
                  <a:extLst>
                    <a:ext uri="{FF2B5EF4-FFF2-40B4-BE49-F238E27FC236}">
                      <a16:creationId xmlns:a16="http://schemas.microsoft.com/office/drawing/2014/main" id="{715C2893-6A38-4995-AB07-EDB72A2B6020}"/>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0" name="Freeform: Shape 702">
                  <a:extLst>
                    <a:ext uri="{FF2B5EF4-FFF2-40B4-BE49-F238E27FC236}">
                      <a16:creationId xmlns:a16="http://schemas.microsoft.com/office/drawing/2014/main" id="{B2E524EA-7500-401B-AA51-ACDA7049C5D7}"/>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1" name="Freeform: Shape 703">
                  <a:extLst>
                    <a:ext uri="{FF2B5EF4-FFF2-40B4-BE49-F238E27FC236}">
                      <a16:creationId xmlns:a16="http://schemas.microsoft.com/office/drawing/2014/main" id="{4DEAB885-F959-44BC-9663-983D9EB5377A}"/>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2" name="Freeform: Shape 704">
                  <a:extLst>
                    <a:ext uri="{FF2B5EF4-FFF2-40B4-BE49-F238E27FC236}">
                      <a16:creationId xmlns:a16="http://schemas.microsoft.com/office/drawing/2014/main" id="{3FF6C649-EAFC-4D3E-B311-CF8D6A2E342C}"/>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3" name="Freeform: Shape 705">
                  <a:extLst>
                    <a:ext uri="{FF2B5EF4-FFF2-40B4-BE49-F238E27FC236}">
                      <a16:creationId xmlns:a16="http://schemas.microsoft.com/office/drawing/2014/main" id="{51CF9C68-DDD8-42E2-B73D-CBF745F6AD3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4" name="Freeform: Shape 706">
                  <a:extLst>
                    <a:ext uri="{FF2B5EF4-FFF2-40B4-BE49-F238E27FC236}">
                      <a16:creationId xmlns:a16="http://schemas.microsoft.com/office/drawing/2014/main" id="{620A3177-F1C6-4C99-9E55-F8621C372FBF}"/>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558" name="Group 557">
                <a:extLst>
                  <a:ext uri="{FF2B5EF4-FFF2-40B4-BE49-F238E27FC236}">
                    <a16:creationId xmlns:a16="http://schemas.microsoft.com/office/drawing/2014/main" id="{0CC9FADE-28F9-49BB-A344-BDF29A40C9C5}"/>
                  </a:ext>
                </a:extLst>
              </p:cNvPr>
              <p:cNvGrpSpPr/>
              <p:nvPr/>
            </p:nvGrpSpPr>
            <p:grpSpPr>
              <a:xfrm>
                <a:off x="8256195" y="2692717"/>
                <a:ext cx="386355" cy="212495"/>
                <a:chOff x="7681520" y="1918017"/>
                <a:chExt cx="386355" cy="212495"/>
              </a:xfrm>
            </p:grpSpPr>
            <p:sp>
              <p:nvSpPr>
                <p:cNvPr id="559" name="Freeform: Shape 691">
                  <a:extLst>
                    <a:ext uri="{FF2B5EF4-FFF2-40B4-BE49-F238E27FC236}">
                      <a16:creationId xmlns:a16="http://schemas.microsoft.com/office/drawing/2014/main" id="{E6D347EC-194B-4960-86DC-D0E0E8626DD5}"/>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0" name="Freeform: Shape 692">
                  <a:extLst>
                    <a:ext uri="{FF2B5EF4-FFF2-40B4-BE49-F238E27FC236}">
                      <a16:creationId xmlns:a16="http://schemas.microsoft.com/office/drawing/2014/main" id="{C5FE6987-2FA3-417F-B341-52792038C0DE}"/>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1" name="Freeform: Shape 693">
                  <a:extLst>
                    <a:ext uri="{FF2B5EF4-FFF2-40B4-BE49-F238E27FC236}">
                      <a16:creationId xmlns:a16="http://schemas.microsoft.com/office/drawing/2014/main" id="{9B352CD8-25B0-4EDE-9A03-873248250118}"/>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2" name="Freeform: Shape 694">
                  <a:extLst>
                    <a:ext uri="{FF2B5EF4-FFF2-40B4-BE49-F238E27FC236}">
                      <a16:creationId xmlns:a16="http://schemas.microsoft.com/office/drawing/2014/main" id="{D6DA0E0A-A52E-4E08-8F8B-9B7EA9ECD4C1}"/>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3" name="Freeform: Shape 695">
                  <a:extLst>
                    <a:ext uri="{FF2B5EF4-FFF2-40B4-BE49-F238E27FC236}">
                      <a16:creationId xmlns:a16="http://schemas.microsoft.com/office/drawing/2014/main" id="{D46D8B46-5EB2-4AFB-B842-E2D25BAA1B84}"/>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4" name="Freeform: Shape 696">
                  <a:extLst>
                    <a:ext uri="{FF2B5EF4-FFF2-40B4-BE49-F238E27FC236}">
                      <a16:creationId xmlns:a16="http://schemas.microsoft.com/office/drawing/2014/main" id="{063D1DC3-42EE-4D5E-9219-F2B3D5AA2BB0}"/>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5" name="Freeform: Shape 697">
                  <a:extLst>
                    <a:ext uri="{FF2B5EF4-FFF2-40B4-BE49-F238E27FC236}">
                      <a16:creationId xmlns:a16="http://schemas.microsoft.com/office/drawing/2014/main" id="{88BA0CC1-4D2D-46AD-925E-A89044247021}"/>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6" name="Freeform: Shape 698">
                  <a:extLst>
                    <a:ext uri="{FF2B5EF4-FFF2-40B4-BE49-F238E27FC236}">
                      <a16:creationId xmlns:a16="http://schemas.microsoft.com/office/drawing/2014/main" id="{FC9383D1-ED48-4DF1-B637-C22F7ABB820F}"/>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grpSp>
        <p:nvGrpSpPr>
          <p:cNvPr id="671" name="Group 670">
            <a:extLst>
              <a:ext uri="{FF2B5EF4-FFF2-40B4-BE49-F238E27FC236}">
                <a16:creationId xmlns:a16="http://schemas.microsoft.com/office/drawing/2014/main" id="{E80F6F4E-8D26-4AA5-90D5-21EC266C4918}"/>
              </a:ext>
            </a:extLst>
          </p:cNvPr>
          <p:cNvGrpSpPr/>
          <p:nvPr/>
        </p:nvGrpSpPr>
        <p:grpSpPr>
          <a:xfrm>
            <a:off x="5534767" y="1087644"/>
            <a:ext cx="1276105" cy="458623"/>
            <a:chOff x="6486211" y="1739620"/>
            <a:chExt cx="2801675" cy="1283916"/>
          </a:xfrm>
        </p:grpSpPr>
        <p:grpSp>
          <p:nvGrpSpPr>
            <p:cNvPr id="672" name="Group 671">
              <a:extLst>
                <a:ext uri="{FF2B5EF4-FFF2-40B4-BE49-F238E27FC236}">
                  <a16:creationId xmlns:a16="http://schemas.microsoft.com/office/drawing/2014/main" id="{6E4EAD5C-7924-4B1F-9DFF-D1AD8232C318}"/>
                </a:ext>
              </a:extLst>
            </p:cNvPr>
            <p:cNvGrpSpPr/>
            <p:nvPr/>
          </p:nvGrpSpPr>
          <p:grpSpPr>
            <a:xfrm>
              <a:off x="6486211" y="2427446"/>
              <a:ext cx="596090" cy="596090"/>
              <a:chOff x="6340161" y="2433796"/>
              <a:chExt cx="596090" cy="596090"/>
            </a:xfrm>
          </p:grpSpPr>
          <p:sp>
            <p:nvSpPr>
              <p:cNvPr id="782" name="Freeform: Shape 498">
                <a:extLst>
                  <a:ext uri="{FF2B5EF4-FFF2-40B4-BE49-F238E27FC236}">
                    <a16:creationId xmlns:a16="http://schemas.microsoft.com/office/drawing/2014/main" id="{52517459-A55E-400A-8290-6C0D2E0D05B7}"/>
                  </a:ext>
                </a:extLst>
              </p:cNvPr>
              <p:cNvSpPr/>
              <p:nvPr/>
            </p:nvSpPr>
            <p:spPr>
              <a:xfrm>
                <a:off x="6340161" y="2433796"/>
                <a:ext cx="596090" cy="596090"/>
              </a:xfrm>
              <a:custGeom>
                <a:avLst/>
                <a:gdLst>
                  <a:gd name="connsiteX0" fmla="*/ 16669 w 771525"/>
                  <a:gd name="connsiteY0" fmla="*/ 769144 h 771525"/>
                  <a:gd name="connsiteX1" fmla="*/ 759619 w 771525"/>
                  <a:gd name="connsiteY1" fmla="*/ 769144 h 771525"/>
                  <a:gd name="connsiteX2" fmla="*/ 769144 w 771525"/>
                  <a:gd name="connsiteY2" fmla="*/ 759619 h 771525"/>
                  <a:gd name="connsiteX3" fmla="*/ 769144 w 771525"/>
                  <a:gd name="connsiteY3" fmla="*/ 693344 h 771525"/>
                  <a:gd name="connsiteX4" fmla="*/ 759619 w 771525"/>
                  <a:gd name="connsiteY4" fmla="*/ 683819 h 771525"/>
                  <a:gd name="connsiteX5" fmla="*/ 718547 w 771525"/>
                  <a:gd name="connsiteY5" fmla="*/ 683819 h 771525"/>
                  <a:gd name="connsiteX6" fmla="*/ 718547 w 771525"/>
                  <a:gd name="connsiteY6" fmla="*/ 92469 h 771525"/>
                  <a:gd name="connsiteX7" fmla="*/ 732596 w 771525"/>
                  <a:gd name="connsiteY7" fmla="*/ 92469 h 771525"/>
                  <a:gd name="connsiteX8" fmla="*/ 742121 w 771525"/>
                  <a:gd name="connsiteY8" fmla="*/ 82944 h 771525"/>
                  <a:gd name="connsiteX9" fmla="*/ 742121 w 771525"/>
                  <a:gd name="connsiteY9" fmla="*/ 16669 h 771525"/>
                  <a:gd name="connsiteX10" fmla="*/ 732596 w 771525"/>
                  <a:gd name="connsiteY10" fmla="*/ 7144 h 771525"/>
                  <a:gd name="connsiteX11" fmla="*/ 43691 w 771525"/>
                  <a:gd name="connsiteY11" fmla="*/ 7144 h 771525"/>
                  <a:gd name="connsiteX12" fmla="*/ 34166 w 771525"/>
                  <a:gd name="connsiteY12" fmla="*/ 16669 h 771525"/>
                  <a:gd name="connsiteX13" fmla="*/ 34166 w 771525"/>
                  <a:gd name="connsiteY13" fmla="*/ 82944 h 771525"/>
                  <a:gd name="connsiteX14" fmla="*/ 43691 w 771525"/>
                  <a:gd name="connsiteY14" fmla="*/ 92469 h 771525"/>
                  <a:gd name="connsiteX15" fmla="*/ 57741 w 771525"/>
                  <a:gd name="connsiteY15" fmla="*/ 92469 h 771525"/>
                  <a:gd name="connsiteX16" fmla="*/ 57741 w 771525"/>
                  <a:gd name="connsiteY16" fmla="*/ 683819 h 771525"/>
                  <a:gd name="connsiteX17" fmla="*/ 16669 w 771525"/>
                  <a:gd name="connsiteY17" fmla="*/ 683819 h 771525"/>
                  <a:gd name="connsiteX18" fmla="*/ 7144 w 771525"/>
                  <a:gd name="connsiteY18" fmla="*/ 693344 h 771525"/>
                  <a:gd name="connsiteX19" fmla="*/ 7144 w 771525"/>
                  <a:gd name="connsiteY19" fmla="*/ 759619 h 771525"/>
                  <a:gd name="connsiteX20" fmla="*/ 16669 w 771525"/>
                  <a:gd name="connsiteY20" fmla="*/ 769144 h 771525"/>
                  <a:gd name="connsiteX21" fmla="*/ 53216 w 771525"/>
                  <a:gd name="connsiteY21" fmla="*/ 26194 h 771525"/>
                  <a:gd name="connsiteX22" fmla="*/ 723062 w 771525"/>
                  <a:gd name="connsiteY22" fmla="*/ 26194 h 771525"/>
                  <a:gd name="connsiteX23" fmla="*/ 723062 w 771525"/>
                  <a:gd name="connsiteY23" fmla="*/ 73419 h 771525"/>
                  <a:gd name="connsiteX24" fmla="*/ 53216 w 771525"/>
                  <a:gd name="connsiteY24" fmla="*/ 73419 h 771525"/>
                  <a:gd name="connsiteX25" fmla="*/ 53216 w 771525"/>
                  <a:gd name="connsiteY25" fmla="*/ 26194 h 771525"/>
                  <a:gd name="connsiteX26" fmla="*/ 76791 w 771525"/>
                  <a:gd name="connsiteY26" fmla="*/ 92469 h 771525"/>
                  <a:gd name="connsiteX27" fmla="*/ 699487 w 771525"/>
                  <a:gd name="connsiteY27" fmla="*/ 92469 h 771525"/>
                  <a:gd name="connsiteX28" fmla="*/ 699487 w 771525"/>
                  <a:gd name="connsiteY28" fmla="*/ 683819 h 771525"/>
                  <a:gd name="connsiteX29" fmla="*/ 496491 w 771525"/>
                  <a:gd name="connsiteY29" fmla="*/ 683819 h 771525"/>
                  <a:gd name="connsiteX30" fmla="*/ 496491 w 771525"/>
                  <a:gd name="connsiteY30" fmla="*/ 470402 h 771525"/>
                  <a:gd name="connsiteX31" fmla="*/ 486966 w 771525"/>
                  <a:gd name="connsiteY31" fmla="*/ 460877 h 771525"/>
                  <a:gd name="connsiteX32" fmla="*/ 289322 w 771525"/>
                  <a:gd name="connsiteY32" fmla="*/ 460877 h 771525"/>
                  <a:gd name="connsiteX33" fmla="*/ 279797 w 771525"/>
                  <a:gd name="connsiteY33" fmla="*/ 470402 h 771525"/>
                  <a:gd name="connsiteX34" fmla="*/ 279797 w 771525"/>
                  <a:gd name="connsiteY34" fmla="*/ 683819 h 771525"/>
                  <a:gd name="connsiteX35" fmla="*/ 76791 w 771525"/>
                  <a:gd name="connsiteY35" fmla="*/ 683819 h 771525"/>
                  <a:gd name="connsiteX36" fmla="*/ 76791 w 771525"/>
                  <a:gd name="connsiteY36" fmla="*/ 92469 h 771525"/>
                  <a:gd name="connsiteX37" fmla="*/ 298847 w 771525"/>
                  <a:gd name="connsiteY37" fmla="*/ 683819 h 771525"/>
                  <a:gd name="connsiteX38" fmla="*/ 298847 w 771525"/>
                  <a:gd name="connsiteY38" fmla="*/ 479927 h 771525"/>
                  <a:gd name="connsiteX39" fmla="*/ 378619 w 771525"/>
                  <a:gd name="connsiteY39" fmla="*/ 479927 h 771525"/>
                  <a:gd name="connsiteX40" fmla="*/ 378619 w 771525"/>
                  <a:gd name="connsiteY40" fmla="*/ 683819 h 771525"/>
                  <a:gd name="connsiteX41" fmla="*/ 298847 w 771525"/>
                  <a:gd name="connsiteY41" fmla="*/ 683819 h 771525"/>
                  <a:gd name="connsiteX42" fmla="*/ 397669 w 771525"/>
                  <a:gd name="connsiteY42" fmla="*/ 479927 h 771525"/>
                  <a:gd name="connsiteX43" fmla="*/ 477441 w 771525"/>
                  <a:gd name="connsiteY43" fmla="*/ 479927 h 771525"/>
                  <a:gd name="connsiteX44" fmla="*/ 477441 w 771525"/>
                  <a:gd name="connsiteY44" fmla="*/ 683819 h 771525"/>
                  <a:gd name="connsiteX45" fmla="*/ 397669 w 771525"/>
                  <a:gd name="connsiteY45" fmla="*/ 683819 h 771525"/>
                  <a:gd name="connsiteX46" fmla="*/ 397669 w 771525"/>
                  <a:gd name="connsiteY46" fmla="*/ 479927 h 771525"/>
                  <a:gd name="connsiteX47" fmla="*/ 26194 w 771525"/>
                  <a:gd name="connsiteY47" fmla="*/ 702869 h 771525"/>
                  <a:gd name="connsiteX48" fmla="*/ 750094 w 771525"/>
                  <a:gd name="connsiteY48" fmla="*/ 702869 h 771525"/>
                  <a:gd name="connsiteX49" fmla="*/ 750094 w 771525"/>
                  <a:gd name="connsiteY49" fmla="*/ 750094 h 771525"/>
                  <a:gd name="connsiteX50" fmla="*/ 26194 w 771525"/>
                  <a:gd name="connsiteY50" fmla="*/ 750094 h 771525"/>
                  <a:gd name="connsiteX51" fmla="*/ 26194 w 771525"/>
                  <a:gd name="connsiteY51" fmla="*/ 702869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771525" h="771525">
                    <a:moveTo>
                      <a:pt x="16669" y="769144"/>
                    </a:moveTo>
                    <a:lnTo>
                      <a:pt x="759619" y="769144"/>
                    </a:lnTo>
                    <a:cubicBezTo>
                      <a:pt x="764877" y="769144"/>
                      <a:pt x="769144" y="764886"/>
                      <a:pt x="769144" y="759619"/>
                    </a:cubicBezTo>
                    <a:lnTo>
                      <a:pt x="769144" y="693344"/>
                    </a:lnTo>
                    <a:cubicBezTo>
                      <a:pt x="769144" y="688076"/>
                      <a:pt x="764877" y="683819"/>
                      <a:pt x="759619" y="683819"/>
                    </a:cubicBezTo>
                    <a:lnTo>
                      <a:pt x="718547" y="683819"/>
                    </a:lnTo>
                    <a:lnTo>
                      <a:pt x="718547" y="92469"/>
                    </a:lnTo>
                    <a:lnTo>
                      <a:pt x="732596" y="92469"/>
                    </a:lnTo>
                    <a:cubicBezTo>
                      <a:pt x="737854" y="92469"/>
                      <a:pt x="742121" y="88211"/>
                      <a:pt x="742121" y="82944"/>
                    </a:cubicBezTo>
                    <a:lnTo>
                      <a:pt x="742121" y="16669"/>
                    </a:lnTo>
                    <a:cubicBezTo>
                      <a:pt x="742121" y="11401"/>
                      <a:pt x="737854" y="7144"/>
                      <a:pt x="732596" y="7144"/>
                    </a:cubicBezTo>
                    <a:lnTo>
                      <a:pt x="43691" y="7144"/>
                    </a:lnTo>
                    <a:cubicBezTo>
                      <a:pt x="38433" y="7144"/>
                      <a:pt x="34166" y="11401"/>
                      <a:pt x="34166" y="16669"/>
                    </a:cubicBezTo>
                    <a:lnTo>
                      <a:pt x="34166" y="82944"/>
                    </a:lnTo>
                    <a:cubicBezTo>
                      <a:pt x="34166" y="88211"/>
                      <a:pt x="38433" y="92469"/>
                      <a:pt x="43691" y="92469"/>
                    </a:cubicBezTo>
                    <a:lnTo>
                      <a:pt x="57741" y="92469"/>
                    </a:lnTo>
                    <a:lnTo>
                      <a:pt x="57741" y="683819"/>
                    </a:lnTo>
                    <a:lnTo>
                      <a:pt x="16669" y="683819"/>
                    </a:lnTo>
                    <a:cubicBezTo>
                      <a:pt x="11411" y="683819"/>
                      <a:pt x="7144" y="688076"/>
                      <a:pt x="7144" y="693344"/>
                    </a:cubicBezTo>
                    <a:lnTo>
                      <a:pt x="7144" y="759619"/>
                    </a:lnTo>
                    <a:cubicBezTo>
                      <a:pt x="7144" y="764886"/>
                      <a:pt x="11411" y="769144"/>
                      <a:pt x="16669" y="769144"/>
                    </a:cubicBezTo>
                    <a:close/>
                    <a:moveTo>
                      <a:pt x="53216" y="26194"/>
                    </a:moveTo>
                    <a:lnTo>
                      <a:pt x="723062" y="26194"/>
                    </a:lnTo>
                    <a:lnTo>
                      <a:pt x="723062" y="73419"/>
                    </a:lnTo>
                    <a:lnTo>
                      <a:pt x="53216" y="73419"/>
                    </a:lnTo>
                    <a:lnTo>
                      <a:pt x="53216" y="26194"/>
                    </a:lnTo>
                    <a:close/>
                    <a:moveTo>
                      <a:pt x="76791" y="92469"/>
                    </a:moveTo>
                    <a:lnTo>
                      <a:pt x="699487" y="92469"/>
                    </a:lnTo>
                    <a:lnTo>
                      <a:pt x="699487" y="683819"/>
                    </a:lnTo>
                    <a:lnTo>
                      <a:pt x="496491" y="683819"/>
                    </a:lnTo>
                    <a:lnTo>
                      <a:pt x="496491" y="470402"/>
                    </a:lnTo>
                    <a:cubicBezTo>
                      <a:pt x="496491" y="465134"/>
                      <a:pt x="492223" y="460877"/>
                      <a:pt x="486966" y="460877"/>
                    </a:cubicBezTo>
                    <a:lnTo>
                      <a:pt x="289322" y="460877"/>
                    </a:lnTo>
                    <a:cubicBezTo>
                      <a:pt x="284064" y="460877"/>
                      <a:pt x="279797" y="465134"/>
                      <a:pt x="279797" y="470402"/>
                    </a:cubicBezTo>
                    <a:lnTo>
                      <a:pt x="279797" y="683819"/>
                    </a:lnTo>
                    <a:lnTo>
                      <a:pt x="76791" y="683819"/>
                    </a:lnTo>
                    <a:lnTo>
                      <a:pt x="76791" y="92469"/>
                    </a:lnTo>
                    <a:close/>
                    <a:moveTo>
                      <a:pt x="298847" y="683819"/>
                    </a:moveTo>
                    <a:lnTo>
                      <a:pt x="298847" y="479927"/>
                    </a:lnTo>
                    <a:lnTo>
                      <a:pt x="378619" y="479927"/>
                    </a:lnTo>
                    <a:lnTo>
                      <a:pt x="378619" y="683819"/>
                    </a:lnTo>
                    <a:lnTo>
                      <a:pt x="298847" y="683819"/>
                    </a:lnTo>
                    <a:close/>
                    <a:moveTo>
                      <a:pt x="397669" y="479927"/>
                    </a:moveTo>
                    <a:lnTo>
                      <a:pt x="477441" y="479927"/>
                    </a:lnTo>
                    <a:lnTo>
                      <a:pt x="477441" y="683819"/>
                    </a:lnTo>
                    <a:lnTo>
                      <a:pt x="397669" y="683819"/>
                    </a:lnTo>
                    <a:lnTo>
                      <a:pt x="397669" y="479927"/>
                    </a:lnTo>
                    <a:close/>
                    <a:moveTo>
                      <a:pt x="26194" y="702869"/>
                    </a:moveTo>
                    <a:lnTo>
                      <a:pt x="750094" y="702869"/>
                    </a:lnTo>
                    <a:lnTo>
                      <a:pt x="750094" y="750094"/>
                    </a:lnTo>
                    <a:lnTo>
                      <a:pt x="26194" y="750094"/>
                    </a:lnTo>
                    <a:lnTo>
                      <a:pt x="26194" y="702869"/>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3" name="Freeform: Shape 499">
                <a:extLst>
                  <a:ext uri="{FF2B5EF4-FFF2-40B4-BE49-F238E27FC236}">
                    <a16:creationId xmlns:a16="http://schemas.microsoft.com/office/drawing/2014/main" id="{C234E4DC-8BF4-4232-B4C7-D48E7F3CC541}"/>
                  </a:ext>
                </a:extLst>
              </p:cNvPr>
              <p:cNvSpPr/>
              <p:nvPr/>
            </p:nvSpPr>
            <p:spPr>
              <a:xfrm>
                <a:off x="6763393" y="2783495"/>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4" name="Freeform: Shape 500">
                <a:extLst>
                  <a:ext uri="{FF2B5EF4-FFF2-40B4-BE49-F238E27FC236}">
                    <a16:creationId xmlns:a16="http://schemas.microsoft.com/office/drawing/2014/main" id="{244FF703-73B5-400C-AF9D-E63E9295D613}"/>
                  </a:ext>
                </a:extLst>
              </p:cNvPr>
              <p:cNvSpPr/>
              <p:nvPr/>
            </p:nvSpPr>
            <p:spPr>
              <a:xfrm>
                <a:off x="6443270" y="2783495"/>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5" name="Freeform: Shape 501">
                <a:extLst>
                  <a:ext uri="{FF2B5EF4-FFF2-40B4-BE49-F238E27FC236}">
                    <a16:creationId xmlns:a16="http://schemas.microsoft.com/office/drawing/2014/main" id="{5A7F3558-AB63-49D2-85F8-78BD0CF39CA9}"/>
                  </a:ext>
                </a:extLst>
              </p:cNvPr>
              <p:cNvSpPr/>
              <p:nvPr/>
            </p:nvSpPr>
            <p:spPr>
              <a:xfrm>
                <a:off x="6763393" y="2666668"/>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6" name="Freeform: Shape 502">
                <a:extLst>
                  <a:ext uri="{FF2B5EF4-FFF2-40B4-BE49-F238E27FC236}">
                    <a16:creationId xmlns:a16="http://schemas.microsoft.com/office/drawing/2014/main" id="{E491DDF7-1F22-4026-B037-0EE1E8E2CA8B}"/>
                  </a:ext>
                </a:extLst>
              </p:cNvPr>
              <p:cNvSpPr/>
              <p:nvPr/>
            </p:nvSpPr>
            <p:spPr>
              <a:xfrm>
                <a:off x="6656766" y="2666668"/>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7" name="Freeform: Shape 503">
                <a:extLst>
                  <a:ext uri="{FF2B5EF4-FFF2-40B4-BE49-F238E27FC236}">
                    <a16:creationId xmlns:a16="http://schemas.microsoft.com/office/drawing/2014/main" id="{E90C71D2-FD0E-4DEB-9168-156B709B7248}"/>
                  </a:ext>
                </a:extLst>
              </p:cNvPr>
              <p:cNvSpPr/>
              <p:nvPr/>
            </p:nvSpPr>
            <p:spPr>
              <a:xfrm>
                <a:off x="6550817" y="2666668"/>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8" name="Freeform: Shape 504">
                <a:extLst>
                  <a:ext uri="{FF2B5EF4-FFF2-40B4-BE49-F238E27FC236}">
                    <a16:creationId xmlns:a16="http://schemas.microsoft.com/office/drawing/2014/main" id="{468FE0E6-2E10-4571-BEF4-B972DC8A5716}"/>
                  </a:ext>
                </a:extLst>
              </p:cNvPr>
              <p:cNvSpPr/>
              <p:nvPr/>
            </p:nvSpPr>
            <p:spPr>
              <a:xfrm>
                <a:off x="6656766" y="2549842"/>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9" name="Freeform: Shape 505">
                <a:extLst>
                  <a:ext uri="{FF2B5EF4-FFF2-40B4-BE49-F238E27FC236}">
                    <a16:creationId xmlns:a16="http://schemas.microsoft.com/office/drawing/2014/main" id="{F0A130AE-D6CA-496A-B0ED-AA509C171A77}"/>
                  </a:ext>
                </a:extLst>
              </p:cNvPr>
              <p:cNvSpPr/>
              <p:nvPr/>
            </p:nvSpPr>
            <p:spPr>
              <a:xfrm>
                <a:off x="6550817" y="2549842"/>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90" name="Freeform: Shape 506">
                <a:extLst>
                  <a:ext uri="{FF2B5EF4-FFF2-40B4-BE49-F238E27FC236}">
                    <a16:creationId xmlns:a16="http://schemas.microsoft.com/office/drawing/2014/main" id="{38D846A2-5C49-4B78-9042-3EC8C7F82DBC}"/>
                  </a:ext>
                </a:extLst>
              </p:cNvPr>
              <p:cNvSpPr/>
              <p:nvPr/>
            </p:nvSpPr>
            <p:spPr>
              <a:xfrm>
                <a:off x="6443270" y="2666668"/>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91" name="Freeform: Shape 507">
                <a:extLst>
                  <a:ext uri="{FF2B5EF4-FFF2-40B4-BE49-F238E27FC236}">
                    <a16:creationId xmlns:a16="http://schemas.microsoft.com/office/drawing/2014/main" id="{0D4ADF69-2385-428D-8373-8B0535DBF489}"/>
                  </a:ext>
                </a:extLst>
              </p:cNvPr>
              <p:cNvSpPr/>
              <p:nvPr/>
            </p:nvSpPr>
            <p:spPr>
              <a:xfrm>
                <a:off x="6763393" y="2549842"/>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92" name="Freeform: Shape 508">
                <a:extLst>
                  <a:ext uri="{FF2B5EF4-FFF2-40B4-BE49-F238E27FC236}">
                    <a16:creationId xmlns:a16="http://schemas.microsoft.com/office/drawing/2014/main" id="{13EEFAC8-E33D-459A-A23D-4545B64E5E74}"/>
                  </a:ext>
                </a:extLst>
              </p:cNvPr>
              <p:cNvSpPr/>
              <p:nvPr/>
            </p:nvSpPr>
            <p:spPr>
              <a:xfrm>
                <a:off x="6443270" y="2549842"/>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673" name="Group 672">
              <a:extLst>
                <a:ext uri="{FF2B5EF4-FFF2-40B4-BE49-F238E27FC236}">
                  <a16:creationId xmlns:a16="http://schemas.microsoft.com/office/drawing/2014/main" id="{414C381E-3EF6-49FD-8548-F64955F2A892}"/>
                </a:ext>
              </a:extLst>
            </p:cNvPr>
            <p:cNvGrpSpPr/>
            <p:nvPr/>
          </p:nvGrpSpPr>
          <p:grpSpPr>
            <a:xfrm>
              <a:off x="8710808" y="2446457"/>
              <a:ext cx="577078" cy="577079"/>
              <a:chOff x="5709056" y="2921793"/>
              <a:chExt cx="771525" cy="771525"/>
            </a:xfrm>
            <a:solidFill>
              <a:srgbClr val="999999"/>
            </a:solidFill>
          </p:grpSpPr>
          <p:sp>
            <p:nvSpPr>
              <p:cNvPr id="771" name="Freeform: Shape 447">
                <a:extLst>
                  <a:ext uri="{FF2B5EF4-FFF2-40B4-BE49-F238E27FC236}">
                    <a16:creationId xmlns:a16="http://schemas.microsoft.com/office/drawing/2014/main" id="{2019140F-7B51-422A-B271-1EB6183FC1B7}"/>
                  </a:ext>
                </a:extLst>
              </p:cNvPr>
              <p:cNvSpPr/>
              <p:nvPr/>
            </p:nvSpPr>
            <p:spPr>
              <a:xfrm>
                <a:off x="5709056" y="2921793"/>
                <a:ext cx="771525" cy="771525"/>
              </a:xfrm>
              <a:custGeom>
                <a:avLst/>
                <a:gdLst>
                  <a:gd name="connsiteX0" fmla="*/ 16669 w 771525"/>
                  <a:gd name="connsiteY0" fmla="*/ 769144 h 771525"/>
                  <a:gd name="connsiteX1" fmla="*/ 759619 w 771525"/>
                  <a:gd name="connsiteY1" fmla="*/ 769144 h 771525"/>
                  <a:gd name="connsiteX2" fmla="*/ 769144 w 771525"/>
                  <a:gd name="connsiteY2" fmla="*/ 759619 h 771525"/>
                  <a:gd name="connsiteX3" fmla="*/ 769144 w 771525"/>
                  <a:gd name="connsiteY3" fmla="*/ 693344 h 771525"/>
                  <a:gd name="connsiteX4" fmla="*/ 759619 w 771525"/>
                  <a:gd name="connsiteY4" fmla="*/ 683819 h 771525"/>
                  <a:gd name="connsiteX5" fmla="*/ 718547 w 771525"/>
                  <a:gd name="connsiteY5" fmla="*/ 683819 h 771525"/>
                  <a:gd name="connsiteX6" fmla="*/ 718547 w 771525"/>
                  <a:gd name="connsiteY6" fmla="*/ 92469 h 771525"/>
                  <a:gd name="connsiteX7" fmla="*/ 732596 w 771525"/>
                  <a:gd name="connsiteY7" fmla="*/ 92469 h 771525"/>
                  <a:gd name="connsiteX8" fmla="*/ 742121 w 771525"/>
                  <a:gd name="connsiteY8" fmla="*/ 82944 h 771525"/>
                  <a:gd name="connsiteX9" fmla="*/ 742121 w 771525"/>
                  <a:gd name="connsiteY9" fmla="*/ 16669 h 771525"/>
                  <a:gd name="connsiteX10" fmla="*/ 732596 w 771525"/>
                  <a:gd name="connsiteY10" fmla="*/ 7144 h 771525"/>
                  <a:gd name="connsiteX11" fmla="*/ 43691 w 771525"/>
                  <a:gd name="connsiteY11" fmla="*/ 7144 h 771525"/>
                  <a:gd name="connsiteX12" fmla="*/ 34166 w 771525"/>
                  <a:gd name="connsiteY12" fmla="*/ 16669 h 771525"/>
                  <a:gd name="connsiteX13" fmla="*/ 34166 w 771525"/>
                  <a:gd name="connsiteY13" fmla="*/ 82944 h 771525"/>
                  <a:gd name="connsiteX14" fmla="*/ 43691 w 771525"/>
                  <a:gd name="connsiteY14" fmla="*/ 92469 h 771525"/>
                  <a:gd name="connsiteX15" fmla="*/ 57741 w 771525"/>
                  <a:gd name="connsiteY15" fmla="*/ 92469 h 771525"/>
                  <a:gd name="connsiteX16" fmla="*/ 57741 w 771525"/>
                  <a:gd name="connsiteY16" fmla="*/ 683819 h 771525"/>
                  <a:gd name="connsiteX17" fmla="*/ 16669 w 771525"/>
                  <a:gd name="connsiteY17" fmla="*/ 683819 h 771525"/>
                  <a:gd name="connsiteX18" fmla="*/ 7144 w 771525"/>
                  <a:gd name="connsiteY18" fmla="*/ 693344 h 771525"/>
                  <a:gd name="connsiteX19" fmla="*/ 7144 w 771525"/>
                  <a:gd name="connsiteY19" fmla="*/ 759619 h 771525"/>
                  <a:gd name="connsiteX20" fmla="*/ 16669 w 771525"/>
                  <a:gd name="connsiteY20" fmla="*/ 769144 h 771525"/>
                  <a:gd name="connsiteX21" fmla="*/ 53216 w 771525"/>
                  <a:gd name="connsiteY21" fmla="*/ 26194 h 771525"/>
                  <a:gd name="connsiteX22" fmla="*/ 723062 w 771525"/>
                  <a:gd name="connsiteY22" fmla="*/ 26194 h 771525"/>
                  <a:gd name="connsiteX23" fmla="*/ 723062 w 771525"/>
                  <a:gd name="connsiteY23" fmla="*/ 73419 h 771525"/>
                  <a:gd name="connsiteX24" fmla="*/ 53216 w 771525"/>
                  <a:gd name="connsiteY24" fmla="*/ 73419 h 771525"/>
                  <a:gd name="connsiteX25" fmla="*/ 53216 w 771525"/>
                  <a:gd name="connsiteY25" fmla="*/ 26194 h 771525"/>
                  <a:gd name="connsiteX26" fmla="*/ 76791 w 771525"/>
                  <a:gd name="connsiteY26" fmla="*/ 92469 h 771525"/>
                  <a:gd name="connsiteX27" fmla="*/ 699487 w 771525"/>
                  <a:gd name="connsiteY27" fmla="*/ 92469 h 771525"/>
                  <a:gd name="connsiteX28" fmla="*/ 699487 w 771525"/>
                  <a:gd name="connsiteY28" fmla="*/ 683819 h 771525"/>
                  <a:gd name="connsiteX29" fmla="*/ 496491 w 771525"/>
                  <a:gd name="connsiteY29" fmla="*/ 683819 h 771525"/>
                  <a:gd name="connsiteX30" fmla="*/ 496491 w 771525"/>
                  <a:gd name="connsiteY30" fmla="*/ 470402 h 771525"/>
                  <a:gd name="connsiteX31" fmla="*/ 486966 w 771525"/>
                  <a:gd name="connsiteY31" fmla="*/ 460877 h 771525"/>
                  <a:gd name="connsiteX32" fmla="*/ 289322 w 771525"/>
                  <a:gd name="connsiteY32" fmla="*/ 460877 h 771525"/>
                  <a:gd name="connsiteX33" fmla="*/ 279797 w 771525"/>
                  <a:gd name="connsiteY33" fmla="*/ 470402 h 771525"/>
                  <a:gd name="connsiteX34" fmla="*/ 279797 w 771525"/>
                  <a:gd name="connsiteY34" fmla="*/ 683819 h 771525"/>
                  <a:gd name="connsiteX35" fmla="*/ 76791 w 771525"/>
                  <a:gd name="connsiteY35" fmla="*/ 683819 h 771525"/>
                  <a:gd name="connsiteX36" fmla="*/ 76791 w 771525"/>
                  <a:gd name="connsiteY36" fmla="*/ 92469 h 771525"/>
                  <a:gd name="connsiteX37" fmla="*/ 298847 w 771525"/>
                  <a:gd name="connsiteY37" fmla="*/ 683819 h 771525"/>
                  <a:gd name="connsiteX38" fmla="*/ 298847 w 771525"/>
                  <a:gd name="connsiteY38" fmla="*/ 479927 h 771525"/>
                  <a:gd name="connsiteX39" fmla="*/ 378619 w 771525"/>
                  <a:gd name="connsiteY39" fmla="*/ 479927 h 771525"/>
                  <a:gd name="connsiteX40" fmla="*/ 378619 w 771525"/>
                  <a:gd name="connsiteY40" fmla="*/ 683819 h 771525"/>
                  <a:gd name="connsiteX41" fmla="*/ 298847 w 771525"/>
                  <a:gd name="connsiteY41" fmla="*/ 683819 h 771525"/>
                  <a:gd name="connsiteX42" fmla="*/ 397669 w 771525"/>
                  <a:gd name="connsiteY42" fmla="*/ 479927 h 771525"/>
                  <a:gd name="connsiteX43" fmla="*/ 477441 w 771525"/>
                  <a:gd name="connsiteY43" fmla="*/ 479927 h 771525"/>
                  <a:gd name="connsiteX44" fmla="*/ 477441 w 771525"/>
                  <a:gd name="connsiteY44" fmla="*/ 683819 h 771525"/>
                  <a:gd name="connsiteX45" fmla="*/ 397669 w 771525"/>
                  <a:gd name="connsiteY45" fmla="*/ 683819 h 771525"/>
                  <a:gd name="connsiteX46" fmla="*/ 397669 w 771525"/>
                  <a:gd name="connsiteY46" fmla="*/ 479927 h 771525"/>
                  <a:gd name="connsiteX47" fmla="*/ 26194 w 771525"/>
                  <a:gd name="connsiteY47" fmla="*/ 702869 h 771525"/>
                  <a:gd name="connsiteX48" fmla="*/ 750094 w 771525"/>
                  <a:gd name="connsiteY48" fmla="*/ 702869 h 771525"/>
                  <a:gd name="connsiteX49" fmla="*/ 750094 w 771525"/>
                  <a:gd name="connsiteY49" fmla="*/ 750094 h 771525"/>
                  <a:gd name="connsiteX50" fmla="*/ 26194 w 771525"/>
                  <a:gd name="connsiteY50" fmla="*/ 750094 h 771525"/>
                  <a:gd name="connsiteX51" fmla="*/ 26194 w 771525"/>
                  <a:gd name="connsiteY51" fmla="*/ 702869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771525" h="771525">
                    <a:moveTo>
                      <a:pt x="16669" y="769144"/>
                    </a:moveTo>
                    <a:lnTo>
                      <a:pt x="759619" y="769144"/>
                    </a:lnTo>
                    <a:cubicBezTo>
                      <a:pt x="764877" y="769144"/>
                      <a:pt x="769144" y="764886"/>
                      <a:pt x="769144" y="759619"/>
                    </a:cubicBezTo>
                    <a:lnTo>
                      <a:pt x="769144" y="693344"/>
                    </a:lnTo>
                    <a:cubicBezTo>
                      <a:pt x="769144" y="688076"/>
                      <a:pt x="764877" y="683819"/>
                      <a:pt x="759619" y="683819"/>
                    </a:cubicBezTo>
                    <a:lnTo>
                      <a:pt x="718547" y="683819"/>
                    </a:lnTo>
                    <a:lnTo>
                      <a:pt x="718547" y="92469"/>
                    </a:lnTo>
                    <a:lnTo>
                      <a:pt x="732596" y="92469"/>
                    </a:lnTo>
                    <a:cubicBezTo>
                      <a:pt x="737854" y="92469"/>
                      <a:pt x="742121" y="88211"/>
                      <a:pt x="742121" y="82944"/>
                    </a:cubicBezTo>
                    <a:lnTo>
                      <a:pt x="742121" y="16669"/>
                    </a:lnTo>
                    <a:cubicBezTo>
                      <a:pt x="742121" y="11401"/>
                      <a:pt x="737854" y="7144"/>
                      <a:pt x="732596" y="7144"/>
                    </a:cubicBezTo>
                    <a:lnTo>
                      <a:pt x="43691" y="7144"/>
                    </a:lnTo>
                    <a:cubicBezTo>
                      <a:pt x="38433" y="7144"/>
                      <a:pt x="34166" y="11401"/>
                      <a:pt x="34166" y="16669"/>
                    </a:cubicBezTo>
                    <a:lnTo>
                      <a:pt x="34166" y="82944"/>
                    </a:lnTo>
                    <a:cubicBezTo>
                      <a:pt x="34166" y="88211"/>
                      <a:pt x="38433" y="92469"/>
                      <a:pt x="43691" y="92469"/>
                    </a:cubicBezTo>
                    <a:lnTo>
                      <a:pt x="57741" y="92469"/>
                    </a:lnTo>
                    <a:lnTo>
                      <a:pt x="57741" y="683819"/>
                    </a:lnTo>
                    <a:lnTo>
                      <a:pt x="16669" y="683819"/>
                    </a:lnTo>
                    <a:cubicBezTo>
                      <a:pt x="11411" y="683819"/>
                      <a:pt x="7144" y="688076"/>
                      <a:pt x="7144" y="693344"/>
                    </a:cubicBezTo>
                    <a:lnTo>
                      <a:pt x="7144" y="759619"/>
                    </a:lnTo>
                    <a:cubicBezTo>
                      <a:pt x="7144" y="764886"/>
                      <a:pt x="11411" y="769144"/>
                      <a:pt x="16669" y="769144"/>
                    </a:cubicBezTo>
                    <a:close/>
                    <a:moveTo>
                      <a:pt x="53216" y="26194"/>
                    </a:moveTo>
                    <a:lnTo>
                      <a:pt x="723062" y="26194"/>
                    </a:lnTo>
                    <a:lnTo>
                      <a:pt x="723062" y="73419"/>
                    </a:lnTo>
                    <a:lnTo>
                      <a:pt x="53216" y="73419"/>
                    </a:lnTo>
                    <a:lnTo>
                      <a:pt x="53216" y="26194"/>
                    </a:lnTo>
                    <a:close/>
                    <a:moveTo>
                      <a:pt x="76791" y="92469"/>
                    </a:moveTo>
                    <a:lnTo>
                      <a:pt x="699487" y="92469"/>
                    </a:lnTo>
                    <a:lnTo>
                      <a:pt x="699487" y="683819"/>
                    </a:lnTo>
                    <a:lnTo>
                      <a:pt x="496491" y="683819"/>
                    </a:lnTo>
                    <a:lnTo>
                      <a:pt x="496491" y="470402"/>
                    </a:lnTo>
                    <a:cubicBezTo>
                      <a:pt x="496491" y="465134"/>
                      <a:pt x="492223" y="460877"/>
                      <a:pt x="486966" y="460877"/>
                    </a:cubicBezTo>
                    <a:lnTo>
                      <a:pt x="289322" y="460877"/>
                    </a:lnTo>
                    <a:cubicBezTo>
                      <a:pt x="284064" y="460877"/>
                      <a:pt x="279797" y="465134"/>
                      <a:pt x="279797" y="470402"/>
                    </a:cubicBezTo>
                    <a:lnTo>
                      <a:pt x="279797" y="683819"/>
                    </a:lnTo>
                    <a:lnTo>
                      <a:pt x="76791" y="683819"/>
                    </a:lnTo>
                    <a:lnTo>
                      <a:pt x="76791" y="92469"/>
                    </a:lnTo>
                    <a:close/>
                    <a:moveTo>
                      <a:pt x="298847" y="683819"/>
                    </a:moveTo>
                    <a:lnTo>
                      <a:pt x="298847" y="479927"/>
                    </a:lnTo>
                    <a:lnTo>
                      <a:pt x="378619" y="479927"/>
                    </a:lnTo>
                    <a:lnTo>
                      <a:pt x="378619" y="683819"/>
                    </a:lnTo>
                    <a:lnTo>
                      <a:pt x="298847" y="683819"/>
                    </a:lnTo>
                    <a:close/>
                    <a:moveTo>
                      <a:pt x="397669" y="479927"/>
                    </a:moveTo>
                    <a:lnTo>
                      <a:pt x="477441" y="479927"/>
                    </a:lnTo>
                    <a:lnTo>
                      <a:pt x="477441" y="683819"/>
                    </a:lnTo>
                    <a:lnTo>
                      <a:pt x="397669" y="683819"/>
                    </a:lnTo>
                    <a:lnTo>
                      <a:pt x="397669" y="479927"/>
                    </a:lnTo>
                    <a:close/>
                    <a:moveTo>
                      <a:pt x="26194" y="702869"/>
                    </a:moveTo>
                    <a:lnTo>
                      <a:pt x="750094" y="702869"/>
                    </a:lnTo>
                    <a:lnTo>
                      <a:pt x="750094" y="750094"/>
                    </a:lnTo>
                    <a:lnTo>
                      <a:pt x="26194" y="750094"/>
                    </a:lnTo>
                    <a:lnTo>
                      <a:pt x="26194" y="70286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2" name="Freeform: Shape 448">
                <a:extLst>
                  <a:ext uri="{FF2B5EF4-FFF2-40B4-BE49-F238E27FC236}">
                    <a16:creationId xmlns:a16="http://schemas.microsoft.com/office/drawing/2014/main" id="{F454034B-6763-4A0A-B0FE-D1DB9F72670E}"/>
                  </a:ext>
                </a:extLst>
              </p:cNvPr>
              <p:cNvSpPr/>
              <p:nvPr/>
            </p:nvSpPr>
            <p:spPr>
              <a:xfrm>
                <a:off x="6256849" y="337441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3" name="Freeform: Shape 449">
                <a:extLst>
                  <a:ext uri="{FF2B5EF4-FFF2-40B4-BE49-F238E27FC236}">
                    <a16:creationId xmlns:a16="http://schemas.microsoft.com/office/drawing/2014/main" id="{24EF349C-A899-4CF6-B22D-E0DCD32D8C30}"/>
                  </a:ext>
                </a:extLst>
              </p:cNvPr>
              <p:cNvSpPr/>
              <p:nvPr/>
            </p:nvSpPr>
            <p:spPr>
              <a:xfrm>
                <a:off x="5842511" y="3374412"/>
                <a:ext cx="85725" cy="123825"/>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4" name="Freeform: Shape 450">
                <a:extLst>
                  <a:ext uri="{FF2B5EF4-FFF2-40B4-BE49-F238E27FC236}">
                    <a16:creationId xmlns:a16="http://schemas.microsoft.com/office/drawing/2014/main" id="{7F3FE53C-CBF1-48F9-BA17-9AC14B5F8DAF}"/>
                  </a:ext>
                </a:extLst>
              </p:cNvPr>
              <p:cNvSpPr/>
              <p:nvPr/>
            </p:nvSpPr>
            <p:spPr>
              <a:xfrm>
                <a:off x="6256849" y="322320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5" name="Freeform: Shape 451">
                <a:extLst>
                  <a:ext uri="{FF2B5EF4-FFF2-40B4-BE49-F238E27FC236}">
                    <a16:creationId xmlns:a16="http://schemas.microsoft.com/office/drawing/2014/main" id="{A8683496-7CDF-4C07-B477-B23572014B8D}"/>
                  </a:ext>
                </a:extLst>
              </p:cNvPr>
              <p:cNvSpPr/>
              <p:nvPr/>
            </p:nvSpPr>
            <p:spPr>
              <a:xfrm>
                <a:off x="6118841" y="322320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6" name="Freeform: Shape 452">
                <a:extLst>
                  <a:ext uri="{FF2B5EF4-FFF2-40B4-BE49-F238E27FC236}">
                    <a16:creationId xmlns:a16="http://schemas.microsoft.com/office/drawing/2014/main" id="{E2309ABB-96AB-40B1-9E0A-EDF4B55385B7}"/>
                  </a:ext>
                </a:extLst>
              </p:cNvPr>
              <p:cNvSpPr/>
              <p:nvPr/>
            </p:nvSpPr>
            <p:spPr>
              <a:xfrm>
                <a:off x="5981710" y="322320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7" name="Freeform: Shape 453">
                <a:extLst>
                  <a:ext uri="{FF2B5EF4-FFF2-40B4-BE49-F238E27FC236}">
                    <a16:creationId xmlns:a16="http://schemas.microsoft.com/office/drawing/2014/main" id="{F9BD3954-FCD8-4AE4-845C-21F5BEA83024}"/>
                  </a:ext>
                </a:extLst>
              </p:cNvPr>
              <p:cNvSpPr/>
              <p:nvPr/>
            </p:nvSpPr>
            <p:spPr>
              <a:xfrm>
                <a:off x="6118841" y="3071993"/>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8" name="Freeform: Shape 454">
                <a:extLst>
                  <a:ext uri="{FF2B5EF4-FFF2-40B4-BE49-F238E27FC236}">
                    <a16:creationId xmlns:a16="http://schemas.microsoft.com/office/drawing/2014/main" id="{76CA987B-3DC7-4A24-9F8E-6D6C6CD1AAFB}"/>
                  </a:ext>
                </a:extLst>
              </p:cNvPr>
              <p:cNvSpPr/>
              <p:nvPr/>
            </p:nvSpPr>
            <p:spPr>
              <a:xfrm>
                <a:off x="5981710" y="3071993"/>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9" name="Freeform: Shape 455">
                <a:extLst>
                  <a:ext uri="{FF2B5EF4-FFF2-40B4-BE49-F238E27FC236}">
                    <a16:creationId xmlns:a16="http://schemas.microsoft.com/office/drawing/2014/main" id="{D84E9FFA-61A1-4597-A96A-AF267E0FA218}"/>
                  </a:ext>
                </a:extLst>
              </p:cNvPr>
              <p:cNvSpPr/>
              <p:nvPr/>
            </p:nvSpPr>
            <p:spPr>
              <a:xfrm>
                <a:off x="5842511" y="3223202"/>
                <a:ext cx="85725" cy="123825"/>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0" name="Freeform: Shape 456">
                <a:extLst>
                  <a:ext uri="{FF2B5EF4-FFF2-40B4-BE49-F238E27FC236}">
                    <a16:creationId xmlns:a16="http://schemas.microsoft.com/office/drawing/2014/main" id="{5B51065B-697D-458C-A1D3-CB303B7688C9}"/>
                  </a:ext>
                </a:extLst>
              </p:cNvPr>
              <p:cNvSpPr/>
              <p:nvPr/>
            </p:nvSpPr>
            <p:spPr>
              <a:xfrm>
                <a:off x="6256849" y="3071993"/>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1" name="Freeform: Shape 457">
                <a:extLst>
                  <a:ext uri="{FF2B5EF4-FFF2-40B4-BE49-F238E27FC236}">
                    <a16:creationId xmlns:a16="http://schemas.microsoft.com/office/drawing/2014/main" id="{F3140EAF-9D64-4078-BBA5-6E461F2BA9B2}"/>
                  </a:ext>
                </a:extLst>
              </p:cNvPr>
              <p:cNvSpPr/>
              <p:nvPr/>
            </p:nvSpPr>
            <p:spPr>
              <a:xfrm>
                <a:off x="5842511" y="3071993"/>
                <a:ext cx="85725" cy="123825"/>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674" name="Group 673">
              <a:extLst>
                <a:ext uri="{FF2B5EF4-FFF2-40B4-BE49-F238E27FC236}">
                  <a16:creationId xmlns:a16="http://schemas.microsoft.com/office/drawing/2014/main" id="{8619C4E9-DEE1-44AB-9CAF-7CBD4EEBBF30}"/>
                </a:ext>
              </a:extLst>
            </p:cNvPr>
            <p:cNvGrpSpPr/>
            <p:nvPr/>
          </p:nvGrpSpPr>
          <p:grpSpPr>
            <a:xfrm>
              <a:off x="7602496" y="1739620"/>
              <a:ext cx="570891" cy="1272744"/>
              <a:chOff x="7602496" y="1739620"/>
              <a:chExt cx="570891" cy="1272744"/>
            </a:xfrm>
          </p:grpSpPr>
          <p:sp>
            <p:nvSpPr>
              <p:cNvPr id="733" name="Rectangle 732">
                <a:extLst>
                  <a:ext uri="{FF2B5EF4-FFF2-40B4-BE49-F238E27FC236}">
                    <a16:creationId xmlns:a16="http://schemas.microsoft.com/office/drawing/2014/main" id="{6F025070-A94E-4FD2-A480-A14146E83AE7}"/>
                  </a:ext>
                </a:extLst>
              </p:cNvPr>
              <p:cNvSpPr/>
              <p:nvPr/>
            </p:nvSpPr>
            <p:spPr>
              <a:xfrm>
                <a:off x="7602496" y="1863445"/>
                <a:ext cx="570891" cy="1148919"/>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734" name="Group 733">
                <a:extLst>
                  <a:ext uri="{FF2B5EF4-FFF2-40B4-BE49-F238E27FC236}">
                    <a16:creationId xmlns:a16="http://schemas.microsoft.com/office/drawing/2014/main" id="{0743A971-F4D0-4F49-A5B4-23D41CF3C6F5}"/>
                  </a:ext>
                </a:extLst>
              </p:cNvPr>
              <p:cNvGrpSpPr/>
              <p:nvPr/>
            </p:nvGrpSpPr>
            <p:grpSpPr>
              <a:xfrm>
                <a:off x="7681520" y="1918017"/>
                <a:ext cx="386355" cy="212495"/>
                <a:chOff x="7681520" y="1918017"/>
                <a:chExt cx="386355" cy="212495"/>
              </a:xfrm>
            </p:grpSpPr>
            <p:sp>
              <p:nvSpPr>
                <p:cNvPr id="763" name="Freeform: Shape 613">
                  <a:extLst>
                    <a:ext uri="{FF2B5EF4-FFF2-40B4-BE49-F238E27FC236}">
                      <a16:creationId xmlns:a16="http://schemas.microsoft.com/office/drawing/2014/main" id="{31D3003D-69D0-43AB-8F47-3B90954BB0A0}"/>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4" name="Freeform: Shape 614">
                  <a:extLst>
                    <a:ext uri="{FF2B5EF4-FFF2-40B4-BE49-F238E27FC236}">
                      <a16:creationId xmlns:a16="http://schemas.microsoft.com/office/drawing/2014/main" id="{0ACDB22F-2041-487F-96F0-4D53C955592E}"/>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5" name="Freeform: Shape 615">
                  <a:extLst>
                    <a:ext uri="{FF2B5EF4-FFF2-40B4-BE49-F238E27FC236}">
                      <a16:creationId xmlns:a16="http://schemas.microsoft.com/office/drawing/2014/main" id="{1D0F5495-80E2-4276-AD8A-E2CCB8379B87}"/>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6" name="Freeform: Shape 616">
                  <a:extLst>
                    <a:ext uri="{FF2B5EF4-FFF2-40B4-BE49-F238E27FC236}">
                      <a16:creationId xmlns:a16="http://schemas.microsoft.com/office/drawing/2014/main" id="{75F5C856-CA0C-4DF8-ADE5-E9A692CC3F35}"/>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7" name="Freeform: Shape 617">
                  <a:extLst>
                    <a:ext uri="{FF2B5EF4-FFF2-40B4-BE49-F238E27FC236}">
                      <a16:creationId xmlns:a16="http://schemas.microsoft.com/office/drawing/2014/main" id="{03C41B6B-DF1C-413C-BF10-948DC90FEFF2}"/>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8" name="Freeform: Shape 618">
                  <a:extLst>
                    <a:ext uri="{FF2B5EF4-FFF2-40B4-BE49-F238E27FC236}">
                      <a16:creationId xmlns:a16="http://schemas.microsoft.com/office/drawing/2014/main" id="{B0871FBF-7C12-46A8-9D48-5E361F25A0E7}"/>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9" name="Freeform: Shape 619">
                  <a:extLst>
                    <a:ext uri="{FF2B5EF4-FFF2-40B4-BE49-F238E27FC236}">
                      <a16:creationId xmlns:a16="http://schemas.microsoft.com/office/drawing/2014/main" id="{23776C9E-D53A-47EB-914D-03DB163B75DA}"/>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0" name="Freeform: Shape 620">
                  <a:extLst>
                    <a:ext uri="{FF2B5EF4-FFF2-40B4-BE49-F238E27FC236}">
                      <a16:creationId xmlns:a16="http://schemas.microsoft.com/office/drawing/2014/main" id="{6FCE1129-6EEA-4818-9C22-5C96A9E1CB3E}"/>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735" name="Group 734">
                <a:extLst>
                  <a:ext uri="{FF2B5EF4-FFF2-40B4-BE49-F238E27FC236}">
                    <a16:creationId xmlns:a16="http://schemas.microsoft.com/office/drawing/2014/main" id="{623D1DE8-FB9E-431A-B1E6-25FADC13CD77}"/>
                  </a:ext>
                </a:extLst>
              </p:cNvPr>
              <p:cNvGrpSpPr/>
              <p:nvPr/>
            </p:nvGrpSpPr>
            <p:grpSpPr>
              <a:xfrm>
                <a:off x="7681520" y="2165667"/>
                <a:ext cx="386355" cy="212495"/>
                <a:chOff x="7681520" y="1918017"/>
                <a:chExt cx="386355" cy="212495"/>
              </a:xfrm>
            </p:grpSpPr>
            <p:sp>
              <p:nvSpPr>
                <p:cNvPr id="755" name="Freeform: Shape 622">
                  <a:extLst>
                    <a:ext uri="{FF2B5EF4-FFF2-40B4-BE49-F238E27FC236}">
                      <a16:creationId xmlns:a16="http://schemas.microsoft.com/office/drawing/2014/main" id="{5CFEA125-032F-43B6-A7B5-3B3E13B65B5A}"/>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6" name="Freeform: Shape 623">
                  <a:extLst>
                    <a:ext uri="{FF2B5EF4-FFF2-40B4-BE49-F238E27FC236}">
                      <a16:creationId xmlns:a16="http://schemas.microsoft.com/office/drawing/2014/main" id="{1F95517B-8B68-4881-8DC1-4963D259D046}"/>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7" name="Freeform: Shape 624">
                  <a:extLst>
                    <a:ext uri="{FF2B5EF4-FFF2-40B4-BE49-F238E27FC236}">
                      <a16:creationId xmlns:a16="http://schemas.microsoft.com/office/drawing/2014/main" id="{31A338DE-2041-42A7-852A-B440F865B845}"/>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8" name="Freeform: Shape 625">
                  <a:extLst>
                    <a:ext uri="{FF2B5EF4-FFF2-40B4-BE49-F238E27FC236}">
                      <a16:creationId xmlns:a16="http://schemas.microsoft.com/office/drawing/2014/main" id="{2FA7AE4D-85F2-4C1B-970B-4BD418277FDC}"/>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9" name="Freeform: Shape 626">
                  <a:extLst>
                    <a:ext uri="{FF2B5EF4-FFF2-40B4-BE49-F238E27FC236}">
                      <a16:creationId xmlns:a16="http://schemas.microsoft.com/office/drawing/2014/main" id="{2BB500AE-A26E-4651-B142-FEBDDFC045ED}"/>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0" name="Freeform: Shape 627">
                  <a:extLst>
                    <a:ext uri="{FF2B5EF4-FFF2-40B4-BE49-F238E27FC236}">
                      <a16:creationId xmlns:a16="http://schemas.microsoft.com/office/drawing/2014/main" id="{9E3F810C-862D-4C6A-A7D8-A313D39B6BB2}"/>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1" name="Freeform: Shape 628">
                  <a:extLst>
                    <a:ext uri="{FF2B5EF4-FFF2-40B4-BE49-F238E27FC236}">
                      <a16:creationId xmlns:a16="http://schemas.microsoft.com/office/drawing/2014/main" id="{D50613AF-9DAC-49B5-956A-94E8465E204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2" name="Freeform: Shape 629">
                  <a:extLst>
                    <a:ext uri="{FF2B5EF4-FFF2-40B4-BE49-F238E27FC236}">
                      <a16:creationId xmlns:a16="http://schemas.microsoft.com/office/drawing/2014/main" id="{4B9269CF-6878-4C31-B7A6-D3A91E055EC4}"/>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736" name="Group 735">
                <a:extLst>
                  <a:ext uri="{FF2B5EF4-FFF2-40B4-BE49-F238E27FC236}">
                    <a16:creationId xmlns:a16="http://schemas.microsoft.com/office/drawing/2014/main" id="{83398368-FF21-4690-9F47-3C01B401F17E}"/>
                  </a:ext>
                </a:extLst>
              </p:cNvPr>
              <p:cNvGrpSpPr/>
              <p:nvPr/>
            </p:nvGrpSpPr>
            <p:grpSpPr>
              <a:xfrm>
                <a:off x="7681520" y="2429192"/>
                <a:ext cx="386355" cy="212495"/>
                <a:chOff x="7681520" y="1918017"/>
                <a:chExt cx="386355" cy="212495"/>
              </a:xfrm>
            </p:grpSpPr>
            <p:sp>
              <p:nvSpPr>
                <p:cNvPr id="747" name="Freeform: Shape 631">
                  <a:extLst>
                    <a:ext uri="{FF2B5EF4-FFF2-40B4-BE49-F238E27FC236}">
                      <a16:creationId xmlns:a16="http://schemas.microsoft.com/office/drawing/2014/main" id="{FADF1AD1-FBC6-4AFA-B95A-C3E1A6ABAE76}"/>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8" name="Freeform: Shape 632">
                  <a:extLst>
                    <a:ext uri="{FF2B5EF4-FFF2-40B4-BE49-F238E27FC236}">
                      <a16:creationId xmlns:a16="http://schemas.microsoft.com/office/drawing/2014/main" id="{ECC23EDB-DDBE-4FD3-986F-B514BBCDA4EC}"/>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9" name="Freeform: Shape 633">
                  <a:extLst>
                    <a:ext uri="{FF2B5EF4-FFF2-40B4-BE49-F238E27FC236}">
                      <a16:creationId xmlns:a16="http://schemas.microsoft.com/office/drawing/2014/main" id="{9F2142F2-3069-4C1D-8EF2-F90C79FA3AB8}"/>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0" name="Freeform: Shape 634">
                  <a:extLst>
                    <a:ext uri="{FF2B5EF4-FFF2-40B4-BE49-F238E27FC236}">
                      <a16:creationId xmlns:a16="http://schemas.microsoft.com/office/drawing/2014/main" id="{B1EA25BE-5F9F-43FA-AEE5-154AD3736A64}"/>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1" name="Freeform: Shape 635">
                  <a:extLst>
                    <a:ext uri="{FF2B5EF4-FFF2-40B4-BE49-F238E27FC236}">
                      <a16:creationId xmlns:a16="http://schemas.microsoft.com/office/drawing/2014/main" id="{613BC104-4FCD-4B68-A3F0-1D79B4254772}"/>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2" name="Freeform: Shape 636">
                  <a:extLst>
                    <a:ext uri="{FF2B5EF4-FFF2-40B4-BE49-F238E27FC236}">
                      <a16:creationId xmlns:a16="http://schemas.microsoft.com/office/drawing/2014/main" id="{FD79181F-63B5-44AE-81D3-92203C35C660}"/>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3" name="Freeform: Shape 637">
                  <a:extLst>
                    <a:ext uri="{FF2B5EF4-FFF2-40B4-BE49-F238E27FC236}">
                      <a16:creationId xmlns:a16="http://schemas.microsoft.com/office/drawing/2014/main" id="{5F5F1658-98D3-480F-87EE-7864866DCD00}"/>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4" name="Freeform: Shape 638">
                  <a:extLst>
                    <a:ext uri="{FF2B5EF4-FFF2-40B4-BE49-F238E27FC236}">
                      <a16:creationId xmlns:a16="http://schemas.microsoft.com/office/drawing/2014/main" id="{0168CFCA-B35F-41A5-94B1-6202B4643E0A}"/>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737" name="Group 736">
                <a:extLst>
                  <a:ext uri="{FF2B5EF4-FFF2-40B4-BE49-F238E27FC236}">
                    <a16:creationId xmlns:a16="http://schemas.microsoft.com/office/drawing/2014/main" id="{1371FD26-6207-45DE-8FFF-F63928D3219E}"/>
                  </a:ext>
                </a:extLst>
              </p:cNvPr>
              <p:cNvGrpSpPr/>
              <p:nvPr/>
            </p:nvGrpSpPr>
            <p:grpSpPr>
              <a:xfrm>
                <a:off x="7681520" y="2692717"/>
                <a:ext cx="386355" cy="212495"/>
                <a:chOff x="7681520" y="1918017"/>
                <a:chExt cx="386355" cy="212495"/>
              </a:xfrm>
            </p:grpSpPr>
            <p:sp>
              <p:nvSpPr>
                <p:cNvPr id="739" name="Freeform: Shape 640">
                  <a:extLst>
                    <a:ext uri="{FF2B5EF4-FFF2-40B4-BE49-F238E27FC236}">
                      <a16:creationId xmlns:a16="http://schemas.microsoft.com/office/drawing/2014/main" id="{9227E197-9FA0-4FF6-B998-BCD32CACFCAF}"/>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0" name="Freeform: Shape 641">
                  <a:extLst>
                    <a:ext uri="{FF2B5EF4-FFF2-40B4-BE49-F238E27FC236}">
                      <a16:creationId xmlns:a16="http://schemas.microsoft.com/office/drawing/2014/main" id="{A62770A8-41DA-4AA6-8DB0-48B9FF5E7174}"/>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1" name="Freeform: Shape 642">
                  <a:extLst>
                    <a:ext uri="{FF2B5EF4-FFF2-40B4-BE49-F238E27FC236}">
                      <a16:creationId xmlns:a16="http://schemas.microsoft.com/office/drawing/2014/main" id="{99FD1C56-9940-44D5-B806-8F5641AED512}"/>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2" name="Freeform: Shape 643">
                  <a:extLst>
                    <a:ext uri="{FF2B5EF4-FFF2-40B4-BE49-F238E27FC236}">
                      <a16:creationId xmlns:a16="http://schemas.microsoft.com/office/drawing/2014/main" id="{F45FCD9E-03EF-4961-B467-A1363C31AA26}"/>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3" name="Freeform: Shape 644">
                  <a:extLst>
                    <a:ext uri="{FF2B5EF4-FFF2-40B4-BE49-F238E27FC236}">
                      <a16:creationId xmlns:a16="http://schemas.microsoft.com/office/drawing/2014/main" id="{D2678F5B-FFBA-44DD-829D-645CFC56D566}"/>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4" name="Freeform: Shape 645">
                  <a:extLst>
                    <a:ext uri="{FF2B5EF4-FFF2-40B4-BE49-F238E27FC236}">
                      <a16:creationId xmlns:a16="http://schemas.microsoft.com/office/drawing/2014/main" id="{46552C97-E191-4623-8588-29F039D488DC}"/>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5" name="Freeform: Shape 646">
                  <a:extLst>
                    <a:ext uri="{FF2B5EF4-FFF2-40B4-BE49-F238E27FC236}">
                      <a16:creationId xmlns:a16="http://schemas.microsoft.com/office/drawing/2014/main" id="{9C4EEF16-E9D3-42BB-B419-5978A70D805D}"/>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6" name="Freeform: Shape 647">
                  <a:extLst>
                    <a:ext uri="{FF2B5EF4-FFF2-40B4-BE49-F238E27FC236}">
                      <a16:creationId xmlns:a16="http://schemas.microsoft.com/office/drawing/2014/main" id="{D525B7EF-BF21-47F2-AC13-B8C9B1284233}"/>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738" name="Rectangle 737">
                <a:extLst>
                  <a:ext uri="{FF2B5EF4-FFF2-40B4-BE49-F238E27FC236}">
                    <a16:creationId xmlns:a16="http://schemas.microsoft.com/office/drawing/2014/main" id="{49F05559-D241-48B8-ADA8-3F58000635BC}"/>
                  </a:ext>
                </a:extLst>
              </p:cNvPr>
              <p:cNvSpPr/>
              <p:nvPr/>
            </p:nvSpPr>
            <p:spPr>
              <a:xfrm>
                <a:off x="7710446" y="1739620"/>
                <a:ext cx="363579" cy="124105"/>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grpSp>
          <p:nvGrpSpPr>
            <p:cNvPr id="675" name="Group 674">
              <a:extLst>
                <a:ext uri="{FF2B5EF4-FFF2-40B4-BE49-F238E27FC236}">
                  <a16:creationId xmlns:a16="http://schemas.microsoft.com/office/drawing/2014/main" id="{FEA3E8C3-F514-452F-874E-9F8AB70A629E}"/>
                </a:ext>
              </a:extLst>
            </p:cNvPr>
            <p:cNvGrpSpPr/>
            <p:nvPr/>
          </p:nvGrpSpPr>
          <p:grpSpPr>
            <a:xfrm>
              <a:off x="8177171" y="2098675"/>
              <a:ext cx="570891" cy="913689"/>
              <a:chOff x="8177171" y="2098675"/>
              <a:chExt cx="570891" cy="913689"/>
            </a:xfrm>
          </p:grpSpPr>
          <p:sp>
            <p:nvSpPr>
              <p:cNvPr id="705" name="Rectangle 704">
                <a:extLst>
                  <a:ext uri="{FF2B5EF4-FFF2-40B4-BE49-F238E27FC236}">
                    <a16:creationId xmlns:a16="http://schemas.microsoft.com/office/drawing/2014/main" id="{D35675EB-DAC8-44CA-A3E3-FF7673828F1F}"/>
                  </a:ext>
                </a:extLst>
              </p:cNvPr>
              <p:cNvSpPr/>
              <p:nvPr/>
            </p:nvSpPr>
            <p:spPr>
              <a:xfrm>
                <a:off x="8177171" y="2098675"/>
                <a:ext cx="570891" cy="913689"/>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706" name="Group 705">
                <a:extLst>
                  <a:ext uri="{FF2B5EF4-FFF2-40B4-BE49-F238E27FC236}">
                    <a16:creationId xmlns:a16="http://schemas.microsoft.com/office/drawing/2014/main" id="{E88663B7-7F40-4F03-BC22-E4F1ECE0F746}"/>
                  </a:ext>
                </a:extLst>
              </p:cNvPr>
              <p:cNvGrpSpPr/>
              <p:nvPr/>
            </p:nvGrpSpPr>
            <p:grpSpPr>
              <a:xfrm>
                <a:off x="8256195" y="2165667"/>
                <a:ext cx="386355" cy="212495"/>
                <a:chOff x="7681520" y="1918017"/>
                <a:chExt cx="386355" cy="212495"/>
              </a:xfrm>
            </p:grpSpPr>
            <p:sp>
              <p:nvSpPr>
                <p:cNvPr id="725" name="Freeform: Shape 670">
                  <a:extLst>
                    <a:ext uri="{FF2B5EF4-FFF2-40B4-BE49-F238E27FC236}">
                      <a16:creationId xmlns:a16="http://schemas.microsoft.com/office/drawing/2014/main" id="{A8137716-D672-4DC9-9B3E-259C52644D02}"/>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6" name="Freeform: Shape 671">
                  <a:extLst>
                    <a:ext uri="{FF2B5EF4-FFF2-40B4-BE49-F238E27FC236}">
                      <a16:creationId xmlns:a16="http://schemas.microsoft.com/office/drawing/2014/main" id="{4ED7132E-1AA7-4D65-93E4-5AF6FCB82695}"/>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7" name="Freeform: Shape 672">
                  <a:extLst>
                    <a:ext uri="{FF2B5EF4-FFF2-40B4-BE49-F238E27FC236}">
                      <a16:creationId xmlns:a16="http://schemas.microsoft.com/office/drawing/2014/main" id="{8DDFE472-0C23-4E92-8762-FE9269710FF3}"/>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8" name="Freeform: Shape 673">
                  <a:extLst>
                    <a:ext uri="{FF2B5EF4-FFF2-40B4-BE49-F238E27FC236}">
                      <a16:creationId xmlns:a16="http://schemas.microsoft.com/office/drawing/2014/main" id="{AF1C5192-1210-4FFB-81D5-35B4DE196F3C}"/>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9" name="Freeform: Shape 674">
                  <a:extLst>
                    <a:ext uri="{FF2B5EF4-FFF2-40B4-BE49-F238E27FC236}">
                      <a16:creationId xmlns:a16="http://schemas.microsoft.com/office/drawing/2014/main" id="{7FECE02D-BD9A-453F-90FC-782E497486DF}"/>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0" name="Freeform: Shape 675">
                  <a:extLst>
                    <a:ext uri="{FF2B5EF4-FFF2-40B4-BE49-F238E27FC236}">
                      <a16:creationId xmlns:a16="http://schemas.microsoft.com/office/drawing/2014/main" id="{2E87A703-6368-4475-B778-00D541B0C605}"/>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1" name="Freeform: Shape 676">
                  <a:extLst>
                    <a:ext uri="{FF2B5EF4-FFF2-40B4-BE49-F238E27FC236}">
                      <a16:creationId xmlns:a16="http://schemas.microsoft.com/office/drawing/2014/main" id="{2FF07726-6A9F-4C80-BACC-453BE1104DB5}"/>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2" name="Freeform: Shape 677">
                  <a:extLst>
                    <a:ext uri="{FF2B5EF4-FFF2-40B4-BE49-F238E27FC236}">
                      <a16:creationId xmlns:a16="http://schemas.microsoft.com/office/drawing/2014/main" id="{343B4E2C-23C4-471B-B287-CF1F22B8D71F}"/>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707" name="Group 706">
                <a:extLst>
                  <a:ext uri="{FF2B5EF4-FFF2-40B4-BE49-F238E27FC236}">
                    <a16:creationId xmlns:a16="http://schemas.microsoft.com/office/drawing/2014/main" id="{5EC42186-E0B0-4B42-A20D-A2E2F18DD4FD}"/>
                  </a:ext>
                </a:extLst>
              </p:cNvPr>
              <p:cNvGrpSpPr/>
              <p:nvPr/>
            </p:nvGrpSpPr>
            <p:grpSpPr>
              <a:xfrm>
                <a:off x="8256195" y="2429192"/>
                <a:ext cx="386355" cy="212495"/>
                <a:chOff x="7681520" y="1918017"/>
                <a:chExt cx="386355" cy="212495"/>
              </a:xfrm>
            </p:grpSpPr>
            <p:sp>
              <p:nvSpPr>
                <p:cNvPr id="717" name="Freeform: Shape 662">
                  <a:extLst>
                    <a:ext uri="{FF2B5EF4-FFF2-40B4-BE49-F238E27FC236}">
                      <a16:creationId xmlns:a16="http://schemas.microsoft.com/office/drawing/2014/main" id="{F5CD9D99-C5C7-43D6-A58F-C210C0D3148A}"/>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8" name="Freeform: Shape 663">
                  <a:extLst>
                    <a:ext uri="{FF2B5EF4-FFF2-40B4-BE49-F238E27FC236}">
                      <a16:creationId xmlns:a16="http://schemas.microsoft.com/office/drawing/2014/main" id="{5010DB45-97F6-43E3-BABD-611841BC84C1}"/>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9" name="Freeform: Shape 664">
                  <a:extLst>
                    <a:ext uri="{FF2B5EF4-FFF2-40B4-BE49-F238E27FC236}">
                      <a16:creationId xmlns:a16="http://schemas.microsoft.com/office/drawing/2014/main" id="{1A7A5710-8F56-4FE6-9D52-A395CE62612B}"/>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0" name="Freeform: Shape 665">
                  <a:extLst>
                    <a:ext uri="{FF2B5EF4-FFF2-40B4-BE49-F238E27FC236}">
                      <a16:creationId xmlns:a16="http://schemas.microsoft.com/office/drawing/2014/main" id="{59C8D57C-1648-447C-A166-D34CBDC404DC}"/>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1" name="Freeform: Shape 666">
                  <a:extLst>
                    <a:ext uri="{FF2B5EF4-FFF2-40B4-BE49-F238E27FC236}">
                      <a16:creationId xmlns:a16="http://schemas.microsoft.com/office/drawing/2014/main" id="{0348AE04-E05E-4E72-B18E-9CAC2E5699AE}"/>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2" name="Freeform: Shape 667">
                  <a:extLst>
                    <a:ext uri="{FF2B5EF4-FFF2-40B4-BE49-F238E27FC236}">
                      <a16:creationId xmlns:a16="http://schemas.microsoft.com/office/drawing/2014/main" id="{7531DB24-EFEE-462D-827D-C41060AACB53}"/>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3" name="Freeform: Shape 668">
                  <a:extLst>
                    <a:ext uri="{FF2B5EF4-FFF2-40B4-BE49-F238E27FC236}">
                      <a16:creationId xmlns:a16="http://schemas.microsoft.com/office/drawing/2014/main" id="{C2C381B5-CF91-45F4-BAE6-A514FBD82D30}"/>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4" name="Freeform: Shape 669">
                  <a:extLst>
                    <a:ext uri="{FF2B5EF4-FFF2-40B4-BE49-F238E27FC236}">
                      <a16:creationId xmlns:a16="http://schemas.microsoft.com/office/drawing/2014/main" id="{4AE38176-2FCA-48D8-917A-DF6F671DF3E2}"/>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708" name="Group 707">
                <a:extLst>
                  <a:ext uri="{FF2B5EF4-FFF2-40B4-BE49-F238E27FC236}">
                    <a16:creationId xmlns:a16="http://schemas.microsoft.com/office/drawing/2014/main" id="{72E74082-CEFB-4D10-91F2-8AE218698A18}"/>
                  </a:ext>
                </a:extLst>
              </p:cNvPr>
              <p:cNvGrpSpPr/>
              <p:nvPr/>
            </p:nvGrpSpPr>
            <p:grpSpPr>
              <a:xfrm>
                <a:off x="8256195" y="2692717"/>
                <a:ext cx="386355" cy="212495"/>
                <a:chOff x="7681520" y="1918017"/>
                <a:chExt cx="386355" cy="212495"/>
              </a:xfrm>
            </p:grpSpPr>
            <p:sp>
              <p:nvSpPr>
                <p:cNvPr id="709" name="Freeform: Shape 654">
                  <a:extLst>
                    <a:ext uri="{FF2B5EF4-FFF2-40B4-BE49-F238E27FC236}">
                      <a16:creationId xmlns:a16="http://schemas.microsoft.com/office/drawing/2014/main" id="{B463FEBF-3CF6-4BD2-A0D4-E2281CE33BA8}"/>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0" name="Freeform: Shape 655">
                  <a:extLst>
                    <a:ext uri="{FF2B5EF4-FFF2-40B4-BE49-F238E27FC236}">
                      <a16:creationId xmlns:a16="http://schemas.microsoft.com/office/drawing/2014/main" id="{113EAD5A-6DA8-430E-882D-497E4086B4BF}"/>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1" name="Freeform: Shape 656">
                  <a:extLst>
                    <a:ext uri="{FF2B5EF4-FFF2-40B4-BE49-F238E27FC236}">
                      <a16:creationId xmlns:a16="http://schemas.microsoft.com/office/drawing/2014/main" id="{67B2CE8D-1312-42F2-8504-18D9ECDEEE54}"/>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2" name="Freeform: Shape 657">
                  <a:extLst>
                    <a:ext uri="{FF2B5EF4-FFF2-40B4-BE49-F238E27FC236}">
                      <a16:creationId xmlns:a16="http://schemas.microsoft.com/office/drawing/2014/main" id="{6E533FA1-EEBC-46E2-8117-A2BC0013469A}"/>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3" name="Freeform: Shape 658">
                  <a:extLst>
                    <a:ext uri="{FF2B5EF4-FFF2-40B4-BE49-F238E27FC236}">
                      <a16:creationId xmlns:a16="http://schemas.microsoft.com/office/drawing/2014/main" id="{5A5F440A-58EE-4BE1-A601-BCB0285B4FC5}"/>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4" name="Freeform: Shape 659">
                  <a:extLst>
                    <a:ext uri="{FF2B5EF4-FFF2-40B4-BE49-F238E27FC236}">
                      <a16:creationId xmlns:a16="http://schemas.microsoft.com/office/drawing/2014/main" id="{CAA0817C-3CDF-45AD-A68D-39675EC5F38C}"/>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5" name="Freeform: Shape 660">
                  <a:extLst>
                    <a:ext uri="{FF2B5EF4-FFF2-40B4-BE49-F238E27FC236}">
                      <a16:creationId xmlns:a16="http://schemas.microsoft.com/office/drawing/2014/main" id="{929D3AED-C93D-427B-BC2D-FC5C304383D5}"/>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6" name="Freeform: Shape 661">
                  <a:extLst>
                    <a:ext uri="{FF2B5EF4-FFF2-40B4-BE49-F238E27FC236}">
                      <a16:creationId xmlns:a16="http://schemas.microsoft.com/office/drawing/2014/main" id="{3C12F8D7-4B06-4D42-9CC2-866EE1E6A617}"/>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nvGrpSpPr>
            <p:cNvPr id="676" name="Group 675">
              <a:extLst>
                <a:ext uri="{FF2B5EF4-FFF2-40B4-BE49-F238E27FC236}">
                  <a16:creationId xmlns:a16="http://schemas.microsoft.com/office/drawing/2014/main" id="{32724CEB-FDE7-4F9B-AFAF-D12123EE2027}"/>
                </a:ext>
              </a:extLst>
            </p:cNvPr>
            <p:cNvGrpSpPr/>
            <p:nvPr/>
          </p:nvGrpSpPr>
          <p:grpSpPr>
            <a:xfrm>
              <a:off x="7030996" y="2098675"/>
              <a:ext cx="570891" cy="913689"/>
              <a:chOff x="8177171" y="2098675"/>
              <a:chExt cx="570891" cy="913689"/>
            </a:xfrm>
          </p:grpSpPr>
          <p:sp>
            <p:nvSpPr>
              <p:cNvPr id="677" name="Rectangle 676">
                <a:extLst>
                  <a:ext uri="{FF2B5EF4-FFF2-40B4-BE49-F238E27FC236}">
                    <a16:creationId xmlns:a16="http://schemas.microsoft.com/office/drawing/2014/main" id="{3F2AE079-085F-4CCD-9DF8-846D273EA67E}"/>
                  </a:ext>
                </a:extLst>
              </p:cNvPr>
              <p:cNvSpPr/>
              <p:nvPr/>
            </p:nvSpPr>
            <p:spPr>
              <a:xfrm>
                <a:off x="8177171" y="2098675"/>
                <a:ext cx="570891" cy="913689"/>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678" name="Group 677">
                <a:extLst>
                  <a:ext uri="{FF2B5EF4-FFF2-40B4-BE49-F238E27FC236}">
                    <a16:creationId xmlns:a16="http://schemas.microsoft.com/office/drawing/2014/main" id="{82F2CD1B-8EF3-4FD5-B6BB-4ED9806F627E}"/>
                  </a:ext>
                </a:extLst>
              </p:cNvPr>
              <p:cNvGrpSpPr/>
              <p:nvPr/>
            </p:nvGrpSpPr>
            <p:grpSpPr>
              <a:xfrm>
                <a:off x="8256195" y="2165667"/>
                <a:ext cx="386355" cy="212495"/>
                <a:chOff x="7681520" y="1918017"/>
                <a:chExt cx="386355" cy="212495"/>
              </a:xfrm>
            </p:grpSpPr>
            <p:sp>
              <p:nvSpPr>
                <p:cNvPr id="697" name="Freeform: Shape 707">
                  <a:extLst>
                    <a:ext uri="{FF2B5EF4-FFF2-40B4-BE49-F238E27FC236}">
                      <a16:creationId xmlns:a16="http://schemas.microsoft.com/office/drawing/2014/main" id="{203F7D2B-F5CB-4B61-8987-8D1ED35D1AD4}"/>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8" name="Freeform: Shape 708">
                  <a:extLst>
                    <a:ext uri="{FF2B5EF4-FFF2-40B4-BE49-F238E27FC236}">
                      <a16:creationId xmlns:a16="http://schemas.microsoft.com/office/drawing/2014/main" id="{BEFB5D86-B84E-4C38-AC2F-D325429429DA}"/>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9" name="Freeform: Shape 709">
                  <a:extLst>
                    <a:ext uri="{FF2B5EF4-FFF2-40B4-BE49-F238E27FC236}">
                      <a16:creationId xmlns:a16="http://schemas.microsoft.com/office/drawing/2014/main" id="{AA87997F-85D3-476F-9D39-2E59D4F7D359}"/>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0" name="Freeform: Shape 710">
                  <a:extLst>
                    <a:ext uri="{FF2B5EF4-FFF2-40B4-BE49-F238E27FC236}">
                      <a16:creationId xmlns:a16="http://schemas.microsoft.com/office/drawing/2014/main" id="{3261E925-D374-430D-BE66-428624434C85}"/>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1" name="Freeform: Shape 711">
                  <a:extLst>
                    <a:ext uri="{FF2B5EF4-FFF2-40B4-BE49-F238E27FC236}">
                      <a16:creationId xmlns:a16="http://schemas.microsoft.com/office/drawing/2014/main" id="{0860838F-CFDC-41BC-B92A-163A0EE3F14F}"/>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2" name="Freeform: Shape 712">
                  <a:extLst>
                    <a:ext uri="{FF2B5EF4-FFF2-40B4-BE49-F238E27FC236}">
                      <a16:creationId xmlns:a16="http://schemas.microsoft.com/office/drawing/2014/main" id="{E55480F1-1893-484D-8FF9-85A0A94DD473}"/>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3" name="Freeform: Shape 713">
                  <a:extLst>
                    <a:ext uri="{FF2B5EF4-FFF2-40B4-BE49-F238E27FC236}">
                      <a16:creationId xmlns:a16="http://schemas.microsoft.com/office/drawing/2014/main" id="{1D41F713-F934-41C1-8730-4A748EF41DD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4" name="Freeform: Shape 714">
                  <a:extLst>
                    <a:ext uri="{FF2B5EF4-FFF2-40B4-BE49-F238E27FC236}">
                      <a16:creationId xmlns:a16="http://schemas.microsoft.com/office/drawing/2014/main" id="{3268174C-3044-42A4-AD12-A0903062DADB}"/>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679" name="Group 678">
                <a:extLst>
                  <a:ext uri="{FF2B5EF4-FFF2-40B4-BE49-F238E27FC236}">
                    <a16:creationId xmlns:a16="http://schemas.microsoft.com/office/drawing/2014/main" id="{82C37B37-BA84-47CF-B761-1B8DF16E95A3}"/>
                  </a:ext>
                </a:extLst>
              </p:cNvPr>
              <p:cNvGrpSpPr/>
              <p:nvPr/>
            </p:nvGrpSpPr>
            <p:grpSpPr>
              <a:xfrm>
                <a:off x="8256195" y="2429192"/>
                <a:ext cx="386355" cy="212495"/>
                <a:chOff x="7681520" y="1918017"/>
                <a:chExt cx="386355" cy="212495"/>
              </a:xfrm>
            </p:grpSpPr>
            <p:sp>
              <p:nvSpPr>
                <p:cNvPr id="689" name="Freeform: Shape 699">
                  <a:extLst>
                    <a:ext uri="{FF2B5EF4-FFF2-40B4-BE49-F238E27FC236}">
                      <a16:creationId xmlns:a16="http://schemas.microsoft.com/office/drawing/2014/main" id="{54015EB5-AFCF-441A-B529-7B008BA11323}"/>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0" name="Freeform: Shape 700">
                  <a:extLst>
                    <a:ext uri="{FF2B5EF4-FFF2-40B4-BE49-F238E27FC236}">
                      <a16:creationId xmlns:a16="http://schemas.microsoft.com/office/drawing/2014/main" id="{5C0325B9-FEC8-4CF2-A84F-E7EDF9734AF9}"/>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1" name="Freeform: Shape 701">
                  <a:extLst>
                    <a:ext uri="{FF2B5EF4-FFF2-40B4-BE49-F238E27FC236}">
                      <a16:creationId xmlns:a16="http://schemas.microsoft.com/office/drawing/2014/main" id="{715C2893-6A38-4995-AB07-EDB72A2B6020}"/>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2" name="Freeform: Shape 702">
                  <a:extLst>
                    <a:ext uri="{FF2B5EF4-FFF2-40B4-BE49-F238E27FC236}">
                      <a16:creationId xmlns:a16="http://schemas.microsoft.com/office/drawing/2014/main" id="{B2E524EA-7500-401B-AA51-ACDA7049C5D7}"/>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3" name="Freeform: Shape 703">
                  <a:extLst>
                    <a:ext uri="{FF2B5EF4-FFF2-40B4-BE49-F238E27FC236}">
                      <a16:creationId xmlns:a16="http://schemas.microsoft.com/office/drawing/2014/main" id="{4DEAB885-F959-44BC-9663-983D9EB5377A}"/>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4" name="Freeform: Shape 704">
                  <a:extLst>
                    <a:ext uri="{FF2B5EF4-FFF2-40B4-BE49-F238E27FC236}">
                      <a16:creationId xmlns:a16="http://schemas.microsoft.com/office/drawing/2014/main" id="{3FF6C649-EAFC-4D3E-B311-CF8D6A2E342C}"/>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5" name="Freeform: Shape 705">
                  <a:extLst>
                    <a:ext uri="{FF2B5EF4-FFF2-40B4-BE49-F238E27FC236}">
                      <a16:creationId xmlns:a16="http://schemas.microsoft.com/office/drawing/2014/main" id="{51CF9C68-DDD8-42E2-B73D-CBF745F6AD3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6" name="Freeform: Shape 706">
                  <a:extLst>
                    <a:ext uri="{FF2B5EF4-FFF2-40B4-BE49-F238E27FC236}">
                      <a16:creationId xmlns:a16="http://schemas.microsoft.com/office/drawing/2014/main" id="{620A3177-F1C6-4C99-9E55-F8621C372FBF}"/>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680" name="Group 679">
                <a:extLst>
                  <a:ext uri="{FF2B5EF4-FFF2-40B4-BE49-F238E27FC236}">
                    <a16:creationId xmlns:a16="http://schemas.microsoft.com/office/drawing/2014/main" id="{0CC9FADE-28F9-49BB-A344-BDF29A40C9C5}"/>
                  </a:ext>
                </a:extLst>
              </p:cNvPr>
              <p:cNvGrpSpPr/>
              <p:nvPr/>
            </p:nvGrpSpPr>
            <p:grpSpPr>
              <a:xfrm>
                <a:off x="8256195" y="2692717"/>
                <a:ext cx="386355" cy="212495"/>
                <a:chOff x="7681520" y="1918017"/>
                <a:chExt cx="386355" cy="212495"/>
              </a:xfrm>
            </p:grpSpPr>
            <p:sp>
              <p:nvSpPr>
                <p:cNvPr id="681" name="Freeform: Shape 691">
                  <a:extLst>
                    <a:ext uri="{FF2B5EF4-FFF2-40B4-BE49-F238E27FC236}">
                      <a16:creationId xmlns:a16="http://schemas.microsoft.com/office/drawing/2014/main" id="{E6D347EC-194B-4960-86DC-D0E0E8626DD5}"/>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2" name="Freeform: Shape 692">
                  <a:extLst>
                    <a:ext uri="{FF2B5EF4-FFF2-40B4-BE49-F238E27FC236}">
                      <a16:creationId xmlns:a16="http://schemas.microsoft.com/office/drawing/2014/main" id="{C5FE6987-2FA3-417F-B341-52792038C0DE}"/>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3" name="Freeform: Shape 693">
                  <a:extLst>
                    <a:ext uri="{FF2B5EF4-FFF2-40B4-BE49-F238E27FC236}">
                      <a16:creationId xmlns:a16="http://schemas.microsoft.com/office/drawing/2014/main" id="{9B352CD8-25B0-4EDE-9A03-873248250118}"/>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4" name="Freeform: Shape 694">
                  <a:extLst>
                    <a:ext uri="{FF2B5EF4-FFF2-40B4-BE49-F238E27FC236}">
                      <a16:creationId xmlns:a16="http://schemas.microsoft.com/office/drawing/2014/main" id="{D6DA0E0A-A52E-4E08-8F8B-9B7EA9ECD4C1}"/>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5" name="Freeform: Shape 695">
                  <a:extLst>
                    <a:ext uri="{FF2B5EF4-FFF2-40B4-BE49-F238E27FC236}">
                      <a16:creationId xmlns:a16="http://schemas.microsoft.com/office/drawing/2014/main" id="{D46D8B46-5EB2-4AFB-B842-E2D25BAA1B84}"/>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6" name="Freeform: Shape 696">
                  <a:extLst>
                    <a:ext uri="{FF2B5EF4-FFF2-40B4-BE49-F238E27FC236}">
                      <a16:creationId xmlns:a16="http://schemas.microsoft.com/office/drawing/2014/main" id="{063D1DC3-42EE-4D5E-9219-F2B3D5AA2BB0}"/>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7" name="Freeform: Shape 697">
                  <a:extLst>
                    <a:ext uri="{FF2B5EF4-FFF2-40B4-BE49-F238E27FC236}">
                      <a16:creationId xmlns:a16="http://schemas.microsoft.com/office/drawing/2014/main" id="{88BA0CC1-4D2D-46AD-925E-A89044247021}"/>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8" name="Freeform: Shape 698">
                  <a:extLst>
                    <a:ext uri="{FF2B5EF4-FFF2-40B4-BE49-F238E27FC236}">
                      <a16:creationId xmlns:a16="http://schemas.microsoft.com/office/drawing/2014/main" id="{FC9383D1-ED48-4DF1-B637-C22F7ABB820F}"/>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grpSp>
        <p:nvGrpSpPr>
          <p:cNvPr id="793" name="Group 792">
            <a:extLst>
              <a:ext uri="{FF2B5EF4-FFF2-40B4-BE49-F238E27FC236}">
                <a16:creationId xmlns:a16="http://schemas.microsoft.com/office/drawing/2014/main" id="{E80F6F4E-8D26-4AA5-90D5-21EC266C4918}"/>
              </a:ext>
            </a:extLst>
          </p:cNvPr>
          <p:cNvGrpSpPr/>
          <p:nvPr/>
        </p:nvGrpSpPr>
        <p:grpSpPr>
          <a:xfrm>
            <a:off x="4624058" y="938421"/>
            <a:ext cx="670137" cy="411356"/>
            <a:chOff x="6486211" y="1739620"/>
            <a:chExt cx="2801675" cy="1283916"/>
          </a:xfrm>
        </p:grpSpPr>
        <p:grpSp>
          <p:nvGrpSpPr>
            <p:cNvPr id="794" name="Group 793">
              <a:extLst>
                <a:ext uri="{FF2B5EF4-FFF2-40B4-BE49-F238E27FC236}">
                  <a16:creationId xmlns:a16="http://schemas.microsoft.com/office/drawing/2014/main" id="{6E4EAD5C-7924-4B1F-9DFF-D1AD8232C318}"/>
                </a:ext>
              </a:extLst>
            </p:cNvPr>
            <p:cNvGrpSpPr/>
            <p:nvPr/>
          </p:nvGrpSpPr>
          <p:grpSpPr>
            <a:xfrm>
              <a:off x="6486211" y="2427446"/>
              <a:ext cx="596090" cy="596090"/>
              <a:chOff x="6340161" y="2433796"/>
              <a:chExt cx="596090" cy="596090"/>
            </a:xfrm>
          </p:grpSpPr>
          <p:sp>
            <p:nvSpPr>
              <p:cNvPr id="904" name="Freeform: Shape 498">
                <a:extLst>
                  <a:ext uri="{FF2B5EF4-FFF2-40B4-BE49-F238E27FC236}">
                    <a16:creationId xmlns:a16="http://schemas.microsoft.com/office/drawing/2014/main" id="{52517459-A55E-400A-8290-6C0D2E0D05B7}"/>
                  </a:ext>
                </a:extLst>
              </p:cNvPr>
              <p:cNvSpPr/>
              <p:nvPr/>
            </p:nvSpPr>
            <p:spPr>
              <a:xfrm>
                <a:off x="6340161" y="2433796"/>
                <a:ext cx="596090" cy="596090"/>
              </a:xfrm>
              <a:custGeom>
                <a:avLst/>
                <a:gdLst>
                  <a:gd name="connsiteX0" fmla="*/ 16669 w 771525"/>
                  <a:gd name="connsiteY0" fmla="*/ 769144 h 771525"/>
                  <a:gd name="connsiteX1" fmla="*/ 759619 w 771525"/>
                  <a:gd name="connsiteY1" fmla="*/ 769144 h 771525"/>
                  <a:gd name="connsiteX2" fmla="*/ 769144 w 771525"/>
                  <a:gd name="connsiteY2" fmla="*/ 759619 h 771525"/>
                  <a:gd name="connsiteX3" fmla="*/ 769144 w 771525"/>
                  <a:gd name="connsiteY3" fmla="*/ 693344 h 771525"/>
                  <a:gd name="connsiteX4" fmla="*/ 759619 w 771525"/>
                  <a:gd name="connsiteY4" fmla="*/ 683819 h 771525"/>
                  <a:gd name="connsiteX5" fmla="*/ 718547 w 771525"/>
                  <a:gd name="connsiteY5" fmla="*/ 683819 h 771525"/>
                  <a:gd name="connsiteX6" fmla="*/ 718547 w 771525"/>
                  <a:gd name="connsiteY6" fmla="*/ 92469 h 771525"/>
                  <a:gd name="connsiteX7" fmla="*/ 732596 w 771525"/>
                  <a:gd name="connsiteY7" fmla="*/ 92469 h 771525"/>
                  <a:gd name="connsiteX8" fmla="*/ 742121 w 771525"/>
                  <a:gd name="connsiteY8" fmla="*/ 82944 h 771525"/>
                  <a:gd name="connsiteX9" fmla="*/ 742121 w 771525"/>
                  <a:gd name="connsiteY9" fmla="*/ 16669 h 771525"/>
                  <a:gd name="connsiteX10" fmla="*/ 732596 w 771525"/>
                  <a:gd name="connsiteY10" fmla="*/ 7144 h 771525"/>
                  <a:gd name="connsiteX11" fmla="*/ 43691 w 771525"/>
                  <a:gd name="connsiteY11" fmla="*/ 7144 h 771525"/>
                  <a:gd name="connsiteX12" fmla="*/ 34166 w 771525"/>
                  <a:gd name="connsiteY12" fmla="*/ 16669 h 771525"/>
                  <a:gd name="connsiteX13" fmla="*/ 34166 w 771525"/>
                  <a:gd name="connsiteY13" fmla="*/ 82944 h 771525"/>
                  <a:gd name="connsiteX14" fmla="*/ 43691 w 771525"/>
                  <a:gd name="connsiteY14" fmla="*/ 92469 h 771525"/>
                  <a:gd name="connsiteX15" fmla="*/ 57741 w 771525"/>
                  <a:gd name="connsiteY15" fmla="*/ 92469 h 771525"/>
                  <a:gd name="connsiteX16" fmla="*/ 57741 w 771525"/>
                  <a:gd name="connsiteY16" fmla="*/ 683819 h 771525"/>
                  <a:gd name="connsiteX17" fmla="*/ 16669 w 771525"/>
                  <a:gd name="connsiteY17" fmla="*/ 683819 h 771525"/>
                  <a:gd name="connsiteX18" fmla="*/ 7144 w 771525"/>
                  <a:gd name="connsiteY18" fmla="*/ 693344 h 771525"/>
                  <a:gd name="connsiteX19" fmla="*/ 7144 w 771525"/>
                  <a:gd name="connsiteY19" fmla="*/ 759619 h 771525"/>
                  <a:gd name="connsiteX20" fmla="*/ 16669 w 771525"/>
                  <a:gd name="connsiteY20" fmla="*/ 769144 h 771525"/>
                  <a:gd name="connsiteX21" fmla="*/ 53216 w 771525"/>
                  <a:gd name="connsiteY21" fmla="*/ 26194 h 771525"/>
                  <a:gd name="connsiteX22" fmla="*/ 723062 w 771525"/>
                  <a:gd name="connsiteY22" fmla="*/ 26194 h 771525"/>
                  <a:gd name="connsiteX23" fmla="*/ 723062 w 771525"/>
                  <a:gd name="connsiteY23" fmla="*/ 73419 h 771525"/>
                  <a:gd name="connsiteX24" fmla="*/ 53216 w 771525"/>
                  <a:gd name="connsiteY24" fmla="*/ 73419 h 771525"/>
                  <a:gd name="connsiteX25" fmla="*/ 53216 w 771525"/>
                  <a:gd name="connsiteY25" fmla="*/ 26194 h 771525"/>
                  <a:gd name="connsiteX26" fmla="*/ 76791 w 771525"/>
                  <a:gd name="connsiteY26" fmla="*/ 92469 h 771525"/>
                  <a:gd name="connsiteX27" fmla="*/ 699487 w 771525"/>
                  <a:gd name="connsiteY27" fmla="*/ 92469 h 771525"/>
                  <a:gd name="connsiteX28" fmla="*/ 699487 w 771525"/>
                  <a:gd name="connsiteY28" fmla="*/ 683819 h 771525"/>
                  <a:gd name="connsiteX29" fmla="*/ 496491 w 771525"/>
                  <a:gd name="connsiteY29" fmla="*/ 683819 h 771525"/>
                  <a:gd name="connsiteX30" fmla="*/ 496491 w 771525"/>
                  <a:gd name="connsiteY30" fmla="*/ 470402 h 771525"/>
                  <a:gd name="connsiteX31" fmla="*/ 486966 w 771525"/>
                  <a:gd name="connsiteY31" fmla="*/ 460877 h 771525"/>
                  <a:gd name="connsiteX32" fmla="*/ 289322 w 771525"/>
                  <a:gd name="connsiteY32" fmla="*/ 460877 h 771525"/>
                  <a:gd name="connsiteX33" fmla="*/ 279797 w 771525"/>
                  <a:gd name="connsiteY33" fmla="*/ 470402 h 771525"/>
                  <a:gd name="connsiteX34" fmla="*/ 279797 w 771525"/>
                  <a:gd name="connsiteY34" fmla="*/ 683819 h 771525"/>
                  <a:gd name="connsiteX35" fmla="*/ 76791 w 771525"/>
                  <a:gd name="connsiteY35" fmla="*/ 683819 h 771525"/>
                  <a:gd name="connsiteX36" fmla="*/ 76791 w 771525"/>
                  <a:gd name="connsiteY36" fmla="*/ 92469 h 771525"/>
                  <a:gd name="connsiteX37" fmla="*/ 298847 w 771525"/>
                  <a:gd name="connsiteY37" fmla="*/ 683819 h 771525"/>
                  <a:gd name="connsiteX38" fmla="*/ 298847 w 771525"/>
                  <a:gd name="connsiteY38" fmla="*/ 479927 h 771525"/>
                  <a:gd name="connsiteX39" fmla="*/ 378619 w 771525"/>
                  <a:gd name="connsiteY39" fmla="*/ 479927 h 771525"/>
                  <a:gd name="connsiteX40" fmla="*/ 378619 w 771525"/>
                  <a:gd name="connsiteY40" fmla="*/ 683819 h 771525"/>
                  <a:gd name="connsiteX41" fmla="*/ 298847 w 771525"/>
                  <a:gd name="connsiteY41" fmla="*/ 683819 h 771525"/>
                  <a:gd name="connsiteX42" fmla="*/ 397669 w 771525"/>
                  <a:gd name="connsiteY42" fmla="*/ 479927 h 771525"/>
                  <a:gd name="connsiteX43" fmla="*/ 477441 w 771525"/>
                  <a:gd name="connsiteY43" fmla="*/ 479927 h 771525"/>
                  <a:gd name="connsiteX44" fmla="*/ 477441 w 771525"/>
                  <a:gd name="connsiteY44" fmla="*/ 683819 h 771525"/>
                  <a:gd name="connsiteX45" fmla="*/ 397669 w 771525"/>
                  <a:gd name="connsiteY45" fmla="*/ 683819 h 771525"/>
                  <a:gd name="connsiteX46" fmla="*/ 397669 w 771525"/>
                  <a:gd name="connsiteY46" fmla="*/ 479927 h 771525"/>
                  <a:gd name="connsiteX47" fmla="*/ 26194 w 771525"/>
                  <a:gd name="connsiteY47" fmla="*/ 702869 h 771525"/>
                  <a:gd name="connsiteX48" fmla="*/ 750094 w 771525"/>
                  <a:gd name="connsiteY48" fmla="*/ 702869 h 771525"/>
                  <a:gd name="connsiteX49" fmla="*/ 750094 w 771525"/>
                  <a:gd name="connsiteY49" fmla="*/ 750094 h 771525"/>
                  <a:gd name="connsiteX50" fmla="*/ 26194 w 771525"/>
                  <a:gd name="connsiteY50" fmla="*/ 750094 h 771525"/>
                  <a:gd name="connsiteX51" fmla="*/ 26194 w 771525"/>
                  <a:gd name="connsiteY51" fmla="*/ 702869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771525" h="771525">
                    <a:moveTo>
                      <a:pt x="16669" y="769144"/>
                    </a:moveTo>
                    <a:lnTo>
                      <a:pt x="759619" y="769144"/>
                    </a:lnTo>
                    <a:cubicBezTo>
                      <a:pt x="764877" y="769144"/>
                      <a:pt x="769144" y="764886"/>
                      <a:pt x="769144" y="759619"/>
                    </a:cubicBezTo>
                    <a:lnTo>
                      <a:pt x="769144" y="693344"/>
                    </a:lnTo>
                    <a:cubicBezTo>
                      <a:pt x="769144" y="688076"/>
                      <a:pt x="764877" y="683819"/>
                      <a:pt x="759619" y="683819"/>
                    </a:cubicBezTo>
                    <a:lnTo>
                      <a:pt x="718547" y="683819"/>
                    </a:lnTo>
                    <a:lnTo>
                      <a:pt x="718547" y="92469"/>
                    </a:lnTo>
                    <a:lnTo>
                      <a:pt x="732596" y="92469"/>
                    </a:lnTo>
                    <a:cubicBezTo>
                      <a:pt x="737854" y="92469"/>
                      <a:pt x="742121" y="88211"/>
                      <a:pt x="742121" y="82944"/>
                    </a:cubicBezTo>
                    <a:lnTo>
                      <a:pt x="742121" y="16669"/>
                    </a:lnTo>
                    <a:cubicBezTo>
                      <a:pt x="742121" y="11401"/>
                      <a:pt x="737854" y="7144"/>
                      <a:pt x="732596" y="7144"/>
                    </a:cubicBezTo>
                    <a:lnTo>
                      <a:pt x="43691" y="7144"/>
                    </a:lnTo>
                    <a:cubicBezTo>
                      <a:pt x="38433" y="7144"/>
                      <a:pt x="34166" y="11401"/>
                      <a:pt x="34166" y="16669"/>
                    </a:cubicBezTo>
                    <a:lnTo>
                      <a:pt x="34166" y="82944"/>
                    </a:lnTo>
                    <a:cubicBezTo>
                      <a:pt x="34166" y="88211"/>
                      <a:pt x="38433" y="92469"/>
                      <a:pt x="43691" y="92469"/>
                    </a:cubicBezTo>
                    <a:lnTo>
                      <a:pt x="57741" y="92469"/>
                    </a:lnTo>
                    <a:lnTo>
                      <a:pt x="57741" y="683819"/>
                    </a:lnTo>
                    <a:lnTo>
                      <a:pt x="16669" y="683819"/>
                    </a:lnTo>
                    <a:cubicBezTo>
                      <a:pt x="11411" y="683819"/>
                      <a:pt x="7144" y="688076"/>
                      <a:pt x="7144" y="693344"/>
                    </a:cubicBezTo>
                    <a:lnTo>
                      <a:pt x="7144" y="759619"/>
                    </a:lnTo>
                    <a:cubicBezTo>
                      <a:pt x="7144" y="764886"/>
                      <a:pt x="11411" y="769144"/>
                      <a:pt x="16669" y="769144"/>
                    </a:cubicBezTo>
                    <a:close/>
                    <a:moveTo>
                      <a:pt x="53216" y="26194"/>
                    </a:moveTo>
                    <a:lnTo>
                      <a:pt x="723062" y="26194"/>
                    </a:lnTo>
                    <a:lnTo>
                      <a:pt x="723062" y="73419"/>
                    </a:lnTo>
                    <a:lnTo>
                      <a:pt x="53216" y="73419"/>
                    </a:lnTo>
                    <a:lnTo>
                      <a:pt x="53216" y="26194"/>
                    </a:lnTo>
                    <a:close/>
                    <a:moveTo>
                      <a:pt x="76791" y="92469"/>
                    </a:moveTo>
                    <a:lnTo>
                      <a:pt x="699487" y="92469"/>
                    </a:lnTo>
                    <a:lnTo>
                      <a:pt x="699487" y="683819"/>
                    </a:lnTo>
                    <a:lnTo>
                      <a:pt x="496491" y="683819"/>
                    </a:lnTo>
                    <a:lnTo>
                      <a:pt x="496491" y="470402"/>
                    </a:lnTo>
                    <a:cubicBezTo>
                      <a:pt x="496491" y="465134"/>
                      <a:pt x="492223" y="460877"/>
                      <a:pt x="486966" y="460877"/>
                    </a:cubicBezTo>
                    <a:lnTo>
                      <a:pt x="289322" y="460877"/>
                    </a:lnTo>
                    <a:cubicBezTo>
                      <a:pt x="284064" y="460877"/>
                      <a:pt x="279797" y="465134"/>
                      <a:pt x="279797" y="470402"/>
                    </a:cubicBezTo>
                    <a:lnTo>
                      <a:pt x="279797" y="683819"/>
                    </a:lnTo>
                    <a:lnTo>
                      <a:pt x="76791" y="683819"/>
                    </a:lnTo>
                    <a:lnTo>
                      <a:pt x="76791" y="92469"/>
                    </a:lnTo>
                    <a:close/>
                    <a:moveTo>
                      <a:pt x="298847" y="683819"/>
                    </a:moveTo>
                    <a:lnTo>
                      <a:pt x="298847" y="479927"/>
                    </a:lnTo>
                    <a:lnTo>
                      <a:pt x="378619" y="479927"/>
                    </a:lnTo>
                    <a:lnTo>
                      <a:pt x="378619" y="683819"/>
                    </a:lnTo>
                    <a:lnTo>
                      <a:pt x="298847" y="683819"/>
                    </a:lnTo>
                    <a:close/>
                    <a:moveTo>
                      <a:pt x="397669" y="479927"/>
                    </a:moveTo>
                    <a:lnTo>
                      <a:pt x="477441" y="479927"/>
                    </a:lnTo>
                    <a:lnTo>
                      <a:pt x="477441" y="683819"/>
                    </a:lnTo>
                    <a:lnTo>
                      <a:pt x="397669" y="683819"/>
                    </a:lnTo>
                    <a:lnTo>
                      <a:pt x="397669" y="479927"/>
                    </a:lnTo>
                    <a:close/>
                    <a:moveTo>
                      <a:pt x="26194" y="702869"/>
                    </a:moveTo>
                    <a:lnTo>
                      <a:pt x="750094" y="702869"/>
                    </a:lnTo>
                    <a:lnTo>
                      <a:pt x="750094" y="750094"/>
                    </a:lnTo>
                    <a:lnTo>
                      <a:pt x="26194" y="750094"/>
                    </a:lnTo>
                    <a:lnTo>
                      <a:pt x="26194" y="702869"/>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5" name="Freeform: Shape 499">
                <a:extLst>
                  <a:ext uri="{FF2B5EF4-FFF2-40B4-BE49-F238E27FC236}">
                    <a16:creationId xmlns:a16="http://schemas.microsoft.com/office/drawing/2014/main" id="{C234E4DC-8BF4-4232-B4C7-D48E7F3CC541}"/>
                  </a:ext>
                </a:extLst>
              </p:cNvPr>
              <p:cNvSpPr/>
              <p:nvPr/>
            </p:nvSpPr>
            <p:spPr>
              <a:xfrm>
                <a:off x="6763393" y="2783495"/>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6" name="Freeform: Shape 500">
                <a:extLst>
                  <a:ext uri="{FF2B5EF4-FFF2-40B4-BE49-F238E27FC236}">
                    <a16:creationId xmlns:a16="http://schemas.microsoft.com/office/drawing/2014/main" id="{244FF703-73B5-400C-AF9D-E63E9295D613}"/>
                  </a:ext>
                </a:extLst>
              </p:cNvPr>
              <p:cNvSpPr/>
              <p:nvPr/>
            </p:nvSpPr>
            <p:spPr>
              <a:xfrm>
                <a:off x="6443270" y="2783495"/>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7" name="Freeform: Shape 501">
                <a:extLst>
                  <a:ext uri="{FF2B5EF4-FFF2-40B4-BE49-F238E27FC236}">
                    <a16:creationId xmlns:a16="http://schemas.microsoft.com/office/drawing/2014/main" id="{5A7F3558-AB63-49D2-85F8-78BD0CF39CA9}"/>
                  </a:ext>
                </a:extLst>
              </p:cNvPr>
              <p:cNvSpPr/>
              <p:nvPr/>
            </p:nvSpPr>
            <p:spPr>
              <a:xfrm>
                <a:off x="6763393" y="2666668"/>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8" name="Freeform: Shape 502">
                <a:extLst>
                  <a:ext uri="{FF2B5EF4-FFF2-40B4-BE49-F238E27FC236}">
                    <a16:creationId xmlns:a16="http://schemas.microsoft.com/office/drawing/2014/main" id="{E491DDF7-1F22-4026-B037-0EE1E8E2CA8B}"/>
                  </a:ext>
                </a:extLst>
              </p:cNvPr>
              <p:cNvSpPr/>
              <p:nvPr/>
            </p:nvSpPr>
            <p:spPr>
              <a:xfrm>
                <a:off x="6656766" y="2666668"/>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9" name="Freeform: Shape 503">
                <a:extLst>
                  <a:ext uri="{FF2B5EF4-FFF2-40B4-BE49-F238E27FC236}">
                    <a16:creationId xmlns:a16="http://schemas.microsoft.com/office/drawing/2014/main" id="{E90C71D2-FD0E-4DEB-9168-156B709B7248}"/>
                  </a:ext>
                </a:extLst>
              </p:cNvPr>
              <p:cNvSpPr/>
              <p:nvPr/>
            </p:nvSpPr>
            <p:spPr>
              <a:xfrm>
                <a:off x="6550817" y="2666668"/>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0" name="Freeform: Shape 504">
                <a:extLst>
                  <a:ext uri="{FF2B5EF4-FFF2-40B4-BE49-F238E27FC236}">
                    <a16:creationId xmlns:a16="http://schemas.microsoft.com/office/drawing/2014/main" id="{468FE0E6-2E10-4571-BEF4-B972DC8A5716}"/>
                  </a:ext>
                </a:extLst>
              </p:cNvPr>
              <p:cNvSpPr/>
              <p:nvPr/>
            </p:nvSpPr>
            <p:spPr>
              <a:xfrm>
                <a:off x="6656766" y="2549842"/>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1" name="Freeform: Shape 505">
                <a:extLst>
                  <a:ext uri="{FF2B5EF4-FFF2-40B4-BE49-F238E27FC236}">
                    <a16:creationId xmlns:a16="http://schemas.microsoft.com/office/drawing/2014/main" id="{F0A130AE-D6CA-496A-B0ED-AA509C171A77}"/>
                  </a:ext>
                </a:extLst>
              </p:cNvPr>
              <p:cNvSpPr/>
              <p:nvPr/>
            </p:nvSpPr>
            <p:spPr>
              <a:xfrm>
                <a:off x="6550817" y="2549842"/>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2" name="Freeform: Shape 506">
                <a:extLst>
                  <a:ext uri="{FF2B5EF4-FFF2-40B4-BE49-F238E27FC236}">
                    <a16:creationId xmlns:a16="http://schemas.microsoft.com/office/drawing/2014/main" id="{38D846A2-5C49-4B78-9042-3EC8C7F82DBC}"/>
                  </a:ext>
                </a:extLst>
              </p:cNvPr>
              <p:cNvSpPr/>
              <p:nvPr/>
            </p:nvSpPr>
            <p:spPr>
              <a:xfrm>
                <a:off x="6443270" y="2666668"/>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3" name="Freeform: Shape 507">
                <a:extLst>
                  <a:ext uri="{FF2B5EF4-FFF2-40B4-BE49-F238E27FC236}">
                    <a16:creationId xmlns:a16="http://schemas.microsoft.com/office/drawing/2014/main" id="{0D4ADF69-2385-428D-8373-8B0535DBF489}"/>
                  </a:ext>
                </a:extLst>
              </p:cNvPr>
              <p:cNvSpPr/>
              <p:nvPr/>
            </p:nvSpPr>
            <p:spPr>
              <a:xfrm>
                <a:off x="6763393" y="2549842"/>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4" name="Freeform: Shape 508">
                <a:extLst>
                  <a:ext uri="{FF2B5EF4-FFF2-40B4-BE49-F238E27FC236}">
                    <a16:creationId xmlns:a16="http://schemas.microsoft.com/office/drawing/2014/main" id="{13EEFAC8-E33D-459A-A23D-4545B64E5E74}"/>
                  </a:ext>
                </a:extLst>
              </p:cNvPr>
              <p:cNvSpPr/>
              <p:nvPr/>
            </p:nvSpPr>
            <p:spPr>
              <a:xfrm>
                <a:off x="6443270" y="2549842"/>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795" name="Group 794">
              <a:extLst>
                <a:ext uri="{FF2B5EF4-FFF2-40B4-BE49-F238E27FC236}">
                  <a16:creationId xmlns:a16="http://schemas.microsoft.com/office/drawing/2014/main" id="{414C381E-3EF6-49FD-8548-F64955F2A892}"/>
                </a:ext>
              </a:extLst>
            </p:cNvPr>
            <p:cNvGrpSpPr/>
            <p:nvPr/>
          </p:nvGrpSpPr>
          <p:grpSpPr>
            <a:xfrm>
              <a:off x="8710808" y="2446457"/>
              <a:ext cx="577078" cy="577079"/>
              <a:chOff x="5709056" y="2921793"/>
              <a:chExt cx="771525" cy="771525"/>
            </a:xfrm>
            <a:solidFill>
              <a:srgbClr val="999999"/>
            </a:solidFill>
          </p:grpSpPr>
          <p:sp>
            <p:nvSpPr>
              <p:cNvPr id="893" name="Freeform: Shape 447">
                <a:extLst>
                  <a:ext uri="{FF2B5EF4-FFF2-40B4-BE49-F238E27FC236}">
                    <a16:creationId xmlns:a16="http://schemas.microsoft.com/office/drawing/2014/main" id="{2019140F-7B51-422A-B271-1EB6183FC1B7}"/>
                  </a:ext>
                </a:extLst>
              </p:cNvPr>
              <p:cNvSpPr/>
              <p:nvPr/>
            </p:nvSpPr>
            <p:spPr>
              <a:xfrm>
                <a:off x="5709056" y="2921793"/>
                <a:ext cx="771525" cy="771525"/>
              </a:xfrm>
              <a:custGeom>
                <a:avLst/>
                <a:gdLst>
                  <a:gd name="connsiteX0" fmla="*/ 16669 w 771525"/>
                  <a:gd name="connsiteY0" fmla="*/ 769144 h 771525"/>
                  <a:gd name="connsiteX1" fmla="*/ 759619 w 771525"/>
                  <a:gd name="connsiteY1" fmla="*/ 769144 h 771525"/>
                  <a:gd name="connsiteX2" fmla="*/ 769144 w 771525"/>
                  <a:gd name="connsiteY2" fmla="*/ 759619 h 771525"/>
                  <a:gd name="connsiteX3" fmla="*/ 769144 w 771525"/>
                  <a:gd name="connsiteY3" fmla="*/ 693344 h 771525"/>
                  <a:gd name="connsiteX4" fmla="*/ 759619 w 771525"/>
                  <a:gd name="connsiteY4" fmla="*/ 683819 h 771525"/>
                  <a:gd name="connsiteX5" fmla="*/ 718547 w 771525"/>
                  <a:gd name="connsiteY5" fmla="*/ 683819 h 771525"/>
                  <a:gd name="connsiteX6" fmla="*/ 718547 w 771525"/>
                  <a:gd name="connsiteY6" fmla="*/ 92469 h 771525"/>
                  <a:gd name="connsiteX7" fmla="*/ 732596 w 771525"/>
                  <a:gd name="connsiteY7" fmla="*/ 92469 h 771525"/>
                  <a:gd name="connsiteX8" fmla="*/ 742121 w 771525"/>
                  <a:gd name="connsiteY8" fmla="*/ 82944 h 771525"/>
                  <a:gd name="connsiteX9" fmla="*/ 742121 w 771525"/>
                  <a:gd name="connsiteY9" fmla="*/ 16669 h 771525"/>
                  <a:gd name="connsiteX10" fmla="*/ 732596 w 771525"/>
                  <a:gd name="connsiteY10" fmla="*/ 7144 h 771525"/>
                  <a:gd name="connsiteX11" fmla="*/ 43691 w 771525"/>
                  <a:gd name="connsiteY11" fmla="*/ 7144 h 771525"/>
                  <a:gd name="connsiteX12" fmla="*/ 34166 w 771525"/>
                  <a:gd name="connsiteY12" fmla="*/ 16669 h 771525"/>
                  <a:gd name="connsiteX13" fmla="*/ 34166 w 771525"/>
                  <a:gd name="connsiteY13" fmla="*/ 82944 h 771525"/>
                  <a:gd name="connsiteX14" fmla="*/ 43691 w 771525"/>
                  <a:gd name="connsiteY14" fmla="*/ 92469 h 771525"/>
                  <a:gd name="connsiteX15" fmla="*/ 57741 w 771525"/>
                  <a:gd name="connsiteY15" fmla="*/ 92469 h 771525"/>
                  <a:gd name="connsiteX16" fmla="*/ 57741 w 771525"/>
                  <a:gd name="connsiteY16" fmla="*/ 683819 h 771525"/>
                  <a:gd name="connsiteX17" fmla="*/ 16669 w 771525"/>
                  <a:gd name="connsiteY17" fmla="*/ 683819 h 771525"/>
                  <a:gd name="connsiteX18" fmla="*/ 7144 w 771525"/>
                  <a:gd name="connsiteY18" fmla="*/ 693344 h 771525"/>
                  <a:gd name="connsiteX19" fmla="*/ 7144 w 771525"/>
                  <a:gd name="connsiteY19" fmla="*/ 759619 h 771525"/>
                  <a:gd name="connsiteX20" fmla="*/ 16669 w 771525"/>
                  <a:gd name="connsiteY20" fmla="*/ 769144 h 771525"/>
                  <a:gd name="connsiteX21" fmla="*/ 53216 w 771525"/>
                  <a:gd name="connsiteY21" fmla="*/ 26194 h 771525"/>
                  <a:gd name="connsiteX22" fmla="*/ 723062 w 771525"/>
                  <a:gd name="connsiteY22" fmla="*/ 26194 h 771525"/>
                  <a:gd name="connsiteX23" fmla="*/ 723062 w 771525"/>
                  <a:gd name="connsiteY23" fmla="*/ 73419 h 771525"/>
                  <a:gd name="connsiteX24" fmla="*/ 53216 w 771525"/>
                  <a:gd name="connsiteY24" fmla="*/ 73419 h 771525"/>
                  <a:gd name="connsiteX25" fmla="*/ 53216 w 771525"/>
                  <a:gd name="connsiteY25" fmla="*/ 26194 h 771525"/>
                  <a:gd name="connsiteX26" fmla="*/ 76791 w 771525"/>
                  <a:gd name="connsiteY26" fmla="*/ 92469 h 771525"/>
                  <a:gd name="connsiteX27" fmla="*/ 699487 w 771525"/>
                  <a:gd name="connsiteY27" fmla="*/ 92469 h 771525"/>
                  <a:gd name="connsiteX28" fmla="*/ 699487 w 771525"/>
                  <a:gd name="connsiteY28" fmla="*/ 683819 h 771525"/>
                  <a:gd name="connsiteX29" fmla="*/ 496491 w 771525"/>
                  <a:gd name="connsiteY29" fmla="*/ 683819 h 771525"/>
                  <a:gd name="connsiteX30" fmla="*/ 496491 w 771525"/>
                  <a:gd name="connsiteY30" fmla="*/ 470402 h 771525"/>
                  <a:gd name="connsiteX31" fmla="*/ 486966 w 771525"/>
                  <a:gd name="connsiteY31" fmla="*/ 460877 h 771525"/>
                  <a:gd name="connsiteX32" fmla="*/ 289322 w 771525"/>
                  <a:gd name="connsiteY32" fmla="*/ 460877 h 771525"/>
                  <a:gd name="connsiteX33" fmla="*/ 279797 w 771525"/>
                  <a:gd name="connsiteY33" fmla="*/ 470402 h 771525"/>
                  <a:gd name="connsiteX34" fmla="*/ 279797 w 771525"/>
                  <a:gd name="connsiteY34" fmla="*/ 683819 h 771525"/>
                  <a:gd name="connsiteX35" fmla="*/ 76791 w 771525"/>
                  <a:gd name="connsiteY35" fmla="*/ 683819 h 771525"/>
                  <a:gd name="connsiteX36" fmla="*/ 76791 w 771525"/>
                  <a:gd name="connsiteY36" fmla="*/ 92469 h 771525"/>
                  <a:gd name="connsiteX37" fmla="*/ 298847 w 771525"/>
                  <a:gd name="connsiteY37" fmla="*/ 683819 h 771525"/>
                  <a:gd name="connsiteX38" fmla="*/ 298847 w 771525"/>
                  <a:gd name="connsiteY38" fmla="*/ 479927 h 771525"/>
                  <a:gd name="connsiteX39" fmla="*/ 378619 w 771525"/>
                  <a:gd name="connsiteY39" fmla="*/ 479927 h 771525"/>
                  <a:gd name="connsiteX40" fmla="*/ 378619 w 771525"/>
                  <a:gd name="connsiteY40" fmla="*/ 683819 h 771525"/>
                  <a:gd name="connsiteX41" fmla="*/ 298847 w 771525"/>
                  <a:gd name="connsiteY41" fmla="*/ 683819 h 771525"/>
                  <a:gd name="connsiteX42" fmla="*/ 397669 w 771525"/>
                  <a:gd name="connsiteY42" fmla="*/ 479927 h 771525"/>
                  <a:gd name="connsiteX43" fmla="*/ 477441 w 771525"/>
                  <a:gd name="connsiteY43" fmla="*/ 479927 h 771525"/>
                  <a:gd name="connsiteX44" fmla="*/ 477441 w 771525"/>
                  <a:gd name="connsiteY44" fmla="*/ 683819 h 771525"/>
                  <a:gd name="connsiteX45" fmla="*/ 397669 w 771525"/>
                  <a:gd name="connsiteY45" fmla="*/ 683819 h 771525"/>
                  <a:gd name="connsiteX46" fmla="*/ 397669 w 771525"/>
                  <a:gd name="connsiteY46" fmla="*/ 479927 h 771525"/>
                  <a:gd name="connsiteX47" fmla="*/ 26194 w 771525"/>
                  <a:gd name="connsiteY47" fmla="*/ 702869 h 771525"/>
                  <a:gd name="connsiteX48" fmla="*/ 750094 w 771525"/>
                  <a:gd name="connsiteY48" fmla="*/ 702869 h 771525"/>
                  <a:gd name="connsiteX49" fmla="*/ 750094 w 771525"/>
                  <a:gd name="connsiteY49" fmla="*/ 750094 h 771525"/>
                  <a:gd name="connsiteX50" fmla="*/ 26194 w 771525"/>
                  <a:gd name="connsiteY50" fmla="*/ 750094 h 771525"/>
                  <a:gd name="connsiteX51" fmla="*/ 26194 w 771525"/>
                  <a:gd name="connsiteY51" fmla="*/ 702869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771525" h="771525">
                    <a:moveTo>
                      <a:pt x="16669" y="769144"/>
                    </a:moveTo>
                    <a:lnTo>
                      <a:pt x="759619" y="769144"/>
                    </a:lnTo>
                    <a:cubicBezTo>
                      <a:pt x="764877" y="769144"/>
                      <a:pt x="769144" y="764886"/>
                      <a:pt x="769144" y="759619"/>
                    </a:cubicBezTo>
                    <a:lnTo>
                      <a:pt x="769144" y="693344"/>
                    </a:lnTo>
                    <a:cubicBezTo>
                      <a:pt x="769144" y="688076"/>
                      <a:pt x="764877" y="683819"/>
                      <a:pt x="759619" y="683819"/>
                    </a:cubicBezTo>
                    <a:lnTo>
                      <a:pt x="718547" y="683819"/>
                    </a:lnTo>
                    <a:lnTo>
                      <a:pt x="718547" y="92469"/>
                    </a:lnTo>
                    <a:lnTo>
                      <a:pt x="732596" y="92469"/>
                    </a:lnTo>
                    <a:cubicBezTo>
                      <a:pt x="737854" y="92469"/>
                      <a:pt x="742121" y="88211"/>
                      <a:pt x="742121" y="82944"/>
                    </a:cubicBezTo>
                    <a:lnTo>
                      <a:pt x="742121" y="16669"/>
                    </a:lnTo>
                    <a:cubicBezTo>
                      <a:pt x="742121" y="11401"/>
                      <a:pt x="737854" y="7144"/>
                      <a:pt x="732596" y="7144"/>
                    </a:cubicBezTo>
                    <a:lnTo>
                      <a:pt x="43691" y="7144"/>
                    </a:lnTo>
                    <a:cubicBezTo>
                      <a:pt x="38433" y="7144"/>
                      <a:pt x="34166" y="11401"/>
                      <a:pt x="34166" y="16669"/>
                    </a:cubicBezTo>
                    <a:lnTo>
                      <a:pt x="34166" y="82944"/>
                    </a:lnTo>
                    <a:cubicBezTo>
                      <a:pt x="34166" y="88211"/>
                      <a:pt x="38433" y="92469"/>
                      <a:pt x="43691" y="92469"/>
                    </a:cubicBezTo>
                    <a:lnTo>
                      <a:pt x="57741" y="92469"/>
                    </a:lnTo>
                    <a:lnTo>
                      <a:pt x="57741" y="683819"/>
                    </a:lnTo>
                    <a:lnTo>
                      <a:pt x="16669" y="683819"/>
                    </a:lnTo>
                    <a:cubicBezTo>
                      <a:pt x="11411" y="683819"/>
                      <a:pt x="7144" y="688076"/>
                      <a:pt x="7144" y="693344"/>
                    </a:cubicBezTo>
                    <a:lnTo>
                      <a:pt x="7144" y="759619"/>
                    </a:lnTo>
                    <a:cubicBezTo>
                      <a:pt x="7144" y="764886"/>
                      <a:pt x="11411" y="769144"/>
                      <a:pt x="16669" y="769144"/>
                    </a:cubicBezTo>
                    <a:close/>
                    <a:moveTo>
                      <a:pt x="53216" y="26194"/>
                    </a:moveTo>
                    <a:lnTo>
                      <a:pt x="723062" y="26194"/>
                    </a:lnTo>
                    <a:lnTo>
                      <a:pt x="723062" y="73419"/>
                    </a:lnTo>
                    <a:lnTo>
                      <a:pt x="53216" y="73419"/>
                    </a:lnTo>
                    <a:lnTo>
                      <a:pt x="53216" y="26194"/>
                    </a:lnTo>
                    <a:close/>
                    <a:moveTo>
                      <a:pt x="76791" y="92469"/>
                    </a:moveTo>
                    <a:lnTo>
                      <a:pt x="699487" y="92469"/>
                    </a:lnTo>
                    <a:lnTo>
                      <a:pt x="699487" y="683819"/>
                    </a:lnTo>
                    <a:lnTo>
                      <a:pt x="496491" y="683819"/>
                    </a:lnTo>
                    <a:lnTo>
                      <a:pt x="496491" y="470402"/>
                    </a:lnTo>
                    <a:cubicBezTo>
                      <a:pt x="496491" y="465134"/>
                      <a:pt x="492223" y="460877"/>
                      <a:pt x="486966" y="460877"/>
                    </a:cubicBezTo>
                    <a:lnTo>
                      <a:pt x="289322" y="460877"/>
                    </a:lnTo>
                    <a:cubicBezTo>
                      <a:pt x="284064" y="460877"/>
                      <a:pt x="279797" y="465134"/>
                      <a:pt x="279797" y="470402"/>
                    </a:cubicBezTo>
                    <a:lnTo>
                      <a:pt x="279797" y="683819"/>
                    </a:lnTo>
                    <a:lnTo>
                      <a:pt x="76791" y="683819"/>
                    </a:lnTo>
                    <a:lnTo>
                      <a:pt x="76791" y="92469"/>
                    </a:lnTo>
                    <a:close/>
                    <a:moveTo>
                      <a:pt x="298847" y="683819"/>
                    </a:moveTo>
                    <a:lnTo>
                      <a:pt x="298847" y="479927"/>
                    </a:lnTo>
                    <a:lnTo>
                      <a:pt x="378619" y="479927"/>
                    </a:lnTo>
                    <a:lnTo>
                      <a:pt x="378619" y="683819"/>
                    </a:lnTo>
                    <a:lnTo>
                      <a:pt x="298847" y="683819"/>
                    </a:lnTo>
                    <a:close/>
                    <a:moveTo>
                      <a:pt x="397669" y="479927"/>
                    </a:moveTo>
                    <a:lnTo>
                      <a:pt x="477441" y="479927"/>
                    </a:lnTo>
                    <a:lnTo>
                      <a:pt x="477441" y="683819"/>
                    </a:lnTo>
                    <a:lnTo>
                      <a:pt x="397669" y="683819"/>
                    </a:lnTo>
                    <a:lnTo>
                      <a:pt x="397669" y="479927"/>
                    </a:lnTo>
                    <a:close/>
                    <a:moveTo>
                      <a:pt x="26194" y="702869"/>
                    </a:moveTo>
                    <a:lnTo>
                      <a:pt x="750094" y="702869"/>
                    </a:lnTo>
                    <a:lnTo>
                      <a:pt x="750094" y="750094"/>
                    </a:lnTo>
                    <a:lnTo>
                      <a:pt x="26194" y="750094"/>
                    </a:lnTo>
                    <a:lnTo>
                      <a:pt x="26194" y="70286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4" name="Freeform: Shape 448">
                <a:extLst>
                  <a:ext uri="{FF2B5EF4-FFF2-40B4-BE49-F238E27FC236}">
                    <a16:creationId xmlns:a16="http://schemas.microsoft.com/office/drawing/2014/main" id="{F454034B-6763-4A0A-B0FE-D1DB9F72670E}"/>
                  </a:ext>
                </a:extLst>
              </p:cNvPr>
              <p:cNvSpPr/>
              <p:nvPr/>
            </p:nvSpPr>
            <p:spPr>
              <a:xfrm>
                <a:off x="6256849" y="337441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5" name="Freeform: Shape 449">
                <a:extLst>
                  <a:ext uri="{FF2B5EF4-FFF2-40B4-BE49-F238E27FC236}">
                    <a16:creationId xmlns:a16="http://schemas.microsoft.com/office/drawing/2014/main" id="{24EF349C-A899-4CF6-B22D-E0DCD32D8C30}"/>
                  </a:ext>
                </a:extLst>
              </p:cNvPr>
              <p:cNvSpPr/>
              <p:nvPr/>
            </p:nvSpPr>
            <p:spPr>
              <a:xfrm>
                <a:off x="5842511" y="3374412"/>
                <a:ext cx="85725" cy="123825"/>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6" name="Freeform: Shape 450">
                <a:extLst>
                  <a:ext uri="{FF2B5EF4-FFF2-40B4-BE49-F238E27FC236}">
                    <a16:creationId xmlns:a16="http://schemas.microsoft.com/office/drawing/2014/main" id="{7F3FE53C-CBF1-48F9-BA17-9AC14B5F8DAF}"/>
                  </a:ext>
                </a:extLst>
              </p:cNvPr>
              <p:cNvSpPr/>
              <p:nvPr/>
            </p:nvSpPr>
            <p:spPr>
              <a:xfrm>
                <a:off x="6256849" y="322320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7" name="Freeform: Shape 451">
                <a:extLst>
                  <a:ext uri="{FF2B5EF4-FFF2-40B4-BE49-F238E27FC236}">
                    <a16:creationId xmlns:a16="http://schemas.microsoft.com/office/drawing/2014/main" id="{A8683496-7CDF-4C07-B477-B23572014B8D}"/>
                  </a:ext>
                </a:extLst>
              </p:cNvPr>
              <p:cNvSpPr/>
              <p:nvPr/>
            </p:nvSpPr>
            <p:spPr>
              <a:xfrm>
                <a:off x="6118841" y="322320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8" name="Freeform: Shape 452">
                <a:extLst>
                  <a:ext uri="{FF2B5EF4-FFF2-40B4-BE49-F238E27FC236}">
                    <a16:creationId xmlns:a16="http://schemas.microsoft.com/office/drawing/2014/main" id="{E2309ABB-96AB-40B1-9E0A-EDF4B55385B7}"/>
                  </a:ext>
                </a:extLst>
              </p:cNvPr>
              <p:cNvSpPr/>
              <p:nvPr/>
            </p:nvSpPr>
            <p:spPr>
              <a:xfrm>
                <a:off x="5981710" y="322320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9" name="Freeform: Shape 453">
                <a:extLst>
                  <a:ext uri="{FF2B5EF4-FFF2-40B4-BE49-F238E27FC236}">
                    <a16:creationId xmlns:a16="http://schemas.microsoft.com/office/drawing/2014/main" id="{F9BD3954-FCD8-4AE4-845C-21F5BEA83024}"/>
                  </a:ext>
                </a:extLst>
              </p:cNvPr>
              <p:cNvSpPr/>
              <p:nvPr/>
            </p:nvSpPr>
            <p:spPr>
              <a:xfrm>
                <a:off x="6118841" y="3071993"/>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0" name="Freeform: Shape 454">
                <a:extLst>
                  <a:ext uri="{FF2B5EF4-FFF2-40B4-BE49-F238E27FC236}">
                    <a16:creationId xmlns:a16="http://schemas.microsoft.com/office/drawing/2014/main" id="{76CA987B-3DC7-4A24-9F8E-6D6C6CD1AAFB}"/>
                  </a:ext>
                </a:extLst>
              </p:cNvPr>
              <p:cNvSpPr/>
              <p:nvPr/>
            </p:nvSpPr>
            <p:spPr>
              <a:xfrm>
                <a:off x="5981710" y="3071993"/>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1" name="Freeform: Shape 455">
                <a:extLst>
                  <a:ext uri="{FF2B5EF4-FFF2-40B4-BE49-F238E27FC236}">
                    <a16:creationId xmlns:a16="http://schemas.microsoft.com/office/drawing/2014/main" id="{D84E9FFA-61A1-4597-A96A-AF267E0FA218}"/>
                  </a:ext>
                </a:extLst>
              </p:cNvPr>
              <p:cNvSpPr/>
              <p:nvPr/>
            </p:nvSpPr>
            <p:spPr>
              <a:xfrm>
                <a:off x="5842511" y="3223202"/>
                <a:ext cx="85725" cy="123825"/>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2" name="Freeform: Shape 456">
                <a:extLst>
                  <a:ext uri="{FF2B5EF4-FFF2-40B4-BE49-F238E27FC236}">
                    <a16:creationId xmlns:a16="http://schemas.microsoft.com/office/drawing/2014/main" id="{5B51065B-697D-458C-A1D3-CB303B7688C9}"/>
                  </a:ext>
                </a:extLst>
              </p:cNvPr>
              <p:cNvSpPr/>
              <p:nvPr/>
            </p:nvSpPr>
            <p:spPr>
              <a:xfrm>
                <a:off x="6256849" y="3071993"/>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3" name="Freeform: Shape 457">
                <a:extLst>
                  <a:ext uri="{FF2B5EF4-FFF2-40B4-BE49-F238E27FC236}">
                    <a16:creationId xmlns:a16="http://schemas.microsoft.com/office/drawing/2014/main" id="{F3140EAF-9D64-4078-BBA5-6E461F2BA9B2}"/>
                  </a:ext>
                </a:extLst>
              </p:cNvPr>
              <p:cNvSpPr/>
              <p:nvPr/>
            </p:nvSpPr>
            <p:spPr>
              <a:xfrm>
                <a:off x="5842511" y="3071993"/>
                <a:ext cx="85725" cy="123825"/>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796" name="Group 795">
              <a:extLst>
                <a:ext uri="{FF2B5EF4-FFF2-40B4-BE49-F238E27FC236}">
                  <a16:creationId xmlns:a16="http://schemas.microsoft.com/office/drawing/2014/main" id="{8619C4E9-DEE1-44AB-9CAF-7CBD4EEBBF30}"/>
                </a:ext>
              </a:extLst>
            </p:cNvPr>
            <p:cNvGrpSpPr/>
            <p:nvPr/>
          </p:nvGrpSpPr>
          <p:grpSpPr>
            <a:xfrm>
              <a:off x="7602496" y="1739620"/>
              <a:ext cx="570891" cy="1272744"/>
              <a:chOff x="7602496" y="1739620"/>
              <a:chExt cx="570891" cy="1272744"/>
            </a:xfrm>
          </p:grpSpPr>
          <p:sp>
            <p:nvSpPr>
              <p:cNvPr id="855" name="Rectangle 854">
                <a:extLst>
                  <a:ext uri="{FF2B5EF4-FFF2-40B4-BE49-F238E27FC236}">
                    <a16:creationId xmlns:a16="http://schemas.microsoft.com/office/drawing/2014/main" id="{6F025070-A94E-4FD2-A480-A14146E83AE7}"/>
                  </a:ext>
                </a:extLst>
              </p:cNvPr>
              <p:cNvSpPr/>
              <p:nvPr/>
            </p:nvSpPr>
            <p:spPr>
              <a:xfrm>
                <a:off x="7602496" y="1863445"/>
                <a:ext cx="570891" cy="1148919"/>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856" name="Group 855">
                <a:extLst>
                  <a:ext uri="{FF2B5EF4-FFF2-40B4-BE49-F238E27FC236}">
                    <a16:creationId xmlns:a16="http://schemas.microsoft.com/office/drawing/2014/main" id="{0743A971-F4D0-4F49-A5B4-23D41CF3C6F5}"/>
                  </a:ext>
                </a:extLst>
              </p:cNvPr>
              <p:cNvGrpSpPr/>
              <p:nvPr/>
            </p:nvGrpSpPr>
            <p:grpSpPr>
              <a:xfrm>
                <a:off x="7681520" y="1918017"/>
                <a:ext cx="386355" cy="212495"/>
                <a:chOff x="7681520" y="1918017"/>
                <a:chExt cx="386355" cy="212495"/>
              </a:xfrm>
            </p:grpSpPr>
            <p:sp>
              <p:nvSpPr>
                <p:cNvPr id="885" name="Freeform: Shape 613">
                  <a:extLst>
                    <a:ext uri="{FF2B5EF4-FFF2-40B4-BE49-F238E27FC236}">
                      <a16:creationId xmlns:a16="http://schemas.microsoft.com/office/drawing/2014/main" id="{31D3003D-69D0-43AB-8F47-3B90954BB0A0}"/>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6" name="Freeform: Shape 614">
                  <a:extLst>
                    <a:ext uri="{FF2B5EF4-FFF2-40B4-BE49-F238E27FC236}">
                      <a16:creationId xmlns:a16="http://schemas.microsoft.com/office/drawing/2014/main" id="{0ACDB22F-2041-487F-96F0-4D53C955592E}"/>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7" name="Freeform: Shape 615">
                  <a:extLst>
                    <a:ext uri="{FF2B5EF4-FFF2-40B4-BE49-F238E27FC236}">
                      <a16:creationId xmlns:a16="http://schemas.microsoft.com/office/drawing/2014/main" id="{1D0F5495-80E2-4276-AD8A-E2CCB8379B87}"/>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8" name="Freeform: Shape 616">
                  <a:extLst>
                    <a:ext uri="{FF2B5EF4-FFF2-40B4-BE49-F238E27FC236}">
                      <a16:creationId xmlns:a16="http://schemas.microsoft.com/office/drawing/2014/main" id="{75F5C856-CA0C-4DF8-ADE5-E9A692CC3F35}"/>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9" name="Freeform: Shape 617">
                  <a:extLst>
                    <a:ext uri="{FF2B5EF4-FFF2-40B4-BE49-F238E27FC236}">
                      <a16:creationId xmlns:a16="http://schemas.microsoft.com/office/drawing/2014/main" id="{03C41B6B-DF1C-413C-BF10-948DC90FEFF2}"/>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0" name="Freeform: Shape 618">
                  <a:extLst>
                    <a:ext uri="{FF2B5EF4-FFF2-40B4-BE49-F238E27FC236}">
                      <a16:creationId xmlns:a16="http://schemas.microsoft.com/office/drawing/2014/main" id="{B0871FBF-7C12-46A8-9D48-5E361F25A0E7}"/>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1" name="Freeform: Shape 619">
                  <a:extLst>
                    <a:ext uri="{FF2B5EF4-FFF2-40B4-BE49-F238E27FC236}">
                      <a16:creationId xmlns:a16="http://schemas.microsoft.com/office/drawing/2014/main" id="{23776C9E-D53A-47EB-914D-03DB163B75DA}"/>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2" name="Freeform: Shape 620">
                  <a:extLst>
                    <a:ext uri="{FF2B5EF4-FFF2-40B4-BE49-F238E27FC236}">
                      <a16:creationId xmlns:a16="http://schemas.microsoft.com/office/drawing/2014/main" id="{6FCE1129-6EEA-4818-9C22-5C96A9E1CB3E}"/>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857" name="Group 856">
                <a:extLst>
                  <a:ext uri="{FF2B5EF4-FFF2-40B4-BE49-F238E27FC236}">
                    <a16:creationId xmlns:a16="http://schemas.microsoft.com/office/drawing/2014/main" id="{623D1DE8-FB9E-431A-B1E6-25FADC13CD77}"/>
                  </a:ext>
                </a:extLst>
              </p:cNvPr>
              <p:cNvGrpSpPr/>
              <p:nvPr/>
            </p:nvGrpSpPr>
            <p:grpSpPr>
              <a:xfrm>
                <a:off x="7681520" y="2165667"/>
                <a:ext cx="386355" cy="212495"/>
                <a:chOff x="7681520" y="1918017"/>
                <a:chExt cx="386355" cy="212495"/>
              </a:xfrm>
            </p:grpSpPr>
            <p:sp>
              <p:nvSpPr>
                <p:cNvPr id="877" name="Freeform: Shape 622">
                  <a:extLst>
                    <a:ext uri="{FF2B5EF4-FFF2-40B4-BE49-F238E27FC236}">
                      <a16:creationId xmlns:a16="http://schemas.microsoft.com/office/drawing/2014/main" id="{5CFEA125-032F-43B6-A7B5-3B3E13B65B5A}"/>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8" name="Freeform: Shape 623">
                  <a:extLst>
                    <a:ext uri="{FF2B5EF4-FFF2-40B4-BE49-F238E27FC236}">
                      <a16:creationId xmlns:a16="http://schemas.microsoft.com/office/drawing/2014/main" id="{1F95517B-8B68-4881-8DC1-4963D259D046}"/>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9" name="Freeform: Shape 624">
                  <a:extLst>
                    <a:ext uri="{FF2B5EF4-FFF2-40B4-BE49-F238E27FC236}">
                      <a16:creationId xmlns:a16="http://schemas.microsoft.com/office/drawing/2014/main" id="{31A338DE-2041-42A7-852A-B440F865B845}"/>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0" name="Freeform: Shape 625">
                  <a:extLst>
                    <a:ext uri="{FF2B5EF4-FFF2-40B4-BE49-F238E27FC236}">
                      <a16:creationId xmlns:a16="http://schemas.microsoft.com/office/drawing/2014/main" id="{2FA7AE4D-85F2-4C1B-970B-4BD418277FDC}"/>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1" name="Freeform: Shape 626">
                  <a:extLst>
                    <a:ext uri="{FF2B5EF4-FFF2-40B4-BE49-F238E27FC236}">
                      <a16:creationId xmlns:a16="http://schemas.microsoft.com/office/drawing/2014/main" id="{2BB500AE-A26E-4651-B142-FEBDDFC045ED}"/>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2" name="Freeform: Shape 627">
                  <a:extLst>
                    <a:ext uri="{FF2B5EF4-FFF2-40B4-BE49-F238E27FC236}">
                      <a16:creationId xmlns:a16="http://schemas.microsoft.com/office/drawing/2014/main" id="{9E3F810C-862D-4C6A-A7D8-A313D39B6BB2}"/>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3" name="Freeform: Shape 628">
                  <a:extLst>
                    <a:ext uri="{FF2B5EF4-FFF2-40B4-BE49-F238E27FC236}">
                      <a16:creationId xmlns:a16="http://schemas.microsoft.com/office/drawing/2014/main" id="{D50613AF-9DAC-49B5-956A-94E8465E204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4" name="Freeform: Shape 629">
                  <a:extLst>
                    <a:ext uri="{FF2B5EF4-FFF2-40B4-BE49-F238E27FC236}">
                      <a16:creationId xmlns:a16="http://schemas.microsoft.com/office/drawing/2014/main" id="{4B9269CF-6878-4C31-B7A6-D3A91E055EC4}"/>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858" name="Group 857">
                <a:extLst>
                  <a:ext uri="{FF2B5EF4-FFF2-40B4-BE49-F238E27FC236}">
                    <a16:creationId xmlns:a16="http://schemas.microsoft.com/office/drawing/2014/main" id="{83398368-FF21-4690-9F47-3C01B401F17E}"/>
                  </a:ext>
                </a:extLst>
              </p:cNvPr>
              <p:cNvGrpSpPr/>
              <p:nvPr/>
            </p:nvGrpSpPr>
            <p:grpSpPr>
              <a:xfrm>
                <a:off x="7681520" y="2429192"/>
                <a:ext cx="386355" cy="212495"/>
                <a:chOff x="7681520" y="1918017"/>
                <a:chExt cx="386355" cy="212495"/>
              </a:xfrm>
            </p:grpSpPr>
            <p:sp>
              <p:nvSpPr>
                <p:cNvPr id="869" name="Freeform: Shape 631">
                  <a:extLst>
                    <a:ext uri="{FF2B5EF4-FFF2-40B4-BE49-F238E27FC236}">
                      <a16:creationId xmlns:a16="http://schemas.microsoft.com/office/drawing/2014/main" id="{FADF1AD1-FBC6-4AFA-B95A-C3E1A6ABAE76}"/>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0" name="Freeform: Shape 632">
                  <a:extLst>
                    <a:ext uri="{FF2B5EF4-FFF2-40B4-BE49-F238E27FC236}">
                      <a16:creationId xmlns:a16="http://schemas.microsoft.com/office/drawing/2014/main" id="{ECC23EDB-DDBE-4FD3-986F-B514BBCDA4EC}"/>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1" name="Freeform: Shape 633">
                  <a:extLst>
                    <a:ext uri="{FF2B5EF4-FFF2-40B4-BE49-F238E27FC236}">
                      <a16:creationId xmlns:a16="http://schemas.microsoft.com/office/drawing/2014/main" id="{9F2142F2-3069-4C1D-8EF2-F90C79FA3AB8}"/>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2" name="Freeform: Shape 634">
                  <a:extLst>
                    <a:ext uri="{FF2B5EF4-FFF2-40B4-BE49-F238E27FC236}">
                      <a16:creationId xmlns:a16="http://schemas.microsoft.com/office/drawing/2014/main" id="{B1EA25BE-5F9F-43FA-AEE5-154AD3736A64}"/>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3" name="Freeform: Shape 635">
                  <a:extLst>
                    <a:ext uri="{FF2B5EF4-FFF2-40B4-BE49-F238E27FC236}">
                      <a16:creationId xmlns:a16="http://schemas.microsoft.com/office/drawing/2014/main" id="{613BC104-4FCD-4B68-A3F0-1D79B4254772}"/>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4" name="Freeform: Shape 636">
                  <a:extLst>
                    <a:ext uri="{FF2B5EF4-FFF2-40B4-BE49-F238E27FC236}">
                      <a16:creationId xmlns:a16="http://schemas.microsoft.com/office/drawing/2014/main" id="{FD79181F-63B5-44AE-81D3-92203C35C660}"/>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5" name="Freeform: Shape 637">
                  <a:extLst>
                    <a:ext uri="{FF2B5EF4-FFF2-40B4-BE49-F238E27FC236}">
                      <a16:creationId xmlns:a16="http://schemas.microsoft.com/office/drawing/2014/main" id="{5F5F1658-98D3-480F-87EE-7864866DCD00}"/>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6" name="Freeform: Shape 638">
                  <a:extLst>
                    <a:ext uri="{FF2B5EF4-FFF2-40B4-BE49-F238E27FC236}">
                      <a16:creationId xmlns:a16="http://schemas.microsoft.com/office/drawing/2014/main" id="{0168CFCA-B35F-41A5-94B1-6202B4643E0A}"/>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859" name="Group 858">
                <a:extLst>
                  <a:ext uri="{FF2B5EF4-FFF2-40B4-BE49-F238E27FC236}">
                    <a16:creationId xmlns:a16="http://schemas.microsoft.com/office/drawing/2014/main" id="{1371FD26-6207-45DE-8FFF-F63928D3219E}"/>
                  </a:ext>
                </a:extLst>
              </p:cNvPr>
              <p:cNvGrpSpPr/>
              <p:nvPr/>
            </p:nvGrpSpPr>
            <p:grpSpPr>
              <a:xfrm>
                <a:off x="7681520" y="2692717"/>
                <a:ext cx="386355" cy="212495"/>
                <a:chOff x="7681520" y="1918017"/>
                <a:chExt cx="386355" cy="212495"/>
              </a:xfrm>
            </p:grpSpPr>
            <p:sp>
              <p:nvSpPr>
                <p:cNvPr id="861" name="Freeform: Shape 640">
                  <a:extLst>
                    <a:ext uri="{FF2B5EF4-FFF2-40B4-BE49-F238E27FC236}">
                      <a16:creationId xmlns:a16="http://schemas.microsoft.com/office/drawing/2014/main" id="{9227E197-9FA0-4FF6-B998-BCD32CACFCAF}"/>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2" name="Freeform: Shape 641">
                  <a:extLst>
                    <a:ext uri="{FF2B5EF4-FFF2-40B4-BE49-F238E27FC236}">
                      <a16:creationId xmlns:a16="http://schemas.microsoft.com/office/drawing/2014/main" id="{A62770A8-41DA-4AA6-8DB0-48B9FF5E7174}"/>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3" name="Freeform: Shape 642">
                  <a:extLst>
                    <a:ext uri="{FF2B5EF4-FFF2-40B4-BE49-F238E27FC236}">
                      <a16:creationId xmlns:a16="http://schemas.microsoft.com/office/drawing/2014/main" id="{99FD1C56-9940-44D5-B806-8F5641AED512}"/>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4" name="Freeform: Shape 643">
                  <a:extLst>
                    <a:ext uri="{FF2B5EF4-FFF2-40B4-BE49-F238E27FC236}">
                      <a16:creationId xmlns:a16="http://schemas.microsoft.com/office/drawing/2014/main" id="{F45FCD9E-03EF-4961-B467-A1363C31AA26}"/>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5" name="Freeform: Shape 644">
                  <a:extLst>
                    <a:ext uri="{FF2B5EF4-FFF2-40B4-BE49-F238E27FC236}">
                      <a16:creationId xmlns:a16="http://schemas.microsoft.com/office/drawing/2014/main" id="{D2678F5B-FFBA-44DD-829D-645CFC56D566}"/>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6" name="Freeform: Shape 645">
                  <a:extLst>
                    <a:ext uri="{FF2B5EF4-FFF2-40B4-BE49-F238E27FC236}">
                      <a16:creationId xmlns:a16="http://schemas.microsoft.com/office/drawing/2014/main" id="{46552C97-E191-4623-8588-29F039D488DC}"/>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7" name="Freeform: Shape 646">
                  <a:extLst>
                    <a:ext uri="{FF2B5EF4-FFF2-40B4-BE49-F238E27FC236}">
                      <a16:creationId xmlns:a16="http://schemas.microsoft.com/office/drawing/2014/main" id="{9C4EEF16-E9D3-42BB-B419-5978A70D805D}"/>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8" name="Freeform: Shape 647">
                  <a:extLst>
                    <a:ext uri="{FF2B5EF4-FFF2-40B4-BE49-F238E27FC236}">
                      <a16:creationId xmlns:a16="http://schemas.microsoft.com/office/drawing/2014/main" id="{D525B7EF-BF21-47F2-AC13-B8C9B1284233}"/>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860" name="Rectangle 859">
                <a:extLst>
                  <a:ext uri="{FF2B5EF4-FFF2-40B4-BE49-F238E27FC236}">
                    <a16:creationId xmlns:a16="http://schemas.microsoft.com/office/drawing/2014/main" id="{49F05559-D241-48B8-ADA8-3F58000635BC}"/>
                  </a:ext>
                </a:extLst>
              </p:cNvPr>
              <p:cNvSpPr/>
              <p:nvPr/>
            </p:nvSpPr>
            <p:spPr>
              <a:xfrm>
                <a:off x="7710446" y="1739620"/>
                <a:ext cx="363579" cy="124105"/>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grpSp>
          <p:nvGrpSpPr>
            <p:cNvPr id="797" name="Group 796">
              <a:extLst>
                <a:ext uri="{FF2B5EF4-FFF2-40B4-BE49-F238E27FC236}">
                  <a16:creationId xmlns:a16="http://schemas.microsoft.com/office/drawing/2014/main" id="{FEA3E8C3-F514-452F-874E-9F8AB70A629E}"/>
                </a:ext>
              </a:extLst>
            </p:cNvPr>
            <p:cNvGrpSpPr/>
            <p:nvPr/>
          </p:nvGrpSpPr>
          <p:grpSpPr>
            <a:xfrm>
              <a:off x="8177171" y="2098675"/>
              <a:ext cx="570891" cy="913689"/>
              <a:chOff x="8177171" y="2098675"/>
              <a:chExt cx="570891" cy="913689"/>
            </a:xfrm>
          </p:grpSpPr>
          <p:sp>
            <p:nvSpPr>
              <p:cNvPr id="827" name="Rectangle 826">
                <a:extLst>
                  <a:ext uri="{FF2B5EF4-FFF2-40B4-BE49-F238E27FC236}">
                    <a16:creationId xmlns:a16="http://schemas.microsoft.com/office/drawing/2014/main" id="{D35675EB-DAC8-44CA-A3E3-FF7673828F1F}"/>
                  </a:ext>
                </a:extLst>
              </p:cNvPr>
              <p:cNvSpPr/>
              <p:nvPr/>
            </p:nvSpPr>
            <p:spPr>
              <a:xfrm>
                <a:off x="8177171" y="2098675"/>
                <a:ext cx="570891" cy="913689"/>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828" name="Group 827">
                <a:extLst>
                  <a:ext uri="{FF2B5EF4-FFF2-40B4-BE49-F238E27FC236}">
                    <a16:creationId xmlns:a16="http://schemas.microsoft.com/office/drawing/2014/main" id="{E88663B7-7F40-4F03-BC22-E4F1ECE0F746}"/>
                  </a:ext>
                </a:extLst>
              </p:cNvPr>
              <p:cNvGrpSpPr/>
              <p:nvPr/>
            </p:nvGrpSpPr>
            <p:grpSpPr>
              <a:xfrm>
                <a:off x="8256195" y="2165667"/>
                <a:ext cx="386355" cy="212495"/>
                <a:chOff x="7681520" y="1918017"/>
                <a:chExt cx="386355" cy="212495"/>
              </a:xfrm>
            </p:grpSpPr>
            <p:sp>
              <p:nvSpPr>
                <p:cNvPr id="847" name="Freeform: Shape 670">
                  <a:extLst>
                    <a:ext uri="{FF2B5EF4-FFF2-40B4-BE49-F238E27FC236}">
                      <a16:creationId xmlns:a16="http://schemas.microsoft.com/office/drawing/2014/main" id="{A8137716-D672-4DC9-9B3E-259C52644D02}"/>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8" name="Freeform: Shape 671">
                  <a:extLst>
                    <a:ext uri="{FF2B5EF4-FFF2-40B4-BE49-F238E27FC236}">
                      <a16:creationId xmlns:a16="http://schemas.microsoft.com/office/drawing/2014/main" id="{4ED7132E-1AA7-4D65-93E4-5AF6FCB82695}"/>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9" name="Freeform: Shape 672">
                  <a:extLst>
                    <a:ext uri="{FF2B5EF4-FFF2-40B4-BE49-F238E27FC236}">
                      <a16:creationId xmlns:a16="http://schemas.microsoft.com/office/drawing/2014/main" id="{8DDFE472-0C23-4E92-8762-FE9269710FF3}"/>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0" name="Freeform: Shape 673">
                  <a:extLst>
                    <a:ext uri="{FF2B5EF4-FFF2-40B4-BE49-F238E27FC236}">
                      <a16:creationId xmlns:a16="http://schemas.microsoft.com/office/drawing/2014/main" id="{AF1C5192-1210-4FFB-81D5-35B4DE196F3C}"/>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1" name="Freeform: Shape 674">
                  <a:extLst>
                    <a:ext uri="{FF2B5EF4-FFF2-40B4-BE49-F238E27FC236}">
                      <a16:creationId xmlns:a16="http://schemas.microsoft.com/office/drawing/2014/main" id="{7FECE02D-BD9A-453F-90FC-782E497486DF}"/>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2" name="Freeform: Shape 675">
                  <a:extLst>
                    <a:ext uri="{FF2B5EF4-FFF2-40B4-BE49-F238E27FC236}">
                      <a16:creationId xmlns:a16="http://schemas.microsoft.com/office/drawing/2014/main" id="{2E87A703-6368-4475-B778-00D541B0C605}"/>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3" name="Freeform: Shape 676">
                  <a:extLst>
                    <a:ext uri="{FF2B5EF4-FFF2-40B4-BE49-F238E27FC236}">
                      <a16:creationId xmlns:a16="http://schemas.microsoft.com/office/drawing/2014/main" id="{2FF07726-6A9F-4C80-BACC-453BE1104DB5}"/>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4" name="Freeform: Shape 677">
                  <a:extLst>
                    <a:ext uri="{FF2B5EF4-FFF2-40B4-BE49-F238E27FC236}">
                      <a16:creationId xmlns:a16="http://schemas.microsoft.com/office/drawing/2014/main" id="{343B4E2C-23C4-471B-B287-CF1F22B8D71F}"/>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829" name="Group 828">
                <a:extLst>
                  <a:ext uri="{FF2B5EF4-FFF2-40B4-BE49-F238E27FC236}">
                    <a16:creationId xmlns:a16="http://schemas.microsoft.com/office/drawing/2014/main" id="{5EC42186-E0B0-4B42-A20D-A2E2F18DD4FD}"/>
                  </a:ext>
                </a:extLst>
              </p:cNvPr>
              <p:cNvGrpSpPr/>
              <p:nvPr/>
            </p:nvGrpSpPr>
            <p:grpSpPr>
              <a:xfrm>
                <a:off x="8256195" y="2429192"/>
                <a:ext cx="386355" cy="212495"/>
                <a:chOff x="7681520" y="1918017"/>
                <a:chExt cx="386355" cy="212495"/>
              </a:xfrm>
            </p:grpSpPr>
            <p:sp>
              <p:nvSpPr>
                <p:cNvPr id="839" name="Freeform: Shape 662">
                  <a:extLst>
                    <a:ext uri="{FF2B5EF4-FFF2-40B4-BE49-F238E27FC236}">
                      <a16:creationId xmlns:a16="http://schemas.microsoft.com/office/drawing/2014/main" id="{F5CD9D99-C5C7-43D6-A58F-C210C0D3148A}"/>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0" name="Freeform: Shape 663">
                  <a:extLst>
                    <a:ext uri="{FF2B5EF4-FFF2-40B4-BE49-F238E27FC236}">
                      <a16:creationId xmlns:a16="http://schemas.microsoft.com/office/drawing/2014/main" id="{5010DB45-97F6-43E3-BABD-611841BC84C1}"/>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1" name="Freeform: Shape 664">
                  <a:extLst>
                    <a:ext uri="{FF2B5EF4-FFF2-40B4-BE49-F238E27FC236}">
                      <a16:creationId xmlns:a16="http://schemas.microsoft.com/office/drawing/2014/main" id="{1A7A5710-8F56-4FE6-9D52-A395CE62612B}"/>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2" name="Freeform: Shape 665">
                  <a:extLst>
                    <a:ext uri="{FF2B5EF4-FFF2-40B4-BE49-F238E27FC236}">
                      <a16:creationId xmlns:a16="http://schemas.microsoft.com/office/drawing/2014/main" id="{59C8D57C-1648-447C-A166-D34CBDC404DC}"/>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3" name="Freeform: Shape 666">
                  <a:extLst>
                    <a:ext uri="{FF2B5EF4-FFF2-40B4-BE49-F238E27FC236}">
                      <a16:creationId xmlns:a16="http://schemas.microsoft.com/office/drawing/2014/main" id="{0348AE04-E05E-4E72-B18E-9CAC2E5699AE}"/>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4" name="Freeform: Shape 667">
                  <a:extLst>
                    <a:ext uri="{FF2B5EF4-FFF2-40B4-BE49-F238E27FC236}">
                      <a16:creationId xmlns:a16="http://schemas.microsoft.com/office/drawing/2014/main" id="{7531DB24-EFEE-462D-827D-C41060AACB53}"/>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5" name="Freeform: Shape 668">
                  <a:extLst>
                    <a:ext uri="{FF2B5EF4-FFF2-40B4-BE49-F238E27FC236}">
                      <a16:creationId xmlns:a16="http://schemas.microsoft.com/office/drawing/2014/main" id="{C2C381B5-CF91-45F4-BAE6-A514FBD82D30}"/>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6" name="Freeform: Shape 669">
                  <a:extLst>
                    <a:ext uri="{FF2B5EF4-FFF2-40B4-BE49-F238E27FC236}">
                      <a16:creationId xmlns:a16="http://schemas.microsoft.com/office/drawing/2014/main" id="{4AE38176-2FCA-48D8-917A-DF6F671DF3E2}"/>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830" name="Group 829">
                <a:extLst>
                  <a:ext uri="{FF2B5EF4-FFF2-40B4-BE49-F238E27FC236}">
                    <a16:creationId xmlns:a16="http://schemas.microsoft.com/office/drawing/2014/main" id="{72E74082-CEFB-4D10-91F2-8AE218698A18}"/>
                  </a:ext>
                </a:extLst>
              </p:cNvPr>
              <p:cNvGrpSpPr/>
              <p:nvPr/>
            </p:nvGrpSpPr>
            <p:grpSpPr>
              <a:xfrm>
                <a:off x="8256195" y="2692717"/>
                <a:ext cx="386355" cy="212495"/>
                <a:chOff x="7681520" y="1918017"/>
                <a:chExt cx="386355" cy="212495"/>
              </a:xfrm>
            </p:grpSpPr>
            <p:sp>
              <p:nvSpPr>
                <p:cNvPr id="831" name="Freeform: Shape 654">
                  <a:extLst>
                    <a:ext uri="{FF2B5EF4-FFF2-40B4-BE49-F238E27FC236}">
                      <a16:creationId xmlns:a16="http://schemas.microsoft.com/office/drawing/2014/main" id="{B463FEBF-3CF6-4BD2-A0D4-E2281CE33BA8}"/>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2" name="Freeform: Shape 655">
                  <a:extLst>
                    <a:ext uri="{FF2B5EF4-FFF2-40B4-BE49-F238E27FC236}">
                      <a16:creationId xmlns:a16="http://schemas.microsoft.com/office/drawing/2014/main" id="{113EAD5A-6DA8-430E-882D-497E4086B4BF}"/>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3" name="Freeform: Shape 656">
                  <a:extLst>
                    <a:ext uri="{FF2B5EF4-FFF2-40B4-BE49-F238E27FC236}">
                      <a16:creationId xmlns:a16="http://schemas.microsoft.com/office/drawing/2014/main" id="{67B2CE8D-1312-42F2-8504-18D9ECDEEE54}"/>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4" name="Freeform: Shape 657">
                  <a:extLst>
                    <a:ext uri="{FF2B5EF4-FFF2-40B4-BE49-F238E27FC236}">
                      <a16:creationId xmlns:a16="http://schemas.microsoft.com/office/drawing/2014/main" id="{6E533FA1-EEBC-46E2-8117-A2BC0013469A}"/>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5" name="Freeform: Shape 658">
                  <a:extLst>
                    <a:ext uri="{FF2B5EF4-FFF2-40B4-BE49-F238E27FC236}">
                      <a16:creationId xmlns:a16="http://schemas.microsoft.com/office/drawing/2014/main" id="{5A5F440A-58EE-4BE1-A601-BCB0285B4FC5}"/>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6" name="Freeform: Shape 659">
                  <a:extLst>
                    <a:ext uri="{FF2B5EF4-FFF2-40B4-BE49-F238E27FC236}">
                      <a16:creationId xmlns:a16="http://schemas.microsoft.com/office/drawing/2014/main" id="{CAA0817C-3CDF-45AD-A68D-39675EC5F38C}"/>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7" name="Freeform: Shape 660">
                  <a:extLst>
                    <a:ext uri="{FF2B5EF4-FFF2-40B4-BE49-F238E27FC236}">
                      <a16:creationId xmlns:a16="http://schemas.microsoft.com/office/drawing/2014/main" id="{929D3AED-C93D-427B-BC2D-FC5C304383D5}"/>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8" name="Freeform: Shape 661">
                  <a:extLst>
                    <a:ext uri="{FF2B5EF4-FFF2-40B4-BE49-F238E27FC236}">
                      <a16:creationId xmlns:a16="http://schemas.microsoft.com/office/drawing/2014/main" id="{3C12F8D7-4B06-4D42-9CC2-866EE1E6A617}"/>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nvGrpSpPr>
            <p:cNvPr id="798" name="Group 797">
              <a:extLst>
                <a:ext uri="{FF2B5EF4-FFF2-40B4-BE49-F238E27FC236}">
                  <a16:creationId xmlns:a16="http://schemas.microsoft.com/office/drawing/2014/main" id="{32724CEB-FDE7-4F9B-AFAF-D12123EE2027}"/>
                </a:ext>
              </a:extLst>
            </p:cNvPr>
            <p:cNvGrpSpPr/>
            <p:nvPr/>
          </p:nvGrpSpPr>
          <p:grpSpPr>
            <a:xfrm>
              <a:off x="7030996" y="2098675"/>
              <a:ext cx="570891" cy="913689"/>
              <a:chOff x="8177171" y="2098675"/>
              <a:chExt cx="570891" cy="913689"/>
            </a:xfrm>
          </p:grpSpPr>
          <p:sp>
            <p:nvSpPr>
              <p:cNvPr id="799" name="Rectangle 798">
                <a:extLst>
                  <a:ext uri="{FF2B5EF4-FFF2-40B4-BE49-F238E27FC236}">
                    <a16:creationId xmlns:a16="http://schemas.microsoft.com/office/drawing/2014/main" id="{3F2AE079-085F-4CCD-9DF8-846D273EA67E}"/>
                  </a:ext>
                </a:extLst>
              </p:cNvPr>
              <p:cNvSpPr/>
              <p:nvPr/>
            </p:nvSpPr>
            <p:spPr>
              <a:xfrm>
                <a:off x="8177171" y="2098675"/>
                <a:ext cx="570891" cy="913689"/>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800" name="Group 799">
                <a:extLst>
                  <a:ext uri="{FF2B5EF4-FFF2-40B4-BE49-F238E27FC236}">
                    <a16:creationId xmlns:a16="http://schemas.microsoft.com/office/drawing/2014/main" id="{82F2CD1B-8EF3-4FD5-B6BB-4ED9806F627E}"/>
                  </a:ext>
                </a:extLst>
              </p:cNvPr>
              <p:cNvGrpSpPr/>
              <p:nvPr/>
            </p:nvGrpSpPr>
            <p:grpSpPr>
              <a:xfrm>
                <a:off x="8256195" y="2165667"/>
                <a:ext cx="386355" cy="212495"/>
                <a:chOff x="7681520" y="1918017"/>
                <a:chExt cx="386355" cy="212495"/>
              </a:xfrm>
            </p:grpSpPr>
            <p:sp>
              <p:nvSpPr>
                <p:cNvPr id="819" name="Freeform: Shape 707">
                  <a:extLst>
                    <a:ext uri="{FF2B5EF4-FFF2-40B4-BE49-F238E27FC236}">
                      <a16:creationId xmlns:a16="http://schemas.microsoft.com/office/drawing/2014/main" id="{203F7D2B-F5CB-4B61-8987-8D1ED35D1AD4}"/>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0" name="Freeform: Shape 708">
                  <a:extLst>
                    <a:ext uri="{FF2B5EF4-FFF2-40B4-BE49-F238E27FC236}">
                      <a16:creationId xmlns:a16="http://schemas.microsoft.com/office/drawing/2014/main" id="{BEFB5D86-B84E-4C38-AC2F-D325429429DA}"/>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1" name="Freeform: Shape 709">
                  <a:extLst>
                    <a:ext uri="{FF2B5EF4-FFF2-40B4-BE49-F238E27FC236}">
                      <a16:creationId xmlns:a16="http://schemas.microsoft.com/office/drawing/2014/main" id="{AA87997F-85D3-476F-9D39-2E59D4F7D359}"/>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2" name="Freeform: Shape 710">
                  <a:extLst>
                    <a:ext uri="{FF2B5EF4-FFF2-40B4-BE49-F238E27FC236}">
                      <a16:creationId xmlns:a16="http://schemas.microsoft.com/office/drawing/2014/main" id="{3261E925-D374-430D-BE66-428624434C85}"/>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3" name="Freeform: Shape 711">
                  <a:extLst>
                    <a:ext uri="{FF2B5EF4-FFF2-40B4-BE49-F238E27FC236}">
                      <a16:creationId xmlns:a16="http://schemas.microsoft.com/office/drawing/2014/main" id="{0860838F-CFDC-41BC-B92A-163A0EE3F14F}"/>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4" name="Freeform: Shape 712">
                  <a:extLst>
                    <a:ext uri="{FF2B5EF4-FFF2-40B4-BE49-F238E27FC236}">
                      <a16:creationId xmlns:a16="http://schemas.microsoft.com/office/drawing/2014/main" id="{E55480F1-1893-484D-8FF9-85A0A94DD473}"/>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5" name="Freeform: Shape 713">
                  <a:extLst>
                    <a:ext uri="{FF2B5EF4-FFF2-40B4-BE49-F238E27FC236}">
                      <a16:creationId xmlns:a16="http://schemas.microsoft.com/office/drawing/2014/main" id="{1D41F713-F934-41C1-8730-4A748EF41DD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6" name="Freeform: Shape 714">
                  <a:extLst>
                    <a:ext uri="{FF2B5EF4-FFF2-40B4-BE49-F238E27FC236}">
                      <a16:creationId xmlns:a16="http://schemas.microsoft.com/office/drawing/2014/main" id="{3268174C-3044-42A4-AD12-A0903062DADB}"/>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801" name="Group 800">
                <a:extLst>
                  <a:ext uri="{FF2B5EF4-FFF2-40B4-BE49-F238E27FC236}">
                    <a16:creationId xmlns:a16="http://schemas.microsoft.com/office/drawing/2014/main" id="{82C37B37-BA84-47CF-B761-1B8DF16E95A3}"/>
                  </a:ext>
                </a:extLst>
              </p:cNvPr>
              <p:cNvGrpSpPr/>
              <p:nvPr/>
            </p:nvGrpSpPr>
            <p:grpSpPr>
              <a:xfrm>
                <a:off x="8256195" y="2429192"/>
                <a:ext cx="386355" cy="212495"/>
                <a:chOff x="7681520" y="1918017"/>
                <a:chExt cx="386355" cy="212495"/>
              </a:xfrm>
            </p:grpSpPr>
            <p:sp>
              <p:nvSpPr>
                <p:cNvPr id="811" name="Freeform: Shape 699">
                  <a:extLst>
                    <a:ext uri="{FF2B5EF4-FFF2-40B4-BE49-F238E27FC236}">
                      <a16:creationId xmlns:a16="http://schemas.microsoft.com/office/drawing/2014/main" id="{54015EB5-AFCF-441A-B529-7B008BA11323}"/>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2" name="Freeform: Shape 700">
                  <a:extLst>
                    <a:ext uri="{FF2B5EF4-FFF2-40B4-BE49-F238E27FC236}">
                      <a16:creationId xmlns:a16="http://schemas.microsoft.com/office/drawing/2014/main" id="{5C0325B9-FEC8-4CF2-A84F-E7EDF9734AF9}"/>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3" name="Freeform: Shape 701">
                  <a:extLst>
                    <a:ext uri="{FF2B5EF4-FFF2-40B4-BE49-F238E27FC236}">
                      <a16:creationId xmlns:a16="http://schemas.microsoft.com/office/drawing/2014/main" id="{715C2893-6A38-4995-AB07-EDB72A2B6020}"/>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4" name="Freeform: Shape 702">
                  <a:extLst>
                    <a:ext uri="{FF2B5EF4-FFF2-40B4-BE49-F238E27FC236}">
                      <a16:creationId xmlns:a16="http://schemas.microsoft.com/office/drawing/2014/main" id="{B2E524EA-7500-401B-AA51-ACDA7049C5D7}"/>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5" name="Freeform: Shape 703">
                  <a:extLst>
                    <a:ext uri="{FF2B5EF4-FFF2-40B4-BE49-F238E27FC236}">
                      <a16:creationId xmlns:a16="http://schemas.microsoft.com/office/drawing/2014/main" id="{4DEAB885-F959-44BC-9663-983D9EB5377A}"/>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6" name="Freeform: Shape 704">
                  <a:extLst>
                    <a:ext uri="{FF2B5EF4-FFF2-40B4-BE49-F238E27FC236}">
                      <a16:creationId xmlns:a16="http://schemas.microsoft.com/office/drawing/2014/main" id="{3FF6C649-EAFC-4D3E-B311-CF8D6A2E342C}"/>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7" name="Freeform: Shape 705">
                  <a:extLst>
                    <a:ext uri="{FF2B5EF4-FFF2-40B4-BE49-F238E27FC236}">
                      <a16:creationId xmlns:a16="http://schemas.microsoft.com/office/drawing/2014/main" id="{51CF9C68-DDD8-42E2-B73D-CBF745F6AD3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8" name="Freeform: Shape 706">
                  <a:extLst>
                    <a:ext uri="{FF2B5EF4-FFF2-40B4-BE49-F238E27FC236}">
                      <a16:creationId xmlns:a16="http://schemas.microsoft.com/office/drawing/2014/main" id="{620A3177-F1C6-4C99-9E55-F8621C372FBF}"/>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802" name="Group 801">
                <a:extLst>
                  <a:ext uri="{FF2B5EF4-FFF2-40B4-BE49-F238E27FC236}">
                    <a16:creationId xmlns:a16="http://schemas.microsoft.com/office/drawing/2014/main" id="{0CC9FADE-28F9-49BB-A344-BDF29A40C9C5}"/>
                  </a:ext>
                </a:extLst>
              </p:cNvPr>
              <p:cNvGrpSpPr/>
              <p:nvPr/>
            </p:nvGrpSpPr>
            <p:grpSpPr>
              <a:xfrm>
                <a:off x="8256195" y="2692717"/>
                <a:ext cx="386355" cy="212495"/>
                <a:chOff x="7681520" y="1918017"/>
                <a:chExt cx="386355" cy="212495"/>
              </a:xfrm>
            </p:grpSpPr>
            <p:sp>
              <p:nvSpPr>
                <p:cNvPr id="803" name="Freeform: Shape 691">
                  <a:extLst>
                    <a:ext uri="{FF2B5EF4-FFF2-40B4-BE49-F238E27FC236}">
                      <a16:creationId xmlns:a16="http://schemas.microsoft.com/office/drawing/2014/main" id="{E6D347EC-194B-4960-86DC-D0E0E8626DD5}"/>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4" name="Freeform: Shape 692">
                  <a:extLst>
                    <a:ext uri="{FF2B5EF4-FFF2-40B4-BE49-F238E27FC236}">
                      <a16:creationId xmlns:a16="http://schemas.microsoft.com/office/drawing/2014/main" id="{C5FE6987-2FA3-417F-B341-52792038C0DE}"/>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5" name="Freeform: Shape 693">
                  <a:extLst>
                    <a:ext uri="{FF2B5EF4-FFF2-40B4-BE49-F238E27FC236}">
                      <a16:creationId xmlns:a16="http://schemas.microsoft.com/office/drawing/2014/main" id="{9B352CD8-25B0-4EDE-9A03-873248250118}"/>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6" name="Freeform: Shape 694">
                  <a:extLst>
                    <a:ext uri="{FF2B5EF4-FFF2-40B4-BE49-F238E27FC236}">
                      <a16:creationId xmlns:a16="http://schemas.microsoft.com/office/drawing/2014/main" id="{D6DA0E0A-A52E-4E08-8F8B-9B7EA9ECD4C1}"/>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7" name="Freeform: Shape 695">
                  <a:extLst>
                    <a:ext uri="{FF2B5EF4-FFF2-40B4-BE49-F238E27FC236}">
                      <a16:creationId xmlns:a16="http://schemas.microsoft.com/office/drawing/2014/main" id="{D46D8B46-5EB2-4AFB-B842-E2D25BAA1B84}"/>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8" name="Freeform: Shape 696">
                  <a:extLst>
                    <a:ext uri="{FF2B5EF4-FFF2-40B4-BE49-F238E27FC236}">
                      <a16:creationId xmlns:a16="http://schemas.microsoft.com/office/drawing/2014/main" id="{063D1DC3-42EE-4D5E-9219-F2B3D5AA2BB0}"/>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9" name="Freeform: Shape 697">
                  <a:extLst>
                    <a:ext uri="{FF2B5EF4-FFF2-40B4-BE49-F238E27FC236}">
                      <a16:creationId xmlns:a16="http://schemas.microsoft.com/office/drawing/2014/main" id="{88BA0CC1-4D2D-46AD-925E-A89044247021}"/>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0" name="Freeform: Shape 698">
                  <a:extLst>
                    <a:ext uri="{FF2B5EF4-FFF2-40B4-BE49-F238E27FC236}">
                      <a16:creationId xmlns:a16="http://schemas.microsoft.com/office/drawing/2014/main" id="{FC9383D1-ED48-4DF1-B637-C22F7ABB820F}"/>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sp>
        <p:nvSpPr>
          <p:cNvPr id="916" name="Oval 915">
            <a:extLst>
              <a:ext uri="{FF2B5EF4-FFF2-40B4-BE49-F238E27FC236}">
                <a16:creationId xmlns:a16="http://schemas.microsoft.com/office/drawing/2014/main" id="{01AA6A3E-7117-478F-BC86-E043A4DB6E6C}"/>
              </a:ext>
            </a:extLst>
          </p:cNvPr>
          <p:cNvSpPr/>
          <p:nvPr/>
        </p:nvSpPr>
        <p:spPr bwMode="auto">
          <a:xfrm>
            <a:off x="1516726" y="3246925"/>
            <a:ext cx="561769" cy="561769"/>
          </a:xfrm>
          <a:prstGeom prst="ellipse">
            <a:avLst/>
          </a:prstGeom>
          <a:solidFill>
            <a:schemeClr val="tx1"/>
          </a:solidFill>
          <a:ln w="9525">
            <a:solidFill>
              <a:sysClr val="window" lastClr="FFFFFF"/>
            </a:solidFill>
            <a:miter lim="800000"/>
            <a:headEnd/>
            <a:tailEnd/>
          </a:ln>
          <a:effectLst/>
        </p:spPr>
        <p:txBody>
          <a:bodyPr lIns="108000" tIns="108000" rIns="108000" bIns="108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smtClean="0">
                <a:ln>
                  <a:noFill/>
                </a:ln>
                <a:solidFill>
                  <a:prstClr val="white"/>
                </a:solidFill>
                <a:effectLst/>
                <a:uLnTx/>
                <a:uFillTx/>
                <a:latin typeface="Arial" panose="020B0604020202020204"/>
                <a:ea typeface="Verdana" pitchFamily="34" charset="0"/>
                <a:cs typeface="Verdana" pitchFamily="34" charset="0"/>
              </a:rPr>
              <a:t>1</a:t>
            </a:r>
            <a:endParaRPr kumimoji="0" lang="en-US" b="1" i="0" u="none" strike="noStrike" kern="0" cap="none" spc="0" normalizeH="0" baseline="0" noProof="0" dirty="0">
              <a:ln>
                <a:noFill/>
              </a:ln>
              <a:solidFill>
                <a:prstClr val="white"/>
              </a:solidFill>
              <a:effectLst/>
              <a:uLnTx/>
              <a:uFillTx/>
              <a:latin typeface="Arial" panose="020B0604020202020204"/>
              <a:ea typeface="Verdana" pitchFamily="34" charset="0"/>
              <a:cs typeface="Verdana" pitchFamily="34" charset="0"/>
            </a:endParaRPr>
          </a:p>
        </p:txBody>
      </p:sp>
      <p:sp>
        <p:nvSpPr>
          <p:cNvPr id="917" name="Oval 916">
            <a:extLst>
              <a:ext uri="{FF2B5EF4-FFF2-40B4-BE49-F238E27FC236}">
                <a16:creationId xmlns:a16="http://schemas.microsoft.com/office/drawing/2014/main" id="{01AA6A3E-7117-478F-BC86-E043A4DB6E6C}"/>
              </a:ext>
            </a:extLst>
          </p:cNvPr>
          <p:cNvSpPr/>
          <p:nvPr/>
        </p:nvSpPr>
        <p:spPr bwMode="auto">
          <a:xfrm>
            <a:off x="5452665" y="3246924"/>
            <a:ext cx="561769" cy="561769"/>
          </a:xfrm>
          <a:prstGeom prst="ellipse">
            <a:avLst/>
          </a:prstGeom>
          <a:solidFill>
            <a:schemeClr val="tx1"/>
          </a:solidFill>
          <a:ln w="9525">
            <a:solidFill>
              <a:sysClr val="window" lastClr="FFFFFF"/>
            </a:solidFill>
            <a:miter lim="800000"/>
            <a:headEnd/>
            <a:tailEnd/>
          </a:ln>
          <a:effectLst/>
        </p:spPr>
        <p:txBody>
          <a:bodyPr lIns="108000" tIns="108000" rIns="108000" bIns="108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smtClean="0">
                <a:ln>
                  <a:noFill/>
                </a:ln>
                <a:solidFill>
                  <a:schemeClr val="bg1"/>
                </a:solidFill>
                <a:effectLst/>
                <a:uLnTx/>
                <a:uFillTx/>
                <a:latin typeface="Arial" panose="020B0604020202020204"/>
                <a:ea typeface="Verdana" pitchFamily="34" charset="0"/>
                <a:cs typeface="Verdana" pitchFamily="34" charset="0"/>
              </a:rPr>
              <a:t>2</a:t>
            </a:r>
            <a:endParaRPr kumimoji="0" lang="en-US" b="1" i="0" u="none" strike="noStrike" kern="0" cap="none" spc="0" normalizeH="0" baseline="0" noProof="0" dirty="0">
              <a:ln>
                <a:noFill/>
              </a:ln>
              <a:solidFill>
                <a:schemeClr val="bg1"/>
              </a:solidFill>
              <a:effectLst/>
              <a:uLnTx/>
              <a:uFillTx/>
              <a:latin typeface="Arial" panose="020B0604020202020204"/>
              <a:ea typeface="Verdana" pitchFamily="34" charset="0"/>
              <a:cs typeface="Verdana" pitchFamily="34" charset="0"/>
            </a:endParaRPr>
          </a:p>
        </p:txBody>
      </p:sp>
      <p:sp>
        <p:nvSpPr>
          <p:cNvPr id="918" name="Oval 917">
            <a:extLst>
              <a:ext uri="{FF2B5EF4-FFF2-40B4-BE49-F238E27FC236}">
                <a16:creationId xmlns:a16="http://schemas.microsoft.com/office/drawing/2014/main" id="{01AA6A3E-7117-478F-BC86-E043A4DB6E6C}"/>
              </a:ext>
            </a:extLst>
          </p:cNvPr>
          <p:cNvSpPr/>
          <p:nvPr/>
        </p:nvSpPr>
        <p:spPr bwMode="auto">
          <a:xfrm>
            <a:off x="9628244" y="3268750"/>
            <a:ext cx="561769" cy="561769"/>
          </a:xfrm>
          <a:prstGeom prst="ellipse">
            <a:avLst/>
          </a:prstGeom>
          <a:solidFill>
            <a:schemeClr val="tx1"/>
          </a:solidFill>
          <a:ln w="9525">
            <a:solidFill>
              <a:sysClr val="window" lastClr="FFFFFF"/>
            </a:solidFill>
            <a:miter lim="800000"/>
            <a:headEnd/>
            <a:tailEnd/>
          </a:ln>
          <a:effectLst/>
        </p:spPr>
        <p:txBody>
          <a:bodyPr lIns="108000" tIns="108000" rIns="108000" bIns="108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smtClean="0">
                <a:ln>
                  <a:noFill/>
                </a:ln>
                <a:solidFill>
                  <a:schemeClr val="bg1"/>
                </a:solidFill>
                <a:effectLst/>
                <a:uLnTx/>
                <a:uFillTx/>
                <a:latin typeface="Arial" panose="020B0604020202020204"/>
                <a:ea typeface="Verdana" pitchFamily="34" charset="0"/>
                <a:cs typeface="Verdana" pitchFamily="34" charset="0"/>
              </a:rPr>
              <a:t>3</a:t>
            </a:r>
            <a:endParaRPr kumimoji="0" lang="en-US" b="1" i="0" u="none" strike="noStrike" kern="0" cap="none" spc="0" normalizeH="0" baseline="0" noProof="0" dirty="0">
              <a:ln>
                <a:noFill/>
              </a:ln>
              <a:solidFill>
                <a:schemeClr val="bg1"/>
              </a:solidFill>
              <a:effectLst/>
              <a:uLnTx/>
              <a:uFillTx/>
              <a:latin typeface="Arial" panose="020B0604020202020204"/>
              <a:ea typeface="Verdana" pitchFamily="34" charset="0"/>
              <a:cs typeface="Verdana" pitchFamily="34" charset="0"/>
            </a:endParaRPr>
          </a:p>
        </p:txBody>
      </p:sp>
      <p:sp>
        <p:nvSpPr>
          <p:cNvPr id="2" name="Oval 1"/>
          <p:cNvSpPr/>
          <p:nvPr/>
        </p:nvSpPr>
        <p:spPr>
          <a:xfrm>
            <a:off x="2396544" y="978183"/>
            <a:ext cx="2159191" cy="1652316"/>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5" name="Oval 914"/>
          <p:cNvSpPr/>
          <p:nvPr/>
        </p:nvSpPr>
        <p:spPr>
          <a:xfrm>
            <a:off x="6866775" y="945107"/>
            <a:ext cx="2159191" cy="1652316"/>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1" name="Title 1">
            <a:extLst>
              <a:ext uri="{FF2B5EF4-FFF2-40B4-BE49-F238E27FC236}">
                <a16:creationId xmlns:a16="http://schemas.microsoft.com/office/drawing/2014/main" id="{0133A8EA-C2C6-074E-B54A-E2C8A0D2A889}"/>
              </a:ext>
            </a:extLst>
          </p:cNvPr>
          <p:cNvSpPr>
            <a:spLocks noGrp="1"/>
          </p:cNvSpPr>
          <p:nvPr>
            <p:ph type="title"/>
          </p:nvPr>
        </p:nvSpPr>
        <p:spPr>
          <a:xfrm>
            <a:off x="26464" y="4641833"/>
            <a:ext cx="12113192" cy="1325563"/>
          </a:xfrm>
        </p:spPr>
        <p:txBody>
          <a:bodyPr>
            <a:normAutofit/>
          </a:bodyPr>
          <a:lstStyle/>
          <a:p>
            <a:pPr algn="ctr"/>
            <a:r>
              <a:rPr lang="en-US" sz="2800" b="1" dirty="0" smtClean="0">
                <a:latin typeface="Arial" panose="020B0604020202020204" pitchFamily="34" charset="0"/>
                <a:ea typeface="Optimist" panose="020B0603020204030204" pitchFamily="34" charset="77"/>
                <a:cs typeface="Arial" panose="020B0604020202020204" pitchFamily="34" charset="0"/>
              </a:rPr>
              <a:t>The way I deal with fear is to recognize it, have a plan, listen to my instinct and have a point-of-view </a:t>
            </a:r>
            <a:endParaRPr lang="en-US" sz="2800" b="1" dirty="0">
              <a:latin typeface="Arial" panose="020B0604020202020204" pitchFamily="34" charset="0"/>
              <a:ea typeface="Optimist" panose="020B0603020204030204" pitchFamily="34" charset="77"/>
              <a:cs typeface="Arial" panose="020B0604020202020204" pitchFamily="34" charset="0"/>
            </a:endParaRPr>
          </a:p>
        </p:txBody>
      </p:sp>
    </p:spTree>
    <p:extLst>
      <p:ext uri="{BB962C8B-B14F-4D97-AF65-F5344CB8AC3E}">
        <p14:creationId xmlns:p14="http://schemas.microsoft.com/office/powerpoint/2010/main" val="2611176318"/>
      </p:ext>
    </p:extLst>
  </p:cSld>
  <p:clrMapOvr>
    <a:masterClrMapping/>
  </p:clrMapOvr>
  <mc:AlternateContent xmlns:mc="http://schemas.openxmlformats.org/markup-compatibility/2006" xmlns:p14="http://schemas.microsoft.com/office/powerpoint/2010/main">
    <mc:Choice Requires="p14">
      <p:transition spd="slow" p14:dur="2000" advTm="151"/>
    </mc:Choice>
    <mc:Fallback xmlns="">
      <p:transition spd="slow" advTm="151"/>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C63C8F31-85BB-3446-8845-A8E582F67F69}"/>
              </a:ext>
            </a:extLst>
          </p:cNvPr>
          <p:cNvGrpSpPr/>
          <p:nvPr/>
        </p:nvGrpSpPr>
        <p:grpSpPr>
          <a:xfrm>
            <a:off x="6403146" y="4508533"/>
            <a:ext cx="1327759" cy="1139869"/>
            <a:chOff x="5070789" y="1939282"/>
            <a:chExt cx="1327759" cy="1139869"/>
          </a:xfrm>
        </p:grpSpPr>
        <p:sp>
          <p:nvSpPr>
            <p:cNvPr id="16" name="Hexagon 15">
              <a:extLst>
                <a:ext uri="{FF2B5EF4-FFF2-40B4-BE49-F238E27FC236}">
                  <a16:creationId xmlns:a16="http://schemas.microsoft.com/office/drawing/2014/main" id="{2AFF78F1-47D2-1745-8795-EF255C8EA5A1}"/>
                </a:ext>
              </a:extLst>
            </p:cNvPr>
            <p:cNvSpPr/>
            <p:nvPr/>
          </p:nvSpPr>
          <p:spPr>
            <a:xfrm>
              <a:off x="5070789" y="1939282"/>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Oval 16">
              <a:extLst>
                <a:ext uri="{FF2B5EF4-FFF2-40B4-BE49-F238E27FC236}">
                  <a16:creationId xmlns:a16="http://schemas.microsoft.com/office/drawing/2014/main" id="{CDC8B414-8CF1-F046-A3F5-CBB83DAFDEE0}"/>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1" name="Group 10">
            <a:extLst>
              <a:ext uri="{FF2B5EF4-FFF2-40B4-BE49-F238E27FC236}">
                <a16:creationId xmlns:a16="http://schemas.microsoft.com/office/drawing/2014/main" id="{4621E9BC-85CC-B845-B9AC-A5381FA702EB}"/>
              </a:ext>
            </a:extLst>
          </p:cNvPr>
          <p:cNvGrpSpPr/>
          <p:nvPr/>
        </p:nvGrpSpPr>
        <p:grpSpPr>
          <a:xfrm>
            <a:off x="4223203" y="2067917"/>
            <a:ext cx="1327759" cy="1139869"/>
            <a:chOff x="5060515" y="1929008"/>
            <a:chExt cx="1327759" cy="1139869"/>
          </a:xfrm>
        </p:grpSpPr>
        <p:sp>
          <p:nvSpPr>
            <p:cNvPr id="9" name="Hexagon 8">
              <a:extLst>
                <a:ext uri="{FF2B5EF4-FFF2-40B4-BE49-F238E27FC236}">
                  <a16:creationId xmlns:a16="http://schemas.microsoft.com/office/drawing/2014/main" id="{54D738F2-39C0-3B48-B7C8-EBAC492968BA}"/>
                </a:ext>
              </a:extLst>
            </p:cNvPr>
            <p:cNvSpPr/>
            <p:nvPr/>
          </p:nvSpPr>
          <p:spPr>
            <a:xfrm>
              <a:off x="5060515" y="1929008"/>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Oval 9">
              <a:extLst>
                <a:ext uri="{FF2B5EF4-FFF2-40B4-BE49-F238E27FC236}">
                  <a16:creationId xmlns:a16="http://schemas.microsoft.com/office/drawing/2014/main" id="{86F49C9F-78E8-1D4C-8236-A50B12136739}"/>
                </a:ext>
              </a:extLst>
            </p:cNvPr>
            <p:cNvSpPr/>
            <p:nvPr/>
          </p:nvSpPr>
          <p:spPr>
            <a:xfrm>
              <a:off x="5262582" y="2010475"/>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8" name="Group 17">
            <a:extLst>
              <a:ext uri="{FF2B5EF4-FFF2-40B4-BE49-F238E27FC236}">
                <a16:creationId xmlns:a16="http://schemas.microsoft.com/office/drawing/2014/main" id="{26D3A469-AE19-1C47-851C-D17BEE7FAE43}"/>
              </a:ext>
            </a:extLst>
          </p:cNvPr>
          <p:cNvGrpSpPr/>
          <p:nvPr/>
        </p:nvGrpSpPr>
        <p:grpSpPr>
          <a:xfrm>
            <a:off x="5303500" y="5103519"/>
            <a:ext cx="1327759" cy="1139869"/>
            <a:chOff x="5060515" y="1939282"/>
            <a:chExt cx="1327759" cy="1139869"/>
          </a:xfrm>
        </p:grpSpPr>
        <p:sp>
          <p:nvSpPr>
            <p:cNvPr id="19" name="Hexagon 18">
              <a:extLst>
                <a:ext uri="{FF2B5EF4-FFF2-40B4-BE49-F238E27FC236}">
                  <a16:creationId xmlns:a16="http://schemas.microsoft.com/office/drawing/2014/main" id="{9B687A28-7D32-FE4B-9FEB-8481249DC8EC}"/>
                </a:ext>
              </a:extLst>
            </p:cNvPr>
            <p:cNvSpPr/>
            <p:nvPr/>
          </p:nvSpPr>
          <p:spPr>
            <a:xfrm>
              <a:off x="5060515" y="1939282"/>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Oval 19">
              <a:extLst>
                <a:ext uri="{FF2B5EF4-FFF2-40B4-BE49-F238E27FC236}">
                  <a16:creationId xmlns:a16="http://schemas.microsoft.com/office/drawing/2014/main" id="{B118CCAE-D1BC-0F4F-9387-22DDE9ECCC0D}"/>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1" name="Group 20">
            <a:extLst>
              <a:ext uri="{FF2B5EF4-FFF2-40B4-BE49-F238E27FC236}">
                <a16:creationId xmlns:a16="http://schemas.microsoft.com/office/drawing/2014/main" id="{86E49845-A2DA-9D49-8F9F-44A0F7359921}"/>
              </a:ext>
            </a:extLst>
          </p:cNvPr>
          <p:cNvGrpSpPr/>
          <p:nvPr/>
        </p:nvGrpSpPr>
        <p:grpSpPr>
          <a:xfrm>
            <a:off x="6428748" y="2062130"/>
            <a:ext cx="1327759" cy="1139869"/>
            <a:chOff x="5010366" y="1927787"/>
            <a:chExt cx="1327759" cy="1139869"/>
          </a:xfrm>
        </p:grpSpPr>
        <p:sp>
          <p:nvSpPr>
            <p:cNvPr id="22" name="Hexagon 21">
              <a:extLst>
                <a:ext uri="{FF2B5EF4-FFF2-40B4-BE49-F238E27FC236}">
                  <a16:creationId xmlns:a16="http://schemas.microsoft.com/office/drawing/2014/main" id="{195A3C94-A09A-9A43-A33D-EAF640E19FD8}"/>
                </a:ext>
              </a:extLst>
            </p:cNvPr>
            <p:cNvSpPr/>
            <p:nvPr/>
          </p:nvSpPr>
          <p:spPr>
            <a:xfrm>
              <a:off x="5010366" y="1927787"/>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 name="Oval 22">
              <a:extLst>
                <a:ext uri="{FF2B5EF4-FFF2-40B4-BE49-F238E27FC236}">
                  <a16:creationId xmlns:a16="http://schemas.microsoft.com/office/drawing/2014/main" id="{5AFFF815-69A3-F247-B5B7-EA3FFB6E2BB6}"/>
                </a:ext>
              </a:extLst>
            </p:cNvPr>
            <p:cNvSpPr/>
            <p:nvPr/>
          </p:nvSpPr>
          <p:spPr>
            <a:xfrm>
              <a:off x="5232362" y="2006415"/>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4" name="Group 23">
            <a:extLst>
              <a:ext uri="{FF2B5EF4-FFF2-40B4-BE49-F238E27FC236}">
                <a16:creationId xmlns:a16="http://schemas.microsoft.com/office/drawing/2014/main" id="{487AC486-5D27-AC43-82F2-C222EBCCC885}"/>
              </a:ext>
            </a:extLst>
          </p:cNvPr>
          <p:cNvGrpSpPr/>
          <p:nvPr/>
        </p:nvGrpSpPr>
        <p:grpSpPr>
          <a:xfrm>
            <a:off x="5326681" y="1458669"/>
            <a:ext cx="1327759" cy="1139869"/>
            <a:chOff x="5060515" y="1929008"/>
            <a:chExt cx="1327759" cy="1139869"/>
          </a:xfrm>
        </p:grpSpPr>
        <p:sp>
          <p:nvSpPr>
            <p:cNvPr id="25" name="Hexagon 24">
              <a:extLst>
                <a:ext uri="{FF2B5EF4-FFF2-40B4-BE49-F238E27FC236}">
                  <a16:creationId xmlns:a16="http://schemas.microsoft.com/office/drawing/2014/main" id="{1EC9AD10-8440-E94E-9B1A-51420D3844D0}"/>
                </a:ext>
              </a:extLst>
            </p:cNvPr>
            <p:cNvSpPr/>
            <p:nvPr/>
          </p:nvSpPr>
          <p:spPr>
            <a:xfrm>
              <a:off x="5060515" y="1929008"/>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Oval 25">
              <a:extLst>
                <a:ext uri="{FF2B5EF4-FFF2-40B4-BE49-F238E27FC236}">
                  <a16:creationId xmlns:a16="http://schemas.microsoft.com/office/drawing/2014/main" id="{E377C240-47AF-3048-886D-C98E62035EE2}"/>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8" name="Group 27">
            <a:extLst>
              <a:ext uri="{FF2B5EF4-FFF2-40B4-BE49-F238E27FC236}">
                <a16:creationId xmlns:a16="http://schemas.microsoft.com/office/drawing/2014/main" id="{B9050A09-0B2C-054B-BA71-73B459FDD087}"/>
              </a:ext>
            </a:extLst>
          </p:cNvPr>
          <p:cNvGrpSpPr/>
          <p:nvPr/>
        </p:nvGrpSpPr>
        <p:grpSpPr>
          <a:xfrm>
            <a:off x="3698477" y="3274884"/>
            <a:ext cx="1327759" cy="1139869"/>
            <a:chOff x="5060515" y="1929008"/>
            <a:chExt cx="1327759" cy="1139869"/>
          </a:xfrm>
        </p:grpSpPr>
        <p:sp>
          <p:nvSpPr>
            <p:cNvPr id="29" name="Hexagon 28">
              <a:extLst>
                <a:ext uri="{FF2B5EF4-FFF2-40B4-BE49-F238E27FC236}">
                  <a16:creationId xmlns:a16="http://schemas.microsoft.com/office/drawing/2014/main" id="{B4066B57-4C2B-2E4E-9388-2977853856D2}"/>
                </a:ext>
              </a:extLst>
            </p:cNvPr>
            <p:cNvSpPr/>
            <p:nvPr/>
          </p:nvSpPr>
          <p:spPr>
            <a:xfrm>
              <a:off x="5060515" y="1929008"/>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 name="Oval 29">
              <a:extLst>
                <a:ext uri="{FF2B5EF4-FFF2-40B4-BE49-F238E27FC236}">
                  <a16:creationId xmlns:a16="http://schemas.microsoft.com/office/drawing/2014/main" id="{DB6D6C69-3214-A446-B585-B62CF8DA7BDC}"/>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1" name="Group 30">
            <a:extLst>
              <a:ext uri="{FF2B5EF4-FFF2-40B4-BE49-F238E27FC236}">
                <a16:creationId xmlns:a16="http://schemas.microsoft.com/office/drawing/2014/main" id="{49875E6E-9082-2041-A25D-372D568E6156}"/>
              </a:ext>
            </a:extLst>
          </p:cNvPr>
          <p:cNvGrpSpPr/>
          <p:nvPr/>
        </p:nvGrpSpPr>
        <p:grpSpPr>
          <a:xfrm>
            <a:off x="4211865" y="4486954"/>
            <a:ext cx="1327759" cy="1139869"/>
            <a:chOff x="5060515" y="1929008"/>
            <a:chExt cx="1327759" cy="1139869"/>
          </a:xfrm>
        </p:grpSpPr>
        <p:sp>
          <p:nvSpPr>
            <p:cNvPr id="32" name="Hexagon 31">
              <a:extLst>
                <a:ext uri="{FF2B5EF4-FFF2-40B4-BE49-F238E27FC236}">
                  <a16:creationId xmlns:a16="http://schemas.microsoft.com/office/drawing/2014/main" id="{716FA66D-35FF-6244-8C11-7BE53FA919B5}"/>
                </a:ext>
              </a:extLst>
            </p:cNvPr>
            <p:cNvSpPr/>
            <p:nvPr/>
          </p:nvSpPr>
          <p:spPr>
            <a:xfrm>
              <a:off x="5060515" y="1929008"/>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Oval 32">
              <a:extLst>
                <a:ext uri="{FF2B5EF4-FFF2-40B4-BE49-F238E27FC236}">
                  <a16:creationId xmlns:a16="http://schemas.microsoft.com/office/drawing/2014/main" id="{76DFA617-DCA3-6248-B13B-7E32E5A9E82E}"/>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pic>
        <p:nvPicPr>
          <p:cNvPr id="40"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6747886" y="2215242"/>
            <a:ext cx="746044" cy="746044"/>
          </a:xfrm>
          <a:prstGeom prst="rect">
            <a:avLst/>
          </a:prstGeom>
        </p:spPr>
      </p:pic>
      <p:pic>
        <p:nvPicPr>
          <p:cNvPr id="58" name="Graphic 57" descr="Infinity">
            <a:extLst>
              <a:ext uri="{FF2B5EF4-FFF2-40B4-BE49-F238E27FC236}">
                <a16:creationId xmlns:a16="http://schemas.microsoft.com/office/drawing/2014/main" id="{C354EB3E-86C1-4146-B3E4-48A9530BAD6D}"/>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4465333" y="2230708"/>
            <a:ext cx="802660" cy="802660"/>
          </a:xfrm>
          <a:prstGeom prst="rect">
            <a:avLst/>
          </a:prstGeom>
        </p:spPr>
      </p:pic>
      <p:pic>
        <p:nvPicPr>
          <p:cNvPr id="64" name="Graphic 63" descr="Business Growth">
            <a:extLst>
              <a:ext uri="{FF2B5EF4-FFF2-40B4-BE49-F238E27FC236}">
                <a16:creationId xmlns:a16="http://schemas.microsoft.com/office/drawing/2014/main" id="{55D64434-D27D-AC40-8C7D-FF18E87B5F18}"/>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6765630" y="4772623"/>
            <a:ext cx="737554" cy="737554"/>
          </a:xfrm>
          <a:prstGeom prst="rect">
            <a:avLst/>
          </a:prstGeom>
        </p:spPr>
      </p:pic>
      <p:pic>
        <p:nvPicPr>
          <p:cNvPr id="68" name="Graphic 67" descr="Classroom">
            <a:extLst>
              <a:ext uri="{FF2B5EF4-FFF2-40B4-BE49-F238E27FC236}">
                <a16:creationId xmlns:a16="http://schemas.microsoft.com/office/drawing/2014/main" id="{BF56240F-A3BE-DB47-AB75-30641CF911DD}"/>
              </a:ext>
            </a:extLst>
          </p:cNvPr>
          <p:cNvPicPr>
            <a:picLocks noChangeAspect="1"/>
          </p:cNvPicPr>
          <p:nvPr/>
        </p:nvPicPr>
        <p:blipFill>
          <a:blip r:embed="rId11">
            <a:extLst>
              <a:ext uri="{96DAC541-7B7A-43D3-8B79-37D633B846F1}">
                <asvg:svgBlip xmlns:asvg="http://schemas.microsoft.com/office/drawing/2016/SVG/main" xmlns="" r:embed="rId12"/>
              </a:ext>
            </a:extLst>
          </a:blip>
          <a:stretch>
            <a:fillRect/>
          </a:stretch>
        </p:blipFill>
        <p:spPr>
          <a:xfrm>
            <a:off x="3989334" y="3472563"/>
            <a:ext cx="746044" cy="746044"/>
          </a:xfrm>
          <a:prstGeom prst="rect">
            <a:avLst/>
          </a:prstGeom>
        </p:spPr>
      </p:pic>
      <p:pic>
        <p:nvPicPr>
          <p:cNvPr id="75" name="Graphic 74" descr="Marketing">
            <a:extLst>
              <a:ext uri="{FF2B5EF4-FFF2-40B4-BE49-F238E27FC236}">
                <a16:creationId xmlns:a16="http://schemas.microsoft.com/office/drawing/2014/main" id="{8D4D1845-43F3-A342-801E-C809DE65D241}"/>
              </a:ext>
            </a:extLst>
          </p:cNvPr>
          <p:cNvPicPr>
            <a:picLocks noChangeAspect="1"/>
          </p:cNvPicPr>
          <p:nvPr/>
        </p:nvPicPr>
        <p:blipFill>
          <a:blip r:embed="rId13">
            <a:extLst>
              <a:ext uri="{96DAC541-7B7A-43D3-8B79-37D633B846F1}">
                <asvg:svgBlip xmlns:asvg="http://schemas.microsoft.com/office/drawing/2016/SVG/main" xmlns="" r:embed="rId14"/>
              </a:ext>
            </a:extLst>
          </a:blip>
          <a:stretch>
            <a:fillRect/>
          </a:stretch>
        </p:blipFill>
        <p:spPr>
          <a:xfrm>
            <a:off x="5692397" y="5335225"/>
            <a:ext cx="676431" cy="676431"/>
          </a:xfrm>
          <a:prstGeom prst="rect">
            <a:avLst/>
          </a:prstGeom>
        </p:spPr>
      </p:pic>
      <p:pic>
        <p:nvPicPr>
          <p:cNvPr id="98" name="Graphic 97" descr="Group">
            <a:extLst>
              <a:ext uri="{FF2B5EF4-FFF2-40B4-BE49-F238E27FC236}">
                <a16:creationId xmlns:a16="http://schemas.microsoft.com/office/drawing/2014/main" id="{8A7059D7-B129-1E41-9897-43233F1C639E}"/>
              </a:ext>
            </a:extLst>
          </p:cNvPr>
          <p:cNvPicPr>
            <a:picLocks noChangeAspect="1"/>
          </p:cNvPicPr>
          <p:nvPr/>
        </p:nvPicPr>
        <p:blipFill>
          <a:blip r:embed="rId15">
            <a:extLst>
              <a:ext uri="{96DAC541-7B7A-43D3-8B79-37D633B846F1}">
                <asvg:svgBlip xmlns:asvg="http://schemas.microsoft.com/office/drawing/2016/SVG/main" xmlns="" r:embed="rId16"/>
              </a:ext>
            </a:extLst>
          </a:blip>
          <a:stretch>
            <a:fillRect/>
          </a:stretch>
        </p:blipFill>
        <p:spPr>
          <a:xfrm>
            <a:off x="4590960" y="4953200"/>
            <a:ext cx="589001" cy="589001"/>
          </a:xfrm>
          <a:prstGeom prst="rect">
            <a:avLst/>
          </a:prstGeom>
        </p:spPr>
      </p:pic>
      <p:pic>
        <p:nvPicPr>
          <p:cNvPr id="100" name="Graphic 99" descr="Deciduous tree">
            <a:extLst>
              <a:ext uri="{FF2B5EF4-FFF2-40B4-BE49-F238E27FC236}">
                <a16:creationId xmlns:a16="http://schemas.microsoft.com/office/drawing/2014/main" id="{9819F59A-89A2-CD4D-BAEB-BF00779C9851}"/>
              </a:ext>
            </a:extLst>
          </p:cNvPr>
          <p:cNvPicPr>
            <a:picLocks noChangeAspect="1"/>
          </p:cNvPicPr>
          <p:nvPr/>
        </p:nvPicPr>
        <p:blipFill>
          <a:blip r:embed="rId17">
            <a:extLst>
              <a:ext uri="{96DAC541-7B7A-43D3-8B79-37D633B846F1}">
                <asvg:svgBlip xmlns:asvg="http://schemas.microsoft.com/office/drawing/2016/SVG/main" xmlns="" r:embed="rId18"/>
              </a:ext>
            </a:extLst>
          </a:blip>
          <a:stretch>
            <a:fillRect/>
          </a:stretch>
        </p:blipFill>
        <p:spPr>
          <a:xfrm>
            <a:off x="4510028" y="4652326"/>
            <a:ext cx="523213" cy="523213"/>
          </a:xfrm>
          <a:prstGeom prst="rect">
            <a:avLst/>
          </a:prstGeom>
        </p:spPr>
      </p:pic>
      <p:sp>
        <p:nvSpPr>
          <p:cNvPr id="45" name="Rectangle 44">
            <a:extLst>
              <a:ext uri="{FF2B5EF4-FFF2-40B4-BE49-F238E27FC236}">
                <a16:creationId xmlns:a16="http://schemas.microsoft.com/office/drawing/2014/main" id="{5B86F388-927B-184C-945B-190327114204}"/>
              </a:ext>
            </a:extLst>
          </p:cNvPr>
          <p:cNvSpPr/>
          <p:nvPr/>
        </p:nvSpPr>
        <p:spPr>
          <a:xfrm>
            <a:off x="7454737" y="3070436"/>
            <a:ext cx="3631122" cy="156966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600" b="1" i="0" u="none" strike="noStrike" kern="1200" cap="none" spc="0" normalizeH="0" baseline="0" noProof="0" dirty="0">
                <a:ln w="0"/>
                <a:solidFill>
                  <a:srgbClr val="E7E6E6">
                    <a:lumMod val="50000"/>
                  </a:srgbClr>
                </a:solidFill>
                <a:effectLst>
                  <a:outerShdw blurRad="38100" dist="19050" dir="2700000" algn="tl" rotWithShape="0">
                    <a:prstClr val="black">
                      <a:alpha val="40000"/>
                    </a:prstClr>
                  </a:outerShdw>
                </a:effectLst>
                <a:uLnTx/>
                <a:uFillTx/>
                <a:latin typeface="Optimist" panose="020B0603020204030204" pitchFamily="34" charset="77"/>
                <a:ea typeface="Optimist" panose="020B0603020204030204" pitchFamily="34" charset="77"/>
                <a:cs typeface="Optimist" panose="020B0603020204030204" pitchFamily="34" charset="77"/>
              </a:rPr>
              <a:t>-Suite</a:t>
            </a:r>
          </a:p>
        </p:txBody>
      </p:sp>
      <p:sp>
        <p:nvSpPr>
          <p:cNvPr id="46" name="Rectangle 45">
            <a:extLst>
              <a:ext uri="{FF2B5EF4-FFF2-40B4-BE49-F238E27FC236}">
                <a16:creationId xmlns:a16="http://schemas.microsoft.com/office/drawing/2014/main" id="{AB1879BD-E869-214A-8571-955F7D476CB4}"/>
              </a:ext>
            </a:extLst>
          </p:cNvPr>
          <p:cNvSpPr/>
          <p:nvPr/>
        </p:nvSpPr>
        <p:spPr>
          <a:xfrm>
            <a:off x="1242672" y="2978435"/>
            <a:ext cx="2319866" cy="156966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600" b="1" i="0" u="none" strike="noStrike" kern="1200" cap="none" spc="0" normalizeH="0" baseline="0" noProof="0" dirty="0">
                <a:ln w="0"/>
                <a:solidFill>
                  <a:srgbClr val="E7E6E6">
                    <a:lumMod val="50000"/>
                  </a:srgbClr>
                </a:solidFill>
                <a:effectLst>
                  <a:outerShdw blurRad="38100" dist="19050" dir="2700000" algn="tl" rotWithShape="0">
                    <a:prstClr val="black">
                      <a:alpha val="40000"/>
                    </a:prstClr>
                  </a:outerShdw>
                </a:effectLst>
                <a:uLnTx/>
                <a:uFillTx/>
                <a:latin typeface="Optimist" panose="020B0603020204030204" pitchFamily="34" charset="77"/>
                <a:ea typeface="Optimist" panose="020B0603020204030204" pitchFamily="34" charset="77"/>
                <a:cs typeface="Optimist" panose="020B0603020204030204" pitchFamily="34" charset="77"/>
              </a:rPr>
              <a:t>The</a:t>
            </a:r>
          </a:p>
        </p:txBody>
      </p:sp>
      <p:pic>
        <p:nvPicPr>
          <p:cNvPr id="3" name="Graphic 2" descr="Drawing compass">
            <a:extLst>
              <a:ext uri="{FF2B5EF4-FFF2-40B4-BE49-F238E27FC236}">
                <a16:creationId xmlns:a16="http://schemas.microsoft.com/office/drawing/2014/main" id="{7D8983EC-685B-C14E-8127-2152976A325A}"/>
              </a:ext>
            </a:extLst>
          </p:cNvPr>
          <p:cNvPicPr>
            <a:picLocks noChangeAspect="1"/>
          </p:cNvPicPr>
          <p:nvPr/>
        </p:nvPicPr>
        <p:blipFill>
          <a:blip r:embed="rId19">
            <a:extLst>
              <a:ext uri="{96DAC541-7B7A-43D3-8B79-37D633B846F1}">
                <asvg:svgBlip xmlns:asvg="http://schemas.microsoft.com/office/drawing/2016/SVG/main" xmlns="" r:embed="rId20"/>
              </a:ext>
            </a:extLst>
          </a:blip>
          <a:stretch>
            <a:fillRect/>
          </a:stretch>
        </p:blipFill>
        <p:spPr>
          <a:xfrm>
            <a:off x="5609413" y="1659973"/>
            <a:ext cx="737259" cy="737259"/>
          </a:xfrm>
          <a:prstGeom prst="rect">
            <a:avLst/>
          </a:prstGeom>
        </p:spPr>
      </p:pic>
      <p:grpSp>
        <p:nvGrpSpPr>
          <p:cNvPr id="37" name="Group 36">
            <a:extLst>
              <a:ext uri="{FF2B5EF4-FFF2-40B4-BE49-F238E27FC236}">
                <a16:creationId xmlns:a16="http://schemas.microsoft.com/office/drawing/2014/main" id="{FEFE145E-116E-024B-BFE4-7387B351B02B}"/>
              </a:ext>
            </a:extLst>
          </p:cNvPr>
          <p:cNvGrpSpPr/>
          <p:nvPr/>
        </p:nvGrpSpPr>
        <p:grpSpPr>
          <a:xfrm>
            <a:off x="5081217" y="2745451"/>
            <a:ext cx="1848115" cy="2243377"/>
            <a:chOff x="5181053" y="2387398"/>
            <a:chExt cx="1905053" cy="2392369"/>
          </a:xfrm>
          <a:solidFill>
            <a:schemeClr val="tx2">
              <a:lumMod val="60000"/>
              <a:lumOff val="40000"/>
            </a:schemeClr>
          </a:solidFill>
        </p:grpSpPr>
        <p:sp>
          <p:nvSpPr>
            <p:cNvPr id="38" name="Trapezoid 37">
              <a:extLst>
                <a:ext uri="{FF2B5EF4-FFF2-40B4-BE49-F238E27FC236}">
                  <a16:creationId xmlns:a16="http://schemas.microsoft.com/office/drawing/2014/main" id="{9089DC7D-01DF-6D4B-8B24-7DD495004B9D}"/>
                </a:ext>
              </a:extLst>
            </p:cNvPr>
            <p:cNvSpPr/>
            <p:nvPr/>
          </p:nvSpPr>
          <p:spPr>
            <a:xfrm>
              <a:off x="5181053" y="2387398"/>
              <a:ext cx="1905052" cy="1199287"/>
            </a:xfrm>
            <a:prstGeom prst="trapezoid">
              <a:avLst>
                <a:gd name="adj" fmla="val 5068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timist" panose="020B0603020204030204" pitchFamily="34" charset="77"/>
                <a:ea typeface="Optimist" panose="020B0603020204030204" pitchFamily="34" charset="77"/>
                <a:cs typeface="Optimist" panose="020B0603020204030204" pitchFamily="34" charset="77"/>
              </a:endParaRPr>
            </a:p>
          </p:txBody>
        </p:sp>
        <p:sp>
          <p:nvSpPr>
            <p:cNvPr id="39" name="Trapezoid 38">
              <a:extLst>
                <a:ext uri="{FF2B5EF4-FFF2-40B4-BE49-F238E27FC236}">
                  <a16:creationId xmlns:a16="http://schemas.microsoft.com/office/drawing/2014/main" id="{F0990FBB-1CEE-9F47-831C-62D2ED8DA28E}"/>
                </a:ext>
              </a:extLst>
            </p:cNvPr>
            <p:cNvSpPr/>
            <p:nvPr/>
          </p:nvSpPr>
          <p:spPr>
            <a:xfrm rot="10800000">
              <a:off x="5181054" y="3580480"/>
              <a:ext cx="1905052" cy="1199287"/>
            </a:xfrm>
            <a:prstGeom prst="trapezoid">
              <a:avLst>
                <a:gd name="adj" fmla="val 5068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timist" panose="020B0603020204030204" pitchFamily="34" charset="77"/>
                <a:ea typeface="Optimist" panose="020B0603020204030204" pitchFamily="34" charset="77"/>
                <a:cs typeface="Optimist" panose="020B0603020204030204" pitchFamily="34" charset="77"/>
              </a:endParaRPr>
            </a:p>
          </p:txBody>
        </p:sp>
      </p:grpSp>
      <p:sp>
        <p:nvSpPr>
          <p:cNvPr id="43" name="Title 1">
            <a:extLst>
              <a:ext uri="{FF2B5EF4-FFF2-40B4-BE49-F238E27FC236}">
                <a16:creationId xmlns:a16="http://schemas.microsoft.com/office/drawing/2014/main" id="{0133A8EA-C2C6-074E-B54A-E2C8A0D2A889}"/>
              </a:ext>
            </a:extLst>
          </p:cNvPr>
          <p:cNvSpPr>
            <a:spLocks noGrp="1"/>
          </p:cNvSpPr>
          <p:nvPr>
            <p:ph type="title"/>
          </p:nvPr>
        </p:nvSpPr>
        <p:spPr>
          <a:xfrm>
            <a:off x="44373" y="-111616"/>
            <a:ext cx="11992761" cy="1325563"/>
          </a:xfrm>
        </p:spPr>
        <p:txBody>
          <a:bodyPr>
            <a:normAutofit/>
          </a:bodyPr>
          <a:lstStyle/>
          <a:p>
            <a:r>
              <a:rPr lang="en-US" sz="2800" b="1" dirty="0" smtClean="0">
                <a:latin typeface="Arial" panose="020B0604020202020204" pitchFamily="34" charset="0"/>
                <a:ea typeface="Optimist" panose="020B0603020204030204" pitchFamily="34" charset="77"/>
                <a:cs typeface="Arial" panose="020B0604020202020204" pitchFamily="34" charset="0"/>
              </a:rPr>
              <a:t>I employ a system that enables organizations to help </a:t>
            </a:r>
            <a:r>
              <a:rPr lang="en-US" sz="2800" b="1" dirty="0" smtClean="0">
                <a:latin typeface="Arial" panose="020B0604020202020204" pitchFamily="34" charset="0"/>
                <a:ea typeface="Optimist" panose="020B0603020204030204" pitchFamily="34" charset="77"/>
                <a:cs typeface="Arial" panose="020B0604020202020204" pitchFamily="34" charset="0"/>
              </a:rPr>
              <a:t>tame </a:t>
            </a:r>
            <a:r>
              <a:rPr lang="en-US" sz="2800" b="1" dirty="0" smtClean="0">
                <a:latin typeface="Arial" panose="020B0604020202020204" pitchFamily="34" charset="0"/>
                <a:ea typeface="Optimist" panose="020B0603020204030204" pitchFamily="34" charset="77"/>
                <a:cs typeface="Arial" panose="020B0604020202020204" pitchFamily="34" charset="0"/>
              </a:rPr>
              <a:t>the fear and support more comfortable change</a:t>
            </a:r>
            <a:endParaRPr lang="en-US" sz="2800" b="1" dirty="0">
              <a:latin typeface="Arial" panose="020B0604020202020204" pitchFamily="34" charset="0"/>
              <a:ea typeface="Optimist" panose="020B0603020204030204" pitchFamily="34" charset="77"/>
              <a:cs typeface="Arial" panose="020B0604020202020204" pitchFamily="34" charset="0"/>
            </a:endParaRPr>
          </a:p>
        </p:txBody>
      </p:sp>
      <p:pic>
        <p:nvPicPr>
          <p:cNvPr id="2" name="Audio 1">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21"/>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3833110580"/>
      </p:ext>
    </p:extLst>
  </p:cSld>
  <p:clrMapOvr>
    <a:masterClrMapping/>
  </p:clrMapOvr>
  <mc:AlternateContent xmlns:mc="http://schemas.openxmlformats.org/markup-compatibility/2006" xmlns:p14="http://schemas.microsoft.com/office/powerpoint/2010/main">
    <mc:Choice Requires="p14">
      <p:transition spd="slow" p14:dur="2000" advTm="168"/>
    </mc:Choice>
    <mc:Fallback xmlns="">
      <p:transition spd="slow" advTm="16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C63C8F31-85BB-3446-8845-A8E582F67F69}"/>
              </a:ext>
            </a:extLst>
          </p:cNvPr>
          <p:cNvGrpSpPr/>
          <p:nvPr/>
        </p:nvGrpSpPr>
        <p:grpSpPr>
          <a:xfrm>
            <a:off x="6346672" y="4035794"/>
            <a:ext cx="1327759" cy="1139869"/>
            <a:chOff x="5070789" y="1939282"/>
            <a:chExt cx="1327759" cy="1139869"/>
          </a:xfrm>
        </p:grpSpPr>
        <p:sp>
          <p:nvSpPr>
            <p:cNvPr id="16" name="Hexagon 15">
              <a:extLst>
                <a:ext uri="{FF2B5EF4-FFF2-40B4-BE49-F238E27FC236}">
                  <a16:creationId xmlns:a16="http://schemas.microsoft.com/office/drawing/2014/main" id="{2AFF78F1-47D2-1745-8795-EF255C8EA5A1}"/>
                </a:ext>
              </a:extLst>
            </p:cNvPr>
            <p:cNvSpPr/>
            <p:nvPr/>
          </p:nvSpPr>
          <p:spPr>
            <a:xfrm>
              <a:off x="5070789" y="1939282"/>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Oval 16">
              <a:extLst>
                <a:ext uri="{FF2B5EF4-FFF2-40B4-BE49-F238E27FC236}">
                  <a16:creationId xmlns:a16="http://schemas.microsoft.com/office/drawing/2014/main" id="{CDC8B414-8CF1-F046-A3F5-CBB83DAFDEE0}"/>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1" name="Group 10">
            <a:extLst>
              <a:ext uri="{FF2B5EF4-FFF2-40B4-BE49-F238E27FC236}">
                <a16:creationId xmlns:a16="http://schemas.microsoft.com/office/drawing/2014/main" id="{4621E9BC-85CC-B845-B9AC-A5381FA702EB}"/>
              </a:ext>
            </a:extLst>
          </p:cNvPr>
          <p:cNvGrpSpPr/>
          <p:nvPr/>
        </p:nvGrpSpPr>
        <p:grpSpPr>
          <a:xfrm>
            <a:off x="4166729" y="1595178"/>
            <a:ext cx="1327759" cy="1139869"/>
            <a:chOff x="5060515" y="1929008"/>
            <a:chExt cx="1327759" cy="1139869"/>
          </a:xfrm>
        </p:grpSpPr>
        <p:sp>
          <p:nvSpPr>
            <p:cNvPr id="9" name="Hexagon 8">
              <a:extLst>
                <a:ext uri="{FF2B5EF4-FFF2-40B4-BE49-F238E27FC236}">
                  <a16:creationId xmlns:a16="http://schemas.microsoft.com/office/drawing/2014/main" id="{54D738F2-39C0-3B48-B7C8-EBAC492968BA}"/>
                </a:ext>
              </a:extLst>
            </p:cNvPr>
            <p:cNvSpPr/>
            <p:nvPr/>
          </p:nvSpPr>
          <p:spPr>
            <a:xfrm>
              <a:off x="5060515" y="1929008"/>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Oval 9">
              <a:extLst>
                <a:ext uri="{FF2B5EF4-FFF2-40B4-BE49-F238E27FC236}">
                  <a16:creationId xmlns:a16="http://schemas.microsoft.com/office/drawing/2014/main" id="{86F49C9F-78E8-1D4C-8236-A50B12136739}"/>
                </a:ext>
              </a:extLst>
            </p:cNvPr>
            <p:cNvSpPr/>
            <p:nvPr/>
          </p:nvSpPr>
          <p:spPr>
            <a:xfrm>
              <a:off x="5262582" y="2010475"/>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8" name="Group 17">
            <a:extLst>
              <a:ext uri="{FF2B5EF4-FFF2-40B4-BE49-F238E27FC236}">
                <a16:creationId xmlns:a16="http://schemas.microsoft.com/office/drawing/2014/main" id="{26D3A469-AE19-1C47-851C-D17BEE7FAE43}"/>
              </a:ext>
            </a:extLst>
          </p:cNvPr>
          <p:cNvGrpSpPr/>
          <p:nvPr/>
        </p:nvGrpSpPr>
        <p:grpSpPr>
          <a:xfrm>
            <a:off x="5247026" y="4630780"/>
            <a:ext cx="1327759" cy="1139869"/>
            <a:chOff x="5060515" y="1939282"/>
            <a:chExt cx="1327759" cy="1139869"/>
          </a:xfrm>
        </p:grpSpPr>
        <p:sp>
          <p:nvSpPr>
            <p:cNvPr id="19" name="Hexagon 18">
              <a:extLst>
                <a:ext uri="{FF2B5EF4-FFF2-40B4-BE49-F238E27FC236}">
                  <a16:creationId xmlns:a16="http://schemas.microsoft.com/office/drawing/2014/main" id="{9B687A28-7D32-FE4B-9FEB-8481249DC8EC}"/>
                </a:ext>
              </a:extLst>
            </p:cNvPr>
            <p:cNvSpPr/>
            <p:nvPr/>
          </p:nvSpPr>
          <p:spPr>
            <a:xfrm>
              <a:off x="5060515" y="1939282"/>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Oval 19">
              <a:extLst>
                <a:ext uri="{FF2B5EF4-FFF2-40B4-BE49-F238E27FC236}">
                  <a16:creationId xmlns:a16="http://schemas.microsoft.com/office/drawing/2014/main" id="{B118CCAE-D1BC-0F4F-9387-22DDE9ECCC0D}"/>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1" name="Group 20">
            <a:extLst>
              <a:ext uri="{FF2B5EF4-FFF2-40B4-BE49-F238E27FC236}">
                <a16:creationId xmlns:a16="http://schemas.microsoft.com/office/drawing/2014/main" id="{86E49845-A2DA-9D49-8F9F-44A0F7359921}"/>
              </a:ext>
            </a:extLst>
          </p:cNvPr>
          <p:cNvGrpSpPr/>
          <p:nvPr/>
        </p:nvGrpSpPr>
        <p:grpSpPr>
          <a:xfrm>
            <a:off x="6372274" y="1589391"/>
            <a:ext cx="1327759" cy="1139869"/>
            <a:chOff x="5010366" y="1927787"/>
            <a:chExt cx="1327759" cy="1139869"/>
          </a:xfrm>
        </p:grpSpPr>
        <p:sp>
          <p:nvSpPr>
            <p:cNvPr id="22" name="Hexagon 21">
              <a:extLst>
                <a:ext uri="{FF2B5EF4-FFF2-40B4-BE49-F238E27FC236}">
                  <a16:creationId xmlns:a16="http://schemas.microsoft.com/office/drawing/2014/main" id="{195A3C94-A09A-9A43-A33D-EAF640E19FD8}"/>
                </a:ext>
              </a:extLst>
            </p:cNvPr>
            <p:cNvSpPr/>
            <p:nvPr/>
          </p:nvSpPr>
          <p:spPr>
            <a:xfrm>
              <a:off x="5010366" y="1927787"/>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 name="Oval 22">
              <a:extLst>
                <a:ext uri="{FF2B5EF4-FFF2-40B4-BE49-F238E27FC236}">
                  <a16:creationId xmlns:a16="http://schemas.microsoft.com/office/drawing/2014/main" id="{5AFFF815-69A3-F247-B5B7-EA3FFB6E2BB6}"/>
                </a:ext>
              </a:extLst>
            </p:cNvPr>
            <p:cNvSpPr/>
            <p:nvPr/>
          </p:nvSpPr>
          <p:spPr>
            <a:xfrm>
              <a:off x="5232362" y="2006415"/>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4" name="Group 23">
            <a:extLst>
              <a:ext uri="{FF2B5EF4-FFF2-40B4-BE49-F238E27FC236}">
                <a16:creationId xmlns:a16="http://schemas.microsoft.com/office/drawing/2014/main" id="{487AC486-5D27-AC43-82F2-C222EBCCC885}"/>
              </a:ext>
            </a:extLst>
          </p:cNvPr>
          <p:cNvGrpSpPr/>
          <p:nvPr/>
        </p:nvGrpSpPr>
        <p:grpSpPr>
          <a:xfrm>
            <a:off x="5270207" y="985930"/>
            <a:ext cx="1327759" cy="1139869"/>
            <a:chOff x="5060515" y="1929008"/>
            <a:chExt cx="1327759" cy="1139869"/>
          </a:xfrm>
        </p:grpSpPr>
        <p:sp>
          <p:nvSpPr>
            <p:cNvPr id="25" name="Hexagon 24">
              <a:extLst>
                <a:ext uri="{FF2B5EF4-FFF2-40B4-BE49-F238E27FC236}">
                  <a16:creationId xmlns:a16="http://schemas.microsoft.com/office/drawing/2014/main" id="{1EC9AD10-8440-E94E-9B1A-51420D3844D0}"/>
                </a:ext>
              </a:extLst>
            </p:cNvPr>
            <p:cNvSpPr/>
            <p:nvPr/>
          </p:nvSpPr>
          <p:spPr>
            <a:xfrm>
              <a:off x="5060515" y="1929008"/>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Oval 25">
              <a:extLst>
                <a:ext uri="{FF2B5EF4-FFF2-40B4-BE49-F238E27FC236}">
                  <a16:creationId xmlns:a16="http://schemas.microsoft.com/office/drawing/2014/main" id="{E377C240-47AF-3048-886D-C98E62035EE2}"/>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8" name="Group 27">
            <a:extLst>
              <a:ext uri="{FF2B5EF4-FFF2-40B4-BE49-F238E27FC236}">
                <a16:creationId xmlns:a16="http://schemas.microsoft.com/office/drawing/2014/main" id="{B9050A09-0B2C-054B-BA71-73B459FDD087}"/>
              </a:ext>
            </a:extLst>
          </p:cNvPr>
          <p:cNvGrpSpPr/>
          <p:nvPr/>
        </p:nvGrpSpPr>
        <p:grpSpPr>
          <a:xfrm>
            <a:off x="3642003" y="2802145"/>
            <a:ext cx="1327759" cy="1139869"/>
            <a:chOff x="5060515" y="1929008"/>
            <a:chExt cx="1327759" cy="1139869"/>
          </a:xfrm>
        </p:grpSpPr>
        <p:sp>
          <p:nvSpPr>
            <p:cNvPr id="29" name="Hexagon 28">
              <a:extLst>
                <a:ext uri="{FF2B5EF4-FFF2-40B4-BE49-F238E27FC236}">
                  <a16:creationId xmlns:a16="http://schemas.microsoft.com/office/drawing/2014/main" id="{B4066B57-4C2B-2E4E-9388-2977853856D2}"/>
                </a:ext>
              </a:extLst>
            </p:cNvPr>
            <p:cNvSpPr/>
            <p:nvPr/>
          </p:nvSpPr>
          <p:spPr>
            <a:xfrm>
              <a:off x="5060515" y="1929008"/>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 name="Oval 29">
              <a:extLst>
                <a:ext uri="{FF2B5EF4-FFF2-40B4-BE49-F238E27FC236}">
                  <a16:creationId xmlns:a16="http://schemas.microsoft.com/office/drawing/2014/main" id="{DB6D6C69-3214-A446-B585-B62CF8DA7BDC}"/>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1" name="Group 30">
            <a:extLst>
              <a:ext uri="{FF2B5EF4-FFF2-40B4-BE49-F238E27FC236}">
                <a16:creationId xmlns:a16="http://schemas.microsoft.com/office/drawing/2014/main" id="{49875E6E-9082-2041-A25D-372D568E6156}"/>
              </a:ext>
            </a:extLst>
          </p:cNvPr>
          <p:cNvGrpSpPr/>
          <p:nvPr/>
        </p:nvGrpSpPr>
        <p:grpSpPr>
          <a:xfrm>
            <a:off x="4155391" y="4014215"/>
            <a:ext cx="1327759" cy="1139869"/>
            <a:chOff x="5060515" y="1929008"/>
            <a:chExt cx="1327759" cy="1139869"/>
          </a:xfrm>
        </p:grpSpPr>
        <p:sp>
          <p:nvSpPr>
            <p:cNvPr id="32" name="Hexagon 31">
              <a:extLst>
                <a:ext uri="{FF2B5EF4-FFF2-40B4-BE49-F238E27FC236}">
                  <a16:creationId xmlns:a16="http://schemas.microsoft.com/office/drawing/2014/main" id="{716FA66D-35FF-6244-8C11-7BE53FA919B5}"/>
                </a:ext>
              </a:extLst>
            </p:cNvPr>
            <p:cNvSpPr/>
            <p:nvPr/>
          </p:nvSpPr>
          <p:spPr>
            <a:xfrm>
              <a:off x="5060515" y="1929008"/>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Oval 32">
              <a:extLst>
                <a:ext uri="{FF2B5EF4-FFF2-40B4-BE49-F238E27FC236}">
                  <a16:creationId xmlns:a16="http://schemas.microsoft.com/office/drawing/2014/main" id="{76DFA617-DCA3-6248-B13B-7E32E5A9E82E}"/>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pic>
        <p:nvPicPr>
          <p:cNvPr id="40"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6691412" y="1742503"/>
            <a:ext cx="746044" cy="746044"/>
          </a:xfrm>
          <a:prstGeom prst="rect">
            <a:avLst/>
          </a:prstGeom>
        </p:spPr>
      </p:pic>
      <p:pic>
        <p:nvPicPr>
          <p:cNvPr id="58" name="Graphic 57" descr="Infinity">
            <a:extLst>
              <a:ext uri="{FF2B5EF4-FFF2-40B4-BE49-F238E27FC236}">
                <a16:creationId xmlns:a16="http://schemas.microsoft.com/office/drawing/2014/main" id="{C354EB3E-86C1-4146-B3E4-48A9530BAD6D}"/>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4408859" y="1757969"/>
            <a:ext cx="802660" cy="802660"/>
          </a:xfrm>
          <a:prstGeom prst="rect">
            <a:avLst/>
          </a:prstGeom>
        </p:spPr>
      </p:pic>
      <p:pic>
        <p:nvPicPr>
          <p:cNvPr id="64" name="Graphic 63" descr="Business Growth">
            <a:extLst>
              <a:ext uri="{FF2B5EF4-FFF2-40B4-BE49-F238E27FC236}">
                <a16:creationId xmlns:a16="http://schemas.microsoft.com/office/drawing/2014/main" id="{55D64434-D27D-AC40-8C7D-FF18E87B5F18}"/>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6709156" y="4299884"/>
            <a:ext cx="737554" cy="737554"/>
          </a:xfrm>
          <a:prstGeom prst="rect">
            <a:avLst/>
          </a:prstGeom>
        </p:spPr>
      </p:pic>
      <p:pic>
        <p:nvPicPr>
          <p:cNvPr id="68" name="Graphic 67" descr="Classroom">
            <a:extLst>
              <a:ext uri="{FF2B5EF4-FFF2-40B4-BE49-F238E27FC236}">
                <a16:creationId xmlns:a16="http://schemas.microsoft.com/office/drawing/2014/main" id="{BF56240F-A3BE-DB47-AB75-30641CF911DD}"/>
              </a:ext>
            </a:extLst>
          </p:cNvPr>
          <p:cNvPicPr>
            <a:picLocks noChangeAspect="1"/>
          </p:cNvPicPr>
          <p:nvPr/>
        </p:nvPicPr>
        <p:blipFill>
          <a:blip r:embed="rId11">
            <a:extLst>
              <a:ext uri="{96DAC541-7B7A-43D3-8B79-37D633B846F1}">
                <asvg:svgBlip xmlns:asvg="http://schemas.microsoft.com/office/drawing/2016/SVG/main" xmlns="" r:embed="rId12"/>
              </a:ext>
            </a:extLst>
          </a:blip>
          <a:stretch>
            <a:fillRect/>
          </a:stretch>
        </p:blipFill>
        <p:spPr>
          <a:xfrm>
            <a:off x="3932860" y="2999824"/>
            <a:ext cx="746044" cy="746044"/>
          </a:xfrm>
          <a:prstGeom prst="rect">
            <a:avLst/>
          </a:prstGeom>
        </p:spPr>
      </p:pic>
      <p:pic>
        <p:nvPicPr>
          <p:cNvPr id="75" name="Graphic 74" descr="Marketing">
            <a:extLst>
              <a:ext uri="{FF2B5EF4-FFF2-40B4-BE49-F238E27FC236}">
                <a16:creationId xmlns:a16="http://schemas.microsoft.com/office/drawing/2014/main" id="{8D4D1845-43F3-A342-801E-C809DE65D241}"/>
              </a:ext>
            </a:extLst>
          </p:cNvPr>
          <p:cNvPicPr>
            <a:picLocks noChangeAspect="1"/>
          </p:cNvPicPr>
          <p:nvPr/>
        </p:nvPicPr>
        <p:blipFill>
          <a:blip r:embed="rId13">
            <a:extLst>
              <a:ext uri="{96DAC541-7B7A-43D3-8B79-37D633B846F1}">
                <asvg:svgBlip xmlns:asvg="http://schemas.microsoft.com/office/drawing/2016/SVG/main" xmlns="" r:embed="rId14"/>
              </a:ext>
            </a:extLst>
          </a:blip>
          <a:stretch>
            <a:fillRect/>
          </a:stretch>
        </p:blipFill>
        <p:spPr>
          <a:xfrm>
            <a:off x="5635923" y="4862486"/>
            <a:ext cx="676431" cy="676431"/>
          </a:xfrm>
          <a:prstGeom prst="rect">
            <a:avLst/>
          </a:prstGeom>
        </p:spPr>
      </p:pic>
      <p:sp>
        <p:nvSpPr>
          <p:cNvPr id="96" name="Title 1">
            <a:extLst>
              <a:ext uri="{FF2B5EF4-FFF2-40B4-BE49-F238E27FC236}">
                <a16:creationId xmlns:a16="http://schemas.microsoft.com/office/drawing/2014/main" id="{329AE9FC-EBF0-E24A-9A83-3F46B45EB9D6}"/>
              </a:ext>
            </a:extLst>
          </p:cNvPr>
          <p:cNvSpPr>
            <a:spLocks noGrp="1"/>
          </p:cNvSpPr>
          <p:nvPr>
            <p:ph type="title"/>
          </p:nvPr>
        </p:nvSpPr>
        <p:spPr>
          <a:xfrm>
            <a:off x="106166" y="-187406"/>
            <a:ext cx="11979667" cy="1325563"/>
          </a:xfrm>
        </p:spPr>
        <p:txBody>
          <a:bodyPr>
            <a:normAutofit/>
          </a:bodyPr>
          <a:lstStyle/>
          <a:p>
            <a:r>
              <a:rPr lang="en-US" sz="2800" b="1" dirty="0" smtClean="0">
                <a:latin typeface="Arial" panose="020B0604020202020204" pitchFamily="34" charset="0"/>
                <a:ea typeface="Optimist" panose="020B0603020204030204" pitchFamily="34" charset="77"/>
                <a:cs typeface="Arial" panose="020B0604020202020204" pitchFamily="34" charset="0"/>
              </a:rPr>
              <a:t>Establish </a:t>
            </a:r>
            <a:r>
              <a:rPr lang="en-US" sz="2800" b="1" u="sng" dirty="0">
                <a:latin typeface="Arial" panose="020B0604020202020204" pitchFamily="34" charset="0"/>
                <a:ea typeface="Optimist" panose="020B0603020204030204" pitchFamily="34" charset="77"/>
                <a:cs typeface="Arial" panose="020B0604020202020204" pitchFamily="34" charset="0"/>
              </a:rPr>
              <a:t>C</a:t>
            </a:r>
            <a:r>
              <a:rPr lang="en-US" sz="2800" b="1" dirty="0">
                <a:latin typeface="Arial" panose="020B0604020202020204" pitchFamily="34" charset="0"/>
                <a:ea typeface="Optimist" panose="020B0603020204030204" pitchFamily="34" charset="77"/>
                <a:cs typeface="Arial" panose="020B0604020202020204" pitchFamily="34" charset="0"/>
              </a:rPr>
              <a:t>ross-Functional Teams</a:t>
            </a:r>
          </a:p>
        </p:txBody>
      </p:sp>
      <p:pic>
        <p:nvPicPr>
          <p:cNvPr id="98" name="Graphic 97" descr="Group">
            <a:extLst>
              <a:ext uri="{FF2B5EF4-FFF2-40B4-BE49-F238E27FC236}">
                <a16:creationId xmlns:a16="http://schemas.microsoft.com/office/drawing/2014/main" id="{8A7059D7-B129-1E41-9897-43233F1C639E}"/>
              </a:ext>
            </a:extLst>
          </p:cNvPr>
          <p:cNvPicPr>
            <a:picLocks noChangeAspect="1"/>
          </p:cNvPicPr>
          <p:nvPr/>
        </p:nvPicPr>
        <p:blipFill>
          <a:blip r:embed="rId15">
            <a:extLst>
              <a:ext uri="{96DAC541-7B7A-43D3-8B79-37D633B846F1}">
                <asvg:svgBlip xmlns:asvg="http://schemas.microsoft.com/office/drawing/2016/SVG/main" xmlns="" r:embed="rId16"/>
              </a:ext>
            </a:extLst>
          </a:blip>
          <a:stretch>
            <a:fillRect/>
          </a:stretch>
        </p:blipFill>
        <p:spPr>
          <a:xfrm>
            <a:off x="4534486" y="4480461"/>
            <a:ext cx="589001" cy="589001"/>
          </a:xfrm>
          <a:prstGeom prst="rect">
            <a:avLst/>
          </a:prstGeom>
        </p:spPr>
      </p:pic>
      <p:pic>
        <p:nvPicPr>
          <p:cNvPr id="100" name="Graphic 99" descr="Deciduous tree">
            <a:extLst>
              <a:ext uri="{FF2B5EF4-FFF2-40B4-BE49-F238E27FC236}">
                <a16:creationId xmlns:a16="http://schemas.microsoft.com/office/drawing/2014/main" id="{9819F59A-89A2-CD4D-BAEB-BF00779C9851}"/>
              </a:ext>
            </a:extLst>
          </p:cNvPr>
          <p:cNvPicPr>
            <a:picLocks noChangeAspect="1"/>
          </p:cNvPicPr>
          <p:nvPr/>
        </p:nvPicPr>
        <p:blipFill>
          <a:blip r:embed="rId17">
            <a:extLst>
              <a:ext uri="{96DAC541-7B7A-43D3-8B79-37D633B846F1}">
                <asvg:svgBlip xmlns:asvg="http://schemas.microsoft.com/office/drawing/2016/SVG/main" xmlns="" r:embed="rId18"/>
              </a:ext>
            </a:extLst>
          </a:blip>
          <a:stretch>
            <a:fillRect/>
          </a:stretch>
        </p:blipFill>
        <p:spPr>
          <a:xfrm>
            <a:off x="4453554" y="4179587"/>
            <a:ext cx="523213" cy="523213"/>
          </a:xfrm>
          <a:prstGeom prst="rect">
            <a:avLst/>
          </a:prstGeom>
        </p:spPr>
      </p:pic>
      <p:sp>
        <p:nvSpPr>
          <p:cNvPr id="44" name="Line Callout 2 (Accent Bar) 43">
            <a:extLst>
              <a:ext uri="{FF2B5EF4-FFF2-40B4-BE49-F238E27FC236}">
                <a16:creationId xmlns:a16="http://schemas.microsoft.com/office/drawing/2014/main" id="{41F370FD-BC91-574A-8043-9D94C10B0433}"/>
              </a:ext>
            </a:extLst>
          </p:cNvPr>
          <p:cNvSpPr/>
          <p:nvPr/>
        </p:nvSpPr>
        <p:spPr>
          <a:xfrm>
            <a:off x="8999836" y="2653676"/>
            <a:ext cx="2841298" cy="817625"/>
          </a:xfrm>
          <a:prstGeom prst="accentCallout2">
            <a:avLst>
              <a:gd name="adj1" fmla="val 23398"/>
              <a:gd name="adj2" fmla="val -8695"/>
              <a:gd name="adj3" fmla="val 25635"/>
              <a:gd name="adj4" fmla="val -19092"/>
              <a:gd name="adj5" fmla="val -20337"/>
              <a:gd name="adj6" fmla="val -47153"/>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E7E6E6">
                    <a:lumMod val="50000"/>
                  </a:srgbClr>
                </a:solidFill>
                <a:effectLst/>
                <a:uLnTx/>
                <a:uFillTx/>
                <a:latin typeface="Calibri" panose="020F0502020204030204"/>
                <a:ea typeface="+mn-ea"/>
                <a:cs typeface="+mn-cs"/>
              </a:rPr>
              <a:t>C</a:t>
            </a:r>
            <a:r>
              <a:rPr kumimoji="0" lang="en-US" sz="1400" b="1" i="0" u="sng" strike="noStrike" kern="1200" cap="none" spc="0" normalizeH="0" baseline="0" noProof="0" dirty="0">
                <a:ln>
                  <a:noFill/>
                </a:ln>
                <a:solidFill>
                  <a:srgbClr val="E7E6E6">
                    <a:lumMod val="50000"/>
                  </a:srgbClr>
                </a:solidFill>
                <a:effectLst/>
                <a:uLnTx/>
                <a:uFillTx/>
                <a:latin typeface="Calibri" panose="020F0502020204030204"/>
                <a:ea typeface="+mn-ea"/>
                <a:cs typeface="+mn-cs"/>
              </a:rPr>
              <a:t>ross</a:t>
            </a:r>
            <a:r>
              <a:rPr kumimoji="0" lang="en-US" sz="2000" b="1" i="0" u="sng" strike="noStrike" kern="1200" cap="none" spc="0" normalizeH="0" baseline="0" noProof="0" dirty="0">
                <a:ln>
                  <a:noFill/>
                </a:ln>
                <a:solidFill>
                  <a:srgbClr val="E7E6E6">
                    <a:lumMod val="50000"/>
                  </a:srgbClr>
                </a:solidFill>
                <a:effectLst/>
                <a:uLnTx/>
                <a:uFillTx/>
                <a:latin typeface="Calibri" panose="020F0502020204030204"/>
                <a:ea typeface="+mn-ea"/>
                <a:cs typeface="+mn-cs"/>
              </a:rPr>
              <a:t>-F</a:t>
            </a:r>
            <a:r>
              <a:rPr kumimoji="0" lang="en-US" sz="1400" b="1" i="0" u="sng" strike="noStrike" kern="1200" cap="none" spc="0" normalizeH="0" baseline="0" noProof="0" dirty="0">
                <a:ln>
                  <a:noFill/>
                </a:ln>
                <a:solidFill>
                  <a:srgbClr val="E7E6E6">
                    <a:lumMod val="50000"/>
                  </a:srgbClr>
                </a:solidFill>
                <a:effectLst/>
                <a:uLnTx/>
                <a:uFillTx/>
                <a:latin typeface="Calibri" panose="020F0502020204030204"/>
                <a:ea typeface="+mn-ea"/>
                <a:cs typeface="+mn-cs"/>
              </a:rPr>
              <a:t>unctional</a:t>
            </a:r>
            <a:r>
              <a:rPr kumimoji="0" lang="en-US" sz="2000" b="1" i="0" u="sng" strike="noStrike" kern="1200" cap="none" spc="0" normalizeH="0" baseline="0" noProof="0" dirty="0">
                <a:ln>
                  <a:noFill/>
                </a:ln>
                <a:solidFill>
                  <a:srgbClr val="E7E6E6">
                    <a:lumMod val="50000"/>
                  </a:srgbClr>
                </a:solidFill>
                <a:effectLst/>
                <a:uLnTx/>
                <a:uFillTx/>
                <a:latin typeface="Calibri" panose="020F0502020204030204"/>
                <a:ea typeface="+mn-ea"/>
                <a:cs typeface="+mn-cs"/>
              </a:rPr>
              <a:t> T</a:t>
            </a:r>
            <a:r>
              <a:rPr kumimoji="0" lang="en-US" sz="1400" b="1" i="0" u="sng" strike="noStrike" kern="1200" cap="none" spc="0" normalizeH="0" baseline="0" noProof="0" dirty="0">
                <a:ln>
                  <a:noFill/>
                </a:ln>
                <a:solidFill>
                  <a:srgbClr val="E7E6E6">
                    <a:lumMod val="50000"/>
                  </a:srgbClr>
                </a:solidFill>
                <a:effectLst/>
                <a:uLnTx/>
                <a:uFillTx/>
                <a:latin typeface="Calibri" panose="020F0502020204030204"/>
                <a:ea typeface="+mn-ea"/>
                <a:cs typeface="+mn-cs"/>
              </a:rPr>
              <a:t>ea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rPr>
              <a:t>Dev + </a:t>
            </a:r>
            <a:r>
              <a:rPr kumimoji="0" lang="en-US" sz="1400" b="0" i="0" u="none" strike="noStrike" kern="1200" cap="none" spc="0" normalizeH="0" baseline="0" noProof="0" dirty="0" smtClean="0">
                <a:ln>
                  <a:noFill/>
                </a:ln>
                <a:solidFill>
                  <a:srgbClr val="E7E6E6">
                    <a:lumMod val="50000"/>
                  </a:srgbClr>
                </a:solidFill>
                <a:effectLst/>
                <a:uLnTx/>
                <a:uFillTx/>
                <a:latin typeface="Calibri" panose="020F0502020204030204"/>
                <a:ea typeface="+mn-ea"/>
                <a:cs typeface="+mn-cs"/>
              </a:rPr>
              <a:t>Ops Functions</a:t>
            </a:r>
            <a:endParaRPr kumimoji="0" lang="en-US" sz="14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noFill/>
                </a:ln>
                <a:solidFill>
                  <a:srgbClr val="E7E6E6">
                    <a:lumMod val="50000"/>
                  </a:srgbClr>
                </a:solidFill>
                <a:effectLst/>
                <a:uLnTx/>
                <a:uFillTx/>
                <a:latin typeface="Calibri" panose="020F0502020204030204"/>
                <a:ea typeface="+mn-ea"/>
                <a:cs typeface="+mn-cs"/>
              </a:rPr>
              <a:t>T-Shaped,</a:t>
            </a:r>
            <a:r>
              <a:rPr kumimoji="0" lang="en-US" sz="1400" b="0" i="0" u="none" strike="noStrike" kern="1200" cap="none" spc="0" normalizeH="0" noProof="0" dirty="0" smtClean="0">
                <a:ln>
                  <a:noFill/>
                </a:ln>
                <a:solidFill>
                  <a:srgbClr val="E7E6E6">
                    <a:lumMod val="50000"/>
                  </a:srgbClr>
                </a:solidFill>
                <a:effectLst/>
                <a:uLnTx/>
                <a:uFillTx/>
                <a:latin typeface="Calibri" panose="020F0502020204030204"/>
                <a:ea typeface="+mn-ea"/>
                <a:cs typeface="+mn-cs"/>
              </a:rPr>
              <a:t> </a:t>
            </a:r>
            <a:r>
              <a:rPr lang="en-US" sz="1400" dirty="0" smtClean="0">
                <a:solidFill>
                  <a:srgbClr val="E7E6E6">
                    <a:lumMod val="50000"/>
                  </a:srgbClr>
                </a:solidFill>
                <a:latin typeface="Calibri" panose="020F0502020204030204"/>
              </a:rPr>
              <a:t>Multi-discipline</a:t>
            </a:r>
            <a:endParaRPr kumimoji="0" lang="en-US" sz="14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rPr>
              <a:t>“You Build It You Own It</a:t>
            </a:r>
            <a:r>
              <a:rPr kumimoji="0" lang="en-US" sz="1400" b="0" i="0" u="none" strike="noStrike" kern="1200" cap="none" spc="0" normalizeH="0" baseline="0" noProof="0" dirty="0" smtClean="0">
                <a:ln>
                  <a:noFill/>
                </a:ln>
                <a:solidFill>
                  <a:srgbClr val="E7E6E6">
                    <a:lumMod val="50000"/>
                  </a:srgbClr>
                </a:solidFill>
                <a:effectLst/>
                <a:uLnTx/>
                <a:uFillTx/>
                <a:latin typeface="Calibri" panose="020F0502020204030204"/>
                <a:ea typeface="+mn-ea"/>
                <a:cs typeface="+mn-cs"/>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smtClean="0">
                <a:solidFill>
                  <a:srgbClr val="E7E6E6">
                    <a:lumMod val="50000"/>
                  </a:srgbClr>
                </a:solidFill>
                <a:latin typeface="Calibri" panose="020F0502020204030204"/>
              </a:rPr>
              <a:t>Agile practices</a:t>
            </a:r>
            <a:endParaRPr kumimoji="0" lang="en-US" sz="14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endParaRPr>
          </a:p>
        </p:txBody>
      </p:sp>
      <p:pic>
        <p:nvPicPr>
          <p:cNvPr id="46" name="Graphic 45" descr="Drawing compass">
            <a:extLst>
              <a:ext uri="{FF2B5EF4-FFF2-40B4-BE49-F238E27FC236}">
                <a16:creationId xmlns:a16="http://schemas.microsoft.com/office/drawing/2014/main" id="{6055AD77-A1A0-DB4F-9814-E9621830733C}"/>
              </a:ext>
            </a:extLst>
          </p:cNvPr>
          <p:cNvPicPr>
            <a:picLocks noChangeAspect="1"/>
          </p:cNvPicPr>
          <p:nvPr/>
        </p:nvPicPr>
        <p:blipFill>
          <a:blip r:embed="rId19">
            <a:extLst>
              <a:ext uri="{96DAC541-7B7A-43D3-8B79-37D633B846F1}">
                <asvg:svgBlip xmlns:asvg="http://schemas.microsoft.com/office/drawing/2016/SVG/main" xmlns="" r:embed="rId20"/>
              </a:ext>
            </a:extLst>
          </a:blip>
          <a:stretch>
            <a:fillRect/>
          </a:stretch>
        </p:blipFill>
        <p:spPr>
          <a:xfrm>
            <a:off x="5552939" y="1187234"/>
            <a:ext cx="737259" cy="737259"/>
          </a:xfrm>
          <a:prstGeom prst="rect">
            <a:avLst/>
          </a:prstGeom>
        </p:spPr>
      </p:pic>
      <p:grpSp>
        <p:nvGrpSpPr>
          <p:cNvPr id="36" name="Group 35">
            <a:extLst>
              <a:ext uri="{FF2B5EF4-FFF2-40B4-BE49-F238E27FC236}">
                <a16:creationId xmlns:a16="http://schemas.microsoft.com/office/drawing/2014/main" id="{FEFE145E-116E-024B-BFE4-7387B351B02B}"/>
              </a:ext>
            </a:extLst>
          </p:cNvPr>
          <p:cNvGrpSpPr/>
          <p:nvPr/>
        </p:nvGrpSpPr>
        <p:grpSpPr>
          <a:xfrm>
            <a:off x="5024743" y="2253241"/>
            <a:ext cx="1848115" cy="2243377"/>
            <a:chOff x="5181053" y="2387398"/>
            <a:chExt cx="1905053" cy="2392369"/>
          </a:xfrm>
          <a:solidFill>
            <a:schemeClr val="tx2">
              <a:lumMod val="60000"/>
              <a:lumOff val="40000"/>
            </a:schemeClr>
          </a:solidFill>
        </p:grpSpPr>
        <p:sp>
          <p:nvSpPr>
            <p:cNvPr id="37" name="Trapezoid 36">
              <a:extLst>
                <a:ext uri="{FF2B5EF4-FFF2-40B4-BE49-F238E27FC236}">
                  <a16:creationId xmlns:a16="http://schemas.microsoft.com/office/drawing/2014/main" id="{9089DC7D-01DF-6D4B-8B24-7DD495004B9D}"/>
                </a:ext>
              </a:extLst>
            </p:cNvPr>
            <p:cNvSpPr/>
            <p:nvPr/>
          </p:nvSpPr>
          <p:spPr>
            <a:xfrm>
              <a:off x="5181053" y="2387398"/>
              <a:ext cx="1905052" cy="1199287"/>
            </a:xfrm>
            <a:prstGeom prst="trapezoid">
              <a:avLst>
                <a:gd name="adj" fmla="val 5068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timist" panose="020B0603020204030204" pitchFamily="34" charset="77"/>
                <a:ea typeface="Optimist" panose="020B0603020204030204" pitchFamily="34" charset="77"/>
                <a:cs typeface="Optimist" panose="020B0603020204030204" pitchFamily="34" charset="77"/>
              </a:endParaRPr>
            </a:p>
          </p:txBody>
        </p:sp>
        <p:sp>
          <p:nvSpPr>
            <p:cNvPr id="38" name="Trapezoid 37">
              <a:extLst>
                <a:ext uri="{FF2B5EF4-FFF2-40B4-BE49-F238E27FC236}">
                  <a16:creationId xmlns:a16="http://schemas.microsoft.com/office/drawing/2014/main" id="{F0990FBB-1CEE-9F47-831C-62D2ED8DA28E}"/>
                </a:ext>
              </a:extLst>
            </p:cNvPr>
            <p:cNvSpPr/>
            <p:nvPr/>
          </p:nvSpPr>
          <p:spPr>
            <a:xfrm rot="10800000">
              <a:off x="5181054" y="3580480"/>
              <a:ext cx="1905052" cy="1199287"/>
            </a:xfrm>
            <a:prstGeom prst="trapezoid">
              <a:avLst>
                <a:gd name="adj" fmla="val 5068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timist" panose="020B0603020204030204" pitchFamily="34" charset="77"/>
                <a:ea typeface="Optimist" panose="020B0603020204030204" pitchFamily="34" charset="77"/>
                <a:cs typeface="Optimist" panose="020B0603020204030204" pitchFamily="34" charset="77"/>
              </a:endParaRPr>
            </a:p>
          </p:txBody>
        </p:sp>
      </p:grpSp>
      <p:pic>
        <p:nvPicPr>
          <p:cNvPr id="2" name="Audio 1">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21"/>
          <a:stretch>
            <a:fillRect/>
          </a:stretch>
        </p:blipFill>
        <p:spPr>
          <a:xfrm>
            <a:off x="11552238" y="6218238"/>
            <a:ext cx="487362" cy="487362"/>
          </a:xfrm>
          <a:prstGeom prst="rect">
            <a:avLst/>
          </a:prstGeom>
        </p:spPr>
      </p:pic>
      <p:sp>
        <p:nvSpPr>
          <p:cNvPr id="3" name="Rectangle 2"/>
          <p:cNvSpPr/>
          <p:nvPr/>
        </p:nvSpPr>
        <p:spPr>
          <a:xfrm>
            <a:off x="8856921" y="4288297"/>
            <a:ext cx="2695317" cy="18459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Changing the team structure and potentially the reporting structure is largest source of fear in a DevOps adoption</a:t>
            </a:r>
            <a:endParaRPr lang="en-US" dirty="0">
              <a:solidFill>
                <a:schemeClr val="tx1"/>
              </a:solidFill>
            </a:endParaRPr>
          </a:p>
        </p:txBody>
      </p:sp>
    </p:spTree>
    <p:extLst>
      <p:ext uri="{BB962C8B-B14F-4D97-AF65-F5344CB8AC3E}">
        <p14:creationId xmlns:p14="http://schemas.microsoft.com/office/powerpoint/2010/main" val="3750817809"/>
      </p:ext>
    </p:extLst>
  </p:cSld>
  <p:clrMapOvr>
    <a:masterClrMapping/>
  </p:clrMapOvr>
  <mc:AlternateContent xmlns:mc="http://schemas.openxmlformats.org/markup-compatibility/2006" xmlns:p14="http://schemas.microsoft.com/office/powerpoint/2010/main">
    <mc:Choice Requires="p14">
      <p:transition spd="slow" p14:dur="2000" advTm="255"/>
    </mc:Choice>
    <mc:Fallback xmlns="">
      <p:transition spd="slow" advTm="25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C63C8F31-85BB-3446-8845-A8E582F67F69}"/>
              </a:ext>
            </a:extLst>
          </p:cNvPr>
          <p:cNvGrpSpPr/>
          <p:nvPr/>
        </p:nvGrpSpPr>
        <p:grpSpPr>
          <a:xfrm>
            <a:off x="6403146" y="4412671"/>
            <a:ext cx="1327759" cy="1139869"/>
            <a:chOff x="5070789" y="1939282"/>
            <a:chExt cx="1327759" cy="1139869"/>
          </a:xfrm>
        </p:grpSpPr>
        <p:sp>
          <p:nvSpPr>
            <p:cNvPr id="16" name="Hexagon 15">
              <a:extLst>
                <a:ext uri="{FF2B5EF4-FFF2-40B4-BE49-F238E27FC236}">
                  <a16:creationId xmlns:a16="http://schemas.microsoft.com/office/drawing/2014/main" id="{2AFF78F1-47D2-1745-8795-EF255C8EA5A1}"/>
                </a:ext>
              </a:extLst>
            </p:cNvPr>
            <p:cNvSpPr/>
            <p:nvPr/>
          </p:nvSpPr>
          <p:spPr>
            <a:xfrm>
              <a:off x="5070789" y="1939282"/>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Oval 16">
              <a:extLst>
                <a:ext uri="{FF2B5EF4-FFF2-40B4-BE49-F238E27FC236}">
                  <a16:creationId xmlns:a16="http://schemas.microsoft.com/office/drawing/2014/main" id="{CDC8B414-8CF1-F046-A3F5-CBB83DAFDEE0}"/>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1" name="Group 10">
            <a:extLst>
              <a:ext uri="{FF2B5EF4-FFF2-40B4-BE49-F238E27FC236}">
                <a16:creationId xmlns:a16="http://schemas.microsoft.com/office/drawing/2014/main" id="{4621E9BC-85CC-B845-B9AC-A5381FA702EB}"/>
              </a:ext>
            </a:extLst>
          </p:cNvPr>
          <p:cNvGrpSpPr/>
          <p:nvPr/>
        </p:nvGrpSpPr>
        <p:grpSpPr>
          <a:xfrm>
            <a:off x="4223203" y="1972055"/>
            <a:ext cx="1327759" cy="1139869"/>
            <a:chOff x="5060515" y="1929008"/>
            <a:chExt cx="1327759" cy="1139869"/>
          </a:xfrm>
        </p:grpSpPr>
        <p:sp>
          <p:nvSpPr>
            <p:cNvPr id="9" name="Hexagon 8">
              <a:extLst>
                <a:ext uri="{FF2B5EF4-FFF2-40B4-BE49-F238E27FC236}">
                  <a16:creationId xmlns:a16="http://schemas.microsoft.com/office/drawing/2014/main" id="{54D738F2-39C0-3B48-B7C8-EBAC492968BA}"/>
                </a:ext>
              </a:extLst>
            </p:cNvPr>
            <p:cNvSpPr/>
            <p:nvPr/>
          </p:nvSpPr>
          <p:spPr>
            <a:xfrm>
              <a:off x="5060515" y="1929008"/>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Oval 9">
              <a:extLst>
                <a:ext uri="{FF2B5EF4-FFF2-40B4-BE49-F238E27FC236}">
                  <a16:creationId xmlns:a16="http://schemas.microsoft.com/office/drawing/2014/main" id="{86F49C9F-78E8-1D4C-8236-A50B12136739}"/>
                </a:ext>
              </a:extLst>
            </p:cNvPr>
            <p:cNvSpPr/>
            <p:nvPr/>
          </p:nvSpPr>
          <p:spPr>
            <a:xfrm>
              <a:off x="5262582" y="2010475"/>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8" name="Group 17">
            <a:extLst>
              <a:ext uri="{FF2B5EF4-FFF2-40B4-BE49-F238E27FC236}">
                <a16:creationId xmlns:a16="http://schemas.microsoft.com/office/drawing/2014/main" id="{26D3A469-AE19-1C47-851C-D17BEE7FAE43}"/>
              </a:ext>
            </a:extLst>
          </p:cNvPr>
          <p:cNvGrpSpPr/>
          <p:nvPr/>
        </p:nvGrpSpPr>
        <p:grpSpPr>
          <a:xfrm>
            <a:off x="5303500" y="5007657"/>
            <a:ext cx="1327759" cy="1139869"/>
            <a:chOff x="5060515" y="1939282"/>
            <a:chExt cx="1327759" cy="1139869"/>
          </a:xfrm>
        </p:grpSpPr>
        <p:sp>
          <p:nvSpPr>
            <p:cNvPr id="19" name="Hexagon 18">
              <a:extLst>
                <a:ext uri="{FF2B5EF4-FFF2-40B4-BE49-F238E27FC236}">
                  <a16:creationId xmlns:a16="http://schemas.microsoft.com/office/drawing/2014/main" id="{9B687A28-7D32-FE4B-9FEB-8481249DC8EC}"/>
                </a:ext>
              </a:extLst>
            </p:cNvPr>
            <p:cNvSpPr/>
            <p:nvPr/>
          </p:nvSpPr>
          <p:spPr>
            <a:xfrm>
              <a:off x="5060515" y="1939282"/>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Oval 19">
              <a:extLst>
                <a:ext uri="{FF2B5EF4-FFF2-40B4-BE49-F238E27FC236}">
                  <a16:creationId xmlns:a16="http://schemas.microsoft.com/office/drawing/2014/main" id="{B118CCAE-D1BC-0F4F-9387-22DDE9ECCC0D}"/>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1" name="Group 20">
            <a:extLst>
              <a:ext uri="{FF2B5EF4-FFF2-40B4-BE49-F238E27FC236}">
                <a16:creationId xmlns:a16="http://schemas.microsoft.com/office/drawing/2014/main" id="{86E49845-A2DA-9D49-8F9F-44A0F7359921}"/>
              </a:ext>
            </a:extLst>
          </p:cNvPr>
          <p:cNvGrpSpPr/>
          <p:nvPr/>
        </p:nvGrpSpPr>
        <p:grpSpPr>
          <a:xfrm>
            <a:off x="6428748" y="1966268"/>
            <a:ext cx="1327759" cy="1139869"/>
            <a:chOff x="5010366" y="1927787"/>
            <a:chExt cx="1327759" cy="1139869"/>
          </a:xfrm>
        </p:grpSpPr>
        <p:sp>
          <p:nvSpPr>
            <p:cNvPr id="22" name="Hexagon 21">
              <a:extLst>
                <a:ext uri="{FF2B5EF4-FFF2-40B4-BE49-F238E27FC236}">
                  <a16:creationId xmlns:a16="http://schemas.microsoft.com/office/drawing/2014/main" id="{195A3C94-A09A-9A43-A33D-EAF640E19FD8}"/>
                </a:ext>
              </a:extLst>
            </p:cNvPr>
            <p:cNvSpPr/>
            <p:nvPr/>
          </p:nvSpPr>
          <p:spPr>
            <a:xfrm>
              <a:off x="5010366" y="1927787"/>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 name="Oval 22">
              <a:extLst>
                <a:ext uri="{FF2B5EF4-FFF2-40B4-BE49-F238E27FC236}">
                  <a16:creationId xmlns:a16="http://schemas.microsoft.com/office/drawing/2014/main" id="{5AFFF815-69A3-F247-B5B7-EA3FFB6E2BB6}"/>
                </a:ext>
              </a:extLst>
            </p:cNvPr>
            <p:cNvSpPr/>
            <p:nvPr/>
          </p:nvSpPr>
          <p:spPr>
            <a:xfrm>
              <a:off x="5232362" y="2006415"/>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4" name="Group 23">
            <a:extLst>
              <a:ext uri="{FF2B5EF4-FFF2-40B4-BE49-F238E27FC236}">
                <a16:creationId xmlns:a16="http://schemas.microsoft.com/office/drawing/2014/main" id="{487AC486-5D27-AC43-82F2-C222EBCCC885}"/>
              </a:ext>
            </a:extLst>
          </p:cNvPr>
          <p:cNvGrpSpPr/>
          <p:nvPr/>
        </p:nvGrpSpPr>
        <p:grpSpPr>
          <a:xfrm>
            <a:off x="5326681" y="1362807"/>
            <a:ext cx="1327759" cy="1139869"/>
            <a:chOff x="5060515" y="1929008"/>
            <a:chExt cx="1327759" cy="1139869"/>
          </a:xfrm>
        </p:grpSpPr>
        <p:sp>
          <p:nvSpPr>
            <p:cNvPr id="25" name="Hexagon 24">
              <a:extLst>
                <a:ext uri="{FF2B5EF4-FFF2-40B4-BE49-F238E27FC236}">
                  <a16:creationId xmlns:a16="http://schemas.microsoft.com/office/drawing/2014/main" id="{1EC9AD10-8440-E94E-9B1A-51420D3844D0}"/>
                </a:ext>
              </a:extLst>
            </p:cNvPr>
            <p:cNvSpPr/>
            <p:nvPr/>
          </p:nvSpPr>
          <p:spPr>
            <a:xfrm>
              <a:off x="5060515" y="1929008"/>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Oval 25">
              <a:extLst>
                <a:ext uri="{FF2B5EF4-FFF2-40B4-BE49-F238E27FC236}">
                  <a16:creationId xmlns:a16="http://schemas.microsoft.com/office/drawing/2014/main" id="{E377C240-47AF-3048-886D-C98E62035EE2}"/>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8" name="Group 27">
            <a:extLst>
              <a:ext uri="{FF2B5EF4-FFF2-40B4-BE49-F238E27FC236}">
                <a16:creationId xmlns:a16="http://schemas.microsoft.com/office/drawing/2014/main" id="{B9050A09-0B2C-054B-BA71-73B459FDD087}"/>
              </a:ext>
            </a:extLst>
          </p:cNvPr>
          <p:cNvGrpSpPr/>
          <p:nvPr/>
        </p:nvGrpSpPr>
        <p:grpSpPr>
          <a:xfrm>
            <a:off x="3698477" y="3179022"/>
            <a:ext cx="1327759" cy="1139869"/>
            <a:chOff x="5060515" y="1929008"/>
            <a:chExt cx="1327759" cy="1139869"/>
          </a:xfrm>
        </p:grpSpPr>
        <p:sp>
          <p:nvSpPr>
            <p:cNvPr id="29" name="Hexagon 28">
              <a:extLst>
                <a:ext uri="{FF2B5EF4-FFF2-40B4-BE49-F238E27FC236}">
                  <a16:creationId xmlns:a16="http://schemas.microsoft.com/office/drawing/2014/main" id="{B4066B57-4C2B-2E4E-9388-2977853856D2}"/>
                </a:ext>
              </a:extLst>
            </p:cNvPr>
            <p:cNvSpPr/>
            <p:nvPr/>
          </p:nvSpPr>
          <p:spPr>
            <a:xfrm>
              <a:off x="5060515" y="1929008"/>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 name="Oval 29">
              <a:extLst>
                <a:ext uri="{FF2B5EF4-FFF2-40B4-BE49-F238E27FC236}">
                  <a16:creationId xmlns:a16="http://schemas.microsoft.com/office/drawing/2014/main" id="{DB6D6C69-3214-A446-B585-B62CF8DA7BDC}"/>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1" name="Group 30">
            <a:extLst>
              <a:ext uri="{FF2B5EF4-FFF2-40B4-BE49-F238E27FC236}">
                <a16:creationId xmlns:a16="http://schemas.microsoft.com/office/drawing/2014/main" id="{49875E6E-9082-2041-A25D-372D568E6156}"/>
              </a:ext>
            </a:extLst>
          </p:cNvPr>
          <p:cNvGrpSpPr/>
          <p:nvPr/>
        </p:nvGrpSpPr>
        <p:grpSpPr>
          <a:xfrm>
            <a:off x="4211865" y="4391092"/>
            <a:ext cx="1327759" cy="1139869"/>
            <a:chOff x="5060515" y="1929008"/>
            <a:chExt cx="1327759" cy="1139869"/>
          </a:xfrm>
        </p:grpSpPr>
        <p:sp>
          <p:nvSpPr>
            <p:cNvPr id="32" name="Hexagon 31">
              <a:extLst>
                <a:ext uri="{FF2B5EF4-FFF2-40B4-BE49-F238E27FC236}">
                  <a16:creationId xmlns:a16="http://schemas.microsoft.com/office/drawing/2014/main" id="{716FA66D-35FF-6244-8C11-7BE53FA919B5}"/>
                </a:ext>
              </a:extLst>
            </p:cNvPr>
            <p:cNvSpPr/>
            <p:nvPr/>
          </p:nvSpPr>
          <p:spPr>
            <a:xfrm>
              <a:off x="5060515" y="1929008"/>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Oval 32">
              <a:extLst>
                <a:ext uri="{FF2B5EF4-FFF2-40B4-BE49-F238E27FC236}">
                  <a16:creationId xmlns:a16="http://schemas.microsoft.com/office/drawing/2014/main" id="{76DFA617-DCA3-6248-B13B-7E32E5A9E82E}"/>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pic>
        <p:nvPicPr>
          <p:cNvPr id="40"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6747886" y="2119380"/>
            <a:ext cx="746044" cy="746044"/>
          </a:xfrm>
          <a:prstGeom prst="rect">
            <a:avLst/>
          </a:prstGeom>
        </p:spPr>
      </p:pic>
      <p:pic>
        <p:nvPicPr>
          <p:cNvPr id="58" name="Graphic 57" descr="Infinity">
            <a:extLst>
              <a:ext uri="{FF2B5EF4-FFF2-40B4-BE49-F238E27FC236}">
                <a16:creationId xmlns:a16="http://schemas.microsoft.com/office/drawing/2014/main" id="{C354EB3E-86C1-4146-B3E4-48A9530BAD6D}"/>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4465333" y="2134846"/>
            <a:ext cx="802660" cy="802660"/>
          </a:xfrm>
          <a:prstGeom prst="rect">
            <a:avLst/>
          </a:prstGeom>
        </p:spPr>
      </p:pic>
      <p:pic>
        <p:nvPicPr>
          <p:cNvPr id="64" name="Graphic 63" descr="Business Growth">
            <a:extLst>
              <a:ext uri="{FF2B5EF4-FFF2-40B4-BE49-F238E27FC236}">
                <a16:creationId xmlns:a16="http://schemas.microsoft.com/office/drawing/2014/main" id="{55D64434-D27D-AC40-8C7D-FF18E87B5F18}"/>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6765630" y="4676761"/>
            <a:ext cx="737554" cy="737554"/>
          </a:xfrm>
          <a:prstGeom prst="rect">
            <a:avLst/>
          </a:prstGeom>
        </p:spPr>
      </p:pic>
      <p:pic>
        <p:nvPicPr>
          <p:cNvPr id="68" name="Graphic 67" descr="Classroom">
            <a:extLst>
              <a:ext uri="{FF2B5EF4-FFF2-40B4-BE49-F238E27FC236}">
                <a16:creationId xmlns:a16="http://schemas.microsoft.com/office/drawing/2014/main" id="{BF56240F-A3BE-DB47-AB75-30641CF911DD}"/>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3989334" y="3376701"/>
            <a:ext cx="746044" cy="746044"/>
          </a:xfrm>
          <a:prstGeom prst="rect">
            <a:avLst/>
          </a:prstGeom>
        </p:spPr>
      </p:pic>
      <p:pic>
        <p:nvPicPr>
          <p:cNvPr id="75" name="Graphic 74" descr="Marketing">
            <a:extLst>
              <a:ext uri="{FF2B5EF4-FFF2-40B4-BE49-F238E27FC236}">
                <a16:creationId xmlns:a16="http://schemas.microsoft.com/office/drawing/2014/main" id="{8D4D1845-43F3-A342-801E-C809DE65D241}"/>
              </a:ext>
            </a:extLst>
          </p:cNvPr>
          <p:cNvPicPr>
            <a:picLocks noChangeAspect="1"/>
          </p:cNvPicPr>
          <p:nvPr/>
        </p:nvPicPr>
        <p:blipFill>
          <a:blip r:embed="rId11">
            <a:extLst>
              <a:ext uri="{96DAC541-7B7A-43D3-8B79-37D633B846F1}">
                <asvg:svgBlip xmlns:asvg="http://schemas.microsoft.com/office/drawing/2016/SVG/main" xmlns="" r:embed="rId12"/>
              </a:ext>
            </a:extLst>
          </a:blip>
          <a:stretch>
            <a:fillRect/>
          </a:stretch>
        </p:blipFill>
        <p:spPr>
          <a:xfrm>
            <a:off x="5692397" y="5239363"/>
            <a:ext cx="676431" cy="676431"/>
          </a:xfrm>
          <a:prstGeom prst="rect">
            <a:avLst/>
          </a:prstGeom>
        </p:spPr>
      </p:pic>
      <p:pic>
        <p:nvPicPr>
          <p:cNvPr id="98" name="Graphic 97" descr="Group">
            <a:extLst>
              <a:ext uri="{FF2B5EF4-FFF2-40B4-BE49-F238E27FC236}">
                <a16:creationId xmlns:a16="http://schemas.microsoft.com/office/drawing/2014/main" id="{8A7059D7-B129-1E41-9897-43233F1C639E}"/>
              </a:ext>
            </a:extLst>
          </p:cNvPr>
          <p:cNvPicPr>
            <a:picLocks noChangeAspect="1"/>
          </p:cNvPicPr>
          <p:nvPr/>
        </p:nvPicPr>
        <p:blipFill>
          <a:blip r:embed="rId13">
            <a:extLst>
              <a:ext uri="{96DAC541-7B7A-43D3-8B79-37D633B846F1}">
                <asvg:svgBlip xmlns:asvg="http://schemas.microsoft.com/office/drawing/2016/SVG/main" xmlns="" r:embed="rId14"/>
              </a:ext>
            </a:extLst>
          </a:blip>
          <a:stretch>
            <a:fillRect/>
          </a:stretch>
        </p:blipFill>
        <p:spPr>
          <a:xfrm>
            <a:off x="4590960" y="4857338"/>
            <a:ext cx="589001" cy="589001"/>
          </a:xfrm>
          <a:prstGeom prst="rect">
            <a:avLst/>
          </a:prstGeom>
        </p:spPr>
      </p:pic>
      <p:pic>
        <p:nvPicPr>
          <p:cNvPr id="100" name="Graphic 99" descr="Deciduous tree">
            <a:extLst>
              <a:ext uri="{FF2B5EF4-FFF2-40B4-BE49-F238E27FC236}">
                <a16:creationId xmlns:a16="http://schemas.microsoft.com/office/drawing/2014/main" id="{9819F59A-89A2-CD4D-BAEB-BF00779C9851}"/>
              </a:ext>
            </a:extLst>
          </p:cNvPr>
          <p:cNvPicPr>
            <a:picLocks noChangeAspect="1"/>
          </p:cNvPicPr>
          <p:nvPr/>
        </p:nvPicPr>
        <p:blipFill>
          <a:blip r:embed="rId15">
            <a:extLst>
              <a:ext uri="{96DAC541-7B7A-43D3-8B79-37D633B846F1}">
                <asvg:svgBlip xmlns:asvg="http://schemas.microsoft.com/office/drawing/2016/SVG/main" xmlns="" r:embed="rId16"/>
              </a:ext>
            </a:extLst>
          </a:blip>
          <a:stretch>
            <a:fillRect/>
          </a:stretch>
        </p:blipFill>
        <p:spPr>
          <a:xfrm>
            <a:off x="4510028" y="4556464"/>
            <a:ext cx="523213" cy="523213"/>
          </a:xfrm>
          <a:prstGeom prst="rect">
            <a:avLst/>
          </a:prstGeom>
        </p:spPr>
      </p:pic>
      <p:sp>
        <p:nvSpPr>
          <p:cNvPr id="44" name="Line Callout 2 (Accent Bar) 43">
            <a:extLst>
              <a:ext uri="{FF2B5EF4-FFF2-40B4-BE49-F238E27FC236}">
                <a16:creationId xmlns:a16="http://schemas.microsoft.com/office/drawing/2014/main" id="{41F370FD-BC91-574A-8043-9D94C10B0433}"/>
              </a:ext>
            </a:extLst>
          </p:cNvPr>
          <p:cNvSpPr/>
          <p:nvPr/>
        </p:nvSpPr>
        <p:spPr>
          <a:xfrm>
            <a:off x="8999836" y="3116411"/>
            <a:ext cx="2841298" cy="817625"/>
          </a:xfrm>
          <a:prstGeom prst="accentCallout2">
            <a:avLst>
              <a:gd name="adj1" fmla="val 23398"/>
              <a:gd name="adj2" fmla="val -8695"/>
              <a:gd name="adj3" fmla="val 25635"/>
              <a:gd name="adj4" fmla="val -19092"/>
              <a:gd name="adj5" fmla="val -20337"/>
              <a:gd name="adj6" fmla="val -47153"/>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C</a:t>
            </a:r>
            <a:r>
              <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ross</a:t>
            </a:r>
            <a:r>
              <a:rPr kumimoji="0" lang="en-US" sz="20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F</a:t>
            </a:r>
            <a:r>
              <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unctional</a:t>
            </a:r>
            <a:r>
              <a:rPr kumimoji="0" lang="en-US" sz="20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 T</a:t>
            </a:r>
            <a:r>
              <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ea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Dev + </a:t>
            </a:r>
            <a:r>
              <a:rPr kumimoji="0" lang="en-US" sz="1400" b="0" i="0" u="none" strike="noStrike" kern="1200" cap="none" spc="0" normalizeH="0" baseline="0" noProof="0" dirty="0" smtClean="0">
                <a:ln>
                  <a:noFill/>
                </a:ln>
                <a:solidFill>
                  <a:srgbClr val="E7E6E6">
                    <a:lumMod val="90000"/>
                  </a:srgbClr>
                </a:solidFill>
                <a:effectLst/>
                <a:uLnTx/>
                <a:uFillTx/>
                <a:latin typeface="Calibri" panose="020F0502020204030204"/>
                <a:ea typeface="+mn-ea"/>
                <a:cs typeface="+mn-cs"/>
              </a:rPr>
              <a:t>Ops Functions</a:t>
            </a:r>
            <a:endPar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Full Stack Tea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You Build It You Own 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Agile Practices</a:t>
            </a:r>
          </a:p>
        </p:txBody>
      </p:sp>
      <p:sp>
        <p:nvSpPr>
          <p:cNvPr id="45" name="Line Callout 2 (Accent Bar) 44">
            <a:extLst>
              <a:ext uri="{FF2B5EF4-FFF2-40B4-BE49-F238E27FC236}">
                <a16:creationId xmlns:a16="http://schemas.microsoft.com/office/drawing/2014/main" id="{994D3DE4-11BC-704C-A9CB-AAC96F2C6D09}"/>
              </a:ext>
            </a:extLst>
          </p:cNvPr>
          <p:cNvSpPr/>
          <p:nvPr/>
        </p:nvSpPr>
        <p:spPr>
          <a:xfrm>
            <a:off x="8260668" y="1245441"/>
            <a:ext cx="3711591" cy="817625"/>
          </a:xfrm>
          <a:prstGeom prst="accentCallout2">
            <a:avLst>
              <a:gd name="adj1" fmla="val 43262"/>
              <a:gd name="adj2" fmla="val -6543"/>
              <a:gd name="adj3" fmla="val 38511"/>
              <a:gd name="adj4" fmla="val -26061"/>
              <a:gd name="adj5" fmla="val 54491"/>
              <a:gd name="adj6" fmla="val -47782"/>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smtClean="0">
                <a:ln>
                  <a:noFill/>
                </a:ln>
                <a:solidFill>
                  <a:srgbClr val="E7E6E6">
                    <a:lumMod val="50000"/>
                  </a:srgbClr>
                </a:solidFill>
                <a:effectLst/>
                <a:uLnTx/>
                <a:uFillTx/>
                <a:latin typeface="Calibri" panose="020F0502020204030204"/>
                <a:ea typeface="+mn-ea"/>
                <a:cs typeface="+mn-cs"/>
              </a:rPr>
              <a:t>Construction</a:t>
            </a:r>
            <a:endParaRPr kumimoji="0" lang="en-US" sz="1400" b="1" i="0" u="sng" strike="noStrike" kern="1200" cap="none" spc="0" normalizeH="0" baseline="0" noProof="0" dirty="0">
              <a:ln>
                <a:noFill/>
              </a:ln>
              <a:solidFill>
                <a:srgbClr val="E7E6E6">
                  <a:lumMod val="50000"/>
                </a:srgbClr>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rPr>
              <a:t>Coupling (loose) - Microserv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rPr>
              <a:t>Everything is co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rPr>
              <a:t>CI/CD </a:t>
            </a:r>
            <a:r>
              <a:rPr kumimoji="0" lang="en-US" sz="1400" b="0" i="0" u="none" strike="noStrike" kern="1200" cap="none" spc="0" normalizeH="0" baseline="0" noProof="0" dirty="0" smtClean="0">
                <a:ln>
                  <a:noFill/>
                </a:ln>
                <a:solidFill>
                  <a:srgbClr val="E7E6E6">
                    <a:lumMod val="50000"/>
                  </a:srgbClr>
                </a:solidFill>
                <a:effectLst/>
                <a:uLnTx/>
                <a:uFillTx/>
                <a:latin typeface="Calibri" panose="020F0502020204030204"/>
                <a:ea typeface="+mn-ea"/>
                <a:cs typeface="+mn-cs"/>
              </a:rPr>
              <a:t>Pipeline Automation</a:t>
            </a:r>
            <a:endParaRPr kumimoji="0" lang="en-US" sz="14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rPr>
              <a:t>Cloud, Containers, Configuration Automation (Orchestr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rPr>
              <a:t>Cyber and Compliance Obsess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rPr>
              <a:t>Chaos Tes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rPr>
              <a:t>Inner-sourced, </a:t>
            </a:r>
            <a:r>
              <a:rPr kumimoji="0" lang="en-US" sz="1400" b="0" i="0" u="none" strike="noStrike" kern="1200" cap="none" spc="0" normalizeH="0" baseline="0" noProof="0" dirty="0" smtClean="0">
                <a:ln>
                  <a:noFill/>
                </a:ln>
                <a:solidFill>
                  <a:srgbClr val="E7E6E6">
                    <a:lumMod val="50000"/>
                  </a:srgbClr>
                </a:solidFill>
                <a:effectLst/>
                <a:uLnTx/>
                <a:uFillTx/>
                <a:latin typeface="Calibri" panose="020F0502020204030204"/>
                <a:ea typeface="+mn-ea"/>
                <a:cs typeface="+mn-cs"/>
              </a:rPr>
              <a:t>self-service, “X-as-a-service”</a:t>
            </a:r>
            <a:endParaRPr kumimoji="0" lang="en-US" sz="14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endParaRPr>
          </a:p>
        </p:txBody>
      </p:sp>
      <p:pic>
        <p:nvPicPr>
          <p:cNvPr id="46" name="Graphic 45" descr="Drawing compass">
            <a:extLst>
              <a:ext uri="{FF2B5EF4-FFF2-40B4-BE49-F238E27FC236}">
                <a16:creationId xmlns:a16="http://schemas.microsoft.com/office/drawing/2014/main" id="{6055AD77-A1A0-DB4F-9814-E9621830733C}"/>
              </a:ext>
            </a:extLst>
          </p:cNvPr>
          <p:cNvPicPr>
            <a:picLocks noChangeAspect="1"/>
          </p:cNvPicPr>
          <p:nvPr/>
        </p:nvPicPr>
        <p:blipFill>
          <a:blip r:embed="rId17">
            <a:extLst>
              <a:ext uri="{96DAC541-7B7A-43D3-8B79-37D633B846F1}">
                <asvg:svgBlip xmlns:asvg="http://schemas.microsoft.com/office/drawing/2016/SVG/main" xmlns="" r:embed="rId18"/>
              </a:ext>
            </a:extLst>
          </a:blip>
          <a:stretch>
            <a:fillRect/>
          </a:stretch>
        </p:blipFill>
        <p:spPr>
          <a:xfrm>
            <a:off x="5609413" y="1564111"/>
            <a:ext cx="737259" cy="737259"/>
          </a:xfrm>
          <a:prstGeom prst="rect">
            <a:avLst/>
          </a:prstGeom>
        </p:spPr>
      </p:pic>
      <p:sp>
        <p:nvSpPr>
          <p:cNvPr id="43" name="Title 1">
            <a:extLst>
              <a:ext uri="{FF2B5EF4-FFF2-40B4-BE49-F238E27FC236}">
                <a16:creationId xmlns:a16="http://schemas.microsoft.com/office/drawing/2014/main" id="{A2EFAD8A-A280-F249-BB7B-A57DAFEAE536}"/>
              </a:ext>
            </a:extLst>
          </p:cNvPr>
          <p:cNvSpPr txBox="1">
            <a:spLocks/>
          </p:cNvSpPr>
          <p:nvPr/>
        </p:nvSpPr>
        <p:spPr>
          <a:xfrm>
            <a:off x="106166" y="-223540"/>
            <a:ext cx="11979667" cy="13255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sng" strike="noStrike" kern="1200" cap="none" spc="0" normalizeH="0" baseline="0" noProof="0" dirty="0" smtClean="0">
                <a:ln>
                  <a:noFill/>
                </a:ln>
                <a:effectLst/>
                <a:uLnTx/>
                <a:uFillTx/>
                <a:latin typeface="Arial" panose="020B0604020202020204" pitchFamily="34" charset="0"/>
                <a:ea typeface="Optimist" panose="020B0603020204030204" pitchFamily="34" charset="77"/>
                <a:cs typeface="Arial" panose="020B0604020202020204" pitchFamily="34" charset="0"/>
              </a:rPr>
              <a:t>C</a:t>
            </a:r>
            <a:r>
              <a:rPr kumimoji="0" lang="en-US" sz="2800" b="1" i="0" u="none" strike="noStrike" kern="1200" cap="none" spc="0" normalizeH="0" baseline="0" noProof="0" dirty="0" smtClean="0">
                <a:ln>
                  <a:noFill/>
                </a:ln>
                <a:effectLst/>
                <a:uLnTx/>
                <a:uFillTx/>
                <a:latin typeface="Arial" panose="020B0604020202020204" pitchFamily="34" charset="0"/>
                <a:ea typeface="Optimist" panose="020B0603020204030204" pitchFamily="34" charset="77"/>
                <a:cs typeface="Arial" panose="020B0604020202020204" pitchFamily="34" charset="0"/>
              </a:rPr>
              <a:t>onstruct a platform</a:t>
            </a:r>
            <a:r>
              <a:rPr kumimoji="0" lang="en-US" sz="2800" b="1" i="0" u="none" strike="noStrike" kern="1200" cap="none" spc="0" normalizeH="0" noProof="0" dirty="0" smtClean="0">
                <a:ln>
                  <a:noFill/>
                </a:ln>
                <a:effectLst/>
                <a:uLnTx/>
                <a:uFillTx/>
                <a:latin typeface="Arial" panose="020B0604020202020204" pitchFamily="34" charset="0"/>
                <a:ea typeface="Optimist" panose="020B0603020204030204" pitchFamily="34" charset="77"/>
                <a:cs typeface="Arial" panose="020B0604020202020204" pitchFamily="34" charset="0"/>
              </a:rPr>
              <a:t> that allows</a:t>
            </a:r>
            <a:r>
              <a:rPr kumimoji="0" lang="en-US" sz="2800" b="1" i="0" u="none" strike="noStrike" kern="1200" cap="none" spc="0" normalizeH="0" baseline="0" noProof="0" dirty="0" smtClean="0">
                <a:ln>
                  <a:noFill/>
                </a:ln>
                <a:effectLst/>
                <a:uLnTx/>
                <a:uFillTx/>
                <a:latin typeface="Arial" panose="020B0604020202020204" pitchFamily="34" charset="0"/>
                <a:ea typeface="Optimist" panose="020B0603020204030204" pitchFamily="34" charset="77"/>
                <a:cs typeface="Arial" panose="020B0604020202020204" pitchFamily="34" charset="0"/>
              </a:rPr>
              <a:t> </a:t>
            </a:r>
            <a:r>
              <a:rPr kumimoji="0" lang="en-US" sz="2800" b="1" i="0" u="none" strike="noStrike" kern="1200" cap="none" spc="0" normalizeH="0" baseline="0" noProof="0" dirty="0">
                <a:ln>
                  <a:noFill/>
                </a:ln>
                <a:effectLst/>
                <a:uLnTx/>
                <a:uFillTx/>
                <a:latin typeface="Arial" panose="020B0604020202020204" pitchFamily="34" charset="0"/>
                <a:ea typeface="Optimist" panose="020B0603020204030204" pitchFamily="34" charset="77"/>
                <a:cs typeface="Arial" panose="020B0604020202020204" pitchFamily="34" charset="0"/>
              </a:rPr>
              <a:t>for </a:t>
            </a:r>
            <a:r>
              <a:rPr lang="en-US" sz="2800" b="1" dirty="0">
                <a:latin typeface="Arial" panose="020B0604020202020204" pitchFamily="34" charset="0"/>
                <a:ea typeface="Optimist" panose="020B0603020204030204" pitchFamily="34" charset="77"/>
                <a:cs typeface="Arial" panose="020B0604020202020204" pitchFamily="34" charset="0"/>
              </a:rPr>
              <a:t>s</a:t>
            </a:r>
            <a:r>
              <a:rPr kumimoji="0" lang="en-US" sz="2800" b="1" i="0" u="none" strike="noStrike" kern="1200" cap="none" spc="0" normalizeH="0" baseline="0" noProof="0" dirty="0" smtClean="0">
                <a:ln>
                  <a:noFill/>
                </a:ln>
                <a:effectLst/>
                <a:uLnTx/>
                <a:uFillTx/>
                <a:latin typeface="Arial" panose="020B0604020202020204" pitchFamily="34" charset="0"/>
                <a:ea typeface="Optimist" panose="020B0603020204030204" pitchFamily="34" charset="77"/>
                <a:cs typeface="Arial" panose="020B0604020202020204" pitchFamily="34" charset="0"/>
              </a:rPr>
              <a:t>peed </a:t>
            </a:r>
            <a:r>
              <a:rPr kumimoji="0" lang="en-US" sz="2800" b="1" i="0" u="none" strike="noStrike" kern="1200" cap="none" spc="0" normalizeH="0" baseline="0" noProof="0" dirty="0">
                <a:ln>
                  <a:noFill/>
                </a:ln>
                <a:effectLst/>
                <a:uLnTx/>
                <a:uFillTx/>
                <a:latin typeface="Arial" panose="020B0604020202020204" pitchFamily="34" charset="0"/>
                <a:ea typeface="Optimist" panose="020B0603020204030204" pitchFamily="34" charset="77"/>
                <a:cs typeface="Arial" panose="020B0604020202020204" pitchFamily="34" charset="0"/>
              </a:rPr>
              <a:t>with </a:t>
            </a:r>
            <a:r>
              <a:rPr kumimoji="0" lang="en-US" sz="2800" b="1" i="0" u="none" strike="noStrike" kern="1200" cap="none" spc="0" normalizeH="0" baseline="0" noProof="0" dirty="0" smtClean="0">
                <a:ln>
                  <a:noFill/>
                </a:ln>
                <a:effectLst/>
                <a:uLnTx/>
                <a:uFillTx/>
                <a:latin typeface="Arial" panose="020B0604020202020204" pitchFamily="34" charset="0"/>
                <a:ea typeface="Optimist" panose="020B0603020204030204" pitchFamily="34" charset="77"/>
                <a:cs typeface="Arial" panose="020B0604020202020204" pitchFamily="34" charset="0"/>
              </a:rPr>
              <a:t>safety</a:t>
            </a:r>
            <a:endParaRPr kumimoji="0" lang="en-US" sz="2800" b="1" i="0" u="none" strike="noStrike" kern="1200" cap="none" spc="0" normalizeH="0" baseline="0" noProof="0" dirty="0">
              <a:ln>
                <a:noFill/>
              </a:ln>
              <a:effectLst/>
              <a:uLnTx/>
              <a:uFillTx/>
              <a:latin typeface="Arial" panose="020B0604020202020204" pitchFamily="34" charset="0"/>
              <a:ea typeface="Optimist" panose="020B0603020204030204" pitchFamily="34" charset="77"/>
              <a:cs typeface="Arial" panose="020B0604020202020204" pitchFamily="34" charset="0"/>
            </a:endParaRPr>
          </a:p>
        </p:txBody>
      </p:sp>
      <p:grpSp>
        <p:nvGrpSpPr>
          <p:cNvPr id="37" name="Group 36">
            <a:extLst>
              <a:ext uri="{FF2B5EF4-FFF2-40B4-BE49-F238E27FC236}">
                <a16:creationId xmlns:a16="http://schemas.microsoft.com/office/drawing/2014/main" id="{FEFE145E-116E-024B-BFE4-7387B351B02B}"/>
              </a:ext>
            </a:extLst>
          </p:cNvPr>
          <p:cNvGrpSpPr/>
          <p:nvPr/>
        </p:nvGrpSpPr>
        <p:grpSpPr>
          <a:xfrm>
            <a:off x="5081217" y="2649589"/>
            <a:ext cx="1848115" cy="2243377"/>
            <a:chOff x="5181053" y="2387398"/>
            <a:chExt cx="1905053" cy="2392369"/>
          </a:xfrm>
          <a:solidFill>
            <a:schemeClr val="tx2">
              <a:lumMod val="60000"/>
              <a:lumOff val="40000"/>
            </a:schemeClr>
          </a:solidFill>
        </p:grpSpPr>
        <p:sp>
          <p:nvSpPr>
            <p:cNvPr id="38" name="Trapezoid 37">
              <a:extLst>
                <a:ext uri="{FF2B5EF4-FFF2-40B4-BE49-F238E27FC236}">
                  <a16:creationId xmlns:a16="http://schemas.microsoft.com/office/drawing/2014/main" id="{9089DC7D-01DF-6D4B-8B24-7DD495004B9D}"/>
                </a:ext>
              </a:extLst>
            </p:cNvPr>
            <p:cNvSpPr/>
            <p:nvPr/>
          </p:nvSpPr>
          <p:spPr>
            <a:xfrm>
              <a:off x="5181053" y="2387398"/>
              <a:ext cx="1905052" cy="1199287"/>
            </a:xfrm>
            <a:prstGeom prst="trapezoid">
              <a:avLst>
                <a:gd name="adj" fmla="val 5068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timist" panose="020B0603020204030204" pitchFamily="34" charset="77"/>
                <a:ea typeface="Optimist" panose="020B0603020204030204" pitchFamily="34" charset="77"/>
                <a:cs typeface="Optimist" panose="020B0603020204030204" pitchFamily="34" charset="77"/>
              </a:endParaRPr>
            </a:p>
          </p:txBody>
        </p:sp>
        <p:sp>
          <p:nvSpPr>
            <p:cNvPr id="39" name="Trapezoid 38">
              <a:extLst>
                <a:ext uri="{FF2B5EF4-FFF2-40B4-BE49-F238E27FC236}">
                  <a16:creationId xmlns:a16="http://schemas.microsoft.com/office/drawing/2014/main" id="{F0990FBB-1CEE-9F47-831C-62D2ED8DA28E}"/>
                </a:ext>
              </a:extLst>
            </p:cNvPr>
            <p:cNvSpPr/>
            <p:nvPr/>
          </p:nvSpPr>
          <p:spPr>
            <a:xfrm rot="10800000">
              <a:off x="5181054" y="3580480"/>
              <a:ext cx="1905052" cy="1199287"/>
            </a:xfrm>
            <a:prstGeom prst="trapezoid">
              <a:avLst>
                <a:gd name="adj" fmla="val 5068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timist" panose="020B0603020204030204" pitchFamily="34" charset="77"/>
                <a:ea typeface="Optimist" panose="020B0603020204030204" pitchFamily="34" charset="77"/>
                <a:cs typeface="Optimist" panose="020B0603020204030204" pitchFamily="34" charset="77"/>
              </a:endParaRPr>
            </a:p>
          </p:txBody>
        </p:sp>
      </p:grpSp>
    </p:spTree>
    <p:extLst>
      <p:ext uri="{BB962C8B-B14F-4D97-AF65-F5344CB8AC3E}">
        <p14:creationId xmlns:p14="http://schemas.microsoft.com/office/powerpoint/2010/main" val="1576939489"/>
      </p:ext>
    </p:extLst>
  </p:cSld>
  <p:clrMapOvr>
    <a:masterClrMapping/>
  </p:clrMapOvr>
  <mc:AlternateContent xmlns:mc="http://schemas.openxmlformats.org/markup-compatibility/2006" xmlns:p14="http://schemas.microsoft.com/office/powerpoint/2010/main">
    <mc:Choice Requires="p14">
      <p:transition spd="slow" p14:dur="2000" advTm="154"/>
    </mc:Choice>
    <mc:Fallback xmlns="">
      <p:transition spd="slow" advTm="154"/>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C63C8F31-85BB-3446-8845-A8E582F67F69}"/>
              </a:ext>
            </a:extLst>
          </p:cNvPr>
          <p:cNvGrpSpPr/>
          <p:nvPr/>
        </p:nvGrpSpPr>
        <p:grpSpPr>
          <a:xfrm>
            <a:off x="6403146" y="4402556"/>
            <a:ext cx="1327759" cy="1139869"/>
            <a:chOff x="5070789" y="1939282"/>
            <a:chExt cx="1327759" cy="1139869"/>
          </a:xfrm>
        </p:grpSpPr>
        <p:sp>
          <p:nvSpPr>
            <p:cNvPr id="16" name="Hexagon 15">
              <a:extLst>
                <a:ext uri="{FF2B5EF4-FFF2-40B4-BE49-F238E27FC236}">
                  <a16:creationId xmlns:a16="http://schemas.microsoft.com/office/drawing/2014/main" id="{2AFF78F1-47D2-1745-8795-EF255C8EA5A1}"/>
                </a:ext>
              </a:extLst>
            </p:cNvPr>
            <p:cNvSpPr/>
            <p:nvPr/>
          </p:nvSpPr>
          <p:spPr>
            <a:xfrm>
              <a:off x="5070789" y="1939282"/>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Oval 16">
              <a:extLst>
                <a:ext uri="{FF2B5EF4-FFF2-40B4-BE49-F238E27FC236}">
                  <a16:creationId xmlns:a16="http://schemas.microsoft.com/office/drawing/2014/main" id="{CDC8B414-8CF1-F046-A3F5-CBB83DAFDEE0}"/>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1" name="Group 10">
            <a:extLst>
              <a:ext uri="{FF2B5EF4-FFF2-40B4-BE49-F238E27FC236}">
                <a16:creationId xmlns:a16="http://schemas.microsoft.com/office/drawing/2014/main" id="{4621E9BC-85CC-B845-B9AC-A5381FA702EB}"/>
              </a:ext>
            </a:extLst>
          </p:cNvPr>
          <p:cNvGrpSpPr/>
          <p:nvPr/>
        </p:nvGrpSpPr>
        <p:grpSpPr>
          <a:xfrm>
            <a:off x="4223203" y="1961940"/>
            <a:ext cx="1327759" cy="1139869"/>
            <a:chOff x="5060515" y="1929008"/>
            <a:chExt cx="1327759" cy="1139869"/>
          </a:xfrm>
        </p:grpSpPr>
        <p:sp>
          <p:nvSpPr>
            <p:cNvPr id="9" name="Hexagon 8">
              <a:extLst>
                <a:ext uri="{FF2B5EF4-FFF2-40B4-BE49-F238E27FC236}">
                  <a16:creationId xmlns:a16="http://schemas.microsoft.com/office/drawing/2014/main" id="{54D738F2-39C0-3B48-B7C8-EBAC492968BA}"/>
                </a:ext>
              </a:extLst>
            </p:cNvPr>
            <p:cNvSpPr/>
            <p:nvPr/>
          </p:nvSpPr>
          <p:spPr>
            <a:xfrm>
              <a:off x="5060515" y="1929008"/>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Oval 9">
              <a:extLst>
                <a:ext uri="{FF2B5EF4-FFF2-40B4-BE49-F238E27FC236}">
                  <a16:creationId xmlns:a16="http://schemas.microsoft.com/office/drawing/2014/main" id="{86F49C9F-78E8-1D4C-8236-A50B12136739}"/>
                </a:ext>
              </a:extLst>
            </p:cNvPr>
            <p:cNvSpPr/>
            <p:nvPr/>
          </p:nvSpPr>
          <p:spPr>
            <a:xfrm>
              <a:off x="5262582" y="2010475"/>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8" name="Group 17">
            <a:extLst>
              <a:ext uri="{FF2B5EF4-FFF2-40B4-BE49-F238E27FC236}">
                <a16:creationId xmlns:a16="http://schemas.microsoft.com/office/drawing/2014/main" id="{26D3A469-AE19-1C47-851C-D17BEE7FAE43}"/>
              </a:ext>
            </a:extLst>
          </p:cNvPr>
          <p:cNvGrpSpPr/>
          <p:nvPr/>
        </p:nvGrpSpPr>
        <p:grpSpPr>
          <a:xfrm>
            <a:off x="5303500" y="4997542"/>
            <a:ext cx="1327759" cy="1139869"/>
            <a:chOff x="5060515" y="1939282"/>
            <a:chExt cx="1327759" cy="1139869"/>
          </a:xfrm>
        </p:grpSpPr>
        <p:sp>
          <p:nvSpPr>
            <p:cNvPr id="19" name="Hexagon 18">
              <a:extLst>
                <a:ext uri="{FF2B5EF4-FFF2-40B4-BE49-F238E27FC236}">
                  <a16:creationId xmlns:a16="http://schemas.microsoft.com/office/drawing/2014/main" id="{9B687A28-7D32-FE4B-9FEB-8481249DC8EC}"/>
                </a:ext>
              </a:extLst>
            </p:cNvPr>
            <p:cNvSpPr/>
            <p:nvPr/>
          </p:nvSpPr>
          <p:spPr>
            <a:xfrm>
              <a:off x="5060515" y="1939282"/>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Oval 19">
              <a:extLst>
                <a:ext uri="{FF2B5EF4-FFF2-40B4-BE49-F238E27FC236}">
                  <a16:creationId xmlns:a16="http://schemas.microsoft.com/office/drawing/2014/main" id="{B118CCAE-D1BC-0F4F-9387-22DDE9ECCC0D}"/>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1" name="Group 20">
            <a:extLst>
              <a:ext uri="{FF2B5EF4-FFF2-40B4-BE49-F238E27FC236}">
                <a16:creationId xmlns:a16="http://schemas.microsoft.com/office/drawing/2014/main" id="{86E49845-A2DA-9D49-8F9F-44A0F7359921}"/>
              </a:ext>
            </a:extLst>
          </p:cNvPr>
          <p:cNvGrpSpPr/>
          <p:nvPr/>
        </p:nvGrpSpPr>
        <p:grpSpPr>
          <a:xfrm>
            <a:off x="6428748" y="1956153"/>
            <a:ext cx="1327759" cy="1139869"/>
            <a:chOff x="5010366" y="1927787"/>
            <a:chExt cx="1327759" cy="1139869"/>
          </a:xfrm>
        </p:grpSpPr>
        <p:sp>
          <p:nvSpPr>
            <p:cNvPr id="22" name="Hexagon 21">
              <a:extLst>
                <a:ext uri="{FF2B5EF4-FFF2-40B4-BE49-F238E27FC236}">
                  <a16:creationId xmlns:a16="http://schemas.microsoft.com/office/drawing/2014/main" id="{195A3C94-A09A-9A43-A33D-EAF640E19FD8}"/>
                </a:ext>
              </a:extLst>
            </p:cNvPr>
            <p:cNvSpPr/>
            <p:nvPr/>
          </p:nvSpPr>
          <p:spPr>
            <a:xfrm>
              <a:off x="5010366" y="1927787"/>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 name="Oval 22">
              <a:extLst>
                <a:ext uri="{FF2B5EF4-FFF2-40B4-BE49-F238E27FC236}">
                  <a16:creationId xmlns:a16="http://schemas.microsoft.com/office/drawing/2014/main" id="{5AFFF815-69A3-F247-B5B7-EA3FFB6E2BB6}"/>
                </a:ext>
              </a:extLst>
            </p:cNvPr>
            <p:cNvSpPr/>
            <p:nvPr/>
          </p:nvSpPr>
          <p:spPr>
            <a:xfrm>
              <a:off x="5232362" y="2006415"/>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4" name="Group 23">
            <a:extLst>
              <a:ext uri="{FF2B5EF4-FFF2-40B4-BE49-F238E27FC236}">
                <a16:creationId xmlns:a16="http://schemas.microsoft.com/office/drawing/2014/main" id="{487AC486-5D27-AC43-82F2-C222EBCCC885}"/>
              </a:ext>
            </a:extLst>
          </p:cNvPr>
          <p:cNvGrpSpPr/>
          <p:nvPr/>
        </p:nvGrpSpPr>
        <p:grpSpPr>
          <a:xfrm>
            <a:off x="5326681" y="1352692"/>
            <a:ext cx="1327759" cy="1139869"/>
            <a:chOff x="5060515" y="1929008"/>
            <a:chExt cx="1327759" cy="1139869"/>
          </a:xfrm>
        </p:grpSpPr>
        <p:sp>
          <p:nvSpPr>
            <p:cNvPr id="25" name="Hexagon 24">
              <a:extLst>
                <a:ext uri="{FF2B5EF4-FFF2-40B4-BE49-F238E27FC236}">
                  <a16:creationId xmlns:a16="http://schemas.microsoft.com/office/drawing/2014/main" id="{1EC9AD10-8440-E94E-9B1A-51420D3844D0}"/>
                </a:ext>
              </a:extLst>
            </p:cNvPr>
            <p:cNvSpPr/>
            <p:nvPr/>
          </p:nvSpPr>
          <p:spPr>
            <a:xfrm>
              <a:off x="5060515" y="1929008"/>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Oval 25">
              <a:extLst>
                <a:ext uri="{FF2B5EF4-FFF2-40B4-BE49-F238E27FC236}">
                  <a16:creationId xmlns:a16="http://schemas.microsoft.com/office/drawing/2014/main" id="{E377C240-47AF-3048-886D-C98E62035EE2}"/>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8" name="Group 27">
            <a:extLst>
              <a:ext uri="{FF2B5EF4-FFF2-40B4-BE49-F238E27FC236}">
                <a16:creationId xmlns:a16="http://schemas.microsoft.com/office/drawing/2014/main" id="{B9050A09-0B2C-054B-BA71-73B459FDD087}"/>
              </a:ext>
            </a:extLst>
          </p:cNvPr>
          <p:cNvGrpSpPr/>
          <p:nvPr/>
        </p:nvGrpSpPr>
        <p:grpSpPr>
          <a:xfrm>
            <a:off x="3698477" y="3168907"/>
            <a:ext cx="1327759" cy="1139869"/>
            <a:chOff x="5060515" y="1929008"/>
            <a:chExt cx="1327759" cy="1139869"/>
          </a:xfrm>
        </p:grpSpPr>
        <p:sp>
          <p:nvSpPr>
            <p:cNvPr id="29" name="Hexagon 28">
              <a:extLst>
                <a:ext uri="{FF2B5EF4-FFF2-40B4-BE49-F238E27FC236}">
                  <a16:creationId xmlns:a16="http://schemas.microsoft.com/office/drawing/2014/main" id="{B4066B57-4C2B-2E4E-9388-2977853856D2}"/>
                </a:ext>
              </a:extLst>
            </p:cNvPr>
            <p:cNvSpPr/>
            <p:nvPr/>
          </p:nvSpPr>
          <p:spPr>
            <a:xfrm>
              <a:off x="5060515" y="1929008"/>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 name="Oval 29">
              <a:extLst>
                <a:ext uri="{FF2B5EF4-FFF2-40B4-BE49-F238E27FC236}">
                  <a16:creationId xmlns:a16="http://schemas.microsoft.com/office/drawing/2014/main" id="{DB6D6C69-3214-A446-B585-B62CF8DA7BDC}"/>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1" name="Group 30">
            <a:extLst>
              <a:ext uri="{FF2B5EF4-FFF2-40B4-BE49-F238E27FC236}">
                <a16:creationId xmlns:a16="http://schemas.microsoft.com/office/drawing/2014/main" id="{49875E6E-9082-2041-A25D-372D568E6156}"/>
              </a:ext>
            </a:extLst>
          </p:cNvPr>
          <p:cNvGrpSpPr/>
          <p:nvPr/>
        </p:nvGrpSpPr>
        <p:grpSpPr>
          <a:xfrm>
            <a:off x="4211865" y="4380977"/>
            <a:ext cx="1327759" cy="1139869"/>
            <a:chOff x="5060515" y="1929008"/>
            <a:chExt cx="1327759" cy="1139869"/>
          </a:xfrm>
        </p:grpSpPr>
        <p:sp>
          <p:nvSpPr>
            <p:cNvPr id="32" name="Hexagon 31">
              <a:extLst>
                <a:ext uri="{FF2B5EF4-FFF2-40B4-BE49-F238E27FC236}">
                  <a16:creationId xmlns:a16="http://schemas.microsoft.com/office/drawing/2014/main" id="{716FA66D-35FF-6244-8C11-7BE53FA919B5}"/>
                </a:ext>
              </a:extLst>
            </p:cNvPr>
            <p:cNvSpPr/>
            <p:nvPr/>
          </p:nvSpPr>
          <p:spPr>
            <a:xfrm>
              <a:off x="5060515" y="1929008"/>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Oval 32">
              <a:extLst>
                <a:ext uri="{FF2B5EF4-FFF2-40B4-BE49-F238E27FC236}">
                  <a16:creationId xmlns:a16="http://schemas.microsoft.com/office/drawing/2014/main" id="{76DFA617-DCA3-6248-B13B-7E32E5A9E82E}"/>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pic>
        <p:nvPicPr>
          <p:cNvPr id="40"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6747886" y="2109265"/>
            <a:ext cx="746044" cy="746044"/>
          </a:xfrm>
          <a:prstGeom prst="rect">
            <a:avLst/>
          </a:prstGeom>
        </p:spPr>
      </p:pic>
      <p:pic>
        <p:nvPicPr>
          <p:cNvPr id="58" name="Graphic 57" descr="Infinity">
            <a:extLst>
              <a:ext uri="{FF2B5EF4-FFF2-40B4-BE49-F238E27FC236}">
                <a16:creationId xmlns:a16="http://schemas.microsoft.com/office/drawing/2014/main" id="{C354EB3E-86C1-4146-B3E4-48A9530BAD6D}"/>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4465333" y="2124731"/>
            <a:ext cx="802660" cy="802660"/>
          </a:xfrm>
          <a:prstGeom prst="rect">
            <a:avLst/>
          </a:prstGeom>
        </p:spPr>
      </p:pic>
      <p:pic>
        <p:nvPicPr>
          <p:cNvPr id="64" name="Graphic 63" descr="Business Growth">
            <a:extLst>
              <a:ext uri="{FF2B5EF4-FFF2-40B4-BE49-F238E27FC236}">
                <a16:creationId xmlns:a16="http://schemas.microsoft.com/office/drawing/2014/main" id="{55D64434-D27D-AC40-8C7D-FF18E87B5F18}"/>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6765630" y="4666646"/>
            <a:ext cx="737554" cy="737554"/>
          </a:xfrm>
          <a:prstGeom prst="rect">
            <a:avLst/>
          </a:prstGeom>
        </p:spPr>
      </p:pic>
      <p:pic>
        <p:nvPicPr>
          <p:cNvPr id="68" name="Graphic 67" descr="Classroom">
            <a:extLst>
              <a:ext uri="{FF2B5EF4-FFF2-40B4-BE49-F238E27FC236}">
                <a16:creationId xmlns:a16="http://schemas.microsoft.com/office/drawing/2014/main" id="{BF56240F-A3BE-DB47-AB75-30641CF911DD}"/>
              </a:ext>
            </a:extLst>
          </p:cNvPr>
          <p:cNvPicPr>
            <a:picLocks noChangeAspect="1"/>
          </p:cNvPicPr>
          <p:nvPr/>
        </p:nvPicPr>
        <p:blipFill>
          <a:blip r:embed="rId11">
            <a:extLst>
              <a:ext uri="{96DAC541-7B7A-43D3-8B79-37D633B846F1}">
                <asvg:svgBlip xmlns:asvg="http://schemas.microsoft.com/office/drawing/2016/SVG/main" xmlns="" r:embed="rId12"/>
              </a:ext>
            </a:extLst>
          </a:blip>
          <a:stretch>
            <a:fillRect/>
          </a:stretch>
        </p:blipFill>
        <p:spPr>
          <a:xfrm>
            <a:off x="3989334" y="3366586"/>
            <a:ext cx="746044" cy="746044"/>
          </a:xfrm>
          <a:prstGeom prst="rect">
            <a:avLst/>
          </a:prstGeom>
        </p:spPr>
      </p:pic>
      <p:pic>
        <p:nvPicPr>
          <p:cNvPr id="75" name="Graphic 74" descr="Marketing">
            <a:extLst>
              <a:ext uri="{FF2B5EF4-FFF2-40B4-BE49-F238E27FC236}">
                <a16:creationId xmlns:a16="http://schemas.microsoft.com/office/drawing/2014/main" id="{8D4D1845-43F3-A342-801E-C809DE65D241}"/>
              </a:ext>
            </a:extLst>
          </p:cNvPr>
          <p:cNvPicPr>
            <a:picLocks noChangeAspect="1"/>
          </p:cNvPicPr>
          <p:nvPr/>
        </p:nvPicPr>
        <p:blipFill>
          <a:blip r:embed="rId13">
            <a:extLst>
              <a:ext uri="{96DAC541-7B7A-43D3-8B79-37D633B846F1}">
                <asvg:svgBlip xmlns:asvg="http://schemas.microsoft.com/office/drawing/2016/SVG/main" xmlns="" r:embed="rId14"/>
              </a:ext>
            </a:extLst>
          </a:blip>
          <a:stretch>
            <a:fillRect/>
          </a:stretch>
        </p:blipFill>
        <p:spPr>
          <a:xfrm>
            <a:off x="5692397" y="5229248"/>
            <a:ext cx="676431" cy="676431"/>
          </a:xfrm>
          <a:prstGeom prst="rect">
            <a:avLst/>
          </a:prstGeom>
        </p:spPr>
      </p:pic>
      <p:sp>
        <p:nvSpPr>
          <p:cNvPr id="85" name="Line Callout 2 (Accent Bar) 84">
            <a:extLst>
              <a:ext uri="{FF2B5EF4-FFF2-40B4-BE49-F238E27FC236}">
                <a16:creationId xmlns:a16="http://schemas.microsoft.com/office/drawing/2014/main" id="{017DF7B1-DFC2-A341-B3D6-128F429721DC}"/>
              </a:ext>
            </a:extLst>
          </p:cNvPr>
          <p:cNvSpPr/>
          <p:nvPr/>
        </p:nvSpPr>
        <p:spPr>
          <a:xfrm>
            <a:off x="832207" y="987907"/>
            <a:ext cx="2625377" cy="817625"/>
          </a:xfrm>
          <a:prstGeom prst="accentCallout2">
            <a:avLst>
              <a:gd name="adj1" fmla="val 73902"/>
              <a:gd name="adj2" fmla="val 99732"/>
              <a:gd name="adj3" fmla="val 76415"/>
              <a:gd name="adj4" fmla="val 118610"/>
              <a:gd name="adj5" fmla="val 137236"/>
              <a:gd name="adj6" fmla="val 135932"/>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E7E6E6">
                    <a:lumMod val="50000"/>
                  </a:srgbClr>
                </a:solidFill>
                <a:effectLst/>
                <a:uLnTx/>
                <a:uFillTx/>
                <a:latin typeface="Calibri" panose="020F0502020204030204"/>
                <a:ea typeface="+mn-ea"/>
                <a:cs typeface="+mn-cs"/>
              </a:rPr>
              <a:t>C</a:t>
            </a:r>
            <a:r>
              <a:rPr kumimoji="0" lang="en-US" sz="1400" b="1" i="0" u="sng" strike="noStrike" kern="1200" cap="none" spc="0" normalizeH="0" baseline="0" noProof="0" dirty="0">
                <a:ln>
                  <a:noFill/>
                </a:ln>
                <a:solidFill>
                  <a:srgbClr val="E7E6E6">
                    <a:lumMod val="50000"/>
                  </a:srgbClr>
                </a:solidFill>
                <a:effectLst/>
                <a:uLnTx/>
                <a:uFillTx/>
                <a:latin typeface="Calibri" panose="020F0502020204030204"/>
                <a:ea typeface="+mn-ea"/>
                <a:cs typeface="+mn-cs"/>
              </a:rPr>
              <a:t>ontinuous Feedback and Flow</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rPr>
              <a:t>Continuously Integra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rPr>
              <a:t>Continuously Deliver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rPr>
              <a:t>Continuously Opera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rPr>
              <a:t>Continuously Improving (Metrics &amp; Measurement)</a:t>
            </a:r>
          </a:p>
        </p:txBody>
      </p:sp>
      <p:pic>
        <p:nvPicPr>
          <p:cNvPr id="98" name="Graphic 97" descr="Group">
            <a:extLst>
              <a:ext uri="{FF2B5EF4-FFF2-40B4-BE49-F238E27FC236}">
                <a16:creationId xmlns:a16="http://schemas.microsoft.com/office/drawing/2014/main" id="{8A7059D7-B129-1E41-9897-43233F1C639E}"/>
              </a:ext>
            </a:extLst>
          </p:cNvPr>
          <p:cNvPicPr>
            <a:picLocks noChangeAspect="1"/>
          </p:cNvPicPr>
          <p:nvPr/>
        </p:nvPicPr>
        <p:blipFill>
          <a:blip r:embed="rId15">
            <a:extLst>
              <a:ext uri="{96DAC541-7B7A-43D3-8B79-37D633B846F1}">
                <asvg:svgBlip xmlns:asvg="http://schemas.microsoft.com/office/drawing/2016/SVG/main" xmlns="" r:embed="rId16"/>
              </a:ext>
            </a:extLst>
          </a:blip>
          <a:stretch>
            <a:fillRect/>
          </a:stretch>
        </p:blipFill>
        <p:spPr>
          <a:xfrm>
            <a:off x="4590960" y="4847223"/>
            <a:ext cx="589001" cy="589001"/>
          </a:xfrm>
          <a:prstGeom prst="rect">
            <a:avLst/>
          </a:prstGeom>
        </p:spPr>
      </p:pic>
      <p:pic>
        <p:nvPicPr>
          <p:cNvPr id="100" name="Graphic 99" descr="Deciduous tree">
            <a:extLst>
              <a:ext uri="{FF2B5EF4-FFF2-40B4-BE49-F238E27FC236}">
                <a16:creationId xmlns:a16="http://schemas.microsoft.com/office/drawing/2014/main" id="{9819F59A-89A2-CD4D-BAEB-BF00779C9851}"/>
              </a:ext>
            </a:extLst>
          </p:cNvPr>
          <p:cNvPicPr>
            <a:picLocks noChangeAspect="1"/>
          </p:cNvPicPr>
          <p:nvPr/>
        </p:nvPicPr>
        <p:blipFill>
          <a:blip r:embed="rId17">
            <a:extLst>
              <a:ext uri="{96DAC541-7B7A-43D3-8B79-37D633B846F1}">
                <asvg:svgBlip xmlns:asvg="http://schemas.microsoft.com/office/drawing/2016/SVG/main" xmlns="" r:embed="rId18"/>
              </a:ext>
            </a:extLst>
          </a:blip>
          <a:stretch>
            <a:fillRect/>
          </a:stretch>
        </p:blipFill>
        <p:spPr>
          <a:xfrm>
            <a:off x="4510028" y="4546349"/>
            <a:ext cx="523213" cy="523213"/>
          </a:xfrm>
          <a:prstGeom prst="rect">
            <a:avLst/>
          </a:prstGeom>
        </p:spPr>
      </p:pic>
      <p:sp>
        <p:nvSpPr>
          <p:cNvPr id="44" name="Line Callout 2 (Accent Bar) 43">
            <a:extLst>
              <a:ext uri="{FF2B5EF4-FFF2-40B4-BE49-F238E27FC236}">
                <a16:creationId xmlns:a16="http://schemas.microsoft.com/office/drawing/2014/main" id="{41F370FD-BC91-574A-8043-9D94C10B0433}"/>
              </a:ext>
            </a:extLst>
          </p:cNvPr>
          <p:cNvSpPr/>
          <p:nvPr/>
        </p:nvSpPr>
        <p:spPr>
          <a:xfrm>
            <a:off x="8999836" y="3020438"/>
            <a:ext cx="2841298" cy="817625"/>
          </a:xfrm>
          <a:prstGeom prst="accentCallout2">
            <a:avLst>
              <a:gd name="adj1" fmla="val 23398"/>
              <a:gd name="adj2" fmla="val -8695"/>
              <a:gd name="adj3" fmla="val 25635"/>
              <a:gd name="adj4" fmla="val -19092"/>
              <a:gd name="adj5" fmla="val -20337"/>
              <a:gd name="adj6" fmla="val -47153"/>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C</a:t>
            </a:r>
            <a:r>
              <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ross</a:t>
            </a:r>
            <a:r>
              <a:rPr kumimoji="0" lang="en-US" sz="20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F</a:t>
            </a:r>
            <a:r>
              <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unctional</a:t>
            </a:r>
            <a:r>
              <a:rPr kumimoji="0" lang="en-US" sz="20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 T</a:t>
            </a:r>
            <a:r>
              <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ea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Dev + O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Full Stack Tea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You Build It You Own 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Agile Practices</a:t>
            </a:r>
          </a:p>
        </p:txBody>
      </p:sp>
      <p:sp>
        <p:nvSpPr>
          <p:cNvPr id="45" name="Line Callout 2 (Accent Bar) 44">
            <a:extLst>
              <a:ext uri="{FF2B5EF4-FFF2-40B4-BE49-F238E27FC236}">
                <a16:creationId xmlns:a16="http://schemas.microsoft.com/office/drawing/2014/main" id="{994D3DE4-11BC-704C-A9CB-AAC96F2C6D09}"/>
              </a:ext>
            </a:extLst>
          </p:cNvPr>
          <p:cNvSpPr/>
          <p:nvPr/>
        </p:nvSpPr>
        <p:spPr>
          <a:xfrm>
            <a:off x="8260669" y="1235326"/>
            <a:ext cx="3499842" cy="817625"/>
          </a:xfrm>
          <a:prstGeom prst="accentCallout2">
            <a:avLst>
              <a:gd name="adj1" fmla="val 43262"/>
              <a:gd name="adj2" fmla="val -6543"/>
              <a:gd name="adj3" fmla="val 38511"/>
              <a:gd name="adj4" fmla="val -26061"/>
              <a:gd name="adj5" fmla="val 54491"/>
              <a:gd name="adj6" fmla="val -47782"/>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smtClean="0">
                <a:ln>
                  <a:noFill/>
                </a:ln>
                <a:solidFill>
                  <a:srgbClr val="E7E6E6">
                    <a:lumMod val="90000"/>
                  </a:srgbClr>
                </a:solidFill>
                <a:effectLst/>
                <a:uLnTx/>
                <a:uFillTx/>
                <a:latin typeface="Calibri" panose="020F0502020204030204"/>
                <a:ea typeface="+mn-ea"/>
                <a:cs typeface="+mn-cs"/>
              </a:rPr>
              <a:t>Construction</a:t>
            </a:r>
            <a:endPar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oupling (loose) – Microserv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Everything is co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I/CD Pipelin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loud, Containers, Configuration Automation (Orchestr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yber and Compliance Obsess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haos Tes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Inner-sourced, self-service</a:t>
            </a:r>
          </a:p>
        </p:txBody>
      </p:sp>
      <p:pic>
        <p:nvPicPr>
          <p:cNvPr id="46" name="Graphic 45" descr="Drawing compass">
            <a:extLst>
              <a:ext uri="{FF2B5EF4-FFF2-40B4-BE49-F238E27FC236}">
                <a16:creationId xmlns:a16="http://schemas.microsoft.com/office/drawing/2014/main" id="{6055AD77-A1A0-DB4F-9814-E9621830733C}"/>
              </a:ext>
            </a:extLst>
          </p:cNvPr>
          <p:cNvPicPr>
            <a:picLocks noChangeAspect="1"/>
          </p:cNvPicPr>
          <p:nvPr/>
        </p:nvPicPr>
        <p:blipFill>
          <a:blip r:embed="rId19">
            <a:extLst>
              <a:ext uri="{96DAC541-7B7A-43D3-8B79-37D633B846F1}">
                <asvg:svgBlip xmlns:asvg="http://schemas.microsoft.com/office/drawing/2016/SVG/main" xmlns="" r:embed="rId20"/>
              </a:ext>
            </a:extLst>
          </a:blip>
          <a:stretch>
            <a:fillRect/>
          </a:stretch>
        </p:blipFill>
        <p:spPr>
          <a:xfrm>
            <a:off x="5609413" y="1553996"/>
            <a:ext cx="737259" cy="737259"/>
          </a:xfrm>
          <a:prstGeom prst="rect">
            <a:avLst/>
          </a:prstGeom>
        </p:spPr>
      </p:pic>
      <p:sp>
        <p:nvSpPr>
          <p:cNvPr id="47" name="Title 1">
            <a:extLst>
              <a:ext uri="{FF2B5EF4-FFF2-40B4-BE49-F238E27FC236}">
                <a16:creationId xmlns:a16="http://schemas.microsoft.com/office/drawing/2014/main" id="{A1D2D182-3141-CA4D-9D05-46A4256D6E83}"/>
              </a:ext>
            </a:extLst>
          </p:cNvPr>
          <p:cNvSpPr txBox="1">
            <a:spLocks/>
          </p:cNvSpPr>
          <p:nvPr/>
        </p:nvSpPr>
        <p:spPr>
          <a:xfrm>
            <a:off x="44788" y="-273159"/>
            <a:ext cx="12157752" cy="13255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800" b="1" dirty="0" smtClean="0">
                <a:latin typeface="Arial" panose="020B0604020202020204" pitchFamily="34" charset="0"/>
                <a:ea typeface="Optimist" panose="020B0603020204030204" pitchFamily="34" charset="77"/>
                <a:cs typeface="Arial" panose="020B0604020202020204" pitchFamily="34" charset="0"/>
              </a:rPr>
              <a:t>Practice </a:t>
            </a:r>
            <a:r>
              <a:rPr kumimoji="0" lang="en-US" sz="2800" b="1" i="0" u="sng" strike="noStrike" kern="1200" cap="none" spc="0" normalizeH="0" baseline="0" noProof="0" dirty="0" smtClean="0">
                <a:ln>
                  <a:noFill/>
                </a:ln>
                <a:effectLst/>
                <a:uLnTx/>
                <a:uFillTx/>
                <a:latin typeface="Arial" panose="020B0604020202020204" pitchFamily="34" charset="0"/>
                <a:ea typeface="Optimist" panose="020B0603020204030204" pitchFamily="34" charset="77"/>
                <a:cs typeface="Arial" panose="020B0604020202020204" pitchFamily="34" charset="0"/>
              </a:rPr>
              <a:t>C</a:t>
            </a:r>
            <a:r>
              <a:rPr kumimoji="0" lang="en-US" sz="2800" b="1" i="0" u="none" strike="noStrike" kern="1200" cap="none" spc="0" normalizeH="0" baseline="0" noProof="0" dirty="0" smtClean="0">
                <a:ln>
                  <a:noFill/>
                </a:ln>
                <a:effectLst/>
                <a:uLnTx/>
                <a:uFillTx/>
                <a:latin typeface="Arial" panose="020B0604020202020204" pitchFamily="34" charset="0"/>
                <a:ea typeface="Optimist" panose="020B0603020204030204" pitchFamily="34" charset="77"/>
                <a:cs typeface="Arial" panose="020B0604020202020204" pitchFamily="34" charset="0"/>
              </a:rPr>
              <a:t>ontinuous </a:t>
            </a:r>
            <a:r>
              <a:rPr kumimoji="0" lang="en-US" sz="2800" b="1" i="0" u="none" strike="noStrike" kern="1200" cap="none" spc="0" normalizeH="0" baseline="0" noProof="0" dirty="0">
                <a:ln>
                  <a:noFill/>
                </a:ln>
                <a:effectLst/>
                <a:uLnTx/>
                <a:uFillTx/>
                <a:latin typeface="Arial" panose="020B0604020202020204" pitchFamily="34" charset="0"/>
                <a:ea typeface="Optimist" panose="020B0603020204030204" pitchFamily="34" charset="77"/>
                <a:cs typeface="Arial" panose="020B0604020202020204" pitchFamily="34" charset="0"/>
              </a:rPr>
              <a:t>Feedback, Flow &amp; Improvement</a:t>
            </a:r>
          </a:p>
        </p:txBody>
      </p:sp>
      <p:grpSp>
        <p:nvGrpSpPr>
          <p:cNvPr id="38" name="Group 37">
            <a:extLst>
              <a:ext uri="{FF2B5EF4-FFF2-40B4-BE49-F238E27FC236}">
                <a16:creationId xmlns:a16="http://schemas.microsoft.com/office/drawing/2014/main" id="{FEFE145E-116E-024B-BFE4-7387B351B02B}"/>
              </a:ext>
            </a:extLst>
          </p:cNvPr>
          <p:cNvGrpSpPr/>
          <p:nvPr/>
        </p:nvGrpSpPr>
        <p:grpSpPr>
          <a:xfrm>
            <a:off x="5081217" y="2639474"/>
            <a:ext cx="1848115" cy="2243377"/>
            <a:chOff x="5181053" y="2387398"/>
            <a:chExt cx="1905053" cy="2392369"/>
          </a:xfrm>
          <a:solidFill>
            <a:schemeClr val="tx2">
              <a:lumMod val="60000"/>
              <a:lumOff val="40000"/>
            </a:schemeClr>
          </a:solidFill>
        </p:grpSpPr>
        <p:sp>
          <p:nvSpPr>
            <p:cNvPr id="39" name="Trapezoid 38">
              <a:extLst>
                <a:ext uri="{FF2B5EF4-FFF2-40B4-BE49-F238E27FC236}">
                  <a16:creationId xmlns:a16="http://schemas.microsoft.com/office/drawing/2014/main" id="{9089DC7D-01DF-6D4B-8B24-7DD495004B9D}"/>
                </a:ext>
              </a:extLst>
            </p:cNvPr>
            <p:cNvSpPr/>
            <p:nvPr/>
          </p:nvSpPr>
          <p:spPr>
            <a:xfrm>
              <a:off x="5181053" y="2387398"/>
              <a:ext cx="1905052" cy="1199287"/>
            </a:xfrm>
            <a:prstGeom prst="trapezoid">
              <a:avLst>
                <a:gd name="adj" fmla="val 5068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timist" panose="020B0603020204030204" pitchFamily="34" charset="77"/>
                <a:ea typeface="Optimist" panose="020B0603020204030204" pitchFamily="34" charset="77"/>
                <a:cs typeface="Optimist" panose="020B0603020204030204" pitchFamily="34" charset="77"/>
              </a:endParaRPr>
            </a:p>
          </p:txBody>
        </p:sp>
        <p:sp>
          <p:nvSpPr>
            <p:cNvPr id="41" name="Trapezoid 40">
              <a:extLst>
                <a:ext uri="{FF2B5EF4-FFF2-40B4-BE49-F238E27FC236}">
                  <a16:creationId xmlns:a16="http://schemas.microsoft.com/office/drawing/2014/main" id="{F0990FBB-1CEE-9F47-831C-62D2ED8DA28E}"/>
                </a:ext>
              </a:extLst>
            </p:cNvPr>
            <p:cNvSpPr/>
            <p:nvPr/>
          </p:nvSpPr>
          <p:spPr>
            <a:xfrm rot="10800000">
              <a:off x="5181054" y="3580480"/>
              <a:ext cx="1905052" cy="1199287"/>
            </a:xfrm>
            <a:prstGeom prst="trapezoid">
              <a:avLst>
                <a:gd name="adj" fmla="val 5068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timist" panose="020B0603020204030204" pitchFamily="34" charset="77"/>
                <a:ea typeface="Optimist" panose="020B0603020204030204" pitchFamily="34" charset="77"/>
                <a:cs typeface="Optimist" panose="020B0603020204030204" pitchFamily="34" charset="77"/>
              </a:endParaRPr>
            </a:p>
          </p:txBody>
        </p:sp>
      </p:grpSp>
      <p:pic>
        <p:nvPicPr>
          <p:cNvPr id="2" name="Audio 1">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21"/>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3659717232"/>
      </p:ext>
    </p:extLst>
  </p:cSld>
  <p:clrMapOvr>
    <a:masterClrMapping/>
  </p:clrMapOvr>
  <mc:AlternateContent xmlns:mc="http://schemas.openxmlformats.org/markup-compatibility/2006" xmlns:p14="http://schemas.microsoft.com/office/powerpoint/2010/main">
    <mc:Choice Requires="p14">
      <p:transition spd="slow" p14:dur="2000" advTm="232"/>
    </mc:Choice>
    <mc:Fallback xmlns="">
      <p:transition spd="slow" advTm="23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C63C8F31-85BB-3446-8845-A8E582F67F69}"/>
              </a:ext>
            </a:extLst>
          </p:cNvPr>
          <p:cNvGrpSpPr/>
          <p:nvPr/>
        </p:nvGrpSpPr>
        <p:grpSpPr>
          <a:xfrm>
            <a:off x="6403146" y="4298695"/>
            <a:ext cx="1327759" cy="1139869"/>
            <a:chOff x="5070789" y="1939282"/>
            <a:chExt cx="1327759" cy="1139869"/>
          </a:xfrm>
        </p:grpSpPr>
        <p:sp>
          <p:nvSpPr>
            <p:cNvPr id="16" name="Hexagon 15">
              <a:extLst>
                <a:ext uri="{FF2B5EF4-FFF2-40B4-BE49-F238E27FC236}">
                  <a16:creationId xmlns:a16="http://schemas.microsoft.com/office/drawing/2014/main" id="{2AFF78F1-47D2-1745-8795-EF255C8EA5A1}"/>
                </a:ext>
              </a:extLst>
            </p:cNvPr>
            <p:cNvSpPr/>
            <p:nvPr/>
          </p:nvSpPr>
          <p:spPr>
            <a:xfrm>
              <a:off x="5070789" y="1939282"/>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Oval 16">
              <a:extLst>
                <a:ext uri="{FF2B5EF4-FFF2-40B4-BE49-F238E27FC236}">
                  <a16:creationId xmlns:a16="http://schemas.microsoft.com/office/drawing/2014/main" id="{CDC8B414-8CF1-F046-A3F5-CBB83DAFDEE0}"/>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1" name="Group 10">
            <a:extLst>
              <a:ext uri="{FF2B5EF4-FFF2-40B4-BE49-F238E27FC236}">
                <a16:creationId xmlns:a16="http://schemas.microsoft.com/office/drawing/2014/main" id="{4621E9BC-85CC-B845-B9AC-A5381FA702EB}"/>
              </a:ext>
            </a:extLst>
          </p:cNvPr>
          <p:cNvGrpSpPr/>
          <p:nvPr/>
        </p:nvGrpSpPr>
        <p:grpSpPr>
          <a:xfrm>
            <a:off x="4223203" y="1858079"/>
            <a:ext cx="1327759" cy="1139869"/>
            <a:chOff x="5060515" y="1929008"/>
            <a:chExt cx="1327759" cy="1139869"/>
          </a:xfrm>
        </p:grpSpPr>
        <p:sp>
          <p:nvSpPr>
            <p:cNvPr id="9" name="Hexagon 8">
              <a:extLst>
                <a:ext uri="{FF2B5EF4-FFF2-40B4-BE49-F238E27FC236}">
                  <a16:creationId xmlns:a16="http://schemas.microsoft.com/office/drawing/2014/main" id="{54D738F2-39C0-3B48-B7C8-EBAC492968BA}"/>
                </a:ext>
              </a:extLst>
            </p:cNvPr>
            <p:cNvSpPr/>
            <p:nvPr/>
          </p:nvSpPr>
          <p:spPr>
            <a:xfrm>
              <a:off x="5060515" y="1929008"/>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Oval 9">
              <a:extLst>
                <a:ext uri="{FF2B5EF4-FFF2-40B4-BE49-F238E27FC236}">
                  <a16:creationId xmlns:a16="http://schemas.microsoft.com/office/drawing/2014/main" id="{86F49C9F-78E8-1D4C-8236-A50B12136739}"/>
                </a:ext>
              </a:extLst>
            </p:cNvPr>
            <p:cNvSpPr/>
            <p:nvPr/>
          </p:nvSpPr>
          <p:spPr>
            <a:xfrm>
              <a:off x="5262582" y="2010475"/>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8" name="Group 17">
            <a:extLst>
              <a:ext uri="{FF2B5EF4-FFF2-40B4-BE49-F238E27FC236}">
                <a16:creationId xmlns:a16="http://schemas.microsoft.com/office/drawing/2014/main" id="{26D3A469-AE19-1C47-851C-D17BEE7FAE43}"/>
              </a:ext>
            </a:extLst>
          </p:cNvPr>
          <p:cNvGrpSpPr/>
          <p:nvPr/>
        </p:nvGrpSpPr>
        <p:grpSpPr>
          <a:xfrm>
            <a:off x="5303500" y="4893681"/>
            <a:ext cx="1327759" cy="1139869"/>
            <a:chOff x="5060515" y="1939282"/>
            <a:chExt cx="1327759" cy="1139869"/>
          </a:xfrm>
        </p:grpSpPr>
        <p:sp>
          <p:nvSpPr>
            <p:cNvPr id="19" name="Hexagon 18">
              <a:extLst>
                <a:ext uri="{FF2B5EF4-FFF2-40B4-BE49-F238E27FC236}">
                  <a16:creationId xmlns:a16="http://schemas.microsoft.com/office/drawing/2014/main" id="{9B687A28-7D32-FE4B-9FEB-8481249DC8EC}"/>
                </a:ext>
              </a:extLst>
            </p:cNvPr>
            <p:cNvSpPr/>
            <p:nvPr/>
          </p:nvSpPr>
          <p:spPr>
            <a:xfrm>
              <a:off x="5060515" y="1939282"/>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Oval 19">
              <a:extLst>
                <a:ext uri="{FF2B5EF4-FFF2-40B4-BE49-F238E27FC236}">
                  <a16:creationId xmlns:a16="http://schemas.microsoft.com/office/drawing/2014/main" id="{B118CCAE-D1BC-0F4F-9387-22DDE9ECCC0D}"/>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1" name="Group 20">
            <a:extLst>
              <a:ext uri="{FF2B5EF4-FFF2-40B4-BE49-F238E27FC236}">
                <a16:creationId xmlns:a16="http://schemas.microsoft.com/office/drawing/2014/main" id="{86E49845-A2DA-9D49-8F9F-44A0F7359921}"/>
              </a:ext>
            </a:extLst>
          </p:cNvPr>
          <p:cNvGrpSpPr/>
          <p:nvPr/>
        </p:nvGrpSpPr>
        <p:grpSpPr>
          <a:xfrm>
            <a:off x="6428748" y="1852292"/>
            <a:ext cx="1327759" cy="1139869"/>
            <a:chOff x="5010366" y="1927787"/>
            <a:chExt cx="1327759" cy="1139869"/>
          </a:xfrm>
        </p:grpSpPr>
        <p:sp>
          <p:nvSpPr>
            <p:cNvPr id="22" name="Hexagon 21">
              <a:extLst>
                <a:ext uri="{FF2B5EF4-FFF2-40B4-BE49-F238E27FC236}">
                  <a16:creationId xmlns:a16="http://schemas.microsoft.com/office/drawing/2014/main" id="{195A3C94-A09A-9A43-A33D-EAF640E19FD8}"/>
                </a:ext>
              </a:extLst>
            </p:cNvPr>
            <p:cNvSpPr/>
            <p:nvPr/>
          </p:nvSpPr>
          <p:spPr>
            <a:xfrm>
              <a:off x="5010366" y="1927787"/>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 name="Oval 22">
              <a:extLst>
                <a:ext uri="{FF2B5EF4-FFF2-40B4-BE49-F238E27FC236}">
                  <a16:creationId xmlns:a16="http://schemas.microsoft.com/office/drawing/2014/main" id="{5AFFF815-69A3-F247-B5B7-EA3FFB6E2BB6}"/>
                </a:ext>
              </a:extLst>
            </p:cNvPr>
            <p:cNvSpPr/>
            <p:nvPr/>
          </p:nvSpPr>
          <p:spPr>
            <a:xfrm>
              <a:off x="5232362" y="2006415"/>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4" name="Group 23">
            <a:extLst>
              <a:ext uri="{FF2B5EF4-FFF2-40B4-BE49-F238E27FC236}">
                <a16:creationId xmlns:a16="http://schemas.microsoft.com/office/drawing/2014/main" id="{487AC486-5D27-AC43-82F2-C222EBCCC885}"/>
              </a:ext>
            </a:extLst>
          </p:cNvPr>
          <p:cNvGrpSpPr/>
          <p:nvPr/>
        </p:nvGrpSpPr>
        <p:grpSpPr>
          <a:xfrm>
            <a:off x="5326681" y="1248831"/>
            <a:ext cx="1327759" cy="1139869"/>
            <a:chOff x="5060515" y="1929008"/>
            <a:chExt cx="1327759" cy="1139869"/>
          </a:xfrm>
        </p:grpSpPr>
        <p:sp>
          <p:nvSpPr>
            <p:cNvPr id="25" name="Hexagon 24">
              <a:extLst>
                <a:ext uri="{FF2B5EF4-FFF2-40B4-BE49-F238E27FC236}">
                  <a16:creationId xmlns:a16="http://schemas.microsoft.com/office/drawing/2014/main" id="{1EC9AD10-8440-E94E-9B1A-51420D3844D0}"/>
                </a:ext>
              </a:extLst>
            </p:cNvPr>
            <p:cNvSpPr/>
            <p:nvPr/>
          </p:nvSpPr>
          <p:spPr>
            <a:xfrm>
              <a:off x="5060515" y="1929008"/>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Oval 25">
              <a:extLst>
                <a:ext uri="{FF2B5EF4-FFF2-40B4-BE49-F238E27FC236}">
                  <a16:creationId xmlns:a16="http://schemas.microsoft.com/office/drawing/2014/main" id="{E377C240-47AF-3048-886D-C98E62035EE2}"/>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8" name="Group 27">
            <a:extLst>
              <a:ext uri="{FF2B5EF4-FFF2-40B4-BE49-F238E27FC236}">
                <a16:creationId xmlns:a16="http://schemas.microsoft.com/office/drawing/2014/main" id="{B9050A09-0B2C-054B-BA71-73B459FDD087}"/>
              </a:ext>
            </a:extLst>
          </p:cNvPr>
          <p:cNvGrpSpPr/>
          <p:nvPr/>
        </p:nvGrpSpPr>
        <p:grpSpPr>
          <a:xfrm>
            <a:off x="3698477" y="3065046"/>
            <a:ext cx="1327759" cy="1139869"/>
            <a:chOff x="5060515" y="1929008"/>
            <a:chExt cx="1327759" cy="1139869"/>
          </a:xfrm>
        </p:grpSpPr>
        <p:sp>
          <p:nvSpPr>
            <p:cNvPr id="29" name="Hexagon 28">
              <a:extLst>
                <a:ext uri="{FF2B5EF4-FFF2-40B4-BE49-F238E27FC236}">
                  <a16:creationId xmlns:a16="http://schemas.microsoft.com/office/drawing/2014/main" id="{B4066B57-4C2B-2E4E-9388-2977853856D2}"/>
                </a:ext>
              </a:extLst>
            </p:cNvPr>
            <p:cNvSpPr/>
            <p:nvPr/>
          </p:nvSpPr>
          <p:spPr>
            <a:xfrm>
              <a:off x="5060515" y="1929008"/>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 name="Oval 29">
              <a:extLst>
                <a:ext uri="{FF2B5EF4-FFF2-40B4-BE49-F238E27FC236}">
                  <a16:creationId xmlns:a16="http://schemas.microsoft.com/office/drawing/2014/main" id="{DB6D6C69-3214-A446-B585-B62CF8DA7BDC}"/>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1" name="Group 30">
            <a:extLst>
              <a:ext uri="{FF2B5EF4-FFF2-40B4-BE49-F238E27FC236}">
                <a16:creationId xmlns:a16="http://schemas.microsoft.com/office/drawing/2014/main" id="{49875E6E-9082-2041-A25D-372D568E6156}"/>
              </a:ext>
            </a:extLst>
          </p:cNvPr>
          <p:cNvGrpSpPr/>
          <p:nvPr/>
        </p:nvGrpSpPr>
        <p:grpSpPr>
          <a:xfrm>
            <a:off x="4211865" y="4277116"/>
            <a:ext cx="1327759" cy="1139869"/>
            <a:chOff x="5060515" y="1929008"/>
            <a:chExt cx="1327759" cy="1139869"/>
          </a:xfrm>
        </p:grpSpPr>
        <p:sp>
          <p:nvSpPr>
            <p:cNvPr id="32" name="Hexagon 31">
              <a:extLst>
                <a:ext uri="{FF2B5EF4-FFF2-40B4-BE49-F238E27FC236}">
                  <a16:creationId xmlns:a16="http://schemas.microsoft.com/office/drawing/2014/main" id="{716FA66D-35FF-6244-8C11-7BE53FA919B5}"/>
                </a:ext>
              </a:extLst>
            </p:cNvPr>
            <p:cNvSpPr/>
            <p:nvPr/>
          </p:nvSpPr>
          <p:spPr>
            <a:xfrm>
              <a:off x="5060515" y="1929008"/>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Oval 32">
              <a:extLst>
                <a:ext uri="{FF2B5EF4-FFF2-40B4-BE49-F238E27FC236}">
                  <a16:creationId xmlns:a16="http://schemas.microsoft.com/office/drawing/2014/main" id="{76DFA617-DCA3-6248-B13B-7E32E5A9E82E}"/>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pic>
        <p:nvPicPr>
          <p:cNvPr id="40"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6747886" y="2005404"/>
            <a:ext cx="746044" cy="746044"/>
          </a:xfrm>
          <a:prstGeom prst="rect">
            <a:avLst/>
          </a:prstGeom>
        </p:spPr>
      </p:pic>
      <p:pic>
        <p:nvPicPr>
          <p:cNvPr id="58" name="Graphic 57" descr="Infinity">
            <a:extLst>
              <a:ext uri="{FF2B5EF4-FFF2-40B4-BE49-F238E27FC236}">
                <a16:creationId xmlns:a16="http://schemas.microsoft.com/office/drawing/2014/main" id="{C354EB3E-86C1-4146-B3E4-48A9530BAD6D}"/>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4465333" y="2020870"/>
            <a:ext cx="802660" cy="802660"/>
          </a:xfrm>
          <a:prstGeom prst="rect">
            <a:avLst/>
          </a:prstGeom>
        </p:spPr>
      </p:pic>
      <p:pic>
        <p:nvPicPr>
          <p:cNvPr id="64" name="Graphic 63" descr="Business Growth">
            <a:extLst>
              <a:ext uri="{FF2B5EF4-FFF2-40B4-BE49-F238E27FC236}">
                <a16:creationId xmlns:a16="http://schemas.microsoft.com/office/drawing/2014/main" id="{55D64434-D27D-AC40-8C7D-FF18E87B5F18}"/>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6765630" y="4562785"/>
            <a:ext cx="737554" cy="737554"/>
          </a:xfrm>
          <a:prstGeom prst="rect">
            <a:avLst/>
          </a:prstGeom>
        </p:spPr>
      </p:pic>
      <p:pic>
        <p:nvPicPr>
          <p:cNvPr id="68" name="Graphic 67" descr="Classroom">
            <a:extLst>
              <a:ext uri="{FF2B5EF4-FFF2-40B4-BE49-F238E27FC236}">
                <a16:creationId xmlns:a16="http://schemas.microsoft.com/office/drawing/2014/main" id="{BF56240F-A3BE-DB47-AB75-30641CF911DD}"/>
              </a:ext>
            </a:extLst>
          </p:cNvPr>
          <p:cNvPicPr>
            <a:picLocks noChangeAspect="1"/>
          </p:cNvPicPr>
          <p:nvPr/>
        </p:nvPicPr>
        <p:blipFill>
          <a:blip r:embed="rId11">
            <a:extLst>
              <a:ext uri="{96DAC541-7B7A-43D3-8B79-37D633B846F1}">
                <asvg:svgBlip xmlns:asvg="http://schemas.microsoft.com/office/drawing/2016/SVG/main" xmlns="" r:embed="rId12"/>
              </a:ext>
            </a:extLst>
          </a:blip>
          <a:stretch>
            <a:fillRect/>
          </a:stretch>
        </p:blipFill>
        <p:spPr>
          <a:xfrm>
            <a:off x="3989334" y="3262725"/>
            <a:ext cx="746044" cy="746044"/>
          </a:xfrm>
          <a:prstGeom prst="rect">
            <a:avLst/>
          </a:prstGeom>
        </p:spPr>
      </p:pic>
      <p:pic>
        <p:nvPicPr>
          <p:cNvPr id="75" name="Graphic 74" descr="Marketing">
            <a:extLst>
              <a:ext uri="{FF2B5EF4-FFF2-40B4-BE49-F238E27FC236}">
                <a16:creationId xmlns:a16="http://schemas.microsoft.com/office/drawing/2014/main" id="{8D4D1845-43F3-A342-801E-C809DE65D241}"/>
              </a:ext>
            </a:extLst>
          </p:cNvPr>
          <p:cNvPicPr>
            <a:picLocks noChangeAspect="1"/>
          </p:cNvPicPr>
          <p:nvPr/>
        </p:nvPicPr>
        <p:blipFill>
          <a:blip r:embed="rId13">
            <a:extLst>
              <a:ext uri="{96DAC541-7B7A-43D3-8B79-37D633B846F1}">
                <asvg:svgBlip xmlns:asvg="http://schemas.microsoft.com/office/drawing/2016/SVG/main" xmlns="" r:embed="rId14"/>
              </a:ext>
            </a:extLst>
          </a:blip>
          <a:stretch>
            <a:fillRect/>
          </a:stretch>
        </p:blipFill>
        <p:spPr>
          <a:xfrm>
            <a:off x="5692397" y="5125387"/>
            <a:ext cx="676431" cy="676431"/>
          </a:xfrm>
          <a:prstGeom prst="rect">
            <a:avLst/>
          </a:prstGeom>
        </p:spPr>
      </p:pic>
      <p:sp>
        <p:nvSpPr>
          <p:cNvPr id="85" name="Line Callout 2 (Accent Bar) 84">
            <a:extLst>
              <a:ext uri="{FF2B5EF4-FFF2-40B4-BE49-F238E27FC236}">
                <a16:creationId xmlns:a16="http://schemas.microsoft.com/office/drawing/2014/main" id="{017DF7B1-DFC2-A341-B3D6-128F429721DC}"/>
              </a:ext>
            </a:extLst>
          </p:cNvPr>
          <p:cNvSpPr/>
          <p:nvPr/>
        </p:nvSpPr>
        <p:spPr>
          <a:xfrm>
            <a:off x="1108462" y="1034667"/>
            <a:ext cx="2328574" cy="817625"/>
          </a:xfrm>
          <a:prstGeom prst="accentCallout2">
            <a:avLst>
              <a:gd name="adj1" fmla="val 73902"/>
              <a:gd name="adj2" fmla="val 99732"/>
              <a:gd name="adj3" fmla="val 76415"/>
              <a:gd name="adj4" fmla="val 118610"/>
              <a:gd name="adj5" fmla="val 137236"/>
              <a:gd name="adj6" fmla="val 135932"/>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C</a:t>
            </a:r>
            <a:r>
              <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ontinuou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ontinuously Integra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ontinuously Deliver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ontinuously Opera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ontinuously Improving (Metrics &amp; Measurement)</a:t>
            </a:r>
          </a:p>
        </p:txBody>
      </p:sp>
      <p:sp>
        <p:nvSpPr>
          <p:cNvPr id="88" name="Line Callout 2 (Accent Bar) 87">
            <a:extLst>
              <a:ext uri="{FF2B5EF4-FFF2-40B4-BE49-F238E27FC236}">
                <a16:creationId xmlns:a16="http://schemas.microsoft.com/office/drawing/2014/main" id="{728DA1AB-D7CD-494C-933A-FAEE70C78848}"/>
              </a:ext>
            </a:extLst>
          </p:cNvPr>
          <p:cNvSpPr/>
          <p:nvPr/>
        </p:nvSpPr>
        <p:spPr>
          <a:xfrm>
            <a:off x="772700" y="2682270"/>
            <a:ext cx="2328574" cy="817625"/>
          </a:xfrm>
          <a:prstGeom prst="accentCallout2">
            <a:avLst>
              <a:gd name="adj1" fmla="val 32968"/>
              <a:gd name="adj2" fmla="val 91393"/>
              <a:gd name="adj3" fmla="val 29474"/>
              <a:gd name="adj4" fmla="val 115320"/>
              <a:gd name="adj5" fmla="val 66730"/>
              <a:gd name="adj6" fmla="val 128701"/>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E7E6E6">
                    <a:lumMod val="50000"/>
                  </a:srgbClr>
                </a:solidFill>
                <a:effectLst/>
                <a:uLnTx/>
                <a:uFillTx/>
                <a:latin typeface="Calibri" panose="020F0502020204030204"/>
                <a:ea typeface="+mn-ea"/>
                <a:cs typeface="+mn-cs"/>
              </a:rPr>
              <a:t>C</a:t>
            </a:r>
            <a:r>
              <a:rPr kumimoji="0" lang="en-US" sz="1400" b="1" i="0" u="sng" strike="noStrike" kern="1200" cap="none" spc="0" normalizeH="0" baseline="0" noProof="0" dirty="0">
                <a:ln>
                  <a:noFill/>
                </a:ln>
                <a:solidFill>
                  <a:srgbClr val="E7E6E6">
                    <a:lumMod val="50000"/>
                  </a:srgbClr>
                </a:solidFill>
                <a:effectLst/>
                <a:uLnTx/>
                <a:uFillTx/>
                <a:latin typeface="Calibri" panose="020F0502020204030204"/>
                <a:ea typeface="+mn-ea"/>
                <a:cs typeface="+mn-cs"/>
              </a:rPr>
              <a:t>ompetency </a:t>
            </a:r>
            <a:r>
              <a:rPr kumimoji="0" lang="en-US" sz="2000" b="1" i="0" u="sng" strike="noStrike" kern="1200" cap="none" spc="0" normalizeH="0" baseline="0" noProof="0" dirty="0">
                <a:ln>
                  <a:noFill/>
                </a:ln>
                <a:solidFill>
                  <a:srgbClr val="E7E6E6">
                    <a:lumMod val="50000"/>
                  </a:srgbClr>
                </a:solidFill>
                <a:effectLst/>
                <a:uLnTx/>
                <a:uFillTx/>
                <a:latin typeface="Calibri" panose="020F0502020204030204"/>
                <a:ea typeface="+mn-ea"/>
                <a:cs typeface="+mn-cs"/>
              </a:rPr>
              <a:t>C</a:t>
            </a:r>
            <a:r>
              <a:rPr kumimoji="0" lang="en-US" sz="1400" b="1" i="0" u="sng" strike="noStrike" kern="1200" cap="none" spc="0" normalizeH="0" baseline="0" noProof="0" dirty="0">
                <a:ln>
                  <a:noFill/>
                </a:ln>
                <a:solidFill>
                  <a:srgbClr val="E7E6E6">
                    <a:lumMod val="50000"/>
                  </a:srgbClr>
                </a:solidFill>
                <a:effectLst/>
                <a:uLnTx/>
                <a:uFillTx/>
                <a:latin typeface="Calibri" panose="020F0502020204030204"/>
                <a:ea typeface="+mn-ea"/>
                <a:cs typeface="+mn-cs"/>
              </a:rPr>
              <a:t>ent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rPr>
              <a:t>Continuous, Accelerated Learn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rPr>
              <a:t>Capabilities Mode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rPr>
              <a:t>Curriculu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rPr>
              <a:t>Coach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rPr>
              <a:t>Curiosity (R&amp;D)</a:t>
            </a:r>
          </a:p>
        </p:txBody>
      </p:sp>
      <p:pic>
        <p:nvPicPr>
          <p:cNvPr id="98" name="Graphic 97" descr="Group">
            <a:extLst>
              <a:ext uri="{FF2B5EF4-FFF2-40B4-BE49-F238E27FC236}">
                <a16:creationId xmlns:a16="http://schemas.microsoft.com/office/drawing/2014/main" id="{8A7059D7-B129-1E41-9897-43233F1C639E}"/>
              </a:ext>
            </a:extLst>
          </p:cNvPr>
          <p:cNvPicPr>
            <a:picLocks noChangeAspect="1"/>
          </p:cNvPicPr>
          <p:nvPr/>
        </p:nvPicPr>
        <p:blipFill>
          <a:blip r:embed="rId15">
            <a:extLst>
              <a:ext uri="{96DAC541-7B7A-43D3-8B79-37D633B846F1}">
                <asvg:svgBlip xmlns:asvg="http://schemas.microsoft.com/office/drawing/2016/SVG/main" xmlns="" r:embed="rId16"/>
              </a:ext>
            </a:extLst>
          </a:blip>
          <a:stretch>
            <a:fillRect/>
          </a:stretch>
        </p:blipFill>
        <p:spPr>
          <a:xfrm>
            <a:off x="4590960" y="4743362"/>
            <a:ext cx="589001" cy="589001"/>
          </a:xfrm>
          <a:prstGeom prst="rect">
            <a:avLst/>
          </a:prstGeom>
        </p:spPr>
      </p:pic>
      <p:pic>
        <p:nvPicPr>
          <p:cNvPr id="100" name="Graphic 99" descr="Deciduous tree">
            <a:extLst>
              <a:ext uri="{FF2B5EF4-FFF2-40B4-BE49-F238E27FC236}">
                <a16:creationId xmlns:a16="http://schemas.microsoft.com/office/drawing/2014/main" id="{9819F59A-89A2-CD4D-BAEB-BF00779C9851}"/>
              </a:ext>
            </a:extLst>
          </p:cNvPr>
          <p:cNvPicPr>
            <a:picLocks noChangeAspect="1"/>
          </p:cNvPicPr>
          <p:nvPr/>
        </p:nvPicPr>
        <p:blipFill>
          <a:blip r:embed="rId17">
            <a:extLst>
              <a:ext uri="{96DAC541-7B7A-43D3-8B79-37D633B846F1}">
                <asvg:svgBlip xmlns:asvg="http://schemas.microsoft.com/office/drawing/2016/SVG/main" xmlns="" r:embed="rId18"/>
              </a:ext>
            </a:extLst>
          </a:blip>
          <a:stretch>
            <a:fillRect/>
          </a:stretch>
        </p:blipFill>
        <p:spPr>
          <a:xfrm>
            <a:off x="4510028" y="4442488"/>
            <a:ext cx="523213" cy="523213"/>
          </a:xfrm>
          <a:prstGeom prst="rect">
            <a:avLst/>
          </a:prstGeom>
        </p:spPr>
      </p:pic>
      <p:sp>
        <p:nvSpPr>
          <p:cNvPr id="44" name="Line Callout 2 (Accent Bar) 43">
            <a:extLst>
              <a:ext uri="{FF2B5EF4-FFF2-40B4-BE49-F238E27FC236}">
                <a16:creationId xmlns:a16="http://schemas.microsoft.com/office/drawing/2014/main" id="{41F370FD-BC91-574A-8043-9D94C10B0433}"/>
              </a:ext>
            </a:extLst>
          </p:cNvPr>
          <p:cNvSpPr/>
          <p:nvPr/>
        </p:nvSpPr>
        <p:spPr>
          <a:xfrm>
            <a:off x="8999836" y="3002435"/>
            <a:ext cx="2841298" cy="817625"/>
          </a:xfrm>
          <a:prstGeom prst="accentCallout2">
            <a:avLst>
              <a:gd name="adj1" fmla="val 23398"/>
              <a:gd name="adj2" fmla="val -8695"/>
              <a:gd name="adj3" fmla="val 25635"/>
              <a:gd name="adj4" fmla="val -19092"/>
              <a:gd name="adj5" fmla="val -20337"/>
              <a:gd name="adj6" fmla="val -47153"/>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C</a:t>
            </a:r>
            <a:r>
              <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ross</a:t>
            </a:r>
            <a:r>
              <a:rPr kumimoji="0" lang="en-US" sz="20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F</a:t>
            </a:r>
            <a:r>
              <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unctional</a:t>
            </a:r>
            <a:r>
              <a:rPr kumimoji="0" lang="en-US" sz="20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 T</a:t>
            </a:r>
            <a:r>
              <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ea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Dev + O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Full Stack Tea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You Build It You Own 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Agile Practices</a:t>
            </a:r>
          </a:p>
        </p:txBody>
      </p:sp>
      <p:sp>
        <p:nvSpPr>
          <p:cNvPr id="45" name="Line Callout 2 (Accent Bar) 44">
            <a:extLst>
              <a:ext uri="{FF2B5EF4-FFF2-40B4-BE49-F238E27FC236}">
                <a16:creationId xmlns:a16="http://schemas.microsoft.com/office/drawing/2014/main" id="{994D3DE4-11BC-704C-A9CB-AAC96F2C6D09}"/>
              </a:ext>
            </a:extLst>
          </p:cNvPr>
          <p:cNvSpPr/>
          <p:nvPr/>
        </p:nvSpPr>
        <p:spPr>
          <a:xfrm>
            <a:off x="8260669" y="1131465"/>
            <a:ext cx="3499842" cy="817625"/>
          </a:xfrm>
          <a:prstGeom prst="accentCallout2">
            <a:avLst>
              <a:gd name="adj1" fmla="val 43262"/>
              <a:gd name="adj2" fmla="val -6543"/>
              <a:gd name="adj3" fmla="val 38511"/>
              <a:gd name="adj4" fmla="val -26061"/>
              <a:gd name="adj5" fmla="val 54491"/>
              <a:gd name="adj6" fmla="val -47782"/>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smtClean="0">
                <a:ln>
                  <a:noFill/>
                </a:ln>
                <a:solidFill>
                  <a:srgbClr val="E7E6E6">
                    <a:lumMod val="90000"/>
                  </a:srgbClr>
                </a:solidFill>
                <a:effectLst/>
                <a:uLnTx/>
                <a:uFillTx/>
                <a:latin typeface="Calibri" panose="020F0502020204030204"/>
                <a:ea typeface="+mn-ea"/>
                <a:cs typeface="+mn-cs"/>
              </a:rPr>
              <a:t>Construction</a:t>
            </a:r>
            <a:endPar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oupling (loose) - Microserv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Everything is co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I/CD Pipelin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loud, Containers, Configuration Automation (Orchestr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yber and Compliance Obsess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haos Tes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Inner-sourced, self-service</a:t>
            </a:r>
          </a:p>
        </p:txBody>
      </p:sp>
      <p:pic>
        <p:nvPicPr>
          <p:cNvPr id="46" name="Graphic 45" descr="Drawing compass">
            <a:extLst>
              <a:ext uri="{FF2B5EF4-FFF2-40B4-BE49-F238E27FC236}">
                <a16:creationId xmlns:a16="http://schemas.microsoft.com/office/drawing/2014/main" id="{6055AD77-A1A0-DB4F-9814-E9621830733C}"/>
              </a:ext>
            </a:extLst>
          </p:cNvPr>
          <p:cNvPicPr>
            <a:picLocks noChangeAspect="1"/>
          </p:cNvPicPr>
          <p:nvPr/>
        </p:nvPicPr>
        <p:blipFill>
          <a:blip r:embed="rId19">
            <a:extLst>
              <a:ext uri="{96DAC541-7B7A-43D3-8B79-37D633B846F1}">
                <asvg:svgBlip xmlns:asvg="http://schemas.microsoft.com/office/drawing/2016/SVG/main" xmlns="" r:embed="rId20"/>
              </a:ext>
            </a:extLst>
          </a:blip>
          <a:stretch>
            <a:fillRect/>
          </a:stretch>
        </p:blipFill>
        <p:spPr>
          <a:xfrm>
            <a:off x="5609413" y="1450135"/>
            <a:ext cx="737259" cy="737259"/>
          </a:xfrm>
          <a:prstGeom prst="rect">
            <a:avLst/>
          </a:prstGeom>
        </p:spPr>
      </p:pic>
      <p:sp>
        <p:nvSpPr>
          <p:cNvPr id="47" name="Title 1">
            <a:extLst>
              <a:ext uri="{FF2B5EF4-FFF2-40B4-BE49-F238E27FC236}">
                <a16:creationId xmlns:a16="http://schemas.microsoft.com/office/drawing/2014/main" id="{5A34F2E8-DC9A-5D46-B3DF-3164C41C6FDD}"/>
              </a:ext>
            </a:extLst>
          </p:cNvPr>
          <p:cNvSpPr txBox="1">
            <a:spLocks/>
          </p:cNvSpPr>
          <p:nvPr/>
        </p:nvSpPr>
        <p:spPr>
          <a:xfrm>
            <a:off x="106166" y="-343690"/>
            <a:ext cx="11979667" cy="13255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800" b="1" dirty="0">
                <a:latin typeface="Arial" panose="020B0604020202020204" pitchFamily="34" charset="0"/>
                <a:ea typeface="Optimist" panose="020B0603020204030204" pitchFamily="34" charset="77"/>
                <a:cs typeface="Arial" panose="020B0604020202020204" pitchFamily="34" charset="0"/>
              </a:rPr>
              <a:t>E</a:t>
            </a:r>
            <a:r>
              <a:rPr kumimoji="0" lang="en-US" sz="2800" b="1" i="0" u="none" strike="noStrike" kern="1200" cap="none" spc="0" normalizeH="0" baseline="0" noProof="0" dirty="0" smtClean="0">
                <a:ln>
                  <a:noFill/>
                </a:ln>
                <a:effectLst/>
                <a:uLnTx/>
                <a:uFillTx/>
                <a:latin typeface="Arial" panose="020B0604020202020204" pitchFamily="34" charset="0"/>
                <a:ea typeface="Optimist" panose="020B0603020204030204" pitchFamily="34" charset="77"/>
                <a:cs typeface="Arial" panose="020B0604020202020204" pitchFamily="34" charset="0"/>
              </a:rPr>
              <a:t>stablish </a:t>
            </a:r>
            <a:r>
              <a:rPr kumimoji="0" lang="en-US" sz="2800" b="1" i="0" u="none" strike="noStrike" kern="1200" cap="none" spc="0" normalizeH="0" baseline="0" noProof="0" dirty="0">
                <a:ln>
                  <a:noFill/>
                </a:ln>
                <a:effectLst/>
                <a:uLnTx/>
                <a:uFillTx/>
                <a:latin typeface="Arial" panose="020B0604020202020204" pitchFamily="34" charset="0"/>
                <a:ea typeface="Optimist" panose="020B0603020204030204" pitchFamily="34" charset="77"/>
                <a:cs typeface="Arial" panose="020B0604020202020204" pitchFamily="34" charset="0"/>
              </a:rPr>
              <a:t>a </a:t>
            </a:r>
            <a:r>
              <a:rPr kumimoji="0" lang="en-US" sz="2800" b="1" i="0" u="sng" strike="noStrike" kern="1200" cap="none" spc="0" normalizeH="0" baseline="0" noProof="0" dirty="0">
                <a:ln>
                  <a:noFill/>
                </a:ln>
                <a:effectLst/>
                <a:uLnTx/>
                <a:uFillTx/>
                <a:latin typeface="Arial" panose="020B0604020202020204" pitchFamily="34" charset="0"/>
                <a:ea typeface="Optimist" panose="020B0603020204030204" pitchFamily="34" charset="77"/>
                <a:cs typeface="Arial" panose="020B0604020202020204" pitchFamily="34" charset="0"/>
              </a:rPr>
              <a:t>C</a:t>
            </a:r>
            <a:r>
              <a:rPr kumimoji="0" lang="en-US" sz="2800" b="1" i="0" u="none" strike="noStrike" kern="1200" cap="none" spc="0" normalizeH="0" baseline="0" noProof="0" dirty="0">
                <a:ln>
                  <a:noFill/>
                </a:ln>
                <a:effectLst/>
                <a:uLnTx/>
                <a:uFillTx/>
                <a:latin typeface="Arial" panose="020B0604020202020204" pitchFamily="34" charset="0"/>
                <a:ea typeface="Optimist" panose="020B0603020204030204" pitchFamily="34" charset="77"/>
                <a:cs typeface="Arial" panose="020B0604020202020204" pitchFamily="34" charset="0"/>
              </a:rPr>
              <a:t>ompetency </a:t>
            </a:r>
            <a:r>
              <a:rPr kumimoji="0" lang="en-US" sz="2800" b="1" i="0" u="sng" strike="noStrike" kern="1200" cap="none" spc="0" normalizeH="0" baseline="0" noProof="0" dirty="0">
                <a:ln>
                  <a:noFill/>
                </a:ln>
                <a:effectLst/>
                <a:uLnTx/>
                <a:uFillTx/>
                <a:latin typeface="Arial" panose="020B0604020202020204" pitchFamily="34" charset="0"/>
                <a:ea typeface="Optimist" panose="020B0603020204030204" pitchFamily="34" charset="77"/>
                <a:cs typeface="Arial" panose="020B0604020202020204" pitchFamily="34" charset="0"/>
              </a:rPr>
              <a:t>C</a:t>
            </a:r>
            <a:r>
              <a:rPr kumimoji="0" lang="en-US" sz="2800" b="1" i="0" u="none" strike="noStrike" kern="1200" cap="none" spc="0" normalizeH="0" baseline="0" noProof="0" dirty="0">
                <a:ln>
                  <a:noFill/>
                </a:ln>
                <a:effectLst/>
                <a:uLnTx/>
                <a:uFillTx/>
                <a:latin typeface="Arial" panose="020B0604020202020204" pitchFamily="34" charset="0"/>
                <a:ea typeface="Optimist" panose="020B0603020204030204" pitchFamily="34" charset="77"/>
                <a:cs typeface="Arial" panose="020B0604020202020204" pitchFamily="34" charset="0"/>
              </a:rPr>
              <a:t>enter</a:t>
            </a:r>
          </a:p>
        </p:txBody>
      </p:sp>
      <p:grpSp>
        <p:nvGrpSpPr>
          <p:cNvPr id="39" name="Group 38">
            <a:extLst>
              <a:ext uri="{FF2B5EF4-FFF2-40B4-BE49-F238E27FC236}">
                <a16:creationId xmlns:a16="http://schemas.microsoft.com/office/drawing/2014/main" id="{FEFE145E-116E-024B-BFE4-7387B351B02B}"/>
              </a:ext>
            </a:extLst>
          </p:cNvPr>
          <p:cNvGrpSpPr/>
          <p:nvPr/>
        </p:nvGrpSpPr>
        <p:grpSpPr>
          <a:xfrm>
            <a:off x="5081217" y="2535613"/>
            <a:ext cx="1848115" cy="2243377"/>
            <a:chOff x="5181053" y="2387398"/>
            <a:chExt cx="1905053" cy="2392369"/>
          </a:xfrm>
          <a:solidFill>
            <a:schemeClr val="tx2">
              <a:lumMod val="60000"/>
              <a:lumOff val="40000"/>
            </a:schemeClr>
          </a:solidFill>
        </p:grpSpPr>
        <p:sp>
          <p:nvSpPr>
            <p:cNvPr id="41" name="Trapezoid 40">
              <a:extLst>
                <a:ext uri="{FF2B5EF4-FFF2-40B4-BE49-F238E27FC236}">
                  <a16:creationId xmlns:a16="http://schemas.microsoft.com/office/drawing/2014/main" id="{9089DC7D-01DF-6D4B-8B24-7DD495004B9D}"/>
                </a:ext>
              </a:extLst>
            </p:cNvPr>
            <p:cNvSpPr/>
            <p:nvPr/>
          </p:nvSpPr>
          <p:spPr>
            <a:xfrm>
              <a:off x="5181053" y="2387398"/>
              <a:ext cx="1905052" cy="1199287"/>
            </a:xfrm>
            <a:prstGeom prst="trapezoid">
              <a:avLst>
                <a:gd name="adj" fmla="val 5068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timist" panose="020B0603020204030204" pitchFamily="34" charset="77"/>
                <a:ea typeface="Optimist" panose="020B0603020204030204" pitchFamily="34" charset="77"/>
                <a:cs typeface="Optimist" panose="020B0603020204030204" pitchFamily="34" charset="77"/>
              </a:endParaRPr>
            </a:p>
          </p:txBody>
        </p:sp>
        <p:sp>
          <p:nvSpPr>
            <p:cNvPr id="42" name="Trapezoid 41">
              <a:extLst>
                <a:ext uri="{FF2B5EF4-FFF2-40B4-BE49-F238E27FC236}">
                  <a16:creationId xmlns:a16="http://schemas.microsoft.com/office/drawing/2014/main" id="{F0990FBB-1CEE-9F47-831C-62D2ED8DA28E}"/>
                </a:ext>
              </a:extLst>
            </p:cNvPr>
            <p:cNvSpPr/>
            <p:nvPr/>
          </p:nvSpPr>
          <p:spPr>
            <a:xfrm rot="10800000">
              <a:off x="5181054" y="3580480"/>
              <a:ext cx="1905052" cy="1199287"/>
            </a:xfrm>
            <a:prstGeom prst="trapezoid">
              <a:avLst>
                <a:gd name="adj" fmla="val 5068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timist" panose="020B0603020204030204" pitchFamily="34" charset="77"/>
                <a:ea typeface="Optimist" panose="020B0603020204030204" pitchFamily="34" charset="77"/>
                <a:cs typeface="Optimist" panose="020B0603020204030204" pitchFamily="34" charset="77"/>
              </a:endParaRPr>
            </a:p>
          </p:txBody>
        </p:sp>
      </p:grpSp>
      <p:pic>
        <p:nvPicPr>
          <p:cNvPr id="2" name="Audio 1">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21"/>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3385648015"/>
      </p:ext>
    </p:extLst>
  </p:cSld>
  <p:clrMapOvr>
    <a:masterClrMapping/>
  </p:clrMapOvr>
  <mc:AlternateContent xmlns:mc="http://schemas.openxmlformats.org/markup-compatibility/2006" xmlns:p14="http://schemas.microsoft.com/office/powerpoint/2010/main">
    <mc:Choice Requires="p14">
      <p:transition spd="slow" p14:dur="2000" advTm="123"/>
    </mc:Choice>
    <mc:Fallback xmlns="">
      <p:transition spd="slow" advTm="12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C63C8F31-85BB-3446-8845-A8E582F67F69}"/>
              </a:ext>
            </a:extLst>
          </p:cNvPr>
          <p:cNvGrpSpPr/>
          <p:nvPr/>
        </p:nvGrpSpPr>
        <p:grpSpPr>
          <a:xfrm>
            <a:off x="6428748" y="4321946"/>
            <a:ext cx="1327759" cy="1139869"/>
            <a:chOff x="5070789" y="1939282"/>
            <a:chExt cx="1327759" cy="1139869"/>
          </a:xfrm>
        </p:grpSpPr>
        <p:sp>
          <p:nvSpPr>
            <p:cNvPr id="16" name="Hexagon 15">
              <a:extLst>
                <a:ext uri="{FF2B5EF4-FFF2-40B4-BE49-F238E27FC236}">
                  <a16:creationId xmlns:a16="http://schemas.microsoft.com/office/drawing/2014/main" id="{2AFF78F1-47D2-1745-8795-EF255C8EA5A1}"/>
                </a:ext>
              </a:extLst>
            </p:cNvPr>
            <p:cNvSpPr/>
            <p:nvPr/>
          </p:nvSpPr>
          <p:spPr>
            <a:xfrm>
              <a:off x="5070789" y="1939282"/>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Oval 16">
              <a:extLst>
                <a:ext uri="{FF2B5EF4-FFF2-40B4-BE49-F238E27FC236}">
                  <a16:creationId xmlns:a16="http://schemas.microsoft.com/office/drawing/2014/main" id="{CDC8B414-8CF1-F046-A3F5-CBB83DAFDEE0}"/>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1" name="Group 10">
            <a:extLst>
              <a:ext uri="{FF2B5EF4-FFF2-40B4-BE49-F238E27FC236}">
                <a16:creationId xmlns:a16="http://schemas.microsoft.com/office/drawing/2014/main" id="{4621E9BC-85CC-B845-B9AC-A5381FA702EB}"/>
              </a:ext>
            </a:extLst>
          </p:cNvPr>
          <p:cNvGrpSpPr/>
          <p:nvPr/>
        </p:nvGrpSpPr>
        <p:grpSpPr>
          <a:xfrm>
            <a:off x="4248805" y="1881330"/>
            <a:ext cx="1327759" cy="1139869"/>
            <a:chOff x="5060515" y="1929008"/>
            <a:chExt cx="1327759" cy="1139869"/>
          </a:xfrm>
        </p:grpSpPr>
        <p:sp>
          <p:nvSpPr>
            <p:cNvPr id="9" name="Hexagon 8">
              <a:extLst>
                <a:ext uri="{FF2B5EF4-FFF2-40B4-BE49-F238E27FC236}">
                  <a16:creationId xmlns:a16="http://schemas.microsoft.com/office/drawing/2014/main" id="{54D738F2-39C0-3B48-B7C8-EBAC492968BA}"/>
                </a:ext>
              </a:extLst>
            </p:cNvPr>
            <p:cNvSpPr/>
            <p:nvPr/>
          </p:nvSpPr>
          <p:spPr>
            <a:xfrm>
              <a:off x="5060515" y="1929008"/>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Oval 9">
              <a:extLst>
                <a:ext uri="{FF2B5EF4-FFF2-40B4-BE49-F238E27FC236}">
                  <a16:creationId xmlns:a16="http://schemas.microsoft.com/office/drawing/2014/main" id="{86F49C9F-78E8-1D4C-8236-A50B12136739}"/>
                </a:ext>
              </a:extLst>
            </p:cNvPr>
            <p:cNvSpPr/>
            <p:nvPr/>
          </p:nvSpPr>
          <p:spPr>
            <a:xfrm>
              <a:off x="5262582" y="2010475"/>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8" name="Group 17">
            <a:extLst>
              <a:ext uri="{FF2B5EF4-FFF2-40B4-BE49-F238E27FC236}">
                <a16:creationId xmlns:a16="http://schemas.microsoft.com/office/drawing/2014/main" id="{26D3A469-AE19-1C47-851C-D17BEE7FAE43}"/>
              </a:ext>
            </a:extLst>
          </p:cNvPr>
          <p:cNvGrpSpPr/>
          <p:nvPr/>
        </p:nvGrpSpPr>
        <p:grpSpPr>
          <a:xfrm>
            <a:off x="5329102" y="4916932"/>
            <a:ext cx="1327759" cy="1139869"/>
            <a:chOff x="5060515" y="1939282"/>
            <a:chExt cx="1327759" cy="1139869"/>
          </a:xfrm>
        </p:grpSpPr>
        <p:sp>
          <p:nvSpPr>
            <p:cNvPr id="19" name="Hexagon 18">
              <a:extLst>
                <a:ext uri="{FF2B5EF4-FFF2-40B4-BE49-F238E27FC236}">
                  <a16:creationId xmlns:a16="http://schemas.microsoft.com/office/drawing/2014/main" id="{9B687A28-7D32-FE4B-9FEB-8481249DC8EC}"/>
                </a:ext>
              </a:extLst>
            </p:cNvPr>
            <p:cNvSpPr/>
            <p:nvPr/>
          </p:nvSpPr>
          <p:spPr>
            <a:xfrm>
              <a:off x="5060515" y="1939282"/>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Oval 19">
              <a:extLst>
                <a:ext uri="{FF2B5EF4-FFF2-40B4-BE49-F238E27FC236}">
                  <a16:creationId xmlns:a16="http://schemas.microsoft.com/office/drawing/2014/main" id="{B118CCAE-D1BC-0F4F-9387-22DDE9ECCC0D}"/>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1" name="Group 20">
            <a:extLst>
              <a:ext uri="{FF2B5EF4-FFF2-40B4-BE49-F238E27FC236}">
                <a16:creationId xmlns:a16="http://schemas.microsoft.com/office/drawing/2014/main" id="{86E49845-A2DA-9D49-8F9F-44A0F7359921}"/>
              </a:ext>
            </a:extLst>
          </p:cNvPr>
          <p:cNvGrpSpPr/>
          <p:nvPr/>
        </p:nvGrpSpPr>
        <p:grpSpPr>
          <a:xfrm>
            <a:off x="6454350" y="1875543"/>
            <a:ext cx="1327759" cy="1139869"/>
            <a:chOff x="5010366" y="1927787"/>
            <a:chExt cx="1327759" cy="1139869"/>
          </a:xfrm>
        </p:grpSpPr>
        <p:sp>
          <p:nvSpPr>
            <p:cNvPr id="22" name="Hexagon 21">
              <a:extLst>
                <a:ext uri="{FF2B5EF4-FFF2-40B4-BE49-F238E27FC236}">
                  <a16:creationId xmlns:a16="http://schemas.microsoft.com/office/drawing/2014/main" id="{195A3C94-A09A-9A43-A33D-EAF640E19FD8}"/>
                </a:ext>
              </a:extLst>
            </p:cNvPr>
            <p:cNvSpPr/>
            <p:nvPr/>
          </p:nvSpPr>
          <p:spPr>
            <a:xfrm>
              <a:off x="5010366" y="1927787"/>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 name="Oval 22">
              <a:extLst>
                <a:ext uri="{FF2B5EF4-FFF2-40B4-BE49-F238E27FC236}">
                  <a16:creationId xmlns:a16="http://schemas.microsoft.com/office/drawing/2014/main" id="{5AFFF815-69A3-F247-B5B7-EA3FFB6E2BB6}"/>
                </a:ext>
              </a:extLst>
            </p:cNvPr>
            <p:cNvSpPr/>
            <p:nvPr/>
          </p:nvSpPr>
          <p:spPr>
            <a:xfrm>
              <a:off x="5232362" y="2006415"/>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4" name="Group 23">
            <a:extLst>
              <a:ext uri="{FF2B5EF4-FFF2-40B4-BE49-F238E27FC236}">
                <a16:creationId xmlns:a16="http://schemas.microsoft.com/office/drawing/2014/main" id="{487AC486-5D27-AC43-82F2-C222EBCCC885}"/>
              </a:ext>
            </a:extLst>
          </p:cNvPr>
          <p:cNvGrpSpPr/>
          <p:nvPr/>
        </p:nvGrpSpPr>
        <p:grpSpPr>
          <a:xfrm>
            <a:off x="5352283" y="1272082"/>
            <a:ext cx="1327759" cy="1139869"/>
            <a:chOff x="5060515" y="1929008"/>
            <a:chExt cx="1327759" cy="1139869"/>
          </a:xfrm>
        </p:grpSpPr>
        <p:sp>
          <p:nvSpPr>
            <p:cNvPr id="25" name="Hexagon 24">
              <a:extLst>
                <a:ext uri="{FF2B5EF4-FFF2-40B4-BE49-F238E27FC236}">
                  <a16:creationId xmlns:a16="http://schemas.microsoft.com/office/drawing/2014/main" id="{1EC9AD10-8440-E94E-9B1A-51420D3844D0}"/>
                </a:ext>
              </a:extLst>
            </p:cNvPr>
            <p:cNvSpPr/>
            <p:nvPr/>
          </p:nvSpPr>
          <p:spPr>
            <a:xfrm>
              <a:off x="5060515" y="1929008"/>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Oval 25">
              <a:extLst>
                <a:ext uri="{FF2B5EF4-FFF2-40B4-BE49-F238E27FC236}">
                  <a16:creationId xmlns:a16="http://schemas.microsoft.com/office/drawing/2014/main" id="{E377C240-47AF-3048-886D-C98E62035EE2}"/>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8" name="Group 27">
            <a:extLst>
              <a:ext uri="{FF2B5EF4-FFF2-40B4-BE49-F238E27FC236}">
                <a16:creationId xmlns:a16="http://schemas.microsoft.com/office/drawing/2014/main" id="{B9050A09-0B2C-054B-BA71-73B459FDD087}"/>
              </a:ext>
            </a:extLst>
          </p:cNvPr>
          <p:cNvGrpSpPr/>
          <p:nvPr/>
        </p:nvGrpSpPr>
        <p:grpSpPr>
          <a:xfrm>
            <a:off x="3724079" y="3088297"/>
            <a:ext cx="1327759" cy="1139869"/>
            <a:chOff x="5060515" y="1929008"/>
            <a:chExt cx="1327759" cy="1139869"/>
          </a:xfrm>
        </p:grpSpPr>
        <p:sp>
          <p:nvSpPr>
            <p:cNvPr id="29" name="Hexagon 28">
              <a:extLst>
                <a:ext uri="{FF2B5EF4-FFF2-40B4-BE49-F238E27FC236}">
                  <a16:creationId xmlns:a16="http://schemas.microsoft.com/office/drawing/2014/main" id="{B4066B57-4C2B-2E4E-9388-2977853856D2}"/>
                </a:ext>
              </a:extLst>
            </p:cNvPr>
            <p:cNvSpPr/>
            <p:nvPr/>
          </p:nvSpPr>
          <p:spPr>
            <a:xfrm>
              <a:off x="5060515" y="1929008"/>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 name="Oval 29">
              <a:extLst>
                <a:ext uri="{FF2B5EF4-FFF2-40B4-BE49-F238E27FC236}">
                  <a16:creationId xmlns:a16="http://schemas.microsoft.com/office/drawing/2014/main" id="{DB6D6C69-3214-A446-B585-B62CF8DA7BDC}"/>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1" name="Group 30">
            <a:extLst>
              <a:ext uri="{FF2B5EF4-FFF2-40B4-BE49-F238E27FC236}">
                <a16:creationId xmlns:a16="http://schemas.microsoft.com/office/drawing/2014/main" id="{49875E6E-9082-2041-A25D-372D568E6156}"/>
              </a:ext>
            </a:extLst>
          </p:cNvPr>
          <p:cNvGrpSpPr/>
          <p:nvPr/>
        </p:nvGrpSpPr>
        <p:grpSpPr>
          <a:xfrm>
            <a:off x="4237467" y="4300367"/>
            <a:ext cx="1327759" cy="1139869"/>
            <a:chOff x="5060515" y="1929008"/>
            <a:chExt cx="1327759" cy="1139869"/>
          </a:xfrm>
        </p:grpSpPr>
        <p:sp>
          <p:nvSpPr>
            <p:cNvPr id="32" name="Hexagon 31">
              <a:extLst>
                <a:ext uri="{FF2B5EF4-FFF2-40B4-BE49-F238E27FC236}">
                  <a16:creationId xmlns:a16="http://schemas.microsoft.com/office/drawing/2014/main" id="{716FA66D-35FF-6244-8C11-7BE53FA919B5}"/>
                </a:ext>
              </a:extLst>
            </p:cNvPr>
            <p:cNvSpPr/>
            <p:nvPr/>
          </p:nvSpPr>
          <p:spPr>
            <a:xfrm>
              <a:off x="5060515" y="1929008"/>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Oval 32">
              <a:extLst>
                <a:ext uri="{FF2B5EF4-FFF2-40B4-BE49-F238E27FC236}">
                  <a16:creationId xmlns:a16="http://schemas.microsoft.com/office/drawing/2014/main" id="{76DFA617-DCA3-6248-B13B-7E32E5A9E82E}"/>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pic>
        <p:nvPicPr>
          <p:cNvPr id="40"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6773488" y="2028655"/>
            <a:ext cx="746044" cy="746044"/>
          </a:xfrm>
          <a:prstGeom prst="rect">
            <a:avLst/>
          </a:prstGeom>
        </p:spPr>
      </p:pic>
      <p:pic>
        <p:nvPicPr>
          <p:cNvPr id="58" name="Graphic 57" descr="Infinity">
            <a:extLst>
              <a:ext uri="{FF2B5EF4-FFF2-40B4-BE49-F238E27FC236}">
                <a16:creationId xmlns:a16="http://schemas.microsoft.com/office/drawing/2014/main" id="{C354EB3E-86C1-4146-B3E4-48A9530BAD6D}"/>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4490935" y="2044121"/>
            <a:ext cx="802660" cy="802660"/>
          </a:xfrm>
          <a:prstGeom prst="rect">
            <a:avLst/>
          </a:prstGeom>
        </p:spPr>
      </p:pic>
      <p:pic>
        <p:nvPicPr>
          <p:cNvPr id="64" name="Graphic 63" descr="Business Growth">
            <a:extLst>
              <a:ext uri="{FF2B5EF4-FFF2-40B4-BE49-F238E27FC236}">
                <a16:creationId xmlns:a16="http://schemas.microsoft.com/office/drawing/2014/main" id="{55D64434-D27D-AC40-8C7D-FF18E87B5F18}"/>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6791232" y="4586036"/>
            <a:ext cx="737554" cy="737554"/>
          </a:xfrm>
          <a:prstGeom prst="rect">
            <a:avLst/>
          </a:prstGeom>
        </p:spPr>
      </p:pic>
      <p:pic>
        <p:nvPicPr>
          <p:cNvPr id="68" name="Graphic 67" descr="Classroom">
            <a:extLst>
              <a:ext uri="{FF2B5EF4-FFF2-40B4-BE49-F238E27FC236}">
                <a16:creationId xmlns:a16="http://schemas.microsoft.com/office/drawing/2014/main" id="{BF56240F-A3BE-DB47-AB75-30641CF911DD}"/>
              </a:ext>
            </a:extLst>
          </p:cNvPr>
          <p:cNvPicPr>
            <a:picLocks noChangeAspect="1"/>
          </p:cNvPicPr>
          <p:nvPr/>
        </p:nvPicPr>
        <p:blipFill>
          <a:blip r:embed="rId11">
            <a:extLst>
              <a:ext uri="{96DAC541-7B7A-43D3-8B79-37D633B846F1}">
                <asvg:svgBlip xmlns:asvg="http://schemas.microsoft.com/office/drawing/2016/SVG/main" xmlns="" r:embed="rId12"/>
              </a:ext>
            </a:extLst>
          </a:blip>
          <a:stretch>
            <a:fillRect/>
          </a:stretch>
        </p:blipFill>
        <p:spPr>
          <a:xfrm>
            <a:off x="4014936" y="3285976"/>
            <a:ext cx="746044" cy="746044"/>
          </a:xfrm>
          <a:prstGeom prst="rect">
            <a:avLst/>
          </a:prstGeom>
        </p:spPr>
      </p:pic>
      <p:pic>
        <p:nvPicPr>
          <p:cNvPr id="75" name="Graphic 74" descr="Marketing">
            <a:extLst>
              <a:ext uri="{FF2B5EF4-FFF2-40B4-BE49-F238E27FC236}">
                <a16:creationId xmlns:a16="http://schemas.microsoft.com/office/drawing/2014/main" id="{8D4D1845-43F3-A342-801E-C809DE65D241}"/>
              </a:ext>
            </a:extLst>
          </p:cNvPr>
          <p:cNvPicPr>
            <a:picLocks noChangeAspect="1"/>
          </p:cNvPicPr>
          <p:nvPr/>
        </p:nvPicPr>
        <p:blipFill>
          <a:blip r:embed="rId13">
            <a:extLst>
              <a:ext uri="{96DAC541-7B7A-43D3-8B79-37D633B846F1}">
                <asvg:svgBlip xmlns:asvg="http://schemas.microsoft.com/office/drawing/2016/SVG/main" xmlns="" r:embed="rId14"/>
              </a:ext>
            </a:extLst>
          </a:blip>
          <a:stretch>
            <a:fillRect/>
          </a:stretch>
        </p:blipFill>
        <p:spPr>
          <a:xfrm>
            <a:off x="5717999" y="5148638"/>
            <a:ext cx="676431" cy="676431"/>
          </a:xfrm>
          <a:prstGeom prst="rect">
            <a:avLst/>
          </a:prstGeom>
        </p:spPr>
      </p:pic>
      <p:sp>
        <p:nvSpPr>
          <p:cNvPr id="85" name="Line Callout 2 (Accent Bar) 84">
            <a:extLst>
              <a:ext uri="{FF2B5EF4-FFF2-40B4-BE49-F238E27FC236}">
                <a16:creationId xmlns:a16="http://schemas.microsoft.com/office/drawing/2014/main" id="{017DF7B1-DFC2-A341-B3D6-128F429721DC}"/>
              </a:ext>
            </a:extLst>
          </p:cNvPr>
          <p:cNvSpPr/>
          <p:nvPr/>
        </p:nvSpPr>
        <p:spPr>
          <a:xfrm>
            <a:off x="1154612" y="907297"/>
            <a:ext cx="2328574" cy="817625"/>
          </a:xfrm>
          <a:prstGeom prst="accentCallout2">
            <a:avLst>
              <a:gd name="adj1" fmla="val 73902"/>
              <a:gd name="adj2" fmla="val 99732"/>
              <a:gd name="adj3" fmla="val 76415"/>
              <a:gd name="adj4" fmla="val 118610"/>
              <a:gd name="adj5" fmla="val 137236"/>
              <a:gd name="adj6" fmla="val 135932"/>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C</a:t>
            </a:r>
            <a:r>
              <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ontinuou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ontinuously Integra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ontinuously Deliver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ontinuously Opera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ontinuously Improving (Metrics &amp; Measurement)</a:t>
            </a:r>
          </a:p>
        </p:txBody>
      </p:sp>
      <p:sp>
        <p:nvSpPr>
          <p:cNvPr id="88" name="Line Callout 2 (Accent Bar) 87">
            <a:extLst>
              <a:ext uri="{FF2B5EF4-FFF2-40B4-BE49-F238E27FC236}">
                <a16:creationId xmlns:a16="http://schemas.microsoft.com/office/drawing/2014/main" id="{728DA1AB-D7CD-494C-933A-FAEE70C78848}"/>
              </a:ext>
            </a:extLst>
          </p:cNvPr>
          <p:cNvSpPr/>
          <p:nvPr/>
        </p:nvSpPr>
        <p:spPr>
          <a:xfrm>
            <a:off x="798302" y="2705521"/>
            <a:ext cx="2328574" cy="817625"/>
          </a:xfrm>
          <a:prstGeom prst="accentCallout2">
            <a:avLst>
              <a:gd name="adj1" fmla="val 32968"/>
              <a:gd name="adj2" fmla="val 95805"/>
              <a:gd name="adj3" fmla="val 29474"/>
              <a:gd name="adj4" fmla="val 115320"/>
              <a:gd name="adj5" fmla="val 66730"/>
              <a:gd name="adj6" fmla="val 128701"/>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C</a:t>
            </a:r>
            <a:r>
              <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ompetency </a:t>
            </a:r>
            <a:r>
              <a:rPr kumimoji="0" lang="en-US" sz="20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C</a:t>
            </a:r>
            <a:r>
              <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ent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ontinuous, Accelerated Learn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apabilities Mode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urriculu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oach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uriosity (R&amp;D)</a:t>
            </a:r>
          </a:p>
        </p:txBody>
      </p:sp>
      <p:pic>
        <p:nvPicPr>
          <p:cNvPr id="98" name="Graphic 97" descr="Group">
            <a:extLst>
              <a:ext uri="{FF2B5EF4-FFF2-40B4-BE49-F238E27FC236}">
                <a16:creationId xmlns:a16="http://schemas.microsoft.com/office/drawing/2014/main" id="{8A7059D7-B129-1E41-9897-43233F1C639E}"/>
              </a:ext>
            </a:extLst>
          </p:cNvPr>
          <p:cNvPicPr>
            <a:picLocks noChangeAspect="1"/>
          </p:cNvPicPr>
          <p:nvPr/>
        </p:nvPicPr>
        <p:blipFill>
          <a:blip r:embed="rId15">
            <a:extLst>
              <a:ext uri="{96DAC541-7B7A-43D3-8B79-37D633B846F1}">
                <asvg:svgBlip xmlns:asvg="http://schemas.microsoft.com/office/drawing/2016/SVG/main" xmlns="" r:embed="rId16"/>
              </a:ext>
            </a:extLst>
          </a:blip>
          <a:stretch>
            <a:fillRect/>
          </a:stretch>
        </p:blipFill>
        <p:spPr>
          <a:xfrm>
            <a:off x="4616562" y="4766613"/>
            <a:ext cx="589001" cy="589001"/>
          </a:xfrm>
          <a:prstGeom prst="rect">
            <a:avLst/>
          </a:prstGeom>
        </p:spPr>
      </p:pic>
      <p:pic>
        <p:nvPicPr>
          <p:cNvPr id="100" name="Graphic 99" descr="Deciduous tree">
            <a:extLst>
              <a:ext uri="{FF2B5EF4-FFF2-40B4-BE49-F238E27FC236}">
                <a16:creationId xmlns:a16="http://schemas.microsoft.com/office/drawing/2014/main" id="{9819F59A-89A2-CD4D-BAEB-BF00779C9851}"/>
              </a:ext>
            </a:extLst>
          </p:cNvPr>
          <p:cNvPicPr>
            <a:picLocks noChangeAspect="1"/>
          </p:cNvPicPr>
          <p:nvPr/>
        </p:nvPicPr>
        <p:blipFill>
          <a:blip r:embed="rId17">
            <a:extLst>
              <a:ext uri="{96DAC541-7B7A-43D3-8B79-37D633B846F1}">
                <asvg:svgBlip xmlns:asvg="http://schemas.microsoft.com/office/drawing/2016/SVG/main" xmlns="" r:embed="rId18"/>
              </a:ext>
            </a:extLst>
          </a:blip>
          <a:stretch>
            <a:fillRect/>
          </a:stretch>
        </p:blipFill>
        <p:spPr>
          <a:xfrm>
            <a:off x="4535630" y="4465739"/>
            <a:ext cx="523213" cy="523213"/>
          </a:xfrm>
          <a:prstGeom prst="rect">
            <a:avLst/>
          </a:prstGeom>
        </p:spPr>
      </p:pic>
      <p:sp>
        <p:nvSpPr>
          <p:cNvPr id="44" name="Line Callout 2 (Accent Bar) 43">
            <a:extLst>
              <a:ext uri="{FF2B5EF4-FFF2-40B4-BE49-F238E27FC236}">
                <a16:creationId xmlns:a16="http://schemas.microsoft.com/office/drawing/2014/main" id="{41F370FD-BC91-574A-8043-9D94C10B0433}"/>
              </a:ext>
            </a:extLst>
          </p:cNvPr>
          <p:cNvSpPr/>
          <p:nvPr/>
        </p:nvSpPr>
        <p:spPr>
          <a:xfrm>
            <a:off x="9025438" y="3025686"/>
            <a:ext cx="2841298" cy="817625"/>
          </a:xfrm>
          <a:prstGeom prst="accentCallout2">
            <a:avLst>
              <a:gd name="adj1" fmla="val 23398"/>
              <a:gd name="adj2" fmla="val -8695"/>
              <a:gd name="adj3" fmla="val 25635"/>
              <a:gd name="adj4" fmla="val -19092"/>
              <a:gd name="adj5" fmla="val -20337"/>
              <a:gd name="adj6" fmla="val -47153"/>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C</a:t>
            </a:r>
            <a:r>
              <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ross</a:t>
            </a:r>
            <a:r>
              <a:rPr kumimoji="0" lang="en-US" sz="20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F</a:t>
            </a:r>
            <a:r>
              <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unctional</a:t>
            </a:r>
            <a:r>
              <a:rPr kumimoji="0" lang="en-US" sz="20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 T</a:t>
            </a:r>
            <a:r>
              <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ea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Dev + O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Full Stack Tea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You Build It You Own 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Agile Practices</a:t>
            </a:r>
          </a:p>
        </p:txBody>
      </p:sp>
      <p:sp>
        <p:nvSpPr>
          <p:cNvPr id="48" name="Line Callout 2 (Accent Bar) 47">
            <a:extLst>
              <a:ext uri="{FF2B5EF4-FFF2-40B4-BE49-F238E27FC236}">
                <a16:creationId xmlns:a16="http://schemas.microsoft.com/office/drawing/2014/main" id="{38C7A757-63B5-E04A-8C88-60CC017F7C85}"/>
              </a:ext>
            </a:extLst>
          </p:cNvPr>
          <p:cNvSpPr/>
          <p:nvPr/>
        </p:nvSpPr>
        <p:spPr>
          <a:xfrm>
            <a:off x="1198863" y="4471173"/>
            <a:ext cx="2225893" cy="817625"/>
          </a:xfrm>
          <a:prstGeom prst="accentCallout2">
            <a:avLst>
              <a:gd name="adj1" fmla="val 27942"/>
              <a:gd name="adj2" fmla="val 98453"/>
              <a:gd name="adj3" fmla="val 67292"/>
              <a:gd name="adj4" fmla="val 118089"/>
              <a:gd name="adj5" fmla="val 72410"/>
              <a:gd name="adj6" fmla="val 136530"/>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E7E6E6">
                    <a:lumMod val="50000"/>
                  </a:srgbClr>
                </a:solidFill>
                <a:effectLst/>
                <a:uLnTx/>
                <a:uFillTx/>
                <a:latin typeface="Calibri" panose="020F0502020204030204"/>
                <a:ea typeface="+mn-ea"/>
                <a:cs typeface="+mn-cs"/>
              </a:rPr>
              <a:t>C</a:t>
            </a:r>
            <a:r>
              <a:rPr kumimoji="0" lang="en-US" sz="1400" b="1" i="0" u="sng" strike="noStrike" kern="1200" cap="none" spc="0" normalizeH="0" baseline="0" noProof="0" dirty="0">
                <a:ln>
                  <a:noFill/>
                </a:ln>
                <a:solidFill>
                  <a:srgbClr val="E7E6E6">
                    <a:lumMod val="50000"/>
                  </a:srgbClr>
                </a:solidFill>
                <a:effectLst/>
                <a:uLnTx/>
                <a:uFillTx/>
                <a:latin typeface="Calibri" panose="020F0502020204030204"/>
                <a:ea typeface="+mn-ea"/>
                <a:cs typeface="+mn-cs"/>
              </a:rPr>
              <a:t>ommunity Building</a:t>
            </a:r>
            <a:endParaRPr kumimoji="0" lang="en-US" sz="14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rPr>
              <a:t>Tech Exchanges/Meetu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rPr>
              <a:t>DevOps Day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rPr>
              <a:t>Hack-a-th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rPr>
              <a:t>Gamific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endParaRPr>
          </a:p>
        </p:txBody>
      </p:sp>
      <p:sp>
        <p:nvSpPr>
          <p:cNvPr id="45" name="Line Callout 2 (Accent Bar) 44">
            <a:extLst>
              <a:ext uri="{FF2B5EF4-FFF2-40B4-BE49-F238E27FC236}">
                <a16:creationId xmlns:a16="http://schemas.microsoft.com/office/drawing/2014/main" id="{994D3DE4-11BC-704C-A9CB-AAC96F2C6D09}"/>
              </a:ext>
            </a:extLst>
          </p:cNvPr>
          <p:cNvSpPr/>
          <p:nvPr/>
        </p:nvSpPr>
        <p:spPr>
          <a:xfrm>
            <a:off x="8286271" y="1154716"/>
            <a:ext cx="3499842" cy="817625"/>
          </a:xfrm>
          <a:prstGeom prst="accentCallout2">
            <a:avLst>
              <a:gd name="adj1" fmla="val 43262"/>
              <a:gd name="adj2" fmla="val -6543"/>
              <a:gd name="adj3" fmla="val 38511"/>
              <a:gd name="adj4" fmla="val -26061"/>
              <a:gd name="adj5" fmla="val 54491"/>
              <a:gd name="adj6" fmla="val -47782"/>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smtClean="0">
                <a:ln>
                  <a:noFill/>
                </a:ln>
                <a:solidFill>
                  <a:srgbClr val="E7E6E6">
                    <a:lumMod val="90000"/>
                  </a:srgbClr>
                </a:solidFill>
                <a:effectLst/>
                <a:uLnTx/>
                <a:uFillTx/>
                <a:latin typeface="Calibri" panose="020F0502020204030204"/>
                <a:ea typeface="+mn-ea"/>
                <a:cs typeface="+mn-cs"/>
              </a:rPr>
              <a:t>Construction</a:t>
            </a:r>
            <a:endPar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oupling (loose) - Microserv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Everything is Co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I/CD Pipelin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loud, Containers, Configuration Automation (Orchestr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yber and Compliance Obsess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haos Tes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Inner-sourced, self-service</a:t>
            </a:r>
          </a:p>
        </p:txBody>
      </p:sp>
      <p:pic>
        <p:nvPicPr>
          <p:cNvPr id="46" name="Graphic 45" descr="Drawing compass">
            <a:extLst>
              <a:ext uri="{FF2B5EF4-FFF2-40B4-BE49-F238E27FC236}">
                <a16:creationId xmlns:a16="http://schemas.microsoft.com/office/drawing/2014/main" id="{6055AD77-A1A0-DB4F-9814-E9621830733C}"/>
              </a:ext>
            </a:extLst>
          </p:cNvPr>
          <p:cNvPicPr>
            <a:picLocks noChangeAspect="1"/>
          </p:cNvPicPr>
          <p:nvPr/>
        </p:nvPicPr>
        <p:blipFill>
          <a:blip r:embed="rId19">
            <a:extLst>
              <a:ext uri="{96DAC541-7B7A-43D3-8B79-37D633B846F1}">
                <asvg:svgBlip xmlns:asvg="http://schemas.microsoft.com/office/drawing/2016/SVG/main" xmlns="" r:embed="rId20"/>
              </a:ext>
            </a:extLst>
          </a:blip>
          <a:stretch>
            <a:fillRect/>
          </a:stretch>
        </p:blipFill>
        <p:spPr>
          <a:xfrm>
            <a:off x="5635015" y="1473386"/>
            <a:ext cx="737259" cy="737259"/>
          </a:xfrm>
          <a:prstGeom prst="rect">
            <a:avLst/>
          </a:prstGeom>
        </p:spPr>
      </p:pic>
      <p:sp>
        <p:nvSpPr>
          <p:cNvPr id="47" name="Title 1">
            <a:extLst>
              <a:ext uri="{FF2B5EF4-FFF2-40B4-BE49-F238E27FC236}">
                <a16:creationId xmlns:a16="http://schemas.microsoft.com/office/drawing/2014/main" id="{648B3105-E607-EE4A-B572-AC12FB342C11}"/>
              </a:ext>
            </a:extLst>
          </p:cNvPr>
          <p:cNvSpPr txBox="1">
            <a:spLocks/>
          </p:cNvSpPr>
          <p:nvPr/>
        </p:nvSpPr>
        <p:spPr>
          <a:xfrm>
            <a:off x="41042" y="-336195"/>
            <a:ext cx="11979667" cy="13255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smtClean="0">
                <a:ln>
                  <a:noFill/>
                </a:ln>
                <a:effectLst/>
                <a:uLnTx/>
                <a:uFillTx/>
                <a:latin typeface="Arial" panose="020B0604020202020204" pitchFamily="34" charset="0"/>
                <a:ea typeface="Optimist" panose="020B0603020204030204" pitchFamily="34" charset="77"/>
                <a:cs typeface="Arial" panose="020B0604020202020204" pitchFamily="34" charset="0"/>
              </a:rPr>
              <a:t>Build </a:t>
            </a:r>
            <a:r>
              <a:rPr kumimoji="0" lang="en-US" sz="2800" b="1" i="0" u="none" strike="noStrike" kern="1200" cap="none" spc="0" normalizeH="0" baseline="0" noProof="0" dirty="0">
                <a:ln>
                  <a:noFill/>
                </a:ln>
                <a:effectLst/>
                <a:uLnTx/>
                <a:uFillTx/>
                <a:latin typeface="Arial" panose="020B0604020202020204" pitchFamily="34" charset="0"/>
                <a:ea typeface="Optimist" panose="020B0603020204030204" pitchFamily="34" charset="77"/>
                <a:cs typeface="Arial" panose="020B0604020202020204" pitchFamily="34" charset="0"/>
              </a:rPr>
              <a:t>an Internal </a:t>
            </a:r>
            <a:r>
              <a:rPr kumimoji="0" lang="en-US" sz="2800" b="1" i="0" u="sng" strike="noStrike" kern="1200" cap="none" spc="0" normalizeH="0" baseline="0" noProof="0" dirty="0">
                <a:ln>
                  <a:noFill/>
                </a:ln>
                <a:effectLst/>
                <a:uLnTx/>
                <a:uFillTx/>
                <a:latin typeface="Arial" panose="020B0604020202020204" pitchFamily="34" charset="0"/>
                <a:ea typeface="Optimist" panose="020B0603020204030204" pitchFamily="34" charset="77"/>
                <a:cs typeface="Arial" panose="020B0604020202020204" pitchFamily="34" charset="0"/>
              </a:rPr>
              <a:t>C</a:t>
            </a:r>
            <a:r>
              <a:rPr kumimoji="0" lang="en-US" sz="2800" b="1" i="0" u="none" strike="noStrike" kern="1200" cap="none" spc="0" normalizeH="0" baseline="0" noProof="0" dirty="0">
                <a:ln>
                  <a:noFill/>
                </a:ln>
                <a:effectLst/>
                <a:uLnTx/>
                <a:uFillTx/>
                <a:latin typeface="Arial" panose="020B0604020202020204" pitchFamily="34" charset="0"/>
                <a:ea typeface="Optimist" panose="020B0603020204030204" pitchFamily="34" charset="77"/>
                <a:cs typeface="Arial" panose="020B0604020202020204" pitchFamily="34" charset="0"/>
              </a:rPr>
              <a:t>ommunity</a:t>
            </a:r>
          </a:p>
        </p:txBody>
      </p:sp>
      <p:grpSp>
        <p:nvGrpSpPr>
          <p:cNvPr id="41" name="Group 40">
            <a:extLst>
              <a:ext uri="{FF2B5EF4-FFF2-40B4-BE49-F238E27FC236}">
                <a16:creationId xmlns:a16="http://schemas.microsoft.com/office/drawing/2014/main" id="{FEFE145E-116E-024B-BFE4-7387B351B02B}"/>
              </a:ext>
            </a:extLst>
          </p:cNvPr>
          <p:cNvGrpSpPr/>
          <p:nvPr/>
        </p:nvGrpSpPr>
        <p:grpSpPr>
          <a:xfrm>
            <a:off x="5106819" y="2558864"/>
            <a:ext cx="1848115" cy="2243377"/>
            <a:chOff x="5181053" y="2387398"/>
            <a:chExt cx="1905053" cy="2392369"/>
          </a:xfrm>
          <a:solidFill>
            <a:schemeClr val="tx2">
              <a:lumMod val="60000"/>
              <a:lumOff val="40000"/>
            </a:schemeClr>
          </a:solidFill>
        </p:grpSpPr>
        <p:sp>
          <p:nvSpPr>
            <p:cNvPr id="42" name="Trapezoid 41">
              <a:extLst>
                <a:ext uri="{FF2B5EF4-FFF2-40B4-BE49-F238E27FC236}">
                  <a16:creationId xmlns:a16="http://schemas.microsoft.com/office/drawing/2014/main" id="{9089DC7D-01DF-6D4B-8B24-7DD495004B9D}"/>
                </a:ext>
              </a:extLst>
            </p:cNvPr>
            <p:cNvSpPr/>
            <p:nvPr/>
          </p:nvSpPr>
          <p:spPr>
            <a:xfrm>
              <a:off x="5181053" y="2387398"/>
              <a:ext cx="1905052" cy="1199287"/>
            </a:xfrm>
            <a:prstGeom prst="trapezoid">
              <a:avLst>
                <a:gd name="adj" fmla="val 5068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timist" panose="020B0603020204030204" pitchFamily="34" charset="77"/>
                <a:ea typeface="Optimist" panose="020B0603020204030204" pitchFamily="34" charset="77"/>
                <a:cs typeface="Optimist" panose="020B0603020204030204" pitchFamily="34" charset="77"/>
              </a:endParaRPr>
            </a:p>
          </p:txBody>
        </p:sp>
        <p:sp>
          <p:nvSpPr>
            <p:cNvPr id="43" name="Trapezoid 42">
              <a:extLst>
                <a:ext uri="{FF2B5EF4-FFF2-40B4-BE49-F238E27FC236}">
                  <a16:creationId xmlns:a16="http://schemas.microsoft.com/office/drawing/2014/main" id="{F0990FBB-1CEE-9F47-831C-62D2ED8DA28E}"/>
                </a:ext>
              </a:extLst>
            </p:cNvPr>
            <p:cNvSpPr/>
            <p:nvPr/>
          </p:nvSpPr>
          <p:spPr>
            <a:xfrm rot="10800000">
              <a:off x="5181054" y="3580480"/>
              <a:ext cx="1905052" cy="1199287"/>
            </a:xfrm>
            <a:prstGeom prst="trapezoid">
              <a:avLst>
                <a:gd name="adj" fmla="val 5068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timist" panose="020B0603020204030204" pitchFamily="34" charset="77"/>
                <a:ea typeface="Optimist" panose="020B0603020204030204" pitchFamily="34" charset="77"/>
                <a:cs typeface="Optimist" panose="020B0603020204030204" pitchFamily="34" charset="77"/>
              </a:endParaRPr>
            </a:p>
          </p:txBody>
        </p:sp>
      </p:grpSp>
      <p:pic>
        <p:nvPicPr>
          <p:cNvPr id="2" name="Audio 1">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21"/>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2885280422"/>
      </p:ext>
    </p:extLst>
  </p:cSld>
  <p:clrMapOvr>
    <a:masterClrMapping/>
  </p:clrMapOvr>
  <mc:AlternateContent xmlns:mc="http://schemas.openxmlformats.org/markup-compatibility/2006" xmlns:p14="http://schemas.microsoft.com/office/powerpoint/2010/main">
    <mc:Choice Requires="p14">
      <p:transition spd="slow" p14:dur="2000" advTm="224"/>
    </mc:Choice>
    <mc:Fallback xmlns="">
      <p:transition spd="slow" advTm="22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C63C8F31-85BB-3446-8845-A8E582F67F69}"/>
              </a:ext>
            </a:extLst>
          </p:cNvPr>
          <p:cNvGrpSpPr/>
          <p:nvPr/>
        </p:nvGrpSpPr>
        <p:grpSpPr>
          <a:xfrm>
            <a:off x="6403146" y="4611872"/>
            <a:ext cx="1327759" cy="1139869"/>
            <a:chOff x="5070789" y="1939282"/>
            <a:chExt cx="1327759" cy="1139869"/>
          </a:xfrm>
        </p:grpSpPr>
        <p:sp>
          <p:nvSpPr>
            <p:cNvPr id="16" name="Hexagon 15">
              <a:extLst>
                <a:ext uri="{FF2B5EF4-FFF2-40B4-BE49-F238E27FC236}">
                  <a16:creationId xmlns:a16="http://schemas.microsoft.com/office/drawing/2014/main" id="{2AFF78F1-47D2-1745-8795-EF255C8EA5A1}"/>
                </a:ext>
              </a:extLst>
            </p:cNvPr>
            <p:cNvSpPr/>
            <p:nvPr/>
          </p:nvSpPr>
          <p:spPr>
            <a:xfrm>
              <a:off x="5070789" y="1939282"/>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Oval 16">
              <a:extLst>
                <a:ext uri="{FF2B5EF4-FFF2-40B4-BE49-F238E27FC236}">
                  <a16:creationId xmlns:a16="http://schemas.microsoft.com/office/drawing/2014/main" id="{CDC8B414-8CF1-F046-A3F5-CBB83DAFDEE0}"/>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1" name="Group 10">
            <a:extLst>
              <a:ext uri="{FF2B5EF4-FFF2-40B4-BE49-F238E27FC236}">
                <a16:creationId xmlns:a16="http://schemas.microsoft.com/office/drawing/2014/main" id="{4621E9BC-85CC-B845-B9AC-A5381FA702EB}"/>
              </a:ext>
            </a:extLst>
          </p:cNvPr>
          <p:cNvGrpSpPr/>
          <p:nvPr/>
        </p:nvGrpSpPr>
        <p:grpSpPr>
          <a:xfrm>
            <a:off x="4223203" y="2171256"/>
            <a:ext cx="1327759" cy="1139869"/>
            <a:chOff x="5060515" y="1929008"/>
            <a:chExt cx="1327759" cy="1139869"/>
          </a:xfrm>
        </p:grpSpPr>
        <p:sp>
          <p:nvSpPr>
            <p:cNvPr id="9" name="Hexagon 8">
              <a:extLst>
                <a:ext uri="{FF2B5EF4-FFF2-40B4-BE49-F238E27FC236}">
                  <a16:creationId xmlns:a16="http://schemas.microsoft.com/office/drawing/2014/main" id="{54D738F2-39C0-3B48-B7C8-EBAC492968BA}"/>
                </a:ext>
              </a:extLst>
            </p:cNvPr>
            <p:cNvSpPr/>
            <p:nvPr/>
          </p:nvSpPr>
          <p:spPr>
            <a:xfrm>
              <a:off x="5060515" y="1929008"/>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Oval 9">
              <a:extLst>
                <a:ext uri="{FF2B5EF4-FFF2-40B4-BE49-F238E27FC236}">
                  <a16:creationId xmlns:a16="http://schemas.microsoft.com/office/drawing/2014/main" id="{86F49C9F-78E8-1D4C-8236-A50B12136739}"/>
                </a:ext>
              </a:extLst>
            </p:cNvPr>
            <p:cNvSpPr/>
            <p:nvPr/>
          </p:nvSpPr>
          <p:spPr>
            <a:xfrm>
              <a:off x="5262582" y="2010475"/>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8" name="Group 17">
            <a:extLst>
              <a:ext uri="{FF2B5EF4-FFF2-40B4-BE49-F238E27FC236}">
                <a16:creationId xmlns:a16="http://schemas.microsoft.com/office/drawing/2014/main" id="{26D3A469-AE19-1C47-851C-D17BEE7FAE43}"/>
              </a:ext>
            </a:extLst>
          </p:cNvPr>
          <p:cNvGrpSpPr/>
          <p:nvPr/>
        </p:nvGrpSpPr>
        <p:grpSpPr>
          <a:xfrm>
            <a:off x="5303500" y="5206858"/>
            <a:ext cx="1327759" cy="1139869"/>
            <a:chOff x="5060515" y="1939282"/>
            <a:chExt cx="1327759" cy="1139869"/>
          </a:xfrm>
        </p:grpSpPr>
        <p:sp>
          <p:nvSpPr>
            <p:cNvPr id="19" name="Hexagon 18">
              <a:extLst>
                <a:ext uri="{FF2B5EF4-FFF2-40B4-BE49-F238E27FC236}">
                  <a16:creationId xmlns:a16="http://schemas.microsoft.com/office/drawing/2014/main" id="{9B687A28-7D32-FE4B-9FEB-8481249DC8EC}"/>
                </a:ext>
              </a:extLst>
            </p:cNvPr>
            <p:cNvSpPr/>
            <p:nvPr/>
          </p:nvSpPr>
          <p:spPr>
            <a:xfrm>
              <a:off x="5060515" y="1939282"/>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Oval 19">
              <a:extLst>
                <a:ext uri="{FF2B5EF4-FFF2-40B4-BE49-F238E27FC236}">
                  <a16:creationId xmlns:a16="http://schemas.microsoft.com/office/drawing/2014/main" id="{B118CCAE-D1BC-0F4F-9387-22DDE9ECCC0D}"/>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1" name="Group 20">
            <a:extLst>
              <a:ext uri="{FF2B5EF4-FFF2-40B4-BE49-F238E27FC236}">
                <a16:creationId xmlns:a16="http://schemas.microsoft.com/office/drawing/2014/main" id="{86E49845-A2DA-9D49-8F9F-44A0F7359921}"/>
              </a:ext>
            </a:extLst>
          </p:cNvPr>
          <p:cNvGrpSpPr/>
          <p:nvPr/>
        </p:nvGrpSpPr>
        <p:grpSpPr>
          <a:xfrm>
            <a:off x="6428748" y="2165469"/>
            <a:ext cx="1327759" cy="1139869"/>
            <a:chOff x="5010366" y="1927787"/>
            <a:chExt cx="1327759" cy="1139869"/>
          </a:xfrm>
        </p:grpSpPr>
        <p:sp>
          <p:nvSpPr>
            <p:cNvPr id="22" name="Hexagon 21">
              <a:extLst>
                <a:ext uri="{FF2B5EF4-FFF2-40B4-BE49-F238E27FC236}">
                  <a16:creationId xmlns:a16="http://schemas.microsoft.com/office/drawing/2014/main" id="{195A3C94-A09A-9A43-A33D-EAF640E19FD8}"/>
                </a:ext>
              </a:extLst>
            </p:cNvPr>
            <p:cNvSpPr/>
            <p:nvPr/>
          </p:nvSpPr>
          <p:spPr>
            <a:xfrm>
              <a:off x="5010366" y="1927787"/>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 name="Oval 22">
              <a:extLst>
                <a:ext uri="{FF2B5EF4-FFF2-40B4-BE49-F238E27FC236}">
                  <a16:creationId xmlns:a16="http://schemas.microsoft.com/office/drawing/2014/main" id="{5AFFF815-69A3-F247-B5B7-EA3FFB6E2BB6}"/>
                </a:ext>
              </a:extLst>
            </p:cNvPr>
            <p:cNvSpPr/>
            <p:nvPr/>
          </p:nvSpPr>
          <p:spPr>
            <a:xfrm>
              <a:off x="5232362" y="2006415"/>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4" name="Group 23">
            <a:extLst>
              <a:ext uri="{FF2B5EF4-FFF2-40B4-BE49-F238E27FC236}">
                <a16:creationId xmlns:a16="http://schemas.microsoft.com/office/drawing/2014/main" id="{487AC486-5D27-AC43-82F2-C222EBCCC885}"/>
              </a:ext>
            </a:extLst>
          </p:cNvPr>
          <p:cNvGrpSpPr/>
          <p:nvPr/>
        </p:nvGrpSpPr>
        <p:grpSpPr>
          <a:xfrm>
            <a:off x="5326681" y="1562008"/>
            <a:ext cx="1327759" cy="1139869"/>
            <a:chOff x="5060515" y="1929008"/>
            <a:chExt cx="1327759" cy="1139869"/>
          </a:xfrm>
        </p:grpSpPr>
        <p:sp>
          <p:nvSpPr>
            <p:cNvPr id="25" name="Hexagon 24">
              <a:extLst>
                <a:ext uri="{FF2B5EF4-FFF2-40B4-BE49-F238E27FC236}">
                  <a16:creationId xmlns:a16="http://schemas.microsoft.com/office/drawing/2014/main" id="{1EC9AD10-8440-E94E-9B1A-51420D3844D0}"/>
                </a:ext>
              </a:extLst>
            </p:cNvPr>
            <p:cNvSpPr/>
            <p:nvPr/>
          </p:nvSpPr>
          <p:spPr>
            <a:xfrm>
              <a:off x="5060515" y="1929008"/>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Oval 25">
              <a:extLst>
                <a:ext uri="{FF2B5EF4-FFF2-40B4-BE49-F238E27FC236}">
                  <a16:creationId xmlns:a16="http://schemas.microsoft.com/office/drawing/2014/main" id="{E377C240-47AF-3048-886D-C98E62035EE2}"/>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8" name="Group 27">
            <a:extLst>
              <a:ext uri="{FF2B5EF4-FFF2-40B4-BE49-F238E27FC236}">
                <a16:creationId xmlns:a16="http://schemas.microsoft.com/office/drawing/2014/main" id="{B9050A09-0B2C-054B-BA71-73B459FDD087}"/>
              </a:ext>
            </a:extLst>
          </p:cNvPr>
          <p:cNvGrpSpPr/>
          <p:nvPr/>
        </p:nvGrpSpPr>
        <p:grpSpPr>
          <a:xfrm>
            <a:off x="3698477" y="3378223"/>
            <a:ext cx="1327759" cy="1139869"/>
            <a:chOff x="5060515" y="1929008"/>
            <a:chExt cx="1327759" cy="1139869"/>
          </a:xfrm>
        </p:grpSpPr>
        <p:sp>
          <p:nvSpPr>
            <p:cNvPr id="29" name="Hexagon 28">
              <a:extLst>
                <a:ext uri="{FF2B5EF4-FFF2-40B4-BE49-F238E27FC236}">
                  <a16:creationId xmlns:a16="http://schemas.microsoft.com/office/drawing/2014/main" id="{B4066B57-4C2B-2E4E-9388-2977853856D2}"/>
                </a:ext>
              </a:extLst>
            </p:cNvPr>
            <p:cNvSpPr/>
            <p:nvPr/>
          </p:nvSpPr>
          <p:spPr>
            <a:xfrm>
              <a:off x="5060515" y="1929008"/>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 name="Oval 29">
              <a:extLst>
                <a:ext uri="{FF2B5EF4-FFF2-40B4-BE49-F238E27FC236}">
                  <a16:creationId xmlns:a16="http://schemas.microsoft.com/office/drawing/2014/main" id="{DB6D6C69-3214-A446-B585-B62CF8DA7BDC}"/>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1" name="Group 30">
            <a:extLst>
              <a:ext uri="{FF2B5EF4-FFF2-40B4-BE49-F238E27FC236}">
                <a16:creationId xmlns:a16="http://schemas.microsoft.com/office/drawing/2014/main" id="{49875E6E-9082-2041-A25D-372D568E6156}"/>
              </a:ext>
            </a:extLst>
          </p:cNvPr>
          <p:cNvGrpSpPr/>
          <p:nvPr/>
        </p:nvGrpSpPr>
        <p:grpSpPr>
          <a:xfrm>
            <a:off x="4211865" y="4590293"/>
            <a:ext cx="1327759" cy="1139869"/>
            <a:chOff x="5060515" y="1929008"/>
            <a:chExt cx="1327759" cy="1139869"/>
          </a:xfrm>
        </p:grpSpPr>
        <p:sp>
          <p:nvSpPr>
            <p:cNvPr id="32" name="Hexagon 31">
              <a:extLst>
                <a:ext uri="{FF2B5EF4-FFF2-40B4-BE49-F238E27FC236}">
                  <a16:creationId xmlns:a16="http://schemas.microsoft.com/office/drawing/2014/main" id="{716FA66D-35FF-6244-8C11-7BE53FA919B5}"/>
                </a:ext>
              </a:extLst>
            </p:cNvPr>
            <p:cNvSpPr/>
            <p:nvPr/>
          </p:nvSpPr>
          <p:spPr>
            <a:xfrm>
              <a:off x="5060515" y="1929008"/>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Oval 32">
              <a:extLst>
                <a:ext uri="{FF2B5EF4-FFF2-40B4-BE49-F238E27FC236}">
                  <a16:creationId xmlns:a16="http://schemas.microsoft.com/office/drawing/2014/main" id="{76DFA617-DCA3-6248-B13B-7E32E5A9E82E}"/>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pic>
        <p:nvPicPr>
          <p:cNvPr id="40"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6747886" y="2318581"/>
            <a:ext cx="746044" cy="746044"/>
          </a:xfrm>
          <a:prstGeom prst="rect">
            <a:avLst/>
          </a:prstGeom>
        </p:spPr>
      </p:pic>
      <p:pic>
        <p:nvPicPr>
          <p:cNvPr id="58" name="Graphic 57" descr="Infinity">
            <a:extLst>
              <a:ext uri="{FF2B5EF4-FFF2-40B4-BE49-F238E27FC236}">
                <a16:creationId xmlns:a16="http://schemas.microsoft.com/office/drawing/2014/main" id="{C354EB3E-86C1-4146-B3E4-48A9530BAD6D}"/>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4465333" y="2334047"/>
            <a:ext cx="802660" cy="802660"/>
          </a:xfrm>
          <a:prstGeom prst="rect">
            <a:avLst/>
          </a:prstGeom>
        </p:spPr>
      </p:pic>
      <p:pic>
        <p:nvPicPr>
          <p:cNvPr id="64" name="Graphic 63" descr="Business Growth">
            <a:extLst>
              <a:ext uri="{FF2B5EF4-FFF2-40B4-BE49-F238E27FC236}">
                <a16:creationId xmlns:a16="http://schemas.microsoft.com/office/drawing/2014/main" id="{55D64434-D27D-AC40-8C7D-FF18E87B5F18}"/>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6765630" y="4875962"/>
            <a:ext cx="737554" cy="737554"/>
          </a:xfrm>
          <a:prstGeom prst="rect">
            <a:avLst/>
          </a:prstGeom>
        </p:spPr>
      </p:pic>
      <p:pic>
        <p:nvPicPr>
          <p:cNvPr id="68" name="Graphic 67" descr="Classroom">
            <a:extLst>
              <a:ext uri="{FF2B5EF4-FFF2-40B4-BE49-F238E27FC236}">
                <a16:creationId xmlns:a16="http://schemas.microsoft.com/office/drawing/2014/main" id="{BF56240F-A3BE-DB47-AB75-30641CF911DD}"/>
              </a:ext>
            </a:extLst>
          </p:cNvPr>
          <p:cNvPicPr>
            <a:picLocks noChangeAspect="1"/>
          </p:cNvPicPr>
          <p:nvPr/>
        </p:nvPicPr>
        <p:blipFill>
          <a:blip r:embed="rId11">
            <a:extLst>
              <a:ext uri="{96DAC541-7B7A-43D3-8B79-37D633B846F1}">
                <asvg:svgBlip xmlns:asvg="http://schemas.microsoft.com/office/drawing/2016/SVG/main" xmlns="" r:embed="rId12"/>
              </a:ext>
            </a:extLst>
          </a:blip>
          <a:stretch>
            <a:fillRect/>
          </a:stretch>
        </p:blipFill>
        <p:spPr>
          <a:xfrm>
            <a:off x="3989334" y="3575902"/>
            <a:ext cx="746044" cy="746044"/>
          </a:xfrm>
          <a:prstGeom prst="rect">
            <a:avLst/>
          </a:prstGeom>
        </p:spPr>
      </p:pic>
      <p:pic>
        <p:nvPicPr>
          <p:cNvPr id="75" name="Graphic 74" descr="Marketing">
            <a:extLst>
              <a:ext uri="{FF2B5EF4-FFF2-40B4-BE49-F238E27FC236}">
                <a16:creationId xmlns:a16="http://schemas.microsoft.com/office/drawing/2014/main" id="{8D4D1845-43F3-A342-801E-C809DE65D241}"/>
              </a:ext>
            </a:extLst>
          </p:cNvPr>
          <p:cNvPicPr>
            <a:picLocks noChangeAspect="1"/>
          </p:cNvPicPr>
          <p:nvPr/>
        </p:nvPicPr>
        <p:blipFill>
          <a:blip r:embed="rId13">
            <a:extLst>
              <a:ext uri="{96DAC541-7B7A-43D3-8B79-37D633B846F1}">
                <asvg:svgBlip xmlns:asvg="http://schemas.microsoft.com/office/drawing/2016/SVG/main" xmlns="" r:embed="rId14"/>
              </a:ext>
            </a:extLst>
          </a:blip>
          <a:stretch>
            <a:fillRect/>
          </a:stretch>
        </p:blipFill>
        <p:spPr>
          <a:xfrm>
            <a:off x="5692397" y="5438564"/>
            <a:ext cx="676431" cy="676431"/>
          </a:xfrm>
          <a:prstGeom prst="rect">
            <a:avLst/>
          </a:prstGeom>
        </p:spPr>
      </p:pic>
      <p:sp>
        <p:nvSpPr>
          <p:cNvPr id="85" name="Line Callout 2 (Accent Bar) 84">
            <a:extLst>
              <a:ext uri="{FF2B5EF4-FFF2-40B4-BE49-F238E27FC236}">
                <a16:creationId xmlns:a16="http://schemas.microsoft.com/office/drawing/2014/main" id="{017DF7B1-DFC2-A341-B3D6-128F429721DC}"/>
              </a:ext>
            </a:extLst>
          </p:cNvPr>
          <p:cNvSpPr/>
          <p:nvPr/>
        </p:nvSpPr>
        <p:spPr>
          <a:xfrm>
            <a:off x="1129010" y="1197223"/>
            <a:ext cx="2328574" cy="817625"/>
          </a:xfrm>
          <a:prstGeom prst="accentCallout2">
            <a:avLst>
              <a:gd name="adj1" fmla="val 73902"/>
              <a:gd name="adj2" fmla="val 99732"/>
              <a:gd name="adj3" fmla="val 76415"/>
              <a:gd name="adj4" fmla="val 118610"/>
              <a:gd name="adj5" fmla="val 137236"/>
              <a:gd name="adj6" fmla="val 135932"/>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C</a:t>
            </a:r>
            <a:r>
              <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ontinuou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ontinuously Integra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ontinuously Deliver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ontinuously Opera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ontinuously Improving (Metrics &amp; Measurement)</a:t>
            </a:r>
          </a:p>
        </p:txBody>
      </p:sp>
      <p:sp>
        <p:nvSpPr>
          <p:cNvPr id="88" name="Line Callout 2 (Accent Bar) 87">
            <a:extLst>
              <a:ext uri="{FF2B5EF4-FFF2-40B4-BE49-F238E27FC236}">
                <a16:creationId xmlns:a16="http://schemas.microsoft.com/office/drawing/2014/main" id="{728DA1AB-D7CD-494C-933A-FAEE70C78848}"/>
              </a:ext>
            </a:extLst>
          </p:cNvPr>
          <p:cNvSpPr/>
          <p:nvPr/>
        </p:nvSpPr>
        <p:spPr>
          <a:xfrm>
            <a:off x="772700" y="2995447"/>
            <a:ext cx="2328574" cy="817625"/>
          </a:xfrm>
          <a:prstGeom prst="accentCallout2">
            <a:avLst>
              <a:gd name="adj1" fmla="val 34225"/>
              <a:gd name="adj2" fmla="val 98011"/>
              <a:gd name="adj3" fmla="val 29474"/>
              <a:gd name="adj4" fmla="val 115320"/>
              <a:gd name="adj5" fmla="val 66730"/>
              <a:gd name="adj6" fmla="val 128701"/>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C</a:t>
            </a:r>
            <a:r>
              <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ompetency </a:t>
            </a:r>
            <a:r>
              <a:rPr kumimoji="0" lang="en-US" sz="20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C</a:t>
            </a:r>
            <a:r>
              <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ent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ontinuous, Accelerated Learn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apabilities Mode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urriculu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oach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uriosity (R&amp;D)</a:t>
            </a:r>
          </a:p>
        </p:txBody>
      </p:sp>
      <p:sp>
        <p:nvSpPr>
          <p:cNvPr id="90" name="Line Callout 2 (Accent Bar) 89">
            <a:extLst>
              <a:ext uri="{FF2B5EF4-FFF2-40B4-BE49-F238E27FC236}">
                <a16:creationId xmlns:a16="http://schemas.microsoft.com/office/drawing/2014/main" id="{1F662CAA-9FF9-E147-83D5-D7206BED65B5}"/>
              </a:ext>
            </a:extLst>
          </p:cNvPr>
          <p:cNvSpPr/>
          <p:nvPr/>
        </p:nvSpPr>
        <p:spPr>
          <a:xfrm>
            <a:off x="2829609" y="5834164"/>
            <a:ext cx="2367420" cy="817625"/>
          </a:xfrm>
          <a:prstGeom prst="accentCallout2">
            <a:avLst>
              <a:gd name="adj1" fmla="val 61095"/>
              <a:gd name="adj2" fmla="val 91049"/>
              <a:gd name="adj3" fmla="val 62076"/>
              <a:gd name="adj4" fmla="val 98445"/>
              <a:gd name="adj5" fmla="val 52115"/>
              <a:gd name="adj6" fmla="val 111401"/>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E7E6E6">
                    <a:lumMod val="50000"/>
                  </a:srgbClr>
                </a:solidFill>
                <a:effectLst/>
                <a:uLnTx/>
                <a:uFillTx/>
                <a:latin typeface="Calibri" panose="020F0502020204030204"/>
                <a:ea typeface="+mn-ea"/>
                <a:cs typeface="+mn-cs"/>
              </a:rPr>
              <a:t>C</a:t>
            </a:r>
            <a:r>
              <a:rPr kumimoji="0" lang="en-US" sz="1400" b="1" i="0" u="sng" strike="noStrike" kern="1200" cap="none" spc="0" normalizeH="0" baseline="0" noProof="0" dirty="0">
                <a:ln>
                  <a:noFill/>
                </a:ln>
                <a:solidFill>
                  <a:srgbClr val="E7E6E6">
                    <a:lumMod val="50000"/>
                  </a:srgbClr>
                </a:solidFill>
                <a:effectLst/>
                <a:uLnTx/>
                <a:uFillTx/>
                <a:latin typeface="Calibri" panose="020F0502020204030204"/>
                <a:ea typeface="+mn-ea"/>
                <a:cs typeface="+mn-cs"/>
              </a:rPr>
              <a:t>ommunic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rPr>
              <a:t>Blog pos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rPr>
              <a:t>Newslett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rPr>
              <a:t>Story Telling and Shar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rPr>
              <a:t>Rewards and Recognition</a:t>
            </a:r>
          </a:p>
        </p:txBody>
      </p:sp>
      <p:pic>
        <p:nvPicPr>
          <p:cNvPr id="98" name="Graphic 97" descr="Group">
            <a:extLst>
              <a:ext uri="{FF2B5EF4-FFF2-40B4-BE49-F238E27FC236}">
                <a16:creationId xmlns:a16="http://schemas.microsoft.com/office/drawing/2014/main" id="{8A7059D7-B129-1E41-9897-43233F1C639E}"/>
              </a:ext>
            </a:extLst>
          </p:cNvPr>
          <p:cNvPicPr>
            <a:picLocks noChangeAspect="1"/>
          </p:cNvPicPr>
          <p:nvPr/>
        </p:nvPicPr>
        <p:blipFill>
          <a:blip r:embed="rId15">
            <a:extLst>
              <a:ext uri="{96DAC541-7B7A-43D3-8B79-37D633B846F1}">
                <asvg:svgBlip xmlns:asvg="http://schemas.microsoft.com/office/drawing/2016/SVG/main" xmlns="" r:embed="rId16"/>
              </a:ext>
            </a:extLst>
          </a:blip>
          <a:stretch>
            <a:fillRect/>
          </a:stretch>
        </p:blipFill>
        <p:spPr>
          <a:xfrm>
            <a:off x="4590960" y="5056539"/>
            <a:ext cx="589001" cy="589001"/>
          </a:xfrm>
          <a:prstGeom prst="rect">
            <a:avLst/>
          </a:prstGeom>
        </p:spPr>
      </p:pic>
      <p:pic>
        <p:nvPicPr>
          <p:cNvPr id="100" name="Graphic 99" descr="Deciduous tree">
            <a:extLst>
              <a:ext uri="{FF2B5EF4-FFF2-40B4-BE49-F238E27FC236}">
                <a16:creationId xmlns:a16="http://schemas.microsoft.com/office/drawing/2014/main" id="{9819F59A-89A2-CD4D-BAEB-BF00779C9851}"/>
              </a:ext>
            </a:extLst>
          </p:cNvPr>
          <p:cNvPicPr>
            <a:picLocks noChangeAspect="1"/>
          </p:cNvPicPr>
          <p:nvPr/>
        </p:nvPicPr>
        <p:blipFill>
          <a:blip r:embed="rId17">
            <a:extLst>
              <a:ext uri="{96DAC541-7B7A-43D3-8B79-37D633B846F1}">
                <asvg:svgBlip xmlns:asvg="http://schemas.microsoft.com/office/drawing/2016/SVG/main" xmlns="" r:embed="rId18"/>
              </a:ext>
            </a:extLst>
          </a:blip>
          <a:stretch>
            <a:fillRect/>
          </a:stretch>
        </p:blipFill>
        <p:spPr>
          <a:xfrm>
            <a:off x="4510028" y="4755665"/>
            <a:ext cx="523213" cy="523213"/>
          </a:xfrm>
          <a:prstGeom prst="rect">
            <a:avLst/>
          </a:prstGeom>
        </p:spPr>
      </p:pic>
      <p:sp>
        <p:nvSpPr>
          <p:cNvPr id="44" name="Line Callout 2 (Accent Bar) 43">
            <a:extLst>
              <a:ext uri="{FF2B5EF4-FFF2-40B4-BE49-F238E27FC236}">
                <a16:creationId xmlns:a16="http://schemas.microsoft.com/office/drawing/2014/main" id="{41F370FD-BC91-574A-8043-9D94C10B0433}"/>
              </a:ext>
            </a:extLst>
          </p:cNvPr>
          <p:cNvSpPr/>
          <p:nvPr/>
        </p:nvSpPr>
        <p:spPr>
          <a:xfrm>
            <a:off x="8999836" y="3315612"/>
            <a:ext cx="2841298" cy="817625"/>
          </a:xfrm>
          <a:prstGeom prst="accentCallout2">
            <a:avLst>
              <a:gd name="adj1" fmla="val 23398"/>
              <a:gd name="adj2" fmla="val -8695"/>
              <a:gd name="adj3" fmla="val 25635"/>
              <a:gd name="adj4" fmla="val -19092"/>
              <a:gd name="adj5" fmla="val -20337"/>
              <a:gd name="adj6" fmla="val -47153"/>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C</a:t>
            </a:r>
            <a:r>
              <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ross</a:t>
            </a:r>
            <a:r>
              <a:rPr kumimoji="0" lang="en-US" sz="20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F</a:t>
            </a:r>
            <a:r>
              <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unctional</a:t>
            </a:r>
            <a:r>
              <a:rPr kumimoji="0" lang="en-US" sz="20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 T</a:t>
            </a:r>
            <a:r>
              <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ea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Dev + O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Full Stack Tea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You Build It You Own 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Agile Practices</a:t>
            </a:r>
          </a:p>
        </p:txBody>
      </p:sp>
      <p:sp>
        <p:nvSpPr>
          <p:cNvPr id="48" name="Line Callout 2 (Accent Bar) 47">
            <a:extLst>
              <a:ext uri="{FF2B5EF4-FFF2-40B4-BE49-F238E27FC236}">
                <a16:creationId xmlns:a16="http://schemas.microsoft.com/office/drawing/2014/main" id="{38C7A757-63B5-E04A-8C88-60CC017F7C85}"/>
              </a:ext>
            </a:extLst>
          </p:cNvPr>
          <p:cNvSpPr/>
          <p:nvPr/>
        </p:nvSpPr>
        <p:spPr>
          <a:xfrm>
            <a:off x="1173261" y="4761099"/>
            <a:ext cx="2225893" cy="817625"/>
          </a:xfrm>
          <a:prstGeom prst="accentCallout2">
            <a:avLst>
              <a:gd name="adj1" fmla="val 27942"/>
              <a:gd name="adj2" fmla="val 98453"/>
              <a:gd name="adj3" fmla="val 67292"/>
              <a:gd name="adj4" fmla="val 118089"/>
              <a:gd name="adj5" fmla="val 72410"/>
              <a:gd name="adj6" fmla="val 136530"/>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C</a:t>
            </a:r>
            <a:r>
              <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ommunity Building</a:t>
            </a:r>
            <a:endPar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Tech Exchanges/Meetu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DevOps Day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Hack-a-th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Gamific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endParaRPr>
          </a:p>
        </p:txBody>
      </p:sp>
      <p:sp>
        <p:nvSpPr>
          <p:cNvPr id="45" name="Line Callout 2 (Accent Bar) 44">
            <a:extLst>
              <a:ext uri="{FF2B5EF4-FFF2-40B4-BE49-F238E27FC236}">
                <a16:creationId xmlns:a16="http://schemas.microsoft.com/office/drawing/2014/main" id="{994D3DE4-11BC-704C-A9CB-AAC96F2C6D09}"/>
              </a:ext>
            </a:extLst>
          </p:cNvPr>
          <p:cNvSpPr/>
          <p:nvPr/>
        </p:nvSpPr>
        <p:spPr>
          <a:xfrm>
            <a:off x="8260669" y="1444642"/>
            <a:ext cx="3499842" cy="817625"/>
          </a:xfrm>
          <a:prstGeom prst="accentCallout2">
            <a:avLst>
              <a:gd name="adj1" fmla="val 43262"/>
              <a:gd name="adj2" fmla="val -6543"/>
              <a:gd name="adj3" fmla="val 38511"/>
              <a:gd name="adj4" fmla="val -26061"/>
              <a:gd name="adj5" fmla="val 54491"/>
              <a:gd name="adj6" fmla="val -47782"/>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smtClean="0">
                <a:ln>
                  <a:noFill/>
                </a:ln>
                <a:solidFill>
                  <a:srgbClr val="E7E6E6">
                    <a:lumMod val="90000"/>
                  </a:srgbClr>
                </a:solidFill>
                <a:effectLst/>
                <a:uLnTx/>
                <a:uFillTx/>
                <a:latin typeface="Calibri" panose="020F0502020204030204"/>
                <a:ea typeface="+mn-ea"/>
                <a:cs typeface="+mn-cs"/>
              </a:rPr>
              <a:t>Construction</a:t>
            </a:r>
            <a:endPar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oupling (loose) - Microserv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Everything is Co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I/CD Pipelin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loud, Containers, Configuration Automation (Orchestr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yber and Compliance Obsess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haos Tes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Inner-sourced, self-service</a:t>
            </a:r>
          </a:p>
        </p:txBody>
      </p:sp>
      <p:pic>
        <p:nvPicPr>
          <p:cNvPr id="46" name="Graphic 45" descr="Drawing compass">
            <a:extLst>
              <a:ext uri="{FF2B5EF4-FFF2-40B4-BE49-F238E27FC236}">
                <a16:creationId xmlns:a16="http://schemas.microsoft.com/office/drawing/2014/main" id="{6055AD77-A1A0-DB4F-9814-E9621830733C}"/>
              </a:ext>
            </a:extLst>
          </p:cNvPr>
          <p:cNvPicPr>
            <a:picLocks noChangeAspect="1"/>
          </p:cNvPicPr>
          <p:nvPr/>
        </p:nvPicPr>
        <p:blipFill>
          <a:blip r:embed="rId19">
            <a:extLst>
              <a:ext uri="{96DAC541-7B7A-43D3-8B79-37D633B846F1}">
                <asvg:svgBlip xmlns:asvg="http://schemas.microsoft.com/office/drawing/2016/SVG/main" xmlns="" r:embed="rId20"/>
              </a:ext>
            </a:extLst>
          </a:blip>
          <a:stretch>
            <a:fillRect/>
          </a:stretch>
        </p:blipFill>
        <p:spPr>
          <a:xfrm>
            <a:off x="5609413" y="1763312"/>
            <a:ext cx="737259" cy="737259"/>
          </a:xfrm>
          <a:prstGeom prst="rect">
            <a:avLst/>
          </a:prstGeom>
        </p:spPr>
      </p:pic>
      <p:sp>
        <p:nvSpPr>
          <p:cNvPr id="41" name="Title 1">
            <a:extLst>
              <a:ext uri="{FF2B5EF4-FFF2-40B4-BE49-F238E27FC236}">
                <a16:creationId xmlns:a16="http://schemas.microsoft.com/office/drawing/2014/main" id="{C996E512-819C-8043-823A-DA6BF476A7DB}"/>
              </a:ext>
            </a:extLst>
          </p:cNvPr>
          <p:cNvSpPr txBox="1">
            <a:spLocks/>
          </p:cNvSpPr>
          <p:nvPr/>
        </p:nvSpPr>
        <p:spPr>
          <a:xfrm>
            <a:off x="48129" y="-301555"/>
            <a:ext cx="11793005" cy="13255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sng" strike="noStrike" kern="1200" cap="none" spc="0" normalizeH="0" baseline="0" noProof="0" dirty="0" smtClean="0">
                <a:ln>
                  <a:noFill/>
                </a:ln>
                <a:effectLst/>
                <a:uLnTx/>
                <a:uFillTx/>
                <a:latin typeface="Arial" panose="020B0604020202020204" pitchFamily="34" charset="0"/>
                <a:ea typeface="Optimist" panose="020B0603020204030204" pitchFamily="34" charset="77"/>
                <a:cs typeface="Arial" panose="020B0604020202020204" pitchFamily="34" charset="0"/>
              </a:rPr>
              <a:t>C</a:t>
            </a:r>
            <a:r>
              <a:rPr kumimoji="0" lang="en-US" sz="2800" b="1" i="0" u="none" strike="noStrike" kern="1200" cap="none" spc="0" normalizeH="0" baseline="0" noProof="0" dirty="0" smtClean="0">
                <a:ln>
                  <a:noFill/>
                </a:ln>
                <a:effectLst/>
                <a:uLnTx/>
                <a:uFillTx/>
                <a:latin typeface="Arial" panose="020B0604020202020204" pitchFamily="34" charset="0"/>
                <a:ea typeface="Optimist" panose="020B0603020204030204" pitchFamily="34" charset="77"/>
                <a:cs typeface="Arial" panose="020B0604020202020204" pitchFamily="34" charset="0"/>
              </a:rPr>
              <a:t>ommunicate </a:t>
            </a:r>
            <a:r>
              <a:rPr lang="en-US" sz="2800" b="1" dirty="0" smtClean="0">
                <a:latin typeface="Arial" panose="020B0604020202020204" pitchFamily="34" charset="0"/>
                <a:ea typeface="Optimist" panose="020B0603020204030204" pitchFamily="34" charset="77"/>
                <a:cs typeface="Arial" panose="020B0604020202020204" pitchFamily="34" charset="0"/>
              </a:rPr>
              <a:t>s</a:t>
            </a:r>
            <a:r>
              <a:rPr kumimoji="0" lang="en-US" sz="2800" b="1" i="0" u="none" strike="noStrike" kern="1200" cap="none" spc="0" normalizeH="0" baseline="0" noProof="0" dirty="0" err="1" smtClean="0">
                <a:ln>
                  <a:noFill/>
                </a:ln>
                <a:effectLst/>
                <a:uLnTx/>
                <a:uFillTx/>
                <a:latin typeface="Arial" panose="020B0604020202020204" pitchFamily="34" charset="0"/>
                <a:ea typeface="Optimist" panose="020B0603020204030204" pitchFamily="34" charset="77"/>
                <a:cs typeface="Arial" panose="020B0604020202020204" pitchFamily="34" charset="0"/>
              </a:rPr>
              <a:t>uccess</a:t>
            </a:r>
            <a:r>
              <a:rPr kumimoji="0" lang="en-US" sz="2800" b="1" i="0" u="none" strike="noStrike" kern="1200" cap="none" spc="0" normalizeH="0" baseline="0" noProof="0" dirty="0" smtClean="0">
                <a:ln>
                  <a:noFill/>
                </a:ln>
                <a:effectLst/>
                <a:uLnTx/>
                <a:uFillTx/>
                <a:latin typeface="Arial" panose="020B0604020202020204" pitchFamily="34" charset="0"/>
                <a:ea typeface="Optimist" panose="020B0603020204030204" pitchFamily="34" charset="77"/>
                <a:cs typeface="Arial" panose="020B0604020202020204" pitchFamily="34" charset="0"/>
              </a:rPr>
              <a:t> frequently and loudly</a:t>
            </a:r>
            <a:endParaRPr kumimoji="0" lang="en-US" sz="2800" b="1" i="0" u="none" strike="noStrike" kern="1200" cap="none" spc="0" normalizeH="0" baseline="0" noProof="0" dirty="0">
              <a:ln>
                <a:noFill/>
              </a:ln>
              <a:effectLst/>
              <a:uLnTx/>
              <a:uFillTx/>
              <a:latin typeface="Arial" panose="020B0604020202020204" pitchFamily="34" charset="0"/>
              <a:ea typeface="Optimist" panose="020B0603020204030204" pitchFamily="34" charset="77"/>
              <a:cs typeface="Arial" panose="020B0604020202020204" pitchFamily="34" charset="0"/>
            </a:endParaRPr>
          </a:p>
        </p:txBody>
      </p:sp>
      <p:grpSp>
        <p:nvGrpSpPr>
          <p:cNvPr id="42" name="Group 41">
            <a:extLst>
              <a:ext uri="{FF2B5EF4-FFF2-40B4-BE49-F238E27FC236}">
                <a16:creationId xmlns:a16="http://schemas.microsoft.com/office/drawing/2014/main" id="{FEFE145E-116E-024B-BFE4-7387B351B02B}"/>
              </a:ext>
            </a:extLst>
          </p:cNvPr>
          <p:cNvGrpSpPr/>
          <p:nvPr/>
        </p:nvGrpSpPr>
        <p:grpSpPr>
          <a:xfrm>
            <a:off x="5081217" y="2848790"/>
            <a:ext cx="1848115" cy="2243377"/>
            <a:chOff x="5181053" y="2387398"/>
            <a:chExt cx="1905053" cy="2392369"/>
          </a:xfrm>
          <a:solidFill>
            <a:schemeClr val="tx2">
              <a:lumMod val="60000"/>
              <a:lumOff val="40000"/>
            </a:schemeClr>
          </a:solidFill>
        </p:grpSpPr>
        <p:sp>
          <p:nvSpPr>
            <p:cNvPr id="43" name="Trapezoid 42">
              <a:extLst>
                <a:ext uri="{FF2B5EF4-FFF2-40B4-BE49-F238E27FC236}">
                  <a16:creationId xmlns:a16="http://schemas.microsoft.com/office/drawing/2014/main" id="{9089DC7D-01DF-6D4B-8B24-7DD495004B9D}"/>
                </a:ext>
              </a:extLst>
            </p:cNvPr>
            <p:cNvSpPr/>
            <p:nvPr/>
          </p:nvSpPr>
          <p:spPr>
            <a:xfrm>
              <a:off x="5181053" y="2387398"/>
              <a:ext cx="1905052" cy="1199287"/>
            </a:xfrm>
            <a:prstGeom prst="trapezoid">
              <a:avLst>
                <a:gd name="adj" fmla="val 5068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timist" panose="020B0603020204030204" pitchFamily="34" charset="77"/>
                <a:ea typeface="Optimist" panose="020B0603020204030204" pitchFamily="34" charset="77"/>
                <a:cs typeface="Optimist" panose="020B0603020204030204" pitchFamily="34" charset="77"/>
              </a:endParaRPr>
            </a:p>
          </p:txBody>
        </p:sp>
        <p:sp>
          <p:nvSpPr>
            <p:cNvPr id="47" name="Trapezoid 46">
              <a:extLst>
                <a:ext uri="{FF2B5EF4-FFF2-40B4-BE49-F238E27FC236}">
                  <a16:creationId xmlns:a16="http://schemas.microsoft.com/office/drawing/2014/main" id="{F0990FBB-1CEE-9F47-831C-62D2ED8DA28E}"/>
                </a:ext>
              </a:extLst>
            </p:cNvPr>
            <p:cNvSpPr/>
            <p:nvPr/>
          </p:nvSpPr>
          <p:spPr>
            <a:xfrm rot="10800000">
              <a:off x="5181054" y="3580480"/>
              <a:ext cx="1905052" cy="1199287"/>
            </a:xfrm>
            <a:prstGeom prst="trapezoid">
              <a:avLst>
                <a:gd name="adj" fmla="val 5068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timist" panose="020B0603020204030204" pitchFamily="34" charset="77"/>
                <a:ea typeface="Optimist" panose="020B0603020204030204" pitchFamily="34" charset="77"/>
                <a:cs typeface="Optimist" panose="020B0603020204030204" pitchFamily="34" charset="77"/>
              </a:endParaRPr>
            </a:p>
          </p:txBody>
        </p:sp>
      </p:grpSp>
      <p:pic>
        <p:nvPicPr>
          <p:cNvPr id="2" name="Audio 1">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21"/>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2754474338"/>
      </p:ext>
    </p:extLst>
  </p:cSld>
  <p:clrMapOvr>
    <a:masterClrMapping/>
  </p:clrMapOvr>
  <mc:AlternateContent xmlns:mc="http://schemas.openxmlformats.org/markup-compatibility/2006" xmlns:p14="http://schemas.microsoft.com/office/powerpoint/2010/main">
    <mc:Choice Requires="p14">
      <p:transition spd="slow" p14:dur="2000" advTm="146"/>
    </mc:Choice>
    <mc:Fallback xmlns="">
      <p:transition spd="slow" advTm="14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C63C8F31-85BB-3446-8845-A8E582F67F69}"/>
              </a:ext>
            </a:extLst>
          </p:cNvPr>
          <p:cNvGrpSpPr/>
          <p:nvPr/>
        </p:nvGrpSpPr>
        <p:grpSpPr>
          <a:xfrm>
            <a:off x="6403146" y="4611872"/>
            <a:ext cx="1327759" cy="1139869"/>
            <a:chOff x="5070789" y="1939282"/>
            <a:chExt cx="1327759" cy="1139869"/>
          </a:xfrm>
        </p:grpSpPr>
        <p:sp>
          <p:nvSpPr>
            <p:cNvPr id="16" name="Hexagon 15">
              <a:extLst>
                <a:ext uri="{FF2B5EF4-FFF2-40B4-BE49-F238E27FC236}">
                  <a16:creationId xmlns:a16="http://schemas.microsoft.com/office/drawing/2014/main" id="{2AFF78F1-47D2-1745-8795-EF255C8EA5A1}"/>
                </a:ext>
              </a:extLst>
            </p:cNvPr>
            <p:cNvSpPr/>
            <p:nvPr/>
          </p:nvSpPr>
          <p:spPr>
            <a:xfrm>
              <a:off x="5070789" y="1939282"/>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Oval 16">
              <a:extLst>
                <a:ext uri="{FF2B5EF4-FFF2-40B4-BE49-F238E27FC236}">
                  <a16:creationId xmlns:a16="http://schemas.microsoft.com/office/drawing/2014/main" id="{CDC8B414-8CF1-F046-A3F5-CBB83DAFDEE0}"/>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1" name="Group 10">
            <a:extLst>
              <a:ext uri="{FF2B5EF4-FFF2-40B4-BE49-F238E27FC236}">
                <a16:creationId xmlns:a16="http://schemas.microsoft.com/office/drawing/2014/main" id="{4621E9BC-85CC-B845-B9AC-A5381FA702EB}"/>
              </a:ext>
            </a:extLst>
          </p:cNvPr>
          <p:cNvGrpSpPr/>
          <p:nvPr/>
        </p:nvGrpSpPr>
        <p:grpSpPr>
          <a:xfrm>
            <a:off x="4223203" y="2171256"/>
            <a:ext cx="1327759" cy="1139869"/>
            <a:chOff x="5060515" y="1929008"/>
            <a:chExt cx="1327759" cy="1139869"/>
          </a:xfrm>
        </p:grpSpPr>
        <p:sp>
          <p:nvSpPr>
            <p:cNvPr id="9" name="Hexagon 8">
              <a:extLst>
                <a:ext uri="{FF2B5EF4-FFF2-40B4-BE49-F238E27FC236}">
                  <a16:creationId xmlns:a16="http://schemas.microsoft.com/office/drawing/2014/main" id="{54D738F2-39C0-3B48-B7C8-EBAC492968BA}"/>
                </a:ext>
              </a:extLst>
            </p:cNvPr>
            <p:cNvSpPr/>
            <p:nvPr/>
          </p:nvSpPr>
          <p:spPr>
            <a:xfrm>
              <a:off x="5060515" y="1929008"/>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Oval 9">
              <a:extLst>
                <a:ext uri="{FF2B5EF4-FFF2-40B4-BE49-F238E27FC236}">
                  <a16:creationId xmlns:a16="http://schemas.microsoft.com/office/drawing/2014/main" id="{86F49C9F-78E8-1D4C-8236-A50B12136739}"/>
                </a:ext>
              </a:extLst>
            </p:cNvPr>
            <p:cNvSpPr/>
            <p:nvPr/>
          </p:nvSpPr>
          <p:spPr>
            <a:xfrm>
              <a:off x="5262582" y="2010475"/>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8" name="Group 17">
            <a:extLst>
              <a:ext uri="{FF2B5EF4-FFF2-40B4-BE49-F238E27FC236}">
                <a16:creationId xmlns:a16="http://schemas.microsoft.com/office/drawing/2014/main" id="{26D3A469-AE19-1C47-851C-D17BEE7FAE43}"/>
              </a:ext>
            </a:extLst>
          </p:cNvPr>
          <p:cNvGrpSpPr/>
          <p:nvPr/>
        </p:nvGrpSpPr>
        <p:grpSpPr>
          <a:xfrm>
            <a:off x="5303500" y="5206858"/>
            <a:ext cx="1327759" cy="1139869"/>
            <a:chOff x="5060515" y="1939282"/>
            <a:chExt cx="1327759" cy="1139869"/>
          </a:xfrm>
        </p:grpSpPr>
        <p:sp>
          <p:nvSpPr>
            <p:cNvPr id="19" name="Hexagon 18">
              <a:extLst>
                <a:ext uri="{FF2B5EF4-FFF2-40B4-BE49-F238E27FC236}">
                  <a16:creationId xmlns:a16="http://schemas.microsoft.com/office/drawing/2014/main" id="{9B687A28-7D32-FE4B-9FEB-8481249DC8EC}"/>
                </a:ext>
              </a:extLst>
            </p:cNvPr>
            <p:cNvSpPr/>
            <p:nvPr/>
          </p:nvSpPr>
          <p:spPr>
            <a:xfrm>
              <a:off x="5060515" y="1939282"/>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Oval 19">
              <a:extLst>
                <a:ext uri="{FF2B5EF4-FFF2-40B4-BE49-F238E27FC236}">
                  <a16:creationId xmlns:a16="http://schemas.microsoft.com/office/drawing/2014/main" id="{B118CCAE-D1BC-0F4F-9387-22DDE9ECCC0D}"/>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1" name="Group 20">
            <a:extLst>
              <a:ext uri="{FF2B5EF4-FFF2-40B4-BE49-F238E27FC236}">
                <a16:creationId xmlns:a16="http://schemas.microsoft.com/office/drawing/2014/main" id="{86E49845-A2DA-9D49-8F9F-44A0F7359921}"/>
              </a:ext>
            </a:extLst>
          </p:cNvPr>
          <p:cNvGrpSpPr/>
          <p:nvPr/>
        </p:nvGrpSpPr>
        <p:grpSpPr>
          <a:xfrm>
            <a:off x="6428748" y="2165469"/>
            <a:ext cx="1327759" cy="1139869"/>
            <a:chOff x="5010366" y="1927787"/>
            <a:chExt cx="1327759" cy="1139869"/>
          </a:xfrm>
        </p:grpSpPr>
        <p:sp>
          <p:nvSpPr>
            <p:cNvPr id="22" name="Hexagon 21">
              <a:extLst>
                <a:ext uri="{FF2B5EF4-FFF2-40B4-BE49-F238E27FC236}">
                  <a16:creationId xmlns:a16="http://schemas.microsoft.com/office/drawing/2014/main" id="{195A3C94-A09A-9A43-A33D-EAF640E19FD8}"/>
                </a:ext>
              </a:extLst>
            </p:cNvPr>
            <p:cNvSpPr/>
            <p:nvPr/>
          </p:nvSpPr>
          <p:spPr>
            <a:xfrm>
              <a:off x="5010366" y="1927787"/>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 name="Oval 22">
              <a:extLst>
                <a:ext uri="{FF2B5EF4-FFF2-40B4-BE49-F238E27FC236}">
                  <a16:creationId xmlns:a16="http://schemas.microsoft.com/office/drawing/2014/main" id="{5AFFF815-69A3-F247-B5B7-EA3FFB6E2BB6}"/>
                </a:ext>
              </a:extLst>
            </p:cNvPr>
            <p:cNvSpPr/>
            <p:nvPr/>
          </p:nvSpPr>
          <p:spPr>
            <a:xfrm>
              <a:off x="5232362" y="2006415"/>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4" name="Group 23">
            <a:extLst>
              <a:ext uri="{FF2B5EF4-FFF2-40B4-BE49-F238E27FC236}">
                <a16:creationId xmlns:a16="http://schemas.microsoft.com/office/drawing/2014/main" id="{487AC486-5D27-AC43-82F2-C222EBCCC885}"/>
              </a:ext>
            </a:extLst>
          </p:cNvPr>
          <p:cNvGrpSpPr/>
          <p:nvPr/>
        </p:nvGrpSpPr>
        <p:grpSpPr>
          <a:xfrm>
            <a:off x="5326681" y="1562008"/>
            <a:ext cx="1327759" cy="1139869"/>
            <a:chOff x="5060515" y="1929008"/>
            <a:chExt cx="1327759" cy="1139869"/>
          </a:xfrm>
        </p:grpSpPr>
        <p:sp>
          <p:nvSpPr>
            <p:cNvPr id="25" name="Hexagon 24">
              <a:extLst>
                <a:ext uri="{FF2B5EF4-FFF2-40B4-BE49-F238E27FC236}">
                  <a16:creationId xmlns:a16="http://schemas.microsoft.com/office/drawing/2014/main" id="{1EC9AD10-8440-E94E-9B1A-51420D3844D0}"/>
                </a:ext>
              </a:extLst>
            </p:cNvPr>
            <p:cNvSpPr/>
            <p:nvPr/>
          </p:nvSpPr>
          <p:spPr>
            <a:xfrm>
              <a:off x="5060515" y="1929008"/>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Oval 25">
              <a:extLst>
                <a:ext uri="{FF2B5EF4-FFF2-40B4-BE49-F238E27FC236}">
                  <a16:creationId xmlns:a16="http://schemas.microsoft.com/office/drawing/2014/main" id="{E377C240-47AF-3048-886D-C98E62035EE2}"/>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8" name="Group 27">
            <a:extLst>
              <a:ext uri="{FF2B5EF4-FFF2-40B4-BE49-F238E27FC236}">
                <a16:creationId xmlns:a16="http://schemas.microsoft.com/office/drawing/2014/main" id="{B9050A09-0B2C-054B-BA71-73B459FDD087}"/>
              </a:ext>
            </a:extLst>
          </p:cNvPr>
          <p:cNvGrpSpPr/>
          <p:nvPr/>
        </p:nvGrpSpPr>
        <p:grpSpPr>
          <a:xfrm>
            <a:off x="3698477" y="3378223"/>
            <a:ext cx="1327759" cy="1139869"/>
            <a:chOff x="5060515" y="1929008"/>
            <a:chExt cx="1327759" cy="1139869"/>
          </a:xfrm>
        </p:grpSpPr>
        <p:sp>
          <p:nvSpPr>
            <p:cNvPr id="29" name="Hexagon 28">
              <a:extLst>
                <a:ext uri="{FF2B5EF4-FFF2-40B4-BE49-F238E27FC236}">
                  <a16:creationId xmlns:a16="http://schemas.microsoft.com/office/drawing/2014/main" id="{B4066B57-4C2B-2E4E-9388-2977853856D2}"/>
                </a:ext>
              </a:extLst>
            </p:cNvPr>
            <p:cNvSpPr/>
            <p:nvPr/>
          </p:nvSpPr>
          <p:spPr>
            <a:xfrm>
              <a:off x="5060515" y="1929008"/>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 name="Oval 29">
              <a:extLst>
                <a:ext uri="{FF2B5EF4-FFF2-40B4-BE49-F238E27FC236}">
                  <a16:creationId xmlns:a16="http://schemas.microsoft.com/office/drawing/2014/main" id="{DB6D6C69-3214-A446-B585-B62CF8DA7BDC}"/>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1" name="Group 30">
            <a:extLst>
              <a:ext uri="{FF2B5EF4-FFF2-40B4-BE49-F238E27FC236}">
                <a16:creationId xmlns:a16="http://schemas.microsoft.com/office/drawing/2014/main" id="{49875E6E-9082-2041-A25D-372D568E6156}"/>
              </a:ext>
            </a:extLst>
          </p:cNvPr>
          <p:cNvGrpSpPr/>
          <p:nvPr/>
        </p:nvGrpSpPr>
        <p:grpSpPr>
          <a:xfrm>
            <a:off x="4211865" y="4590293"/>
            <a:ext cx="1327759" cy="1139869"/>
            <a:chOff x="5060515" y="1929008"/>
            <a:chExt cx="1327759" cy="1139869"/>
          </a:xfrm>
        </p:grpSpPr>
        <p:sp>
          <p:nvSpPr>
            <p:cNvPr id="32" name="Hexagon 31">
              <a:extLst>
                <a:ext uri="{FF2B5EF4-FFF2-40B4-BE49-F238E27FC236}">
                  <a16:creationId xmlns:a16="http://schemas.microsoft.com/office/drawing/2014/main" id="{716FA66D-35FF-6244-8C11-7BE53FA919B5}"/>
                </a:ext>
              </a:extLst>
            </p:cNvPr>
            <p:cNvSpPr/>
            <p:nvPr/>
          </p:nvSpPr>
          <p:spPr>
            <a:xfrm>
              <a:off x="5060515" y="1929008"/>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Oval 32">
              <a:extLst>
                <a:ext uri="{FF2B5EF4-FFF2-40B4-BE49-F238E27FC236}">
                  <a16:creationId xmlns:a16="http://schemas.microsoft.com/office/drawing/2014/main" id="{76DFA617-DCA3-6248-B13B-7E32E5A9E82E}"/>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pic>
        <p:nvPicPr>
          <p:cNvPr id="40"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6747886" y="2318581"/>
            <a:ext cx="746044" cy="746044"/>
          </a:xfrm>
          <a:prstGeom prst="rect">
            <a:avLst/>
          </a:prstGeom>
        </p:spPr>
      </p:pic>
      <p:pic>
        <p:nvPicPr>
          <p:cNvPr id="58" name="Graphic 57" descr="Infinity">
            <a:extLst>
              <a:ext uri="{FF2B5EF4-FFF2-40B4-BE49-F238E27FC236}">
                <a16:creationId xmlns:a16="http://schemas.microsoft.com/office/drawing/2014/main" id="{C354EB3E-86C1-4146-B3E4-48A9530BAD6D}"/>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4465333" y="2334047"/>
            <a:ext cx="802660" cy="802660"/>
          </a:xfrm>
          <a:prstGeom prst="rect">
            <a:avLst/>
          </a:prstGeom>
        </p:spPr>
      </p:pic>
      <p:pic>
        <p:nvPicPr>
          <p:cNvPr id="64" name="Graphic 63" descr="Business Growth">
            <a:extLst>
              <a:ext uri="{FF2B5EF4-FFF2-40B4-BE49-F238E27FC236}">
                <a16:creationId xmlns:a16="http://schemas.microsoft.com/office/drawing/2014/main" id="{55D64434-D27D-AC40-8C7D-FF18E87B5F18}"/>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6765630" y="4875962"/>
            <a:ext cx="737554" cy="737554"/>
          </a:xfrm>
          <a:prstGeom prst="rect">
            <a:avLst/>
          </a:prstGeom>
        </p:spPr>
      </p:pic>
      <p:pic>
        <p:nvPicPr>
          <p:cNvPr id="68" name="Graphic 67" descr="Classroom">
            <a:extLst>
              <a:ext uri="{FF2B5EF4-FFF2-40B4-BE49-F238E27FC236}">
                <a16:creationId xmlns:a16="http://schemas.microsoft.com/office/drawing/2014/main" id="{BF56240F-A3BE-DB47-AB75-30641CF911DD}"/>
              </a:ext>
            </a:extLst>
          </p:cNvPr>
          <p:cNvPicPr>
            <a:picLocks noChangeAspect="1"/>
          </p:cNvPicPr>
          <p:nvPr/>
        </p:nvPicPr>
        <p:blipFill>
          <a:blip r:embed="rId11">
            <a:extLst>
              <a:ext uri="{96DAC541-7B7A-43D3-8B79-37D633B846F1}">
                <asvg:svgBlip xmlns:asvg="http://schemas.microsoft.com/office/drawing/2016/SVG/main" xmlns="" r:embed="rId12"/>
              </a:ext>
            </a:extLst>
          </a:blip>
          <a:stretch>
            <a:fillRect/>
          </a:stretch>
        </p:blipFill>
        <p:spPr>
          <a:xfrm>
            <a:off x="3989334" y="3575902"/>
            <a:ext cx="746044" cy="746044"/>
          </a:xfrm>
          <a:prstGeom prst="rect">
            <a:avLst/>
          </a:prstGeom>
        </p:spPr>
      </p:pic>
      <p:pic>
        <p:nvPicPr>
          <p:cNvPr id="75" name="Graphic 74" descr="Marketing">
            <a:extLst>
              <a:ext uri="{FF2B5EF4-FFF2-40B4-BE49-F238E27FC236}">
                <a16:creationId xmlns:a16="http://schemas.microsoft.com/office/drawing/2014/main" id="{8D4D1845-43F3-A342-801E-C809DE65D241}"/>
              </a:ext>
            </a:extLst>
          </p:cNvPr>
          <p:cNvPicPr>
            <a:picLocks noChangeAspect="1"/>
          </p:cNvPicPr>
          <p:nvPr/>
        </p:nvPicPr>
        <p:blipFill>
          <a:blip r:embed="rId13">
            <a:extLst>
              <a:ext uri="{96DAC541-7B7A-43D3-8B79-37D633B846F1}">
                <asvg:svgBlip xmlns:asvg="http://schemas.microsoft.com/office/drawing/2016/SVG/main" xmlns="" r:embed="rId14"/>
              </a:ext>
            </a:extLst>
          </a:blip>
          <a:stretch>
            <a:fillRect/>
          </a:stretch>
        </p:blipFill>
        <p:spPr>
          <a:xfrm>
            <a:off x="5692397" y="5438564"/>
            <a:ext cx="676431" cy="676431"/>
          </a:xfrm>
          <a:prstGeom prst="rect">
            <a:avLst/>
          </a:prstGeom>
        </p:spPr>
      </p:pic>
      <p:sp>
        <p:nvSpPr>
          <p:cNvPr id="85" name="Line Callout 2 (Accent Bar) 84">
            <a:extLst>
              <a:ext uri="{FF2B5EF4-FFF2-40B4-BE49-F238E27FC236}">
                <a16:creationId xmlns:a16="http://schemas.microsoft.com/office/drawing/2014/main" id="{017DF7B1-DFC2-A341-B3D6-128F429721DC}"/>
              </a:ext>
            </a:extLst>
          </p:cNvPr>
          <p:cNvSpPr/>
          <p:nvPr/>
        </p:nvSpPr>
        <p:spPr>
          <a:xfrm>
            <a:off x="1129010" y="1197223"/>
            <a:ext cx="2328574" cy="817625"/>
          </a:xfrm>
          <a:prstGeom prst="accentCallout2">
            <a:avLst>
              <a:gd name="adj1" fmla="val 73902"/>
              <a:gd name="adj2" fmla="val 99732"/>
              <a:gd name="adj3" fmla="val 76415"/>
              <a:gd name="adj4" fmla="val 118610"/>
              <a:gd name="adj5" fmla="val 137236"/>
              <a:gd name="adj6" fmla="val 135932"/>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C</a:t>
            </a:r>
            <a:r>
              <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ontinuou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ontinuously Integra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ontinuously Deliver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ontinuously Opera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ontinuously Improving (Metrics &amp; Measurement)</a:t>
            </a:r>
          </a:p>
        </p:txBody>
      </p:sp>
      <p:sp>
        <p:nvSpPr>
          <p:cNvPr id="88" name="Line Callout 2 (Accent Bar) 87">
            <a:extLst>
              <a:ext uri="{FF2B5EF4-FFF2-40B4-BE49-F238E27FC236}">
                <a16:creationId xmlns:a16="http://schemas.microsoft.com/office/drawing/2014/main" id="{728DA1AB-D7CD-494C-933A-FAEE70C78848}"/>
              </a:ext>
            </a:extLst>
          </p:cNvPr>
          <p:cNvSpPr/>
          <p:nvPr/>
        </p:nvSpPr>
        <p:spPr>
          <a:xfrm>
            <a:off x="772700" y="2995447"/>
            <a:ext cx="2328574" cy="817625"/>
          </a:xfrm>
          <a:prstGeom prst="accentCallout2">
            <a:avLst>
              <a:gd name="adj1" fmla="val 30455"/>
              <a:gd name="adj2" fmla="val 83010"/>
              <a:gd name="adj3" fmla="val 29474"/>
              <a:gd name="adj4" fmla="val 115320"/>
              <a:gd name="adj5" fmla="val 66730"/>
              <a:gd name="adj6" fmla="val 128701"/>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C</a:t>
            </a:r>
            <a:r>
              <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ompetency </a:t>
            </a:r>
            <a:r>
              <a:rPr kumimoji="0" lang="en-US" sz="20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C</a:t>
            </a:r>
            <a:r>
              <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ent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ontinuous Learn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apabilities Mode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urriculu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oach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uriosity (R&amp;D)</a:t>
            </a:r>
          </a:p>
        </p:txBody>
      </p:sp>
      <p:sp>
        <p:nvSpPr>
          <p:cNvPr id="90" name="Line Callout 2 (Accent Bar) 89">
            <a:extLst>
              <a:ext uri="{FF2B5EF4-FFF2-40B4-BE49-F238E27FC236}">
                <a16:creationId xmlns:a16="http://schemas.microsoft.com/office/drawing/2014/main" id="{1F662CAA-9FF9-E147-83D5-D7206BED65B5}"/>
              </a:ext>
            </a:extLst>
          </p:cNvPr>
          <p:cNvSpPr/>
          <p:nvPr/>
        </p:nvSpPr>
        <p:spPr>
          <a:xfrm>
            <a:off x="2839994" y="5839663"/>
            <a:ext cx="2367420" cy="817625"/>
          </a:xfrm>
          <a:prstGeom prst="accentCallout2">
            <a:avLst>
              <a:gd name="adj1" fmla="val 61095"/>
              <a:gd name="adj2" fmla="val 91049"/>
              <a:gd name="adj3" fmla="val 62076"/>
              <a:gd name="adj4" fmla="val 98445"/>
              <a:gd name="adj5" fmla="val 52115"/>
              <a:gd name="adj6" fmla="val 111401"/>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C</a:t>
            </a:r>
            <a:r>
              <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ommunic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Blog pos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Newslett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Story Telling and Shar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Rewards and Recognition</a:t>
            </a:r>
          </a:p>
        </p:txBody>
      </p:sp>
      <p:sp>
        <p:nvSpPr>
          <p:cNvPr id="91" name="Line Callout 2 (Accent Bar) 90">
            <a:extLst>
              <a:ext uri="{FF2B5EF4-FFF2-40B4-BE49-F238E27FC236}">
                <a16:creationId xmlns:a16="http://schemas.microsoft.com/office/drawing/2014/main" id="{6A7E989D-86F0-8241-9B05-A535CB4D1F7E}"/>
              </a:ext>
            </a:extLst>
          </p:cNvPr>
          <p:cNvSpPr/>
          <p:nvPr/>
        </p:nvSpPr>
        <p:spPr>
          <a:xfrm>
            <a:off x="8477175" y="5331623"/>
            <a:ext cx="2573799" cy="817625"/>
          </a:xfrm>
          <a:prstGeom prst="accentCallout2">
            <a:avLst>
              <a:gd name="adj1" fmla="val 58582"/>
              <a:gd name="adj2" fmla="val -8333"/>
              <a:gd name="adj3" fmla="val 57050"/>
              <a:gd name="adj4" fmla="val -20900"/>
              <a:gd name="adj5" fmla="val 28224"/>
              <a:gd name="adj6" fmla="val -33387"/>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E7E6E6">
                    <a:lumMod val="50000"/>
                  </a:srgbClr>
                </a:solidFill>
                <a:effectLst/>
                <a:uLnTx/>
                <a:uFillTx/>
                <a:latin typeface="Calibri" panose="020F0502020204030204"/>
                <a:ea typeface="+mn-ea"/>
                <a:cs typeface="+mn-cs"/>
              </a:rPr>
              <a:t>C</a:t>
            </a:r>
            <a:r>
              <a:rPr kumimoji="0" lang="en-US" sz="1400" b="1" i="0" u="sng" strike="noStrike" kern="1200" cap="none" spc="0" normalizeH="0" baseline="0" noProof="0" dirty="0">
                <a:ln>
                  <a:noFill/>
                </a:ln>
                <a:solidFill>
                  <a:srgbClr val="E7E6E6">
                    <a:lumMod val="50000"/>
                  </a:srgbClr>
                </a:solidFill>
                <a:effectLst/>
                <a:uLnTx/>
                <a:uFillTx/>
                <a:latin typeface="Calibri" panose="020F0502020204030204"/>
                <a:ea typeface="+mn-ea"/>
                <a:cs typeface="+mn-cs"/>
              </a:rPr>
              <a:t>ustomer-Focused Outcom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rPr>
              <a:t>Net Promoter Score (N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rPr>
              <a:t>Revenue &amp; Retention Ra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rPr>
              <a:t>Time-to-Valu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rPr>
              <a:t>Leading Indicators</a:t>
            </a:r>
          </a:p>
        </p:txBody>
      </p:sp>
      <p:pic>
        <p:nvPicPr>
          <p:cNvPr id="98" name="Graphic 97" descr="Group">
            <a:extLst>
              <a:ext uri="{FF2B5EF4-FFF2-40B4-BE49-F238E27FC236}">
                <a16:creationId xmlns:a16="http://schemas.microsoft.com/office/drawing/2014/main" id="{8A7059D7-B129-1E41-9897-43233F1C639E}"/>
              </a:ext>
            </a:extLst>
          </p:cNvPr>
          <p:cNvPicPr>
            <a:picLocks noChangeAspect="1"/>
          </p:cNvPicPr>
          <p:nvPr/>
        </p:nvPicPr>
        <p:blipFill>
          <a:blip r:embed="rId15">
            <a:extLst>
              <a:ext uri="{96DAC541-7B7A-43D3-8B79-37D633B846F1}">
                <asvg:svgBlip xmlns:asvg="http://schemas.microsoft.com/office/drawing/2016/SVG/main" xmlns="" r:embed="rId16"/>
              </a:ext>
            </a:extLst>
          </a:blip>
          <a:stretch>
            <a:fillRect/>
          </a:stretch>
        </p:blipFill>
        <p:spPr>
          <a:xfrm>
            <a:off x="4590960" y="5056539"/>
            <a:ext cx="589001" cy="589001"/>
          </a:xfrm>
          <a:prstGeom prst="rect">
            <a:avLst/>
          </a:prstGeom>
        </p:spPr>
      </p:pic>
      <p:pic>
        <p:nvPicPr>
          <p:cNvPr id="100" name="Graphic 99" descr="Deciduous tree">
            <a:extLst>
              <a:ext uri="{FF2B5EF4-FFF2-40B4-BE49-F238E27FC236}">
                <a16:creationId xmlns:a16="http://schemas.microsoft.com/office/drawing/2014/main" id="{9819F59A-89A2-CD4D-BAEB-BF00779C9851}"/>
              </a:ext>
            </a:extLst>
          </p:cNvPr>
          <p:cNvPicPr>
            <a:picLocks noChangeAspect="1"/>
          </p:cNvPicPr>
          <p:nvPr/>
        </p:nvPicPr>
        <p:blipFill>
          <a:blip r:embed="rId17">
            <a:extLst>
              <a:ext uri="{96DAC541-7B7A-43D3-8B79-37D633B846F1}">
                <asvg:svgBlip xmlns:asvg="http://schemas.microsoft.com/office/drawing/2016/SVG/main" xmlns="" r:embed="rId18"/>
              </a:ext>
            </a:extLst>
          </a:blip>
          <a:stretch>
            <a:fillRect/>
          </a:stretch>
        </p:blipFill>
        <p:spPr>
          <a:xfrm>
            <a:off x="4510028" y="4755665"/>
            <a:ext cx="523213" cy="523213"/>
          </a:xfrm>
          <a:prstGeom prst="rect">
            <a:avLst/>
          </a:prstGeom>
        </p:spPr>
      </p:pic>
      <p:sp>
        <p:nvSpPr>
          <p:cNvPr id="44" name="Line Callout 2 (Accent Bar) 43">
            <a:extLst>
              <a:ext uri="{FF2B5EF4-FFF2-40B4-BE49-F238E27FC236}">
                <a16:creationId xmlns:a16="http://schemas.microsoft.com/office/drawing/2014/main" id="{41F370FD-BC91-574A-8043-9D94C10B0433}"/>
              </a:ext>
            </a:extLst>
          </p:cNvPr>
          <p:cNvSpPr/>
          <p:nvPr/>
        </p:nvSpPr>
        <p:spPr>
          <a:xfrm>
            <a:off x="8999836" y="3315612"/>
            <a:ext cx="2841298" cy="817625"/>
          </a:xfrm>
          <a:prstGeom prst="accentCallout2">
            <a:avLst>
              <a:gd name="adj1" fmla="val 23398"/>
              <a:gd name="adj2" fmla="val -8695"/>
              <a:gd name="adj3" fmla="val 25635"/>
              <a:gd name="adj4" fmla="val -19092"/>
              <a:gd name="adj5" fmla="val -20337"/>
              <a:gd name="adj6" fmla="val -47153"/>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C</a:t>
            </a:r>
            <a:r>
              <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ross</a:t>
            </a:r>
            <a:r>
              <a:rPr kumimoji="0" lang="en-US" sz="20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F</a:t>
            </a:r>
            <a:r>
              <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unctional</a:t>
            </a:r>
            <a:r>
              <a:rPr kumimoji="0" lang="en-US" sz="20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 T</a:t>
            </a:r>
            <a:r>
              <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ea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Dev + O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Full Stack Tea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You Build It You Own 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Agile Practices</a:t>
            </a:r>
          </a:p>
        </p:txBody>
      </p:sp>
      <p:sp>
        <p:nvSpPr>
          <p:cNvPr id="48" name="Line Callout 2 (Accent Bar) 47">
            <a:extLst>
              <a:ext uri="{FF2B5EF4-FFF2-40B4-BE49-F238E27FC236}">
                <a16:creationId xmlns:a16="http://schemas.microsoft.com/office/drawing/2014/main" id="{38C7A757-63B5-E04A-8C88-60CC017F7C85}"/>
              </a:ext>
            </a:extLst>
          </p:cNvPr>
          <p:cNvSpPr/>
          <p:nvPr/>
        </p:nvSpPr>
        <p:spPr>
          <a:xfrm>
            <a:off x="1204083" y="4771373"/>
            <a:ext cx="2225893" cy="817625"/>
          </a:xfrm>
          <a:prstGeom prst="accentCallout2">
            <a:avLst>
              <a:gd name="adj1" fmla="val 27942"/>
              <a:gd name="adj2" fmla="val 98453"/>
              <a:gd name="adj3" fmla="val 67292"/>
              <a:gd name="adj4" fmla="val 118089"/>
              <a:gd name="adj5" fmla="val 72410"/>
              <a:gd name="adj6" fmla="val 136530"/>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C</a:t>
            </a:r>
            <a:r>
              <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ommunity Building</a:t>
            </a:r>
            <a:endPar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Tech Exchanges/Meetu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DevOps Day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Hack-a-th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Gamific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endParaRPr>
          </a:p>
        </p:txBody>
      </p:sp>
      <p:sp>
        <p:nvSpPr>
          <p:cNvPr id="45" name="Line Callout 2 (Accent Bar) 44">
            <a:extLst>
              <a:ext uri="{FF2B5EF4-FFF2-40B4-BE49-F238E27FC236}">
                <a16:creationId xmlns:a16="http://schemas.microsoft.com/office/drawing/2014/main" id="{994D3DE4-11BC-704C-A9CB-AAC96F2C6D09}"/>
              </a:ext>
            </a:extLst>
          </p:cNvPr>
          <p:cNvSpPr/>
          <p:nvPr/>
        </p:nvSpPr>
        <p:spPr>
          <a:xfrm>
            <a:off x="8260669" y="1444642"/>
            <a:ext cx="3499842" cy="817625"/>
          </a:xfrm>
          <a:prstGeom prst="accentCallout2">
            <a:avLst>
              <a:gd name="adj1" fmla="val 43262"/>
              <a:gd name="adj2" fmla="val -6543"/>
              <a:gd name="adj3" fmla="val 38511"/>
              <a:gd name="adj4" fmla="val -26061"/>
              <a:gd name="adj5" fmla="val 54491"/>
              <a:gd name="adj6" fmla="val -47782"/>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smtClean="0">
                <a:ln>
                  <a:noFill/>
                </a:ln>
                <a:solidFill>
                  <a:srgbClr val="E7E6E6">
                    <a:lumMod val="90000"/>
                  </a:srgbClr>
                </a:solidFill>
                <a:effectLst/>
                <a:uLnTx/>
                <a:uFillTx/>
                <a:latin typeface="Calibri" panose="020F0502020204030204"/>
                <a:ea typeface="+mn-ea"/>
                <a:cs typeface="+mn-cs"/>
              </a:rPr>
              <a:t>Construction</a:t>
            </a:r>
            <a:endPar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oupling (loose) - Microserv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Everything is Co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I/CD Pipelin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loud, Containers, Configuration Automation (Orchestr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yber and Compliance Obsess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haos Tes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Inner-sourced, self-service</a:t>
            </a:r>
          </a:p>
        </p:txBody>
      </p:sp>
      <p:pic>
        <p:nvPicPr>
          <p:cNvPr id="46" name="Graphic 45" descr="Drawing compass">
            <a:extLst>
              <a:ext uri="{FF2B5EF4-FFF2-40B4-BE49-F238E27FC236}">
                <a16:creationId xmlns:a16="http://schemas.microsoft.com/office/drawing/2014/main" id="{6055AD77-A1A0-DB4F-9814-E9621830733C}"/>
              </a:ext>
            </a:extLst>
          </p:cNvPr>
          <p:cNvPicPr>
            <a:picLocks noChangeAspect="1"/>
          </p:cNvPicPr>
          <p:nvPr/>
        </p:nvPicPr>
        <p:blipFill>
          <a:blip r:embed="rId19">
            <a:extLst>
              <a:ext uri="{96DAC541-7B7A-43D3-8B79-37D633B846F1}">
                <asvg:svgBlip xmlns:asvg="http://schemas.microsoft.com/office/drawing/2016/SVG/main" xmlns="" r:embed="rId20"/>
              </a:ext>
            </a:extLst>
          </a:blip>
          <a:stretch>
            <a:fillRect/>
          </a:stretch>
        </p:blipFill>
        <p:spPr>
          <a:xfrm>
            <a:off x="5609413" y="1763312"/>
            <a:ext cx="737259" cy="737259"/>
          </a:xfrm>
          <a:prstGeom prst="rect">
            <a:avLst/>
          </a:prstGeom>
        </p:spPr>
      </p:pic>
      <p:sp>
        <p:nvSpPr>
          <p:cNvPr id="47" name="Title 1">
            <a:extLst>
              <a:ext uri="{FF2B5EF4-FFF2-40B4-BE49-F238E27FC236}">
                <a16:creationId xmlns:a16="http://schemas.microsoft.com/office/drawing/2014/main" id="{6F1DD1AA-95AA-664A-81F2-1BF986A27C48}"/>
              </a:ext>
            </a:extLst>
          </p:cNvPr>
          <p:cNvSpPr txBox="1">
            <a:spLocks/>
          </p:cNvSpPr>
          <p:nvPr/>
        </p:nvSpPr>
        <p:spPr>
          <a:xfrm>
            <a:off x="108770" y="-299160"/>
            <a:ext cx="12281864" cy="13255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smtClean="0">
                <a:ln>
                  <a:noFill/>
                </a:ln>
                <a:effectLst/>
                <a:uLnTx/>
                <a:uFillTx/>
                <a:latin typeface="Arial" panose="020B0604020202020204" pitchFamily="34" charset="0"/>
                <a:ea typeface="Optimist" panose="020B0603020204030204" pitchFamily="34" charset="77"/>
                <a:cs typeface="Arial" panose="020B0604020202020204" pitchFamily="34" charset="0"/>
              </a:rPr>
              <a:t>Tie </a:t>
            </a:r>
            <a:r>
              <a:rPr lang="en-US" sz="2800" b="1" dirty="0">
                <a:latin typeface="Arial" panose="020B0604020202020204" pitchFamily="34" charset="0"/>
                <a:ea typeface="Optimist" panose="020B0603020204030204" pitchFamily="34" charset="77"/>
                <a:cs typeface="Arial" panose="020B0604020202020204" pitchFamily="34" charset="0"/>
              </a:rPr>
              <a:t>r</a:t>
            </a:r>
            <a:r>
              <a:rPr kumimoji="0" lang="en-US" sz="2800" b="1" i="0" u="none" strike="noStrike" kern="1200" cap="none" spc="0" normalizeH="0" baseline="0" noProof="0" dirty="0" err="1" smtClean="0">
                <a:ln>
                  <a:noFill/>
                </a:ln>
                <a:effectLst/>
                <a:uLnTx/>
                <a:uFillTx/>
                <a:latin typeface="Arial" panose="020B0604020202020204" pitchFamily="34" charset="0"/>
                <a:ea typeface="Optimist" panose="020B0603020204030204" pitchFamily="34" charset="77"/>
                <a:cs typeface="Arial" panose="020B0604020202020204" pitchFamily="34" charset="0"/>
              </a:rPr>
              <a:t>esults</a:t>
            </a:r>
            <a:r>
              <a:rPr kumimoji="0" lang="en-US" sz="2800" b="1" i="0" u="none" strike="noStrike" kern="1200" cap="none" spc="0" normalizeH="0" baseline="0" noProof="0" dirty="0" smtClean="0">
                <a:ln>
                  <a:noFill/>
                </a:ln>
                <a:effectLst/>
                <a:uLnTx/>
                <a:uFillTx/>
                <a:latin typeface="Arial" panose="020B0604020202020204" pitchFamily="34" charset="0"/>
                <a:ea typeface="Optimist" panose="020B0603020204030204" pitchFamily="34" charset="77"/>
                <a:cs typeface="Arial" panose="020B0604020202020204" pitchFamily="34" charset="0"/>
              </a:rPr>
              <a:t> </a:t>
            </a:r>
            <a:r>
              <a:rPr kumimoji="0" lang="en-US" sz="2800" b="1" i="0" u="none" strike="noStrike" kern="1200" cap="none" spc="0" normalizeH="0" baseline="0" noProof="0" dirty="0">
                <a:ln>
                  <a:noFill/>
                </a:ln>
                <a:effectLst/>
                <a:uLnTx/>
                <a:uFillTx/>
                <a:latin typeface="Arial" panose="020B0604020202020204" pitchFamily="34" charset="0"/>
                <a:ea typeface="Optimist" panose="020B0603020204030204" pitchFamily="34" charset="77"/>
                <a:cs typeface="Arial" panose="020B0604020202020204" pitchFamily="34" charset="0"/>
              </a:rPr>
              <a:t>to </a:t>
            </a:r>
            <a:r>
              <a:rPr lang="en-US" sz="2800" b="1" u="sng" dirty="0" smtClean="0">
                <a:latin typeface="Arial" panose="020B0604020202020204" pitchFamily="34" charset="0"/>
                <a:ea typeface="Optimist" panose="020B0603020204030204" pitchFamily="34" charset="77"/>
                <a:cs typeface="Arial" panose="020B0604020202020204" pitchFamily="34" charset="0"/>
              </a:rPr>
              <a:t>C</a:t>
            </a:r>
            <a:r>
              <a:rPr kumimoji="0" lang="en-US" sz="2800" b="1" i="0" u="none" strike="noStrike" kern="1200" cap="none" spc="0" normalizeH="0" baseline="0" noProof="0" dirty="0" err="1" smtClean="0">
                <a:ln>
                  <a:noFill/>
                </a:ln>
                <a:effectLst/>
                <a:uLnTx/>
                <a:uFillTx/>
                <a:latin typeface="Arial" panose="020B0604020202020204" pitchFamily="34" charset="0"/>
                <a:ea typeface="Optimist" panose="020B0603020204030204" pitchFamily="34" charset="77"/>
                <a:cs typeface="Arial" panose="020B0604020202020204" pitchFamily="34" charset="0"/>
              </a:rPr>
              <a:t>ustomer</a:t>
            </a:r>
            <a:r>
              <a:rPr kumimoji="0" lang="en-US" sz="2800" b="1" i="0" u="none" strike="noStrike" kern="1200" cap="none" spc="0" normalizeH="0" baseline="0" noProof="0" dirty="0" smtClean="0">
                <a:ln>
                  <a:noFill/>
                </a:ln>
                <a:effectLst/>
                <a:uLnTx/>
                <a:uFillTx/>
                <a:latin typeface="Arial" panose="020B0604020202020204" pitchFamily="34" charset="0"/>
                <a:ea typeface="Optimist" panose="020B0603020204030204" pitchFamily="34" charset="77"/>
                <a:cs typeface="Arial" panose="020B0604020202020204" pitchFamily="34" charset="0"/>
              </a:rPr>
              <a:t>-focused </a:t>
            </a:r>
            <a:r>
              <a:rPr lang="en-US" sz="2800" b="1" dirty="0">
                <a:latin typeface="Arial" panose="020B0604020202020204" pitchFamily="34" charset="0"/>
                <a:ea typeface="Optimist" panose="020B0603020204030204" pitchFamily="34" charset="77"/>
                <a:cs typeface="Arial" panose="020B0604020202020204" pitchFamily="34" charset="0"/>
              </a:rPr>
              <a:t>o</a:t>
            </a:r>
            <a:r>
              <a:rPr kumimoji="0" lang="en-US" sz="2800" b="1" i="0" u="none" strike="noStrike" kern="1200" cap="none" spc="0" normalizeH="0" baseline="0" noProof="0" dirty="0" err="1" smtClean="0">
                <a:ln>
                  <a:noFill/>
                </a:ln>
                <a:effectLst/>
                <a:uLnTx/>
                <a:uFillTx/>
                <a:latin typeface="Arial" panose="020B0604020202020204" pitchFamily="34" charset="0"/>
                <a:ea typeface="Optimist" panose="020B0603020204030204" pitchFamily="34" charset="77"/>
                <a:cs typeface="Arial" panose="020B0604020202020204" pitchFamily="34" charset="0"/>
              </a:rPr>
              <a:t>utcomes</a:t>
            </a:r>
            <a:endParaRPr kumimoji="0" lang="en-US" sz="2800" b="1" i="0" u="none" strike="noStrike" kern="1200" cap="none" spc="0" normalizeH="0" baseline="0" noProof="0" dirty="0">
              <a:ln>
                <a:noFill/>
              </a:ln>
              <a:effectLst/>
              <a:uLnTx/>
              <a:uFillTx/>
              <a:latin typeface="Arial" panose="020B0604020202020204" pitchFamily="34" charset="0"/>
              <a:ea typeface="Optimist" panose="020B0603020204030204" pitchFamily="34" charset="77"/>
              <a:cs typeface="Arial" panose="020B0604020202020204" pitchFamily="34" charset="0"/>
            </a:endParaRPr>
          </a:p>
        </p:txBody>
      </p:sp>
      <p:grpSp>
        <p:nvGrpSpPr>
          <p:cNvPr id="42" name="Group 41">
            <a:extLst>
              <a:ext uri="{FF2B5EF4-FFF2-40B4-BE49-F238E27FC236}">
                <a16:creationId xmlns:a16="http://schemas.microsoft.com/office/drawing/2014/main" id="{FEFE145E-116E-024B-BFE4-7387B351B02B}"/>
              </a:ext>
            </a:extLst>
          </p:cNvPr>
          <p:cNvGrpSpPr/>
          <p:nvPr/>
        </p:nvGrpSpPr>
        <p:grpSpPr>
          <a:xfrm>
            <a:off x="5081217" y="2848790"/>
            <a:ext cx="1848115" cy="2243377"/>
            <a:chOff x="5181053" y="2387398"/>
            <a:chExt cx="1905053" cy="2392369"/>
          </a:xfrm>
          <a:solidFill>
            <a:schemeClr val="tx2">
              <a:lumMod val="60000"/>
              <a:lumOff val="40000"/>
            </a:schemeClr>
          </a:solidFill>
        </p:grpSpPr>
        <p:sp>
          <p:nvSpPr>
            <p:cNvPr id="43" name="Trapezoid 42">
              <a:extLst>
                <a:ext uri="{FF2B5EF4-FFF2-40B4-BE49-F238E27FC236}">
                  <a16:creationId xmlns:a16="http://schemas.microsoft.com/office/drawing/2014/main" id="{9089DC7D-01DF-6D4B-8B24-7DD495004B9D}"/>
                </a:ext>
              </a:extLst>
            </p:cNvPr>
            <p:cNvSpPr/>
            <p:nvPr/>
          </p:nvSpPr>
          <p:spPr>
            <a:xfrm>
              <a:off x="5181053" y="2387398"/>
              <a:ext cx="1905052" cy="1199287"/>
            </a:xfrm>
            <a:prstGeom prst="trapezoid">
              <a:avLst>
                <a:gd name="adj" fmla="val 5068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timist" panose="020B0603020204030204" pitchFamily="34" charset="77"/>
                <a:ea typeface="Optimist" panose="020B0603020204030204" pitchFamily="34" charset="77"/>
                <a:cs typeface="Optimist" panose="020B0603020204030204" pitchFamily="34" charset="77"/>
              </a:endParaRPr>
            </a:p>
          </p:txBody>
        </p:sp>
        <p:sp>
          <p:nvSpPr>
            <p:cNvPr id="49" name="Trapezoid 48">
              <a:extLst>
                <a:ext uri="{FF2B5EF4-FFF2-40B4-BE49-F238E27FC236}">
                  <a16:creationId xmlns:a16="http://schemas.microsoft.com/office/drawing/2014/main" id="{F0990FBB-1CEE-9F47-831C-62D2ED8DA28E}"/>
                </a:ext>
              </a:extLst>
            </p:cNvPr>
            <p:cNvSpPr/>
            <p:nvPr/>
          </p:nvSpPr>
          <p:spPr>
            <a:xfrm rot="10800000">
              <a:off x="5181054" y="3580480"/>
              <a:ext cx="1905052" cy="1199287"/>
            </a:xfrm>
            <a:prstGeom prst="trapezoid">
              <a:avLst>
                <a:gd name="adj" fmla="val 5068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timist" panose="020B0603020204030204" pitchFamily="34" charset="77"/>
                <a:ea typeface="Optimist" panose="020B0603020204030204" pitchFamily="34" charset="77"/>
                <a:cs typeface="Optimist" panose="020B0603020204030204" pitchFamily="34" charset="77"/>
              </a:endParaRPr>
            </a:p>
          </p:txBody>
        </p:sp>
      </p:grpSp>
      <p:pic>
        <p:nvPicPr>
          <p:cNvPr id="2" name="Audio 1">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21"/>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990432352"/>
      </p:ext>
    </p:extLst>
  </p:cSld>
  <p:clrMapOvr>
    <a:masterClrMapping/>
  </p:clrMapOvr>
  <mc:AlternateContent xmlns:mc="http://schemas.openxmlformats.org/markup-compatibility/2006" xmlns:p14="http://schemas.microsoft.com/office/powerpoint/2010/main">
    <mc:Choice Requires="p14">
      <p:transition spd="slow" p14:dur="2000" advTm="230"/>
    </mc:Choice>
    <mc:Fallback xmlns="">
      <p:transition spd="slow" advTm="23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C63C8F31-85BB-3446-8845-A8E582F67F69}"/>
              </a:ext>
            </a:extLst>
          </p:cNvPr>
          <p:cNvGrpSpPr/>
          <p:nvPr/>
        </p:nvGrpSpPr>
        <p:grpSpPr>
          <a:xfrm>
            <a:off x="6403146" y="4611872"/>
            <a:ext cx="1327759" cy="1139869"/>
            <a:chOff x="5070789" y="1939282"/>
            <a:chExt cx="1327759" cy="1139869"/>
          </a:xfrm>
        </p:grpSpPr>
        <p:sp>
          <p:nvSpPr>
            <p:cNvPr id="16" name="Hexagon 15">
              <a:extLst>
                <a:ext uri="{FF2B5EF4-FFF2-40B4-BE49-F238E27FC236}">
                  <a16:creationId xmlns:a16="http://schemas.microsoft.com/office/drawing/2014/main" id="{2AFF78F1-47D2-1745-8795-EF255C8EA5A1}"/>
                </a:ext>
              </a:extLst>
            </p:cNvPr>
            <p:cNvSpPr/>
            <p:nvPr/>
          </p:nvSpPr>
          <p:spPr>
            <a:xfrm>
              <a:off x="5070789" y="1939282"/>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Oval 16">
              <a:extLst>
                <a:ext uri="{FF2B5EF4-FFF2-40B4-BE49-F238E27FC236}">
                  <a16:creationId xmlns:a16="http://schemas.microsoft.com/office/drawing/2014/main" id="{CDC8B414-8CF1-F046-A3F5-CBB83DAFDEE0}"/>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1" name="Group 10">
            <a:extLst>
              <a:ext uri="{FF2B5EF4-FFF2-40B4-BE49-F238E27FC236}">
                <a16:creationId xmlns:a16="http://schemas.microsoft.com/office/drawing/2014/main" id="{4621E9BC-85CC-B845-B9AC-A5381FA702EB}"/>
              </a:ext>
            </a:extLst>
          </p:cNvPr>
          <p:cNvGrpSpPr/>
          <p:nvPr/>
        </p:nvGrpSpPr>
        <p:grpSpPr>
          <a:xfrm>
            <a:off x="4223203" y="2171256"/>
            <a:ext cx="1327759" cy="1139869"/>
            <a:chOff x="5060515" y="1929008"/>
            <a:chExt cx="1327759" cy="1139869"/>
          </a:xfrm>
        </p:grpSpPr>
        <p:sp>
          <p:nvSpPr>
            <p:cNvPr id="9" name="Hexagon 8">
              <a:extLst>
                <a:ext uri="{FF2B5EF4-FFF2-40B4-BE49-F238E27FC236}">
                  <a16:creationId xmlns:a16="http://schemas.microsoft.com/office/drawing/2014/main" id="{54D738F2-39C0-3B48-B7C8-EBAC492968BA}"/>
                </a:ext>
              </a:extLst>
            </p:cNvPr>
            <p:cNvSpPr/>
            <p:nvPr/>
          </p:nvSpPr>
          <p:spPr>
            <a:xfrm>
              <a:off x="5060515" y="1929008"/>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Oval 9">
              <a:extLst>
                <a:ext uri="{FF2B5EF4-FFF2-40B4-BE49-F238E27FC236}">
                  <a16:creationId xmlns:a16="http://schemas.microsoft.com/office/drawing/2014/main" id="{86F49C9F-78E8-1D4C-8236-A50B12136739}"/>
                </a:ext>
              </a:extLst>
            </p:cNvPr>
            <p:cNvSpPr/>
            <p:nvPr/>
          </p:nvSpPr>
          <p:spPr>
            <a:xfrm>
              <a:off x="5262582" y="2010475"/>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8" name="Group 17">
            <a:extLst>
              <a:ext uri="{FF2B5EF4-FFF2-40B4-BE49-F238E27FC236}">
                <a16:creationId xmlns:a16="http://schemas.microsoft.com/office/drawing/2014/main" id="{26D3A469-AE19-1C47-851C-D17BEE7FAE43}"/>
              </a:ext>
            </a:extLst>
          </p:cNvPr>
          <p:cNvGrpSpPr/>
          <p:nvPr/>
        </p:nvGrpSpPr>
        <p:grpSpPr>
          <a:xfrm>
            <a:off x="5303500" y="5206858"/>
            <a:ext cx="1327759" cy="1139869"/>
            <a:chOff x="5060515" y="1939282"/>
            <a:chExt cx="1327759" cy="1139869"/>
          </a:xfrm>
        </p:grpSpPr>
        <p:sp>
          <p:nvSpPr>
            <p:cNvPr id="19" name="Hexagon 18">
              <a:extLst>
                <a:ext uri="{FF2B5EF4-FFF2-40B4-BE49-F238E27FC236}">
                  <a16:creationId xmlns:a16="http://schemas.microsoft.com/office/drawing/2014/main" id="{9B687A28-7D32-FE4B-9FEB-8481249DC8EC}"/>
                </a:ext>
              </a:extLst>
            </p:cNvPr>
            <p:cNvSpPr/>
            <p:nvPr/>
          </p:nvSpPr>
          <p:spPr>
            <a:xfrm>
              <a:off x="5060515" y="1939282"/>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Oval 19">
              <a:extLst>
                <a:ext uri="{FF2B5EF4-FFF2-40B4-BE49-F238E27FC236}">
                  <a16:creationId xmlns:a16="http://schemas.microsoft.com/office/drawing/2014/main" id="{B118CCAE-D1BC-0F4F-9387-22DDE9ECCC0D}"/>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1" name="Group 20">
            <a:extLst>
              <a:ext uri="{FF2B5EF4-FFF2-40B4-BE49-F238E27FC236}">
                <a16:creationId xmlns:a16="http://schemas.microsoft.com/office/drawing/2014/main" id="{86E49845-A2DA-9D49-8F9F-44A0F7359921}"/>
              </a:ext>
            </a:extLst>
          </p:cNvPr>
          <p:cNvGrpSpPr/>
          <p:nvPr/>
        </p:nvGrpSpPr>
        <p:grpSpPr>
          <a:xfrm>
            <a:off x="6428748" y="2165469"/>
            <a:ext cx="1327759" cy="1139869"/>
            <a:chOff x="5010366" y="1927787"/>
            <a:chExt cx="1327759" cy="1139869"/>
          </a:xfrm>
        </p:grpSpPr>
        <p:sp>
          <p:nvSpPr>
            <p:cNvPr id="22" name="Hexagon 21">
              <a:extLst>
                <a:ext uri="{FF2B5EF4-FFF2-40B4-BE49-F238E27FC236}">
                  <a16:creationId xmlns:a16="http://schemas.microsoft.com/office/drawing/2014/main" id="{195A3C94-A09A-9A43-A33D-EAF640E19FD8}"/>
                </a:ext>
              </a:extLst>
            </p:cNvPr>
            <p:cNvSpPr/>
            <p:nvPr/>
          </p:nvSpPr>
          <p:spPr>
            <a:xfrm>
              <a:off x="5010366" y="1927787"/>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 name="Oval 22">
              <a:extLst>
                <a:ext uri="{FF2B5EF4-FFF2-40B4-BE49-F238E27FC236}">
                  <a16:creationId xmlns:a16="http://schemas.microsoft.com/office/drawing/2014/main" id="{5AFFF815-69A3-F247-B5B7-EA3FFB6E2BB6}"/>
                </a:ext>
              </a:extLst>
            </p:cNvPr>
            <p:cNvSpPr/>
            <p:nvPr/>
          </p:nvSpPr>
          <p:spPr>
            <a:xfrm>
              <a:off x="5232362" y="2006415"/>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4" name="Group 23">
            <a:extLst>
              <a:ext uri="{FF2B5EF4-FFF2-40B4-BE49-F238E27FC236}">
                <a16:creationId xmlns:a16="http://schemas.microsoft.com/office/drawing/2014/main" id="{487AC486-5D27-AC43-82F2-C222EBCCC885}"/>
              </a:ext>
            </a:extLst>
          </p:cNvPr>
          <p:cNvGrpSpPr/>
          <p:nvPr/>
        </p:nvGrpSpPr>
        <p:grpSpPr>
          <a:xfrm>
            <a:off x="5326681" y="1562008"/>
            <a:ext cx="1327759" cy="1139869"/>
            <a:chOff x="5060515" y="1929008"/>
            <a:chExt cx="1327759" cy="1139869"/>
          </a:xfrm>
        </p:grpSpPr>
        <p:sp>
          <p:nvSpPr>
            <p:cNvPr id="25" name="Hexagon 24">
              <a:extLst>
                <a:ext uri="{FF2B5EF4-FFF2-40B4-BE49-F238E27FC236}">
                  <a16:creationId xmlns:a16="http://schemas.microsoft.com/office/drawing/2014/main" id="{1EC9AD10-8440-E94E-9B1A-51420D3844D0}"/>
                </a:ext>
              </a:extLst>
            </p:cNvPr>
            <p:cNvSpPr/>
            <p:nvPr/>
          </p:nvSpPr>
          <p:spPr>
            <a:xfrm>
              <a:off x="5060515" y="1929008"/>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Oval 25">
              <a:extLst>
                <a:ext uri="{FF2B5EF4-FFF2-40B4-BE49-F238E27FC236}">
                  <a16:creationId xmlns:a16="http://schemas.microsoft.com/office/drawing/2014/main" id="{E377C240-47AF-3048-886D-C98E62035EE2}"/>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8" name="Group 27">
            <a:extLst>
              <a:ext uri="{FF2B5EF4-FFF2-40B4-BE49-F238E27FC236}">
                <a16:creationId xmlns:a16="http://schemas.microsoft.com/office/drawing/2014/main" id="{B9050A09-0B2C-054B-BA71-73B459FDD087}"/>
              </a:ext>
            </a:extLst>
          </p:cNvPr>
          <p:cNvGrpSpPr/>
          <p:nvPr/>
        </p:nvGrpSpPr>
        <p:grpSpPr>
          <a:xfrm>
            <a:off x="3698477" y="3378223"/>
            <a:ext cx="1327759" cy="1139869"/>
            <a:chOff x="5060515" y="1929008"/>
            <a:chExt cx="1327759" cy="1139869"/>
          </a:xfrm>
        </p:grpSpPr>
        <p:sp>
          <p:nvSpPr>
            <p:cNvPr id="29" name="Hexagon 28">
              <a:extLst>
                <a:ext uri="{FF2B5EF4-FFF2-40B4-BE49-F238E27FC236}">
                  <a16:creationId xmlns:a16="http://schemas.microsoft.com/office/drawing/2014/main" id="{B4066B57-4C2B-2E4E-9388-2977853856D2}"/>
                </a:ext>
              </a:extLst>
            </p:cNvPr>
            <p:cNvSpPr/>
            <p:nvPr/>
          </p:nvSpPr>
          <p:spPr>
            <a:xfrm>
              <a:off x="5060515" y="1929008"/>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 name="Oval 29">
              <a:extLst>
                <a:ext uri="{FF2B5EF4-FFF2-40B4-BE49-F238E27FC236}">
                  <a16:creationId xmlns:a16="http://schemas.microsoft.com/office/drawing/2014/main" id="{DB6D6C69-3214-A446-B585-B62CF8DA7BDC}"/>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1" name="Group 30">
            <a:extLst>
              <a:ext uri="{FF2B5EF4-FFF2-40B4-BE49-F238E27FC236}">
                <a16:creationId xmlns:a16="http://schemas.microsoft.com/office/drawing/2014/main" id="{49875E6E-9082-2041-A25D-372D568E6156}"/>
              </a:ext>
            </a:extLst>
          </p:cNvPr>
          <p:cNvGrpSpPr/>
          <p:nvPr/>
        </p:nvGrpSpPr>
        <p:grpSpPr>
          <a:xfrm>
            <a:off x="4211865" y="4590293"/>
            <a:ext cx="1327759" cy="1139869"/>
            <a:chOff x="5060515" y="1929008"/>
            <a:chExt cx="1327759" cy="1139869"/>
          </a:xfrm>
        </p:grpSpPr>
        <p:sp>
          <p:nvSpPr>
            <p:cNvPr id="32" name="Hexagon 31">
              <a:extLst>
                <a:ext uri="{FF2B5EF4-FFF2-40B4-BE49-F238E27FC236}">
                  <a16:creationId xmlns:a16="http://schemas.microsoft.com/office/drawing/2014/main" id="{716FA66D-35FF-6244-8C11-7BE53FA919B5}"/>
                </a:ext>
              </a:extLst>
            </p:cNvPr>
            <p:cNvSpPr/>
            <p:nvPr/>
          </p:nvSpPr>
          <p:spPr>
            <a:xfrm>
              <a:off x="5060515" y="1929008"/>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Oval 32">
              <a:extLst>
                <a:ext uri="{FF2B5EF4-FFF2-40B4-BE49-F238E27FC236}">
                  <a16:creationId xmlns:a16="http://schemas.microsoft.com/office/drawing/2014/main" id="{76DFA617-DCA3-6248-B13B-7E32E5A9E82E}"/>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pic>
        <p:nvPicPr>
          <p:cNvPr id="40"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6747886" y="2318581"/>
            <a:ext cx="746044" cy="746044"/>
          </a:xfrm>
          <a:prstGeom prst="rect">
            <a:avLst/>
          </a:prstGeom>
        </p:spPr>
      </p:pic>
      <p:pic>
        <p:nvPicPr>
          <p:cNvPr id="58" name="Graphic 57" descr="Infinity">
            <a:extLst>
              <a:ext uri="{FF2B5EF4-FFF2-40B4-BE49-F238E27FC236}">
                <a16:creationId xmlns:a16="http://schemas.microsoft.com/office/drawing/2014/main" id="{C354EB3E-86C1-4146-B3E4-48A9530BAD6D}"/>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4465333" y="2334047"/>
            <a:ext cx="802660" cy="802660"/>
          </a:xfrm>
          <a:prstGeom prst="rect">
            <a:avLst/>
          </a:prstGeom>
        </p:spPr>
      </p:pic>
      <p:pic>
        <p:nvPicPr>
          <p:cNvPr id="64" name="Graphic 63" descr="Business Growth">
            <a:extLst>
              <a:ext uri="{FF2B5EF4-FFF2-40B4-BE49-F238E27FC236}">
                <a16:creationId xmlns:a16="http://schemas.microsoft.com/office/drawing/2014/main" id="{55D64434-D27D-AC40-8C7D-FF18E87B5F18}"/>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6765630" y="4875962"/>
            <a:ext cx="737554" cy="737554"/>
          </a:xfrm>
          <a:prstGeom prst="rect">
            <a:avLst/>
          </a:prstGeom>
        </p:spPr>
      </p:pic>
      <p:pic>
        <p:nvPicPr>
          <p:cNvPr id="68" name="Graphic 67" descr="Classroom">
            <a:extLst>
              <a:ext uri="{FF2B5EF4-FFF2-40B4-BE49-F238E27FC236}">
                <a16:creationId xmlns:a16="http://schemas.microsoft.com/office/drawing/2014/main" id="{BF56240F-A3BE-DB47-AB75-30641CF911DD}"/>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3989334" y="3575902"/>
            <a:ext cx="746044" cy="746044"/>
          </a:xfrm>
          <a:prstGeom prst="rect">
            <a:avLst/>
          </a:prstGeom>
        </p:spPr>
      </p:pic>
      <p:pic>
        <p:nvPicPr>
          <p:cNvPr id="75" name="Graphic 74" descr="Marketing">
            <a:extLst>
              <a:ext uri="{FF2B5EF4-FFF2-40B4-BE49-F238E27FC236}">
                <a16:creationId xmlns:a16="http://schemas.microsoft.com/office/drawing/2014/main" id="{8D4D1845-43F3-A342-801E-C809DE65D241}"/>
              </a:ext>
            </a:extLst>
          </p:cNvPr>
          <p:cNvPicPr>
            <a:picLocks noChangeAspect="1"/>
          </p:cNvPicPr>
          <p:nvPr/>
        </p:nvPicPr>
        <p:blipFill>
          <a:blip r:embed="rId11">
            <a:extLst>
              <a:ext uri="{96DAC541-7B7A-43D3-8B79-37D633B846F1}">
                <asvg:svgBlip xmlns:asvg="http://schemas.microsoft.com/office/drawing/2016/SVG/main" xmlns="" r:embed="rId12"/>
              </a:ext>
            </a:extLst>
          </a:blip>
          <a:stretch>
            <a:fillRect/>
          </a:stretch>
        </p:blipFill>
        <p:spPr>
          <a:xfrm>
            <a:off x="5692397" y="5438564"/>
            <a:ext cx="676431" cy="676431"/>
          </a:xfrm>
          <a:prstGeom prst="rect">
            <a:avLst/>
          </a:prstGeom>
        </p:spPr>
      </p:pic>
      <p:sp>
        <p:nvSpPr>
          <p:cNvPr id="85" name="Line Callout 2 (Accent Bar) 84">
            <a:extLst>
              <a:ext uri="{FF2B5EF4-FFF2-40B4-BE49-F238E27FC236}">
                <a16:creationId xmlns:a16="http://schemas.microsoft.com/office/drawing/2014/main" id="{017DF7B1-DFC2-A341-B3D6-128F429721DC}"/>
              </a:ext>
            </a:extLst>
          </p:cNvPr>
          <p:cNvSpPr/>
          <p:nvPr/>
        </p:nvSpPr>
        <p:spPr>
          <a:xfrm>
            <a:off x="1129010" y="1197223"/>
            <a:ext cx="2328574" cy="817625"/>
          </a:xfrm>
          <a:prstGeom prst="accentCallout2">
            <a:avLst>
              <a:gd name="adj1" fmla="val 73902"/>
              <a:gd name="adj2" fmla="val 99732"/>
              <a:gd name="adj3" fmla="val 76415"/>
              <a:gd name="adj4" fmla="val 118610"/>
              <a:gd name="adj5" fmla="val 137236"/>
              <a:gd name="adj6" fmla="val 135932"/>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C</a:t>
            </a:r>
            <a:r>
              <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ontinuou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ontinuously Integra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ontinuously Deliver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ontinuously Opera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ontinuously Improving (Metrics &amp; Measurement)</a:t>
            </a:r>
          </a:p>
        </p:txBody>
      </p:sp>
      <p:sp>
        <p:nvSpPr>
          <p:cNvPr id="88" name="Line Callout 2 (Accent Bar) 87">
            <a:extLst>
              <a:ext uri="{FF2B5EF4-FFF2-40B4-BE49-F238E27FC236}">
                <a16:creationId xmlns:a16="http://schemas.microsoft.com/office/drawing/2014/main" id="{728DA1AB-D7CD-494C-933A-FAEE70C78848}"/>
              </a:ext>
            </a:extLst>
          </p:cNvPr>
          <p:cNvSpPr/>
          <p:nvPr/>
        </p:nvSpPr>
        <p:spPr>
          <a:xfrm>
            <a:off x="772700" y="2995447"/>
            <a:ext cx="2328574" cy="817625"/>
          </a:xfrm>
          <a:prstGeom prst="accentCallout2">
            <a:avLst>
              <a:gd name="adj1" fmla="val 31712"/>
              <a:gd name="adj2" fmla="val 93599"/>
              <a:gd name="adj3" fmla="val 29474"/>
              <a:gd name="adj4" fmla="val 115320"/>
              <a:gd name="adj5" fmla="val 66730"/>
              <a:gd name="adj6" fmla="val 128701"/>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C</a:t>
            </a:r>
            <a:r>
              <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ompetency </a:t>
            </a:r>
            <a:r>
              <a:rPr kumimoji="0" lang="en-US" sz="20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C</a:t>
            </a:r>
            <a:r>
              <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ent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ontinuous, Accelerated Learn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apabilities Mode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urriculu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oach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uriosity (R&amp;D)</a:t>
            </a:r>
          </a:p>
        </p:txBody>
      </p:sp>
      <p:sp>
        <p:nvSpPr>
          <p:cNvPr id="90" name="Line Callout 2 (Accent Bar) 89">
            <a:extLst>
              <a:ext uri="{FF2B5EF4-FFF2-40B4-BE49-F238E27FC236}">
                <a16:creationId xmlns:a16="http://schemas.microsoft.com/office/drawing/2014/main" id="{1F662CAA-9FF9-E147-83D5-D7206BED65B5}"/>
              </a:ext>
            </a:extLst>
          </p:cNvPr>
          <p:cNvSpPr/>
          <p:nvPr/>
        </p:nvSpPr>
        <p:spPr>
          <a:xfrm>
            <a:off x="2839994" y="5911581"/>
            <a:ext cx="2367420" cy="817625"/>
          </a:xfrm>
          <a:prstGeom prst="accentCallout2">
            <a:avLst>
              <a:gd name="adj1" fmla="val 61095"/>
              <a:gd name="adj2" fmla="val 91049"/>
              <a:gd name="adj3" fmla="val 62076"/>
              <a:gd name="adj4" fmla="val 98445"/>
              <a:gd name="adj5" fmla="val 52115"/>
              <a:gd name="adj6" fmla="val 111401"/>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C</a:t>
            </a:r>
            <a:r>
              <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ommunic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Blog pos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Newslett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Story Telling and Sharing</a:t>
            </a:r>
          </a:p>
        </p:txBody>
      </p:sp>
      <p:sp>
        <p:nvSpPr>
          <p:cNvPr id="91" name="Line Callout 2 (Accent Bar) 90">
            <a:extLst>
              <a:ext uri="{FF2B5EF4-FFF2-40B4-BE49-F238E27FC236}">
                <a16:creationId xmlns:a16="http://schemas.microsoft.com/office/drawing/2014/main" id="{6A7E989D-86F0-8241-9B05-A535CB4D1F7E}"/>
              </a:ext>
            </a:extLst>
          </p:cNvPr>
          <p:cNvSpPr/>
          <p:nvPr/>
        </p:nvSpPr>
        <p:spPr>
          <a:xfrm>
            <a:off x="8477175" y="5331623"/>
            <a:ext cx="2573799" cy="817625"/>
          </a:xfrm>
          <a:prstGeom prst="accentCallout2">
            <a:avLst>
              <a:gd name="adj1" fmla="val 58582"/>
              <a:gd name="adj2" fmla="val -8333"/>
              <a:gd name="adj3" fmla="val 57050"/>
              <a:gd name="adj4" fmla="val -20900"/>
              <a:gd name="adj5" fmla="val 28224"/>
              <a:gd name="adj6" fmla="val -33387"/>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C</a:t>
            </a:r>
            <a:r>
              <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ustomer-Focused Outcom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Net Promoter Score (N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Revenue &amp; Retention Ra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Time-to-Valu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Leading Indicators</a:t>
            </a:r>
          </a:p>
        </p:txBody>
      </p:sp>
      <p:sp>
        <p:nvSpPr>
          <p:cNvPr id="96" name="Title 1">
            <a:extLst>
              <a:ext uri="{FF2B5EF4-FFF2-40B4-BE49-F238E27FC236}">
                <a16:creationId xmlns:a16="http://schemas.microsoft.com/office/drawing/2014/main" id="{329AE9FC-EBF0-E24A-9A83-3F46B45EB9D6}"/>
              </a:ext>
            </a:extLst>
          </p:cNvPr>
          <p:cNvSpPr>
            <a:spLocks noGrp="1"/>
          </p:cNvSpPr>
          <p:nvPr>
            <p:ph type="title"/>
          </p:nvPr>
        </p:nvSpPr>
        <p:spPr>
          <a:xfrm>
            <a:off x="183843" y="-319627"/>
            <a:ext cx="11824313" cy="1325563"/>
          </a:xfrm>
        </p:spPr>
        <p:txBody>
          <a:bodyPr>
            <a:normAutofit/>
          </a:bodyPr>
          <a:lstStyle/>
          <a:p>
            <a:r>
              <a:rPr lang="en-US" sz="2800" b="1" dirty="0" smtClean="0">
                <a:latin typeface="Arial" panose="020B0604020202020204" pitchFamily="34" charset="0"/>
                <a:ea typeface="Optimist" panose="020B0603020204030204" pitchFamily="34" charset="77"/>
                <a:cs typeface="Arial" panose="020B0604020202020204" pitchFamily="34" charset="0"/>
              </a:rPr>
              <a:t>Demonstrate </a:t>
            </a:r>
            <a:r>
              <a:rPr lang="en-US" sz="2800" b="1" dirty="0">
                <a:latin typeface="Arial" panose="020B0604020202020204" pitchFamily="34" charset="0"/>
                <a:ea typeface="Optimist" panose="020B0603020204030204" pitchFamily="34" charset="77"/>
                <a:cs typeface="Arial" panose="020B0604020202020204" pitchFamily="34" charset="0"/>
              </a:rPr>
              <a:t>the DevOps </a:t>
            </a:r>
            <a:r>
              <a:rPr lang="en-US" sz="2800" b="1" u="sng" dirty="0" smtClean="0">
                <a:latin typeface="Arial" panose="020B0604020202020204" pitchFamily="34" charset="0"/>
                <a:ea typeface="Optimist" panose="020B0603020204030204" pitchFamily="34" charset="77"/>
                <a:cs typeface="Arial" panose="020B0604020202020204" pitchFamily="34" charset="0"/>
              </a:rPr>
              <a:t>C</a:t>
            </a:r>
            <a:r>
              <a:rPr lang="en-US" sz="2800" b="1" dirty="0" smtClean="0">
                <a:latin typeface="Arial" panose="020B0604020202020204" pitchFamily="34" charset="0"/>
                <a:ea typeface="Optimist" panose="020B0603020204030204" pitchFamily="34" charset="77"/>
                <a:cs typeface="Arial" panose="020B0604020202020204" pitchFamily="34" charset="0"/>
              </a:rPr>
              <a:t>ulture</a:t>
            </a:r>
            <a:endParaRPr lang="en-US" sz="2800" b="1" dirty="0">
              <a:latin typeface="Arial" panose="020B0604020202020204" pitchFamily="34" charset="0"/>
              <a:ea typeface="Optimist" panose="020B0603020204030204" pitchFamily="34" charset="77"/>
              <a:cs typeface="Arial" panose="020B0604020202020204" pitchFamily="34" charset="0"/>
            </a:endParaRPr>
          </a:p>
        </p:txBody>
      </p:sp>
      <p:pic>
        <p:nvPicPr>
          <p:cNvPr id="98" name="Graphic 97" descr="Group">
            <a:extLst>
              <a:ext uri="{FF2B5EF4-FFF2-40B4-BE49-F238E27FC236}">
                <a16:creationId xmlns:a16="http://schemas.microsoft.com/office/drawing/2014/main" id="{8A7059D7-B129-1E41-9897-43233F1C639E}"/>
              </a:ext>
            </a:extLst>
          </p:cNvPr>
          <p:cNvPicPr>
            <a:picLocks noChangeAspect="1"/>
          </p:cNvPicPr>
          <p:nvPr/>
        </p:nvPicPr>
        <p:blipFill>
          <a:blip r:embed="rId13">
            <a:extLst>
              <a:ext uri="{96DAC541-7B7A-43D3-8B79-37D633B846F1}">
                <asvg:svgBlip xmlns:asvg="http://schemas.microsoft.com/office/drawing/2016/SVG/main" xmlns="" r:embed="rId14"/>
              </a:ext>
            </a:extLst>
          </a:blip>
          <a:stretch>
            <a:fillRect/>
          </a:stretch>
        </p:blipFill>
        <p:spPr>
          <a:xfrm>
            <a:off x="4590960" y="5056539"/>
            <a:ext cx="589001" cy="589001"/>
          </a:xfrm>
          <a:prstGeom prst="rect">
            <a:avLst/>
          </a:prstGeom>
        </p:spPr>
      </p:pic>
      <p:pic>
        <p:nvPicPr>
          <p:cNvPr id="100" name="Graphic 99" descr="Deciduous tree">
            <a:extLst>
              <a:ext uri="{FF2B5EF4-FFF2-40B4-BE49-F238E27FC236}">
                <a16:creationId xmlns:a16="http://schemas.microsoft.com/office/drawing/2014/main" id="{9819F59A-89A2-CD4D-BAEB-BF00779C9851}"/>
              </a:ext>
            </a:extLst>
          </p:cNvPr>
          <p:cNvPicPr>
            <a:picLocks noChangeAspect="1"/>
          </p:cNvPicPr>
          <p:nvPr/>
        </p:nvPicPr>
        <p:blipFill>
          <a:blip r:embed="rId15">
            <a:extLst>
              <a:ext uri="{96DAC541-7B7A-43D3-8B79-37D633B846F1}">
                <asvg:svgBlip xmlns:asvg="http://schemas.microsoft.com/office/drawing/2016/SVG/main" xmlns="" r:embed="rId16"/>
              </a:ext>
            </a:extLst>
          </a:blip>
          <a:stretch>
            <a:fillRect/>
          </a:stretch>
        </p:blipFill>
        <p:spPr>
          <a:xfrm>
            <a:off x="4510028" y="4755665"/>
            <a:ext cx="523213" cy="523213"/>
          </a:xfrm>
          <a:prstGeom prst="rect">
            <a:avLst/>
          </a:prstGeom>
        </p:spPr>
      </p:pic>
      <p:sp>
        <p:nvSpPr>
          <p:cNvPr id="44" name="Line Callout 2 (Accent Bar) 43">
            <a:extLst>
              <a:ext uri="{FF2B5EF4-FFF2-40B4-BE49-F238E27FC236}">
                <a16:creationId xmlns:a16="http://schemas.microsoft.com/office/drawing/2014/main" id="{41F370FD-BC91-574A-8043-9D94C10B0433}"/>
              </a:ext>
            </a:extLst>
          </p:cNvPr>
          <p:cNvSpPr/>
          <p:nvPr/>
        </p:nvSpPr>
        <p:spPr>
          <a:xfrm>
            <a:off x="8999836" y="3315612"/>
            <a:ext cx="2841298" cy="817625"/>
          </a:xfrm>
          <a:prstGeom prst="accentCallout2">
            <a:avLst>
              <a:gd name="adj1" fmla="val 23398"/>
              <a:gd name="adj2" fmla="val -8695"/>
              <a:gd name="adj3" fmla="val 25635"/>
              <a:gd name="adj4" fmla="val -19092"/>
              <a:gd name="adj5" fmla="val -20337"/>
              <a:gd name="adj6" fmla="val -47153"/>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C</a:t>
            </a:r>
            <a:r>
              <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ross</a:t>
            </a:r>
            <a:r>
              <a:rPr kumimoji="0" lang="en-US" sz="20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F</a:t>
            </a:r>
            <a:r>
              <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unctional</a:t>
            </a:r>
            <a:r>
              <a:rPr kumimoji="0" lang="en-US" sz="20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 T</a:t>
            </a:r>
            <a:r>
              <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ea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Dev + O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Full Stack Tea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You Build It You Own 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Agile Practices</a:t>
            </a:r>
          </a:p>
        </p:txBody>
      </p:sp>
      <p:sp>
        <p:nvSpPr>
          <p:cNvPr id="48" name="Line Callout 2 (Accent Bar) 47">
            <a:extLst>
              <a:ext uri="{FF2B5EF4-FFF2-40B4-BE49-F238E27FC236}">
                <a16:creationId xmlns:a16="http://schemas.microsoft.com/office/drawing/2014/main" id="{38C7A757-63B5-E04A-8C88-60CC017F7C85}"/>
              </a:ext>
            </a:extLst>
          </p:cNvPr>
          <p:cNvSpPr/>
          <p:nvPr/>
        </p:nvSpPr>
        <p:spPr>
          <a:xfrm>
            <a:off x="1224631" y="4853565"/>
            <a:ext cx="2225893" cy="817625"/>
          </a:xfrm>
          <a:prstGeom prst="accentCallout2">
            <a:avLst>
              <a:gd name="adj1" fmla="val 27942"/>
              <a:gd name="adj2" fmla="val 98453"/>
              <a:gd name="adj3" fmla="val 67292"/>
              <a:gd name="adj4" fmla="val 118089"/>
              <a:gd name="adj5" fmla="val 72410"/>
              <a:gd name="adj6" fmla="val 136530"/>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C</a:t>
            </a:r>
            <a:r>
              <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rPr>
              <a:t>ommunity Building</a:t>
            </a:r>
            <a:endPar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Tech Exchanges/Meetu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DevOps Day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Hack-a-th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Gamific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endParaRPr>
          </a:p>
        </p:txBody>
      </p:sp>
      <p:sp>
        <p:nvSpPr>
          <p:cNvPr id="45" name="Line Callout 2 (Accent Bar) 44">
            <a:extLst>
              <a:ext uri="{FF2B5EF4-FFF2-40B4-BE49-F238E27FC236}">
                <a16:creationId xmlns:a16="http://schemas.microsoft.com/office/drawing/2014/main" id="{994D3DE4-11BC-704C-A9CB-AAC96F2C6D09}"/>
              </a:ext>
            </a:extLst>
          </p:cNvPr>
          <p:cNvSpPr/>
          <p:nvPr/>
        </p:nvSpPr>
        <p:spPr>
          <a:xfrm>
            <a:off x="8260669" y="1444642"/>
            <a:ext cx="3499842" cy="817625"/>
          </a:xfrm>
          <a:prstGeom prst="accentCallout2">
            <a:avLst>
              <a:gd name="adj1" fmla="val 43262"/>
              <a:gd name="adj2" fmla="val -6543"/>
              <a:gd name="adj3" fmla="val 38511"/>
              <a:gd name="adj4" fmla="val -26061"/>
              <a:gd name="adj5" fmla="val 54491"/>
              <a:gd name="adj6" fmla="val -47782"/>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smtClean="0">
                <a:ln>
                  <a:noFill/>
                </a:ln>
                <a:solidFill>
                  <a:srgbClr val="E7E6E6">
                    <a:lumMod val="90000"/>
                  </a:srgbClr>
                </a:solidFill>
                <a:effectLst/>
                <a:uLnTx/>
                <a:uFillTx/>
                <a:latin typeface="Calibri" panose="020F0502020204030204"/>
                <a:ea typeface="+mn-ea"/>
                <a:cs typeface="+mn-cs"/>
              </a:rPr>
              <a:t>Construction</a:t>
            </a:r>
            <a:endParaRPr kumimoji="0" lang="en-US" sz="1400" b="1" i="0" u="sng" strike="noStrike" kern="1200" cap="none" spc="0" normalizeH="0" baseline="0" noProof="0" dirty="0">
              <a:ln>
                <a:noFill/>
              </a:ln>
              <a:solidFill>
                <a:srgbClr val="E7E6E6">
                  <a:lumMod val="90000"/>
                </a:srgbClr>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oupling (loose) - Microserv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Everything is Co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I/CD Pipelin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loud, Containers, Configuration Automation (Orchestr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yber and Compliance Obsess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Chaos Tes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E7E6E6">
                    <a:lumMod val="90000"/>
                  </a:srgbClr>
                </a:solidFill>
                <a:effectLst/>
                <a:uLnTx/>
                <a:uFillTx/>
                <a:latin typeface="Calibri" panose="020F0502020204030204"/>
                <a:ea typeface="+mn-ea"/>
                <a:cs typeface="+mn-cs"/>
              </a:rPr>
              <a:t>Inner-sourced, self-service</a:t>
            </a:r>
          </a:p>
        </p:txBody>
      </p:sp>
      <p:pic>
        <p:nvPicPr>
          <p:cNvPr id="46" name="Graphic 45" descr="Drawing compass">
            <a:extLst>
              <a:ext uri="{FF2B5EF4-FFF2-40B4-BE49-F238E27FC236}">
                <a16:creationId xmlns:a16="http://schemas.microsoft.com/office/drawing/2014/main" id="{6055AD77-A1A0-DB4F-9814-E9621830733C}"/>
              </a:ext>
            </a:extLst>
          </p:cNvPr>
          <p:cNvPicPr>
            <a:picLocks noChangeAspect="1"/>
          </p:cNvPicPr>
          <p:nvPr/>
        </p:nvPicPr>
        <p:blipFill>
          <a:blip r:embed="rId17">
            <a:extLst>
              <a:ext uri="{96DAC541-7B7A-43D3-8B79-37D633B846F1}">
                <asvg:svgBlip xmlns:asvg="http://schemas.microsoft.com/office/drawing/2016/SVG/main" xmlns="" r:embed="rId18"/>
              </a:ext>
            </a:extLst>
          </a:blip>
          <a:stretch>
            <a:fillRect/>
          </a:stretch>
        </p:blipFill>
        <p:spPr>
          <a:xfrm>
            <a:off x="5609413" y="1763312"/>
            <a:ext cx="737259" cy="737259"/>
          </a:xfrm>
          <a:prstGeom prst="rect">
            <a:avLst/>
          </a:prstGeom>
        </p:spPr>
      </p:pic>
      <p:grpSp>
        <p:nvGrpSpPr>
          <p:cNvPr id="43" name="Group 42">
            <a:extLst>
              <a:ext uri="{FF2B5EF4-FFF2-40B4-BE49-F238E27FC236}">
                <a16:creationId xmlns:a16="http://schemas.microsoft.com/office/drawing/2014/main" id="{FEFE145E-116E-024B-BFE4-7387B351B02B}"/>
              </a:ext>
            </a:extLst>
          </p:cNvPr>
          <p:cNvGrpSpPr/>
          <p:nvPr/>
        </p:nvGrpSpPr>
        <p:grpSpPr>
          <a:xfrm>
            <a:off x="5051451" y="2837102"/>
            <a:ext cx="1848115" cy="2243377"/>
            <a:chOff x="5181053" y="2387398"/>
            <a:chExt cx="1905053" cy="2392369"/>
          </a:xfrm>
          <a:solidFill>
            <a:schemeClr val="tx2">
              <a:lumMod val="60000"/>
              <a:lumOff val="40000"/>
            </a:schemeClr>
          </a:solidFill>
        </p:grpSpPr>
        <p:sp>
          <p:nvSpPr>
            <p:cNvPr id="47" name="Trapezoid 46">
              <a:extLst>
                <a:ext uri="{FF2B5EF4-FFF2-40B4-BE49-F238E27FC236}">
                  <a16:creationId xmlns:a16="http://schemas.microsoft.com/office/drawing/2014/main" id="{9089DC7D-01DF-6D4B-8B24-7DD495004B9D}"/>
                </a:ext>
              </a:extLst>
            </p:cNvPr>
            <p:cNvSpPr/>
            <p:nvPr/>
          </p:nvSpPr>
          <p:spPr>
            <a:xfrm>
              <a:off x="5181053" y="2387398"/>
              <a:ext cx="1905052" cy="1199287"/>
            </a:xfrm>
            <a:prstGeom prst="trapezoid">
              <a:avLst>
                <a:gd name="adj" fmla="val 5068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timist" panose="020B0603020204030204" pitchFamily="34" charset="77"/>
                <a:ea typeface="Optimist" panose="020B0603020204030204" pitchFamily="34" charset="77"/>
                <a:cs typeface="Optimist" panose="020B0603020204030204" pitchFamily="34" charset="77"/>
              </a:endParaRPr>
            </a:p>
          </p:txBody>
        </p:sp>
        <p:sp>
          <p:nvSpPr>
            <p:cNvPr id="49" name="Trapezoid 48">
              <a:extLst>
                <a:ext uri="{FF2B5EF4-FFF2-40B4-BE49-F238E27FC236}">
                  <a16:creationId xmlns:a16="http://schemas.microsoft.com/office/drawing/2014/main" id="{F0990FBB-1CEE-9F47-831C-62D2ED8DA28E}"/>
                </a:ext>
              </a:extLst>
            </p:cNvPr>
            <p:cNvSpPr/>
            <p:nvPr/>
          </p:nvSpPr>
          <p:spPr>
            <a:xfrm rot="10800000">
              <a:off x="5181054" y="3580480"/>
              <a:ext cx="1905052" cy="1199287"/>
            </a:xfrm>
            <a:prstGeom prst="trapezoid">
              <a:avLst>
                <a:gd name="adj" fmla="val 5068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timist" panose="020B0603020204030204" pitchFamily="34" charset="77"/>
                <a:ea typeface="Optimist" panose="020B0603020204030204" pitchFamily="34" charset="77"/>
                <a:cs typeface="Optimist" panose="020B0603020204030204" pitchFamily="34" charset="77"/>
              </a:endParaRPr>
            </a:p>
          </p:txBody>
        </p:sp>
      </p:grpSp>
      <p:sp>
        <p:nvSpPr>
          <p:cNvPr id="92" name="TextBox 91">
            <a:extLst>
              <a:ext uri="{FF2B5EF4-FFF2-40B4-BE49-F238E27FC236}">
                <a16:creationId xmlns:a16="http://schemas.microsoft.com/office/drawing/2014/main" id="{0827FC2B-6B9A-7F40-A358-4FC8C99354DF}"/>
              </a:ext>
            </a:extLst>
          </p:cNvPr>
          <p:cNvSpPr txBox="1"/>
          <p:nvPr/>
        </p:nvSpPr>
        <p:spPr>
          <a:xfrm>
            <a:off x="4914670" y="3055876"/>
            <a:ext cx="2105418" cy="209288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CULTURE</a:t>
            </a:r>
          </a:p>
          <a:p>
            <a:pPr marL="60325" marR="0" lvl="0" indent="-60325"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Openness</a:t>
            </a:r>
          </a:p>
          <a:p>
            <a:pPr marL="60325" marR="0" lvl="0" indent="-60325"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Ownership</a:t>
            </a:r>
          </a:p>
          <a:p>
            <a:pPr marL="60325" marR="0" lvl="0" indent="-60325"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Experimental</a:t>
            </a:r>
          </a:p>
          <a:p>
            <a:pPr marL="60325" marR="0" lvl="0" indent="-60325"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Embrace Failure</a:t>
            </a:r>
          </a:p>
          <a:p>
            <a:pPr marL="60325" marR="0" lvl="0" indent="-60325"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Fail Fast</a:t>
            </a:r>
          </a:p>
          <a:p>
            <a:pPr marL="60325" marR="0" lvl="0" indent="-60325"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Psychologic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Safety</a:t>
            </a:r>
          </a:p>
          <a:p>
            <a:pPr marL="122238" marR="0" lvl="0" indent="-122238"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636609"/>
      </p:ext>
    </p:extLst>
  </p:cSld>
  <p:clrMapOvr>
    <a:masterClrMapping/>
  </p:clrMapOvr>
  <mc:AlternateContent xmlns:mc="http://schemas.openxmlformats.org/markup-compatibility/2006" xmlns:p14="http://schemas.microsoft.com/office/powerpoint/2010/main">
    <mc:Choice Requires="p14">
      <p:transition spd="slow" p14:dur="2000" advTm="121"/>
    </mc:Choice>
    <mc:Fallback xmlns="">
      <p:transition spd="slow" advTm="121"/>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E3C77403-9AA8-3348-AD12-AEDD97FB612F}"/>
              </a:ext>
            </a:extLst>
          </p:cNvPr>
          <p:cNvSpPr txBox="1"/>
          <p:nvPr/>
        </p:nvSpPr>
        <p:spPr>
          <a:xfrm>
            <a:off x="634398" y="4515065"/>
            <a:ext cx="3880716" cy="1815882"/>
          </a:xfrm>
          <a:prstGeom prst="rect">
            <a:avLst/>
          </a:prstGeom>
          <a:noFill/>
        </p:spPr>
        <p:txBody>
          <a:bodyPr wrap="square" rtlCol="0">
            <a:spAutoFit/>
          </a:bodyPr>
          <a:lstStyle/>
          <a:p>
            <a:pPr marL="285750" indent="-285750">
              <a:buFont typeface="Arial" panose="020B0604020202020204" pitchFamily="34" charset="0"/>
              <a:buChar char="•"/>
            </a:pPr>
            <a:r>
              <a:rPr lang="en-US" sz="160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Mid-size</a:t>
            </a:r>
            <a:endParaRPr lang="en-US" sz="1600" dirty="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endParaRPr>
          </a:p>
          <a:p>
            <a:pPr marL="285750" indent="-285750">
              <a:buFont typeface="Arial" panose="020B0604020202020204" pitchFamily="34" charset="0"/>
              <a:buChar char="•"/>
            </a:pPr>
            <a:r>
              <a:rPr lang="en-US" sz="1600" dirty="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Not-for-profit</a:t>
            </a:r>
          </a:p>
          <a:p>
            <a:pPr marL="285750" indent="-285750">
              <a:buFont typeface="Arial" panose="020B0604020202020204" pitchFamily="34" charset="0"/>
              <a:buChar char="•"/>
            </a:pPr>
            <a:r>
              <a:rPr lang="en-US" sz="1600" dirty="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Minimal </a:t>
            </a:r>
            <a:r>
              <a:rPr lang="en-US" sz="160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Regulations</a:t>
            </a:r>
          </a:p>
          <a:p>
            <a:pPr marL="285750" indent="-285750">
              <a:buFont typeface="Arial" panose="020B0604020202020204" pitchFamily="34" charset="0"/>
              <a:buChar char="•"/>
            </a:pPr>
            <a:r>
              <a:rPr lang="en-US" sz="160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2 East Coast Locations</a:t>
            </a:r>
            <a:endParaRPr lang="en-US" sz="1600" dirty="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endParaRPr>
          </a:p>
          <a:p>
            <a:pPr marL="285750" indent="-285750">
              <a:buFont typeface="Arial" panose="020B0604020202020204" pitchFamily="34" charset="0"/>
              <a:buChar char="•"/>
            </a:pPr>
            <a:r>
              <a:rPr lang="en-US" sz="1600" dirty="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Computerworld’s “Best Places to work in IT”</a:t>
            </a:r>
          </a:p>
          <a:p>
            <a:pPr marL="285750" indent="-285750">
              <a:buFont typeface="Arial" panose="020B0604020202020204" pitchFamily="34" charset="0"/>
              <a:buChar char="•"/>
            </a:pPr>
            <a:r>
              <a:rPr lang="en-US" sz="160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Quasi-Government</a:t>
            </a:r>
            <a:endParaRPr lang="en-US" sz="1600" dirty="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endParaRPr>
          </a:p>
        </p:txBody>
      </p:sp>
      <p:sp>
        <p:nvSpPr>
          <p:cNvPr id="7" name="TextBox 6">
            <a:extLst>
              <a:ext uri="{FF2B5EF4-FFF2-40B4-BE49-F238E27FC236}">
                <a16:creationId xmlns:a16="http://schemas.microsoft.com/office/drawing/2014/main" id="{409DCB47-5AE6-364F-A1F9-C3C2328750E7}"/>
              </a:ext>
            </a:extLst>
          </p:cNvPr>
          <p:cNvSpPr txBox="1"/>
          <p:nvPr/>
        </p:nvSpPr>
        <p:spPr>
          <a:xfrm>
            <a:off x="4515114" y="4515066"/>
            <a:ext cx="3704252" cy="1815882"/>
          </a:xfrm>
          <a:prstGeom prst="rect">
            <a:avLst/>
          </a:prstGeom>
          <a:noFill/>
        </p:spPr>
        <p:txBody>
          <a:bodyPr wrap="square" rtlCol="0">
            <a:spAutoFit/>
          </a:bodyPr>
          <a:lstStyle/>
          <a:p>
            <a:pPr marL="285750" indent="-285750">
              <a:buFont typeface="Arial" panose="020B0604020202020204" pitchFamily="34" charset="0"/>
              <a:buChar char="•"/>
            </a:pPr>
            <a:r>
              <a:rPr lang="en-US" sz="160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Very Large</a:t>
            </a:r>
            <a:endParaRPr lang="en-US" sz="1600" dirty="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endParaRPr>
          </a:p>
          <a:p>
            <a:pPr marL="285750" indent="-285750">
              <a:buFont typeface="Arial" panose="020B0604020202020204" pitchFamily="34" charset="0"/>
              <a:buChar char="•"/>
            </a:pPr>
            <a:r>
              <a:rPr lang="en-US" sz="1600" dirty="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For-profit</a:t>
            </a:r>
          </a:p>
          <a:p>
            <a:pPr marL="285750" indent="-285750">
              <a:buFont typeface="Arial" panose="020B0604020202020204" pitchFamily="34" charset="0"/>
              <a:buChar char="•"/>
            </a:pPr>
            <a:r>
              <a:rPr lang="en-US" sz="1600" dirty="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Heavily </a:t>
            </a:r>
            <a:r>
              <a:rPr lang="en-US" sz="160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Regulated</a:t>
            </a:r>
          </a:p>
          <a:p>
            <a:pPr marL="285750" indent="-285750">
              <a:buFont typeface="Arial" panose="020B0604020202020204" pitchFamily="34" charset="0"/>
              <a:buChar char="•"/>
            </a:pPr>
            <a:r>
              <a:rPr lang="en-US" sz="160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Multiple US Locations &amp; UK</a:t>
            </a:r>
            <a:endParaRPr lang="en-US" sz="1600" dirty="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endParaRPr>
          </a:p>
          <a:p>
            <a:pPr marL="285750" indent="-285750">
              <a:buFont typeface="Arial" panose="020B0604020202020204" pitchFamily="34" charset="0"/>
              <a:buChar char="•"/>
            </a:pPr>
            <a:r>
              <a:rPr lang="en-US" sz="1600" dirty="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Fortune </a:t>
            </a:r>
            <a:r>
              <a:rPr lang="en-US" sz="160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100</a:t>
            </a:r>
          </a:p>
          <a:p>
            <a:pPr marL="285750" indent="-285750">
              <a:buFont typeface="Arial" panose="020B0604020202020204" pitchFamily="34" charset="0"/>
              <a:buChar char="•"/>
            </a:pPr>
            <a:r>
              <a:rPr lang="en-US" sz="160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25+ years in business</a:t>
            </a:r>
            <a:endParaRPr lang="en-US" sz="1600" dirty="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endParaRPr>
          </a:p>
          <a:p>
            <a:pPr marL="285750" indent="-285750">
              <a:buFont typeface="Arial" panose="020B0604020202020204" pitchFamily="34" charset="0"/>
              <a:buChar char="•"/>
            </a:pPr>
            <a:r>
              <a:rPr lang="en-US" sz="1600" dirty="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Financial Services Company</a:t>
            </a:r>
          </a:p>
        </p:txBody>
      </p:sp>
      <p:sp>
        <p:nvSpPr>
          <p:cNvPr id="8" name="Title 1">
            <a:extLst>
              <a:ext uri="{FF2B5EF4-FFF2-40B4-BE49-F238E27FC236}">
                <a16:creationId xmlns:a16="http://schemas.microsoft.com/office/drawing/2014/main" id="{0133A8EA-C2C6-074E-B54A-E2C8A0D2A889}"/>
              </a:ext>
            </a:extLst>
          </p:cNvPr>
          <p:cNvSpPr>
            <a:spLocks noGrp="1"/>
          </p:cNvSpPr>
          <p:nvPr>
            <p:ph type="title"/>
          </p:nvPr>
        </p:nvSpPr>
        <p:spPr>
          <a:xfrm>
            <a:off x="99619" y="-224854"/>
            <a:ext cx="11992761" cy="1325563"/>
          </a:xfrm>
        </p:spPr>
        <p:txBody>
          <a:bodyPr>
            <a:normAutofit/>
          </a:bodyPr>
          <a:lstStyle/>
          <a:p>
            <a:r>
              <a:rPr lang="en-US" sz="2800" b="1" dirty="0">
                <a:latin typeface="Arial" panose="020B0604020202020204" pitchFamily="34" charset="0"/>
                <a:ea typeface="Optimist" panose="020B0603020204030204" pitchFamily="34" charset="77"/>
                <a:cs typeface="Arial" panose="020B0604020202020204" pitchFamily="34" charset="0"/>
              </a:rPr>
              <a:t>I have </a:t>
            </a:r>
            <a:r>
              <a:rPr lang="en-US" sz="2800" b="1" dirty="0" smtClean="0">
                <a:latin typeface="Arial" panose="020B0604020202020204" pitchFamily="34" charset="0"/>
                <a:ea typeface="Optimist" panose="020B0603020204030204" pitchFamily="34" charset="77"/>
                <a:cs typeface="Arial" panose="020B0604020202020204" pitchFamily="34" charset="0"/>
              </a:rPr>
              <a:t>been practicing DevOps for over 7 years at three different companies</a:t>
            </a:r>
            <a:endParaRPr lang="en-US" sz="2800" b="1" dirty="0">
              <a:latin typeface="Arial" panose="020B0604020202020204" pitchFamily="34" charset="0"/>
              <a:ea typeface="Optimist" panose="020B0603020204030204" pitchFamily="34" charset="77"/>
              <a:cs typeface="Arial" panose="020B0604020202020204" pitchFamily="34" charset="0"/>
            </a:endParaRPr>
          </a:p>
        </p:txBody>
      </p:sp>
      <p:sp>
        <p:nvSpPr>
          <p:cNvPr id="19" name="TextBox 18">
            <a:extLst>
              <a:ext uri="{FF2B5EF4-FFF2-40B4-BE49-F238E27FC236}">
                <a16:creationId xmlns:a16="http://schemas.microsoft.com/office/drawing/2014/main" id="{409DCB47-5AE6-364F-A1F9-C3C2328750E7}"/>
              </a:ext>
            </a:extLst>
          </p:cNvPr>
          <p:cNvSpPr txBox="1"/>
          <p:nvPr/>
        </p:nvSpPr>
        <p:spPr>
          <a:xfrm>
            <a:off x="8473462" y="4515065"/>
            <a:ext cx="3745626" cy="2062103"/>
          </a:xfrm>
          <a:prstGeom prst="rect">
            <a:avLst/>
          </a:prstGeom>
          <a:noFill/>
        </p:spPr>
        <p:txBody>
          <a:bodyPr wrap="square" rtlCol="0">
            <a:spAutoFit/>
          </a:bodyPr>
          <a:lstStyle/>
          <a:p>
            <a:pPr marL="285750" indent="-285750">
              <a:buFont typeface="Arial" panose="020B0604020202020204" pitchFamily="34" charset="0"/>
              <a:buChar char="•"/>
            </a:pPr>
            <a:r>
              <a:rPr lang="en-US" sz="160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Large</a:t>
            </a:r>
            <a:endParaRPr lang="en-US" sz="1600" dirty="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endParaRPr>
          </a:p>
          <a:p>
            <a:pPr marL="285750" indent="-285750">
              <a:buFont typeface="Arial" panose="020B0604020202020204" pitchFamily="34" charset="0"/>
              <a:buChar char="•"/>
            </a:pPr>
            <a:r>
              <a:rPr lang="en-US" sz="1600" dirty="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For-profit</a:t>
            </a:r>
          </a:p>
          <a:p>
            <a:pPr marL="285750" indent="-285750">
              <a:buFont typeface="Arial" panose="020B0604020202020204" pitchFamily="34" charset="0"/>
              <a:buChar char="•"/>
            </a:pPr>
            <a:r>
              <a:rPr lang="en-US" sz="160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Regulated and Minimal Regulations</a:t>
            </a:r>
          </a:p>
          <a:p>
            <a:pPr marL="285750" indent="-285750">
              <a:buFont typeface="Arial" panose="020B0604020202020204" pitchFamily="34" charset="0"/>
              <a:buChar char="•"/>
            </a:pPr>
            <a:r>
              <a:rPr lang="en-US" sz="160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Multiple International Locations</a:t>
            </a:r>
            <a:endParaRPr lang="en-US" sz="1600" dirty="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endParaRPr>
          </a:p>
          <a:p>
            <a:pPr marL="285750" indent="-285750">
              <a:buFont typeface="Arial" panose="020B0604020202020204" pitchFamily="34" charset="0"/>
              <a:buChar char="•"/>
            </a:pPr>
            <a:r>
              <a:rPr lang="en-US" sz="1600" dirty="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Fortune </a:t>
            </a:r>
            <a:r>
              <a:rPr lang="en-US" sz="160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500</a:t>
            </a:r>
          </a:p>
          <a:p>
            <a:pPr marL="285750" indent="-285750">
              <a:buFont typeface="Arial" panose="020B0604020202020204" pitchFamily="34" charset="0"/>
              <a:buChar char="•"/>
            </a:pPr>
            <a:r>
              <a:rPr lang="en-US" sz="160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100+ years in business</a:t>
            </a:r>
            <a:endParaRPr lang="en-US" sz="1600" dirty="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endParaRPr>
          </a:p>
          <a:p>
            <a:pPr marL="285750" indent="-285750">
              <a:buFont typeface="Arial" panose="020B0604020202020204" pitchFamily="34" charset="0"/>
              <a:buChar char="•"/>
            </a:pPr>
            <a:r>
              <a:rPr lang="en-US" sz="1600" dirty="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Financial Services Company</a:t>
            </a:r>
          </a:p>
        </p:txBody>
      </p:sp>
      <p:grpSp>
        <p:nvGrpSpPr>
          <p:cNvPr id="145" name="Group 144">
            <a:extLst>
              <a:ext uri="{FF2B5EF4-FFF2-40B4-BE49-F238E27FC236}">
                <a16:creationId xmlns:a16="http://schemas.microsoft.com/office/drawing/2014/main" id="{E80F6F4E-8D26-4AA5-90D5-21EC266C4918}"/>
              </a:ext>
            </a:extLst>
          </p:cNvPr>
          <p:cNvGrpSpPr/>
          <p:nvPr/>
        </p:nvGrpSpPr>
        <p:grpSpPr>
          <a:xfrm>
            <a:off x="1295848" y="1922538"/>
            <a:ext cx="1100696" cy="1147486"/>
            <a:chOff x="7030996" y="1739620"/>
            <a:chExt cx="1142391" cy="1272744"/>
          </a:xfrm>
        </p:grpSpPr>
        <p:grpSp>
          <p:nvGrpSpPr>
            <p:cNvPr id="148" name="Group 147">
              <a:extLst>
                <a:ext uri="{FF2B5EF4-FFF2-40B4-BE49-F238E27FC236}">
                  <a16:creationId xmlns:a16="http://schemas.microsoft.com/office/drawing/2014/main" id="{8619C4E9-DEE1-44AB-9CAF-7CBD4EEBBF30}"/>
                </a:ext>
              </a:extLst>
            </p:cNvPr>
            <p:cNvGrpSpPr/>
            <p:nvPr/>
          </p:nvGrpSpPr>
          <p:grpSpPr>
            <a:xfrm>
              <a:off x="7602496" y="1739620"/>
              <a:ext cx="570891" cy="1272744"/>
              <a:chOff x="7602496" y="1739620"/>
              <a:chExt cx="570891" cy="1272744"/>
            </a:xfrm>
          </p:grpSpPr>
          <p:sp>
            <p:nvSpPr>
              <p:cNvPr id="207" name="Rectangle 206">
                <a:extLst>
                  <a:ext uri="{FF2B5EF4-FFF2-40B4-BE49-F238E27FC236}">
                    <a16:creationId xmlns:a16="http://schemas.microsoft.com/office/drawing/2014/main" id="{6F025070-A94E-4FD2-A480-A14146E83AE7}"/>
                  </a:ext>
                </a:extLst>
              </p:cNvPr>
              <p:cNvSpPr/>
              <p:nvPr/>
            </p:nvSpPr>
            <p:spPr>
              <a:xfrm>
                <a:off x="7602496" y="1863445"/>
                <a:ext cx="570891" cy="1148919"/>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208" name="Group 207">
                <a:extLst>
                  <a:ext uri="{FF2B5EF4-FFF2-40B4-BE49-F238E27FC236}">
                    <a16:creationId xmlns:a16="http://schemas.microsoft.com/office/drawing/2014/main" id="{0743A971-F4D0-4F49-A5B4-23D41CF3C6F5}"/>
                  </a:ext>
                </a:extLst>
              </p:cNvPr>
              <p:cNvGrpSpPr/>
              <p:nvPr/>
            </p:nvGrpSpPr>
            <p:grpSpPr>
              <a:xfrm>
                <a:off x="7681520" y="1918017"/>
                <a:ext cx="386355" cy="212495"/>
                <a:chOff x="7681520" y="1918017"/>
                <a:chExt cx="386355" cy="212495"/>
              </a:xfrm>
            </p:grpSpPr>
            <p:sp>
              <p:nvSpPr>
                <p:cNvPr id="237" name="Freeform: Shape 613">
                  <a:extLst>
                    <a:ext uri="{FF2B5EF4-FFF2-40B4-BE49-F238E27FC236}">
                      <a16:creationId xmlns:a16="http://schemas.microsoft.com/office/drawing/2014/main" id="{31D3003D-69D0-43AB-8F47-3B90954BB0A0}"/>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 name="Freeform: Shape 614">
                  <a:extLst>
                    <a:ext uri="{FF2B5EF4-FFF2-40B4-BE49-F238E27FC236}">
                      <a16:creationId xmlns:a16="http://schemas.microsoft.com/office/drawing/2014/main" id="{0ACDB22F-2041-487F-96F0-4D53C955592E}"/>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 name="Freeform: Shape 615">
                  <a:extLst>
                    <a:ext uri="{FF2B5EF4-FFF2-40B4-BE49-F238E27FC236}">
                      <a16:creationId xmlns:a16="http://schemas.microsoft.com/office/drawing/2014/main" id="{1D0F5495-80E2-4276-AD8A-E2CCB8379B87}"/>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 name="Freeform: Shape 616">
                  <a:extLst>
                    <a:ext uri="{FF2B5EF4-FFF2-40B4-BE49-F238E27FC236}">
                      <a16:creationId xmlns:a16="http://schemas.microsoft.com/office/drawing/2014/main" id="{75F5C856-CA0C-4DF8-ADE5-E9A692CC3F35}"/>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 name="Freeform: Shape 617">
                  <a:extLst>
                    <a:ext uri="{FF2B5EF4-FFF2-40B4-BE49-F238E27FC236}">
                      <a16:creationId xmlns:a16="http://schemas.microsoft.com/office/drawing/2014/main" id="{03C41B6B-DF1C-413C-BF10-948DC90FEFF2}"/>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 name="Freeform: Shape 618">
                  <a:extLst>
                    <a:ext uri="{FF2B5EF4-FFF2-40B4-BE49-F238E27FC236}">
                      <a16:creationId xmlns:a16="http://schemas.microsoft.com/office/drawing/2014/main" id="{B0871FBF-7C12-46A8-9D48-5E361F25A0E7}"/>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 name="Freeform: Shape 619">
                  <a:extLst>
                    <a:ext uri="{FF2B5EF4-FFF2-40B4-BE49-F238E27FC236}">
                      <a16:creationId xmlns:a16="http://schemas.microsoft.com/office/drawing/2014/main" id="{23776C9E-D53A-47EB-914D-03DB163B75DA}"/>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 name="Freeform: Shape 620">
                  <a:extLst>
                    <a:ext uri="{FF2B5EF4-FFF2-40B4-BE49-F238E27FC236}">
                      <a16:creationId xmlns:a16="http://schemas.microsoft.com/office/drawing/2014/main" id="{6FCE1129-6EEA-4818-9C22-5C96A9E1CB3E}"/>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09" name="Group 208">
                <a:extLst>
                  <a:ext uri="{FF2B5EF4-FFF2-40B4-BE49-F238E27FC236}">
                    <a16:creationId xmlns:a16="http://schemas.microsoft.com/office/drawing/2014/main" id="{623D1DE8-FB9E-431A-B1E6-25FADC13CD77}"/>
                  </a:ext>
                </a:extLst>
              </p:cNvPr>
              <p:cNvGrpSpPr/>
              <p:nvPr/>
            </p:nvGrpSpPr>
            <p:grpSpPr>
              <a:xfrm>
                <a:off x="7681520" y="2165667"/>
                <a:ext cx="386355" cy="212495"/>
                <a:chOff x="7681520" y="1918017"/>
                <a:chExt cx="386355" cy="212495"/>
              </a:xfrm>
            </p:grpSpPr>
            <p:sp>
              <p:nvSpPr>
                <p:cNvPr id="229" name="Freeform: Shape 622">
                  <a:extLst>
                    <a:ext uri="{FF2B5EF4-FFF2-40B4-BE49-F238E27FC236}">
                      <a16:creationId xmlns:a16="http://schemas.microsoft.com/office/drawing/2014/main" id="{5CFEA125-032F-43B6-A7B5-3B3E13B65B5A}"/>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 name="Freeform: Shape 623">
                  <a:extLst>
                    <a:ext uri="{FF2B5EF4-FFF2-40B4-BE49-F238E27FC236}">
                      <a16:creationId xmlns:a16="http://schemas.microsoft.com/office/drawing/2014/main" id="{1F95517B-8B68-4881-8DC1-4963D259D046}"/>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 name="Freeform: Shape 624">
                  <a:extLst>
                    <a:ext uri="{FF2B5EF4-FFF2-40B4-BE49-F238E27FC236}">
                      <a16:creationId xmlns:a16="http://schemas.microsoft.com/office/drawing/2014/main" id="{31A338DE-2041-42A7-852A-B440F865B845}"/>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 name="Freeform: Shape 625">
                  <a:extLst>
                    <a:ext uri="{FF2B5EF4-FFF2-40B4-BE49-F238E27FC236}">
                      <a16:creationId xmlns:a16="http://schemas.microsoft.com/office/drawing/2014/main" id="{2FA7AE4D-85F2-4C1B-970B-4BD418277FDC}"/>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 name="Freeform: Shape 626">
                  <a:extLst>
                    <a:ext uri="{FF2B5EF4-FFF2-40B4-BE49-F238E27FC236}">
                      <a16:creationId xmlns:a16="http://schemas.microsoft.com/office/drawing/2014/main" id="{2BB500AE-A26E-4651-B142-FEBDDFC045ED}"/>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 name="Freeform: Shape 627">
                  <a:extLst>
                    <a:ext uri="{FF2B5EF4-FFF2-40B4-BE49-F238E27FC236}">
                      <a16:creationId xmlns:a16="http://schemas.microsoft.com/office/drawing/2014/main" id="{9E3F810C-862D-4C6A-A7D8-A313D39B6BB2}"/>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 name="Freeform: Shape 628">
                  <a:extLst>
                    <a:ext uri="{FF2B5EF4-FFF2-40B4-BE49-F238E27FC236}">
                      <a16:creationId xmlns:a16="http://schemas.microsoft.com/office/drawing/2014/main" id="{D50613AF-9DAC-49B5-956A-94E8465E204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 name="Freeform: Shape 629">
                  <a:extLst>
                    <a:ext uri="{FF2B5EF4-FFF2-40B4-BE49-F238E27FC236}">
                      <a16:creationId xmlns:a16="http://schemas.microsoft.com/office/drawing/2014/main" id="{4B9269CF-6878-4C31-B7A6-D3A91E055EC4}"/>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10" name="Group 209">
                <a:extLst>
                  <a:ext uri="{FF2B5EF4-FFF2-40B4-BE49-F238E27FC236}">
                    <a16:creationId xmlns:a16="http://schemas.microsoft.com/office/drawing/2014/main" id="{83398368-FF21-4690-9F47-3C01B401F17E}"/>
                  </a:ext>
                </a:extLst>
              </p:cNvPr>
              <p:cNvGrpSpPr/>
              <p:nvPr/>
            </p:nvGrpSpPr>
            <p:grpSpPr>
              <a:xfrm>
                <a:off x="7681520" y="2429192"/>
                <a:ext cx="386355" cy="212495"/>
                <a:chOff x="7681520" y="1918017"/>
                <a:chExt cx="386355" cy="212495"/>
              </a:xfrm>
            </p:grpSpPr>
            <p:sp>
              <p:nvSpPr>
                <p:cNvPr id="221" name="Freeform: Shape 631">
                  <a:extLst>
                    <a:ext uri="{FF2B5EF4-FFF2-40B4-BE49-F238E27FC236}">
                      <a16:creationId xmlns:a16="http://schemas.microsoft.com/office/drawing/2014/main" id="{FADF1AD1-FBC6-4AFA-B95A-C3E1A6ABAE76}"/>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 name="Freeform: Shape 632">
                  <a:extLst>
                    <a:ext uri="{FF2B5EF4-FFF2-40B4-BE49-F238E27FC236}">
                      <a16:creationId xmlns:a16="http://schemas.microsoft.com/office/drawing/2014/main" id="{ECC23EDB-DDBE-4FD3-986F-B514BBCDA4EC}"/>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 name="Freeform: Shape 633">
                  <a:extLst>
                    <a:ext uri="{FF2B5EF4-FFF2-40B4-BE49-F238E27FC236}">
                      <a16:creationId xmlns:a16="http://schemas.microsoft.com/office/drawing/2014/main" id="{9F2142F2-3069-4C1D-8EF2-F90C79FA3AB8}"/>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 name="Freeform: Shape 634">
                  <a:extLst>
                    <a:ext uri="{FF2B5EF4-FFF2-40B4-BE49-F238E27FC236}">
                      <a16:creationId xmlns:a16="http://schemas.microsoft.com/office/drawing/2014/main" id="{B1EA25BE-5F9F-43FA-AEE5-154AD3736A64}"/>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 name="Freeform: Shape 635">
                  <a:extLst>
                    <a:ext uri="{FF2B5EF4-FFF2-40B4-BE49-F238E27FC236}">
                      <a16:creationId xmlns:a16="http://schemas.microsoft.com/office/drawing/2014/main" id="{613BC104-4FCD-4B68-A3F0-1D79B4254772}"/>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 name="Freeform: Shape 636">
                  <a:extLst>
                    <a:ext uri="{FF2B5EF4-FFF2-40B4-BE49-F238E27FC236}">
                      <a16:creationId xmlns:a16="http://schemas.microsoft.com/office/drawing/2014/main" id="{FD79181F-63B5-44AE-81D3-92203C35C660}"/>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 name="Freeform: Shape 637">
                  <a:extLst>
                    <a:ext uri="{FF2B5EF4-FFF2-40B4-BE49-F238E27FC236}">
                      <a16:creationId xmlns:a16="http://schemas.microsoft.com/office/drawing/2014/main" id="{5F5F1658-98D3-480F-87EE-7864866DCD00}"/>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 name="Freeform: Shape 638">
                  <a:extLst>
                    <a:ext uri="{FF2B5EF4-FFF2-40B4-BE49-F238E27FC236}">
                      <a16:creationId xmlns:a16="http://schemas.microsoft.com/office/drawing/2014/main" id="{0168CFCA-B35F-41A5-94B1-6202B4643E0A}"/>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11" name="Group 210">
                <a:extLst>
                  <a:ext uri="{FF2B5EF4-FFF2-40B4-BE49-F238E27FC236}">
                    <a16:creationId xmlns:a16="http://schemas.microsoft.com/office/drawing/2014/main" id="{1371FD26-6207-45DE-8FFF-F63928D3219E}"/>
                  </a:ext>
                </a:extLst>
              </p:cNvPr>
              <p:cNvGrpSpPr/>
              <p:nvPr/>
            </p:nvGrpSpPr>
            <p:grpSpPr>
              <a:xfrm>
                <a:off x="7681520" y="2692717"/>
                <a:ext cx="386355" cy="212495"/>
                <a:chOff x="7681520" y="1918017"/>
                <a:chExt cx="386355" cy="212495"/>
              </a:xfrm>
            </p:grpSpPr>
            <p:sp>
              <p:nvSpPr>
                <p:cNvPr id="213" name="Freeform: Shape 640">
                  <a:extLst>
                    <a:ext uri="{FF2B5EF4-FFF2-40B4-BE49-F238E27FC236}">
                      <a16:creationId xmlns:a16="http://schemas.microsoft.com/office/drawing/2014/main" id="{9227E197-9FA0-4FF6-B998-BCD32CACFCAF}"/>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4" name="Freeform: Shape 641">
                  <a:extLst>
                    <a:ext uri="{FF2B5EF4-FFF2-40B4-BE49-F238E27FC236}">
                      <a16:creationId xmlns:a16="http://schemas.microsoft.com/office/drawing/2014/main" id="{A62770A8-41DA-4AA6-8DB0-48B9FF5E7174}"/>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5" name="Freeform: Shape 642">
                  <a:extLst>
                    <a:ext uri="{FF2B5EF4-FFF2-40B4-BE49-F238E27FC236}">
                      <a16:creationId xmlns:a16="http://schemas.microsoft.com/office/drawing/2014/main" id="{99FD1C56-9940-44D5-B806-8F5641AED512}"/>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6" name="Freeform: Shape 643">
                  <a:extLst>
                    <a:ext uri="{FF2B5EF4-FFF2-40B4-BE49-F238E27FC236}">
                      <a16:creationId xmlns:a16="http://schemas.microsoft.com/office/drawing/2014/main" id="{F45FCD9E-03EF-4961-B467-A1363C31AA26}"/>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 name="Freeform: Shape 644">
                  <a:extLst>
                    <a:ext uri="{FF2B5EF4-FFF2-40B4-BE49-F238E27FC236}">
                      <a16:creationId xmlns:a16="http://schemas.microsoft.com/office/drawing/2014/main" id="{D2678F5B-FFBA-44DD-829D-645CFC56D566}"/>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8" name="Freeform: Shape 645">
                  <a:extLst>
                    <a:ext uri="{FF2B5EF4-FFF2-40B4-BE49-F238E27FC236}">
                      <a16:creationId xmlns:a16="http://schemas.microsoft.com/office/drawing/2014/main" id="{46552C97-E191-4623-8588-29F039D488DC}"/>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9" name="Freeform: Shape 646">
                  <a:extLst>
                    <a:ext uri="{FF2B5EF4-FFF2-40B4-BE49-F238E27FC236}">
                      <a16:creationId xmlns:a16="http://schemas.microsoft.com/office/drawing/2014/main" id="{9C4EEF16-E9D3-42BB-B419-5978A70D805D}"/>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 name="Freeform: Shape 647">
                  <a:extLst>
                    <a:ext uri="{FF2B5EF4-FFF2-40B4-BE49-F238E27FC236}">
                      <a16:creationId xmlns:a16="http://schemas.microsoft.com/office/drawing/2014/main" id="{D525B7EF-BF21-47F2-AC13-B8C9B1284233}"/>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212" name="Rectangle 211">
                <a:extLst>
                  <a:ext uri="{FF2B5EF4-FFF2-40B4-BE49-F238E27FC236}">
                    <a16:creationId xmlns:a16="http://schemas.microsoft.com/office/drawing/2014/main" id="{49F05559-D241-48B8-ADA8-3F58000635BC}"/>
                  </a:ext>
                </a:extLst>
              </p:cNvPr>
              <p:cNvSpPr/>
              <p:nvPr/>
            </p:nvSpPr>
            <p:spPr>
              <a:xfrm>
                <a:off x="7710446" y="1739620"/>
                <a:ext cx="363579" cy="124105"/>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grpSp>
          <p:nvGrpSpPr>
            <p:cNvPr id="150" name="Group 149">
              <a:extLst>
                <a:ext uri="{FF2B5EF4-FFF2-40B4-BE49-F238E27FC236}">
                  <a16:creationId xmlns:a16="http://schemas.microsoft.com/office/drawing/2014/main" id="{32724CEB-FDE7-4F9B-AFAF-D12123EE2027}"/>
                </a:ext>
              </a:extLst>
            </p:cNvPr>
            <p:cNvGrpSpPr/>
            <p:nvPr/>
          </p:nvGrpSpPr>
          <p:grpSpPr>
            <a:xfrm>
              <a:off x="7030996" y="2098675"/>
              <a:ext cx="570891" cy="913689"/>
              <a:chOff x="8177171" y="2098675"/>
              <a:chExt cx="570891" cy="913689"/>
            </a:xfrm>
          </p:grpSpPr>
          <p:sp>
            <p:nvSpPr>
              <p:cNvPr id="151" name="Rectangle 150">
                <a:extLst>
                  <a:ext uri="{FF2B5EF4-FFF2-40B4-BE49-F238E27FC236}">
                    <a16:creationId xmlns:a16="http://schemas.microsoft.com/office/drawing/2014/main" id="{3F2AE079-085F-4CCD-9DF8-846D273EA67E}"/>
                  </a:ext>
                </a:extLst>
              </p:cNvPr>
              <p:cNvSpPr/>
              <p:nvPr/>
            </p:nvSpPr>
            <p:spPr>
              <a:xfrm>
                <a:off x="8177171" y="2098675"/>
                <a:ext cx="570891" cy="913689"/>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152" name="Group 151">
                <a:extLst>
                  <a:ext uri="{FF2B5EF4-FFF2-40B4-BE49-F238E27FC236}">
                    <a16:creationId xmlns:a16="http://schemas.microsoft.com/office/drawing/2014/main" id="{82F2CD1B-8EF3-4FD5-B6BB-4ED9806F627E}"/>
                  </a:ext>
                </a:extLst>
              </p:cNvPr>
              <p:cNvGrpSpPr/>
              <p:nvPr/>
            </p:nvGrpSpPr>
            <p:grpSpPr>
              <a:xfrm>
                <a:off x="8256195" y="2165667"/>
                <a:ext cx="386355" cy="212495"/>
                <a:chOff x="7681520" y="1918017"/>
                <a:chExt cx="386355" cy="212495"/>
              </a:xfrm>
            </p:grpSpPr>
            <p:sp>
              <p:nvSpPr>
                <p:cNvPr id="171" name="Freeform: Shape 707">
                  <a:extLst>
                    <a:ext uri="{FF2B5EF4-FFF2-40B4-BE49-F238E27FC236}">
                      <a16:creationId xmlns:a16="http://schemas.microsoft.com/office/drawing/2014/main" id="{203F7D2B-F5CB-4B61-8987-8D1ED35D1AD4}"/>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 name="Freeform: Shape 708">
                  <a:extLst>
                    <a:ext uri="{FF2B5EF4-FFF2-40B4-BE49-F238E27FC236}">
                      <a16:creationId xmlns:a16="http://schemas.microsoft.com/office/drawing/2014/main" id="{BEFB5D86-B84E-4C38-AC2F-D325429429DA}"/>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 name="Freeform: Shape 709">
                  <a:extLst>
                    <a:ext uri="{FF2B5EF4-FFF2-40B4-BE49-F238E27FC236}">
                      <a16:creationId xmlns:a16="http://schemas.microsoft.com/office/drawing/2014/main" id="{AA87997F-85D3-476F-9D39-2E59D4F7D359}"/>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 name="Freeform: Shape 710">
                  <a:extLst>
                    <a:ext uri="{FF2B5EF4-FFF2-40B4-BE49-F238E27FC236}">
                      <a16:creationId xmlns:a16="http://schemas.microsoft.com/office/drawing/2014/main" id="{3261E925-D374-430D-BE66-428624434C85}"/>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 name="Freeform: Shape 711">
                  <a:extLst>
                    <a:ext uri="{FF2B5EF4-FFF2-40B4-BE49-F238E27FC236}">
                      <a16:creationId xmlns:a16="http://schemas.microsoft.com/office/drawing/2014/main" id="{0860838F-CFDC-41BC-B92A-163A0EE3F14F}"/>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 name="Freeform: Shape 712">
                  <a:extLst>
                    <a:ext uri="{FF2B5EF4-FFF2-40B4-BE49-F238E27FC236}">
                      <a16:creationId xmlns:a16="http://schemas.microsoft.com/office/drawing/2014/main" id="{E55480F1-1893-484D-8FF9-85A0A94DD473}"/>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 name="Freeform: Shape 713">
                  <a:extLst>
                    <a:ext uri="{FF2B5EF4-FFF2-40B4-BE49-F238E27FC236}">
                      <a16:creationId xmlns:a16="http://schemas.microsoft.com/office/drawing/2014/main" id="{1D41F713-F934-41C1-8730-4A748EF41DD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 name="Freeform: Shape 714">
                  <a:extLst>
                    <a:ext uri="{FF2B5EF4-FFF2-40B4-BE49-F238E27FC236}">
                      <a16:creationId xmlns:a16="http://schemas.microsoft.com/office/drawing/2014/main" id="{3268174C-3044-42A4-AD12-A0903062DADB}"/>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53" name="Group 152">
                <a:extLst>
                  <a:ext uri="{FF2B5EF4-FFF2-40B4-BE49-F238E27FC236}">
                    <a16:creationId xmlns:a16="http://schemas.microsoft.com/office/drawing/2014/main" id="{82C37B37-BA84-47CF-B761-1B8DF16E95A3}"/>
                  </a:ext>
                </a:extLst>
              </p:cNvPr>
              <p:cNvGrpSpPr/>
              <p:nvPr/>
            </p:nvGrpSpPr>
            <p:grpSpPr>
              <a:xfrm>
                <a:off x="8256195" y="2429192"/>
                <a:ext cx="386355" cy="212495"/>
                <a:chOff x="7681520" y="1918017"/>
                <a:chExt cx="386355" cy="212495"/>
              </a:xfrm>
            </p:grpSpPr>
            <p:sp>
              <p:nvSpPr>
                <p:cNvPr id="163" name="Freeform: Shape 699">
                  <a:extLst>
                    <a:ext uri="{FF2B5EF4-FFF2-40B4-BE49-F238E27FC236}">
                      <a16:creationId xmlns:a16="http://schemas.microsoft.com/office/drawing/2014/main" id="{54015EB5-AFCF-441A-B529-7B008BA11323}"/>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 name="Freeform: Shape 700">
                  <a:extLst>
                    <a:ext uri="{FF2B5EF4-FFF2-40B4-BE49-F238E27FC236}">
                      <a16:creationId xmlns:a16="http://schemas.microsoft.com/office/drawing/2014/main" id="{5C0325B9-FEC8-4CF2-A84F-E7EDF9734AF9}"/>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 name="Freeform: Shape 701">
                  <a:extLst>
                    <a:ext uri="{FF2B5EF4-FFF2-40B4-BE49-F238E27FC236}">
                      <a16:creationId xmlns:a16="http://schemas.microsoft.com/office/drawing/2014/main" id="{715C2893-6A38-4995-AB07-EDB72A2B6020}"/>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 name="Freeform: Shape 702">
                  <a:extLst>
                    <a:ext uri="{FF2B5EF4-FFF2-40B4-BE49-F238E27FC236}">
                      <a16:creationId xmlns:a16="http://schemas.microsoft.com/office/drawing/2014/main" id="{B2E524EA-7500-401B-AA51-ACDA7049C5D7}"/>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 name="Freeform: Shape 703">
                  <a:extLst>
                    <a:ext uri="{FF2B5EF4-FFF2-40B4-BE49-F238E27FC236}">
                      <a16:creationId xmlns:a16="http://schemas.microsoft.com/office/drawing/2014/main" id="{4DEAB885-F959-44BC-9663-983D9EB5377A}"/>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 name="Freeform: Shape 704">
                  <a:extLst>
                    <a:ext uri="{FF2B5EF4-FFF2-40B4-BE49-F238E27FC236}">
                      <a16:creationId xmlns:a16="http://schemas.microsoft.com/office/drawing/2014/main" id="{3FF6C649-EAFC-4D3E-B311-CF8D6A2E342C}"/>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 name="Freeform: Shape 705">
                  <a:extLst>
                    <a:ext uri="{FF2B5EF4-FFF2-40B4-BE49-F238E27FC236}">
                      <a16:creationId xmlns:a16="http://schemas.microsoft.com/office/drawing/2014/main" id="{51CF9C68-DDD8-42E2-B73D-CBF745F6AD3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 name="Freeform: Shape 706">
                  <a:extLst>
                    <a:ext uri="{FF2B5EF4-FFF2-40B4-BE49-F238E27FC236}">
                      <a16:creationId xmlns:a16="http://schemas.microsoft.com/office/drawing/2014/main" id="{620A3177-F1C6-4C99-9E55-F8621C372FBF}"/>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54" name="Group 153">
                <a:extLst>
                  <a:ext uri="{FF2B5EF4-FFF2-40B4-BE49-F238E27FC236}">
                    <a16:creationId xmlns:a16="http://schemas.microsoft.com/office/drawing/2014/main" id="{0CC9FADE-28F9-49BB-A344-BDF29A40C9C5}"/>
                  </a:ext>
                </a:extLst>
              </p:cNvPr>
              <p:cNvGrpSpPr/>
              <p:nvPr/>
            </p:nvGrpSpPr>
            <p:grpSpPr>
              <a:xfrm>
                <a:off x="8256195" y="2692717"/>
                <a:ext cx="386355" cy="212495"/>
                <a:chOff x="7681520" y="1918017"/>
                <a:chExt cx="386355" cy="212495"/>
              </a:xfrm>
            </p:grpSpPr>
            <p:sp>
              <p:nvSpPr>
                <p:cNvPr id="155" name="Freeform: Shape 691">
                  <a:extLst>
                    <a:ext uri="{FF2B5EF4-FFF2-40B4-BE49-F238E27FC236}">
                      <a16:creationId xmlns:a16="http://schemas.microsoft.com/office/drawing/2014/main" id="{E6D347EC-194B-4960-86DC-D0E0E8626DD5}"/>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 name="Freeform: Shape 692">
                  <a:extLst>
                    <a:ext uri="{FF2B5EF4-FFF2-40B4-BE49-F238E27FC236}">
                      <a16:creationId xmlns:a16="http://schemas.microsoft.com/office/drawing/2014/main" id="{C5FE6987-2FA3-417F-B341-52792038C0DE}"/>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 name="Freeform: Shape 693">
                  <a:extLst>
                    <a:ext uri="{FF2B5EF4-FFF2-40B4-BE49-F238E27FC236}">
                      <a16:creationId xmlns:a16="http://schemas.microsoft.com/office/drawing/2014/main" id="{9B352CD8-25B0-4EDE-9A03-873248250118}"/>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 name="Freeform: Shape 694">
                  <a:extLst>
                    <a:ext uri="{FF2B5EF4-FFF2-40B4-BE49-F238E27FC236}">
                      <a16:creationId xmlns:a16="http://schemas.microsoft.com/office/drawing/2014/main" id="{D6DA0E0A-A52E-4E08-8F8B-9B7EA9ECD4C1}"/>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 name="Freeform: Shape 695">
                  <a:extLst>
                    <a:ext uri="{FF2B5EF4-FFF2-40B4-BE49-F238E27FC236}">
                      <a16:creationId xmlns:a16="http://schemas.microsoft.com/office/drawing/2014/main" id="{D46D8B46-5EB2-4AFB-B842-E2D25BAA1B84}"/>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 name="Freeform: Shape 696">
                  <a:extLst>
                    <a:ext uri="{FF2B5EF4-FFF2-40B4-BE49-F238E27FC236}">
                      <a16:creationId xmlns:a16="http://schemas.microsoft.com/office/drawing/2014/main" id="{063D1DC3-42EE-4D5E-9219-F2B3D5AA2BB0}"/>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 name="Freeform: Shape 697">
                  <a:extLst>
                    <a:ext uri="{FF2B5EF4-FFF2-40B4-BE49-F238E27FC236}">
                      <a16:creationId xmlns:a16="http://schemas.microsoft.com/office/drawing/2014/main" id="{88BA0CC1-4D2D-46AD-925E-A89044247021}"/>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 name="Freeform: Shape 698">
                  <a:extLst>
                    <a:ext uri="{FF2B5EF4-FFF2-40B4-BE49-F238E27FC236}">
                      <a16:creationId xmlns:a16="http://schemas.microsoft.com/office/drawing/2014/main" id="{FC9383D1-ED48-4DF1-B637-C22F7ABB820F}"/>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grpSp>
        <p:nvGrpSpPr>
          <p:cNvPr id="267" name="Group 266">
            <a:extLst>
              <a:ext uri="{FF2B5EF4-FFF2-40B4-BE49-F238E27FC236}">
                <a16:creationId xmlns:a16="http://schemas.microsoft.com/office/drawing/2014/main" id="{E80F6F4E-8D26-4AA5-90D5-21EC266C4918}"/>
              </a:ext>
            </a:extLst>
          </p:cNvPr>
          <p:cNvGrpSpPr/>
          <p:nvPr/>
        </p:nvGrpSpPr>
        <p:grpSpPr>
          <a:xfrm>
            <a:off x="8352425" y="1675650"/>
            <a:ext cx="3288814" cy="1507156"/>
            <a:chOff x="6486211" y="1739620"/>
            <a:chExt cx="2801675" cy="1283916"/>
          </a:xfrm>
        </p:grpSpPr>
        <p:grpSp>
          <p:nvGrpSpPr>
            <p:cNvPr id="268" name="Group 267">
              <a:extLst>
                <a:ext uri="{FF2B5EF4-FFF2-40B4-BE49-F238E27FC236}">
                  <a16:creationId xmlns:a16="http://schemas.microsoft.com/office/drawing/2014/main" id="{6E4EAD5C-7924-4B1F-9DFF-D1AD8232C318}"/>
                </a:ext>
              </a:extLst>
            </p:cNvPr>
            <p:cNvGrpSpPr/>
            <p:nvPr/>
          </p:nvGrpSpPr>
          <p:grpSpPr>
            <a:xfrm>
              <a:off x="6486211" y="2427446"/>
              <a:ext cx="596090" cy="596090"/>
              <a:chOff x="6340161" y="2433796"/>
              <a:chExt cx="596090" cy="596090"/>
            </a:xfrm>
          </p:grpSpPr>
          <p:sp>
            <p:nvSpPr>
              <p:cNvPr id="378" name="Freeform: Shape 498">
                <a:extLst>
                  <a:ext uri="{FF2B5EF4-FFF2-40B4-BE49-F238E27FC236}">
                    <a16:creationId xmlns:a16="http://schemas.microsoft.com/office/drawing/2014/main" id="{52517459-A55E-400A-8290-6C0D2E0D05B7}"/>
                  </a:ext>
                </a:extLst>
              </p:cNvPr>
              <p:cNvSpPr/>
              <p:nvPr/>
            </p:nvSpPr>
            <p:spPr>
              <a:xfrm>
                <a:off x="6340161" y="2433796"/>
                <a:ext cx="596090" cy="596090"/>
              </a:xfrm>
              <a:custGeom>
                <a:avLst/>
                <a:gdLst>
                  <a:gd name="connsiteX0" fmla="*/ 16669 w 771525"/>
                  <a:gd name="connsiteY0" fmla="*/ 769144 h 771525"/>
                  <a:gd name="connsiteX1" fmla="*/ 759619 w 771525"/>
                  <a:gd name="connsiteY1" fmla="*/ 769144 h 771525"/>
                  <a:gd name="connsiteX2" fmla="*/ 769144 w 771525"/>
                  <a:gd name="connsiteY2" fmla="*/ 759619 h 771525"/>
                  <a:gd name="connsiteX3" fmla="*/ 769144 w 771525"/>
                  <a:gd name="connsiteY3" fmla="*/ 693344 h 771525"/>
                  <a:gd name="connsiteX4" fmla="*/ 759619 w 771525"/>
                  <a:gd name="connsiteY4" fmla="*/ 683819 h 771525"/>
                  <a:gd name="connsiteX5" fmla="*/ 718547 w 771525"/>
                  <a:gd name="connsiteY5" fmla="*/ 683819 h 771525"/>
                  <a:gd name="connsiteX6" fmla="*/ 718547 w 771525"/>
                  <a:gd name="connsiteY6" fmla="*/ 92469 h 771525"/>
                  <a:gd name="connsiteX7" fmla="*/ 732596 w 771525"/>
                  <a:gd name="connsiteY7" fmla="*/ 92469 h 771525"/>
                  <a:gd name="connsiteX8" fmla="*/ 742121 w 771525"/>
                  <a:gd name="connsiteY8" fmla="*/ 82944 h 771525"/>
                  <a:gd name="connsiteX9" fmla="*/ 742121 w 771525"/>
                  <a:gd name="connsiteY9" fmla="*/ 16669 h 771525"/>
                  <a:gd name="connsiteX10" fmla="*/ 732596 w 771525"/>
                  <a:gd name="connsiteY10" fmla="*/ 7144 h 771525"/>
                  <a:gd name="connsiteX11" fmla="*/ 43691 w 771525"/>
                  <a:gd name="connsiteY11" fmla="*/ 7144 h 771525"/>
                  <a:gd name="connsiteX12" fmla="*/ 34166 w 771525"/>
                  <a:gd name="connsiteY12" fmla="*/ 16669 h 771525"/>
                  <a:gd name="connsiteX13" fmla="*/ 34166 w 771525"/>
                  <a:gd name="connsiteY13" fmla="*/ 82944 h 771525"/>
                  <a:gd name="connsiteX14" fmla="*/ 43691 w 771525"/>
                  <a:gd name="connsiteY14" fmla="*/ 92469 h 771525"/>
                  <a:gd name="connsiteX15" fmla="*/ 57741 w 771525"/>
                  <a:gd name="connsiteY15" fmla="*/ 92469 h 771525"/>
                  <a:gd name="connsiteX16" fmla="*/ 57741 w 771525"/>
                  <a:gd name="connsiteY16" fmla="*/ 683819 h 771525"/>
                  <a:gd name="connsiteX17" fmla="*/ 16669 w 771525"/>
                  <a:gd name="connsiteY17" fmla="*/ 683819 h 771525"/>
                  <a:gd name="connsiteX18" fmla="*/ 7144 w 771525"/>
                  <a:gd name="connsiteY18" fmla="*/ 693344 h 771525"/>
                  <a:gd name="connsiteX19" fmla="*/ 7144 w 771525"/>
                  <a:gd name="connsiteY19" fmla="*/ 759619 h 771525"/>
                  <a:gd name="connsiteX20" fmla="*/ 16669 w 771525"/>
                  <a:gd name="connsiteY20" fmla="*/ 769144 h 771525"/>
                  <a:gd name="connsiteX21" fmla="*/ 53216 w 771525"/>
                  <a:gd name="connsiteY21" fmla="*/ 26194 h 771525"/>
                  <a:gd name="connsiteX22" fmla="*/ 723062 w 771525"/>
                  <a:gd name="connsiteY22" fmla="*/ 26194 h 771525"/>
                  <a:gd name="connsiteX23" fmla="*/ 723062 w 771525"/>
                  <a:gd name="connsiteY23" fmla="*/ 73419 h 771525"/>
                  <a:gd name="connsiteX24" fmla="*/ 53216 w 771525"/>
                  <a:gd name="connsiteY24" fmla="*/ 73419 h 771525"/>
                  <a:gd name="connsiteX25" fmla="*/ 53216 w 771525"/>
                  <a:gd name="connsiteY25" fmla="*/ 26194 h 771525"/>
                  <a:gd name="connsiteX26" fmla="*/ 76791 w 771525"/>
                  <a:gd name="connsiteY26" fmla="*/ 92469 h 771525"/>
                  <a:gd name="connsiteX27" fmla="*/ 699487 w 771525"/>
                  <a:gd name="connsiteY27" fmla="*/ 92469 h 771525"/>
                  <a:gd name="connsiteX28" fmla="*/ 699487 w 771525"/>
                  <a:gd name="connsiteY28" fmla="*/ 683819 h 771525"/>
                  <a:gd name="connsiteX29" fmla="*/ 496491 w 771525"/>
                  <a:gd name="connsiteY29" fmla="*/ 683819 h 771525"/>
                  <a:gd name="connsiteX30" fmla="*/ 496491 w 771525"/>
                  <a:gd name="connsiteY30" fmla="*/ 470402 h 771525"/>
                  <a:gd name="connsiteX31" fmla="*/ 486966 w 771525"/>
                  <a:gd name="connsiteY31" fmla="*/ 460877 h 771525"/>
                  <a:gd name="connsiteX32" fmla="*/ 289322 w 771525"/>
                  <a:gd name="connsiteY32" fmla="*/ 460877 h 771525"/>
                  <a:gd name="connsiteX33" fmla="*/ 279797 w 771525"/>
                  <a:gd name="connsiteY33" fmla="*/ 470402 h 771525"/>
                  <a:gd name="connsiteX34" fmla="*/ 279797 w 771525"/>
                  <a:gd name="connsiteY34" fmla="*/ 683819 h 771525"/>
                  <a:gd name="connsiteX35" fmla="*/ 76791 w 771525"/>
                  <a:gd name="connsiteY35" fmla="*/ 683819 h 771525"/>
                  <a:gd name="connsiteX36" fmla="*/ 76791 w 771525"/>
                  <a:gd name="connsiteY36" fmla="*/ 92469 h 771525"/>
                  <a:gd name="connsiteX37" fmla="*/ 298847 w 771525"/>
                  <a:gd name="connsiteY37" fmla="*/ 683819 h 771525"/>
                  <a:gd name="connsiteX38" fmla="*/ 298847 w 771525"/>
                  <a:gd name="connsiteY38" fmla="*/ 479927 h 771525"/>
                  <a:gd name="connsiteX39" fmla="*/ 378619 w 771525"/>
                  <a:gd name="connsiteY39" fmla="*/ 479927 h 771525"/>
                  <a:gd name="connsiteX40" fmla="*/ 378619 w 771525"/>
                  <a:gd name="connsiteY40" fmla="*/ 683819 h 771525"/>
                  <a:gd name="connsiteX41" fmla="*/ 298847 w 771525"/>
                  <a:gd name="connsiteY41" fmla="*/ 683819 h 771525"/>
                  <a:gd name="connsiteX42" fmla="*/ 397669 w 771525"/>
                  <a:gd name="connsiteY42" fmla="*/ 479927 h 771525"/>
                  <a:gd name="connsiteX43" fmla="*/ 477441 w 771525"/>
                  <a:gd name="connsiteY43" fmla="*/ 479927 h 771525"/>
                  <a:gd name="connsiteX44" fmla="*/ 477441 w 771525"/>
                  <a:gd name="connsiteY44" fmla="*/ 683819 h 771525"/>
                  <a:gd name="connsiteX45" fmla="*/ 397669 w 771525"/>
                  <a:gd name="connsiteY45" fmla="*/ 683819 h 771525"/>
                  <a:gd name="connsiteX46" fmla="*/ 397669 w 771525"/>
                  <a:gd name="connsiteY46" fmla="*/ 479927 h 771525"/>
                  <a:gd name="connsiteX47" fmla="*/ 26194 w 771525"/>
                  <a:gd name="connsiteY47" fmla="*/ 702869 h 771525"/>
                  <a:gd name="connsiteX48" fmla="*/ 750094 w 771525"/>
                  <a:gd name="connsiteY48" fmla="*/ 702869 h 771525"/>
                  <a:gd name="connsiteX49" fmla="*/ 750094 w 771525"/>
                  <a:gd name="connsiteY49" fmla="*/ 750094 h 771525"/>
                  <a:gd name="connsiteX50" fmla="*/ 26194 w 771525"/>
                  <a:gd name="connsiteY50" fmla="*/ 750094 h 771525"/>
                  <a:gd name="connsiteX51" fmla="*/ 26194 w 771525"/>
                  <a:gd name="connsiteY51" fmla="*/ 702869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771525" h="771525">
                    <a:moveTo>
                      <a:pt x="16669" y="769144"/>
                    </a:moveTo>
                    <a:lnTo>
                      <a:pt x="759619" y="769144"/>
                    </a:lnTo>
                    <a:cubicBezTo>
                      <a:pt x="764877" y="769144"/>
                      <a:pt x="769144" y="764886"/>
                      <a:pt x="769144" y="759619"/>
                    </a:cubicBezTo>
                    <a:lnTo>
                      <a:pt x="769144" y="693344"/>
                    </a:lnTo>
                    <a:cubicBezTo>
                      <a:pt x="769144" y="688076"/>
                      <a:pt x="764877" y="683819"/>
                      <a:pt x="759619" y="683819"/>
                    </a:cubicBezTo>
                    <a:lnTo>
                      <a:pt x="718547" y="683819"/>
                    </a:lnTo>
                    <a:lnTo>
                      <a:pt x="718547" y="92469"/>
                    </a:lnTo>
                    <a:lnTo>
                      <a:pt x="732596" y="92469"/>
                    </a:lnTo>
                    <a:cubicBezTo>
                      <a:pt x="737854" y="92469"/>
                      <a:pt x="742121" y="88211"/>
                      <a:pt x="742121" y="82944"/>
                    </a:cubicBezTo>
                    <a:lnTo>
                      <a:pt x="742121" y="16669"/>
                    </a:lnTo>
                    <a:cubicBezTo>
                      <a:pt x="742121" y="11401"/>
                      <a:pt x="737854" y="7144"/>
                      <a:pt x="732596" y="7144"/>
                    </a:cubicBezTo>
                    <a:lnTo>
                      <a:pt x="43691" y="7144"/>
                    </a:lnTo>
                    <a:cubicBezTo>
                      <a:pt x="38433" y="7144"/>
                      <a:pt x="34166" y="11401"/>
                      <a:pt x="34166" y="16669"/>
                    </a:cubicBezTo>
                    <a:lnTo>
                      <a:pt x="34166" y="82944"/>
                    </a:lnTo>
                    <a:cubicBezTo>
                      <a:pt x="34166" y="88211"/>
                      <a:pt x="38433" y="92469"/>
                      <a:pt x="43691" y="92469"/>
                    </a:cubicBezTo>
                    <a:lnTo>
                      <a:pt x="57741" y="92469"/>
                    </a:lnTo>
                    <a:lnTo>
                      <a:pt x="57741" y="683819"/>
                    </a:lnTo>
                    <a:lnTo>
                      <a:pt x="16669" y="683819"/>
                    </a:lnTo>
                    <a:cubicBezTo>
                      <a:pt x="11411" y="683819"/>
                      <a:pt x="7144" y="688076"/>
                      <a:pt x="7144" y="693344"/>
                    </a:cubicBezTo>
                    <a:lnTo>
                      <a:pt x="7144" y="759619"/>
                    </a:lnTo>
                    <a:cubicBezTo>
                      <a:pt x="7144" y="764886"/>
                      <a:pt x="11411" y="769144"/>
                      <a:pt x="16669" y="769144"/>
                    </a:cubicBezTo>
                    <a:close/>
                    <a:moveTo>
                      <a:pt x="53216" y="26194"/>
                    </a:moveTo>
                    <a:lnTo>
                      <a:pt x="723062" y="26194"/>
                    </a:lnTo>
                    <a:lnTo>
                      <a:pt x="723062" y="73419"/>
                    </a:lnTo>
                    <a:lnTo>
                      <a:pt x="53216" y="73419"/>
                    </a:lnTo>
                    <a:lnTo>
                      <a:pt x="53216" y="26194"/>
                    </a:lnTo>
                    <a:close/>
                    <a:moveTo>
                      <a:pt x="76791" y="92469"/>
                    </a:moveTo>
                    <a:lnTo>
                      <a:pt x="699487" y="92469"/>
                    </a:lnTo>
                    <a:lnTo>
                      <a:pt x="699487" y="683819"/>
                    </a:lnTo>
                    <a:lnTo>
                      <a:pt x="496491" y="683819"/>
                    </a:lnTo>
                    <a:lnTo>
                      <a:pt x="496491" y="470402"/>
                    </a:lnTo>
                    <a:cubicBezTo>
                      <a:pt x="496491" y="465134"/>
                      <a:pt x="492223" y="460877"/>
                      <a:pt x="486966" y="460877"/>
                    </a:cubicBezTo>
                    <a:lnTo>
                      <a:pt x="289322" y="460877"/>
                    </a:lnTo>
                    <a:cubicBezTo>
                      <a:pt x="284064" y="460877"/>
                      <a:pt x="279797" y="465134"/>
                      <a:pt x="279797" y="470402"/>
                    </a:cubicBezTo>
                    <a:lnTo>
                      <a:pt x="279797" y="683819"/>
                    </a:lnTo>
                    <a:lnTo>
                      <a:pt x="76791" y="683819"/>
                    </a:lnTo>
                    <a:lnTo>
                      <a:pt x="76791" y="92469"/>
                    </a:lnTo>
                    <a:close/>
                    <a:moveTo>
                      <a:pt x="298847" y="683819"/>
                    </a:moveTo>
                    <a:lnTo>
                      <a:pt x="298847" y="479927"/>
                    </a:lnTo>
                    <a:lnTo>
                      <a:pt x="378619" y="479927"/>
                    </a:lnTo>
                    <a:lnTo>
                      <a:pt x="378619" y="683819"/>
                    </a:lnTo>
                    <a:lnTo>
                      <a:pt x="298847" y="683819"/>
                    </a:lnTo>
                    <a:close/>
                    <a:moveTo>
                      <a:pt x="397669" y="479927"/>
                    </a:moveTo>
                    <a:lnTo>
                      <a:pt x="477441" y="479927"/>
                    </a:lnTo>
                    <a:lnTo>
                      <a:pt x="477441" y="683819"/>
                    </a:lnTo>
                    <a:lnTo>
                      <a:pt x="397669" y="683819"/>
                    </a:lnTo>
                    <a:lnTo>
                      <a:pt x="397669" y="479927"/>
                    </a:lnTo>
                    <a:close/>
                    <a:moveTo>
                      <a:pt x="26194" y="702869"/>
                    </a:moveTo>
                    <a:lnTo>
                      <a:pt x="750094" y="702869"/>
                    </a:lnTo>
                    <a:lnTo>
                      <a:pt x="750094" y="750094"/>
                    </a:lnTo>
                    <a:lnTo>
                      <a:pt x="26194" y="750094"/>
                    </a:lnTo>
                    <a:lnTo>
                      <a:pt x="26194" y="702869"/>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 name="Freeform: Shape 499">
                <a:extLst>
                  <a:ext uri="{FF2B5EF4-FFF2-40B4-BE49-F238E27FC236}">
                    <a16:creationId xmlns:a16="http://schemas.microsoft.com/office/drawing/2014/main" id="{C234E4DC-8BF4-4232-B4C7-D48E7F3CC541}"/>
                  </a:ext>
                </a:extLst>
              </p:cNvPr>
              <p:cNvSpPr/>
              <p:nvPr/>
            </p:nvSpPr>
            <p:spPr>
              <a:xfrm>
                <a:off x="6763393" y="2783495"/>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 name="Freeform: Shape 500">
                <a:extLst>
                  <a:ext uri="{FF2B5EF4-FFF2-40B4-BE49-F238E27FC236}">
                    <a16:creationId xmlns:a16="http://schemas.microsoft.com/office/drawing/2014/main" id="{244FF703-73B5-400C-AF9D-E63E9295D613}"/>
                  </a:ext>
                </a:extLst>
              </p:cNvPr>
              <p:cNvSpPr/>
              <p:nvPr/>
            </p:nvSpPr>
            <p:spPr>
              <a:xfrm>
                <a:off x="6443270" y="2783495"/>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 name="Freeform: Shape 501">
                <a:extLst>
                  <a:ext uri="{FF2B5EF4-FFF2-40B4-BE49-F238E27FC236}">
                    <a16:creationId xmlns:a16="http://schemas.microsoft.com/office/drawing/2014/main" id="{5A7F3558-AB63-49D2-85F8-78BD0CF39CA9}"/>
                  </a:ext>
                </a:extLst>
              </p:cNvPr>
              <p:cNvSpPr/>
              <p:nvPr/>
            </p:nvSpPr>
            <p:spPr>
              <a:xfrm>
                <a:off x="6763393" y="2666668"/>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 name="Freeform: Shape 502">
                <a:extLst>
                  <a:ext uri="{FF2B5EF4-FFF2-40B4-BE49-F238E27FC236}">
                    <a16:creationId xmlns:a16="http://schemas.microsoft.com/office/drawing/2014/main" id="{E491DDF7-1F22-4026-B037-0EE1E8E2CA8B}"/>
                  </a:ext>
                </a:extLst>
              </p:cNvPr>
              <p:cNvSpPr/>
              <p:nvPr/>
            </p:nvSpPr>
            <p:spPr>
              <a:xfrm>
                <a:off x="6656766" y="2666668"/>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 name="Freeform: Shape 503">
                <a:extLst>
                  <a:ext uri="{FF2B5EF4-FFF2-40B4-BE49-F238E27FC236}">
                    <a16:creationId xmlns:a16="http://schemas.microsoft.com/office/drawing/2014/main" id="{E90C71D2-FD0E-4DEB-9168-156B709B7248}"/>
                  </a:ext>
                </a:extLst>
              </p:cNvPr>
              <p:cNvSpPr/>
              <p:nvPr/>
            </p:nvSpPr>
            <p:spPr>
              <a:xfrm>
                <a:off x="6550817" y="2666668"/>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 name="Freeform: Shape 504">
                <a:extLst>
                  <a:ext uri="{FF2B5EF4-FFF2-40B4-BE49-F238E27FC236}">
                    <a16:creationId xmlns:a16="http://schemas.microsoft.com/office/drawing/2014/main" id="{468FE0E6-2E10-4571-BEF4-B972DC8A5716}"/>
                  </a:ext>
                </a:extLst>
              </p:cNvPr>
              <p:cNvSpPr/>
              <p:nvPr/>
            </p:nvSpPr>
            <p:spPr>
              <a:xfrm>
                <a:off x="6656766" y="2549842"/>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 name="Freeform: Shape 505">
                <a:extLst>
                  <a:ext uri="{FF2B5EF4-FFF2-40B4-BE49-F238E27FC236}">
                    <a16:creationId xmlns:a16="http://schemas.microsoft.com/office/drawing/2014/main" id="{F0A130AE-D6CA-496A-B0ED-AA509C171A77}"/>
                  </a:ext>
                </a:extLst>
              </p:cNvPr>
              <p:cNvSpPr/>
              <p:nvPr/>
            </p:nvSpPr>
            <p:spPr>
              <a:xfrm>
                <a:off x="6550817" y="2549842"/>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 name="Freeform: Shape 506">
                <a:extLst>
                  <a:ext uri="{FF2B5EF4-FFF2-40B4-BE49-F238E27FC236}">
                    <a16:creationId xmlns:a16="http://schemas.microsoft.com/office/drawing/2014/main" id="{38D846A2-5C49-4B78-9042-3EC8C7F82DBC}"/>
                  </a:ext>
                </a:extLst>
              </p:cNvPr>
              <p:cNvSpPr/>
              <p:nvPr/>
            </p:nvSpPr>
            <p:spPr>
              <a:xfrm>
                <a:off x="6443270" y="2666668"/>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 name="Freeform: Shape 507">
                <a:extLst>
                  <a:ext uri="{FF2B5EF4-FFF2-40B4-BE49-F238E27FC236}">
                    <a16:creationId xmlns:a16="http://schemas.microsoft.com/office/drawing/2014/main" id="{0D4ADF69-2385-428D-8373-8B0535DBF489}"/>
                  </a:ext>
                </a:extLst>
              </p:cNvPr>
              <p:cNvSpPr/>
              <p:nvPr/>
            </p:nvSpPr>
            <p:spPr>
              <a:xfrm>
                <a:off x="6763393" y="2549842"/>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 name="Freeform: Shape 508">
                <a:extLst>
                  <a:ext uri="{FF2B5EF4-FFF2-40B4-BE49-F238E27FC236}">
                    <a16:creationId xmlns:a16="http://schemas.microsoft.com/office/drawing/2014/main" id="{13EEFAC8-E33D-459A-A23D-4545B64E5E74}"/>
                  </a:ext>
                </a:extLst>
              </p:cNvPr>
              <p:cNvSpPr/>
              <p:nvPr/>
            </p:nvSpPr>
            <p:spPr>
              <a:xfrm>
                <a:off x="6443270" y="2549842"/>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69" name="Group 268">
              <a:extLst>
                <a:ext uri="{FF2B5EF4-FFF2-40B4-BE49-F238E27FC236}">
                  <a16:creationId xmlns:a16="http://schemas.microsoft.com/office/drawing/2014/main" id="{414C381E-3EF6-49FD-8548-F64955F2A892}"/>
                </a:ext>
              </a:extLst>
            </p:cNvPr>
            <p:cNvGrpSpPr/>
            <p:nvPr/>
          </p:nvGrpSpPr>
          <p:grpSpPr>
            <a:xfrm>
              <a:off x="8710808" y="2446457"/>
              <a:ext cx="577078" cy="577079"/>
              <a:chOff x="5709056" y="2921793"/>
              <a:chExt cx="771525" cy="771525"/>
            </a:xfrm>
            <a:solidFill>
              <a:srgbClr val="999999"/>
            </a:solidFill>
          </p:grpSpPr>
          <p:sp>
            <p:nvSpPr>
              <p:cNvPr id="367" name="Freeform: Shape 447">
                <a:extLst>
                  <a:ext uri="{FF2B5EF4-FFF2-40B4-BE49-F238E27FC236}">
                    <a16:creationId xmlns:a16="http://schemas.microsoft.com/office/drawing/2014/main" id="{2019140F-7B51-422A-B271-1EB6183FC1B7}"/>
                  </a:ext>
                </a:extLst>
              </p:cNvPr>
              <p:cNvSpPr/>
              <p:nvPr/>
            </p:nvSpPr>
            <p:spPr>
              <a:xfrm>
                <a:off x="5709056" y="2921793"/>
                <a:ext cx="771525" cy="771525"/>
              </a:xfrm>
              <a:custGeom>
                <a:avLst/>
                <a:gdLst>
                  <a:gd name="connsiteX0" fmla="*/ 16669 w 771525"/>
                  <a:gd name="connsiteY0" fmla="*/ 769144 h 771525"/>
                  <a:gd name="connsiteX1" fmla="*/ 759619 w 771525"/>
                  <a:gd name="connsiteY1" fmla="*/ 769144 h 771525"/>
                  <a:gd name="connsiteX2" fmla="*/ 769144 w 771525"/>
                  <a:gd name="connsiteY2" fmla="*/ 759619 h 771525"/>
                  <a:gd name="connsiteX3" fmla="*/ 769144 w 771525"/>
                  <a:gd name="connsiteY3" fmla="*/ 693344 h 771525"/>
                  <a:gd name="connsiteX4" fmla="*/ 759619 w 771525"/>
                  <a:gd name="connsiteY4" fmla="*/ 683819 h 771525"/>
                  <a:gd name="connsiteX5" fmla="*/ 718547 w 771525"/>
                  <a:gd name="connsiteY5" fmla="*/ 683819 h 771525"/>
                  <a:gd name="connsiteX6" fmla="*/ 718547 w 771525"/>
                  <a:gd name="connsiteY6" fmla="*/ 92469 h 771525"/>
                  <a:gd name="connsiteX7" fmla="*/ 732596 w 771525"/>
                  <a:gd name="connsiteY7" fmla="*/ 92469 h 771525"/>
                  <a:gd name="connsiteX8" fmla="*/ 742121 w 771525"/>
                  <a:gd name="connsiteY8" fmla="*/ 82944 h 771525"/>
                  <a:gd name="connsiteX9" fmla="*/ 742121 w 771525"/>
                  <a:gd name="connsiteY9" fmla="*/ 16669 h 771525"/>
                  <a:gd name="connsiteX10" fmla="*/ 732596 w 771525"/>
                  <a:gd name="connsiteY10" fmla="*/ 7144 h 771525"/>
                  <a:gd name="connsiteX11" fmla="*/ 43691 w 771525"/>
                  <a:gd name="connsiteY11" fmla="*/ 7144 h 771525"/>
                  <a:gd name="connsiteX12" fmla="*/ 34166 w 771525"/>
                  <a:gd name="connsiteY12" fmla="*/ 16669 h 771525"/>
                  <a:gd name="connsiteX13" fmla="*/ 34166 w 771525"/>
                  <a:gd name="connsiteY13" fmla="*/ 82944 h 771525"/>
                  <a:gd name="connsiteX14" fmla="*/ 43691 w 771525"/>
                  <a:gd name="connsiteY14" fmla="*/ 92469 h 771525"/>
                  <a:gd name="connsiteX15" fmla="*/ 57741 w 771525"/>
                  <a:gd name="connsiteY15" fmla="*/ 92469 h 771525"/>
                  <a:gd name="connsiteX16" fmla="*/ 57741 w 771525"/>
                  <a:gd name="connsiteY16" fmla="*/ 683819 h 771525"/>
                  <a:gd name="connsiteX17" fmla="*/ 16669 w 771525"/>
                  <a:gd name="connsiteY17" fmla="*/ 683819 h 771525"/>
                  <a:gd name="connsiteX18" fmla="*/ 7144 w 771525"/>
                  <a:gd name="connsiteY18" fmla="*/ 693344 h 771525"/>
                  <a:gd name="connsiteX19" fmla="*/ 7144 w 771525"/>
                  <a:gd name="connsiteY19" fmla="*/ 759619 h 771525"/>
                  <a:gd name="connsiteX20" fmla="*/ 16669 w 771525"/>
                  <a:gd name="connsiteY20" fmla="*/ 769144 h 771525"/>
                  <a:gd name="connsiteX21" fmla="*/ 53216 w 771525"/>
                  <a:gd name="connsiteY21" fmla="*/ 26194 h 771525"/>
                  <a:gd name="connsiteX22" fmla="*/ 723062 w 771525"/>
                  <a:gd name="connsiteY22" fmla="*/ 26194 h 771525"/>
                  <a:gd name="connsiteX23" fmla="*/ 723062 w 771525"/>
                  <a:gd name="connsiteY23" fmla="*/ 73419 h 771525"/>
                  <a:gd name="connsiteX24" fmla="*/ 53216 w 771525"/>
                  <a:gd name="connsiteY24" fmla="*/ 73419 h 771525"/>
                  <a:gd name="connsiteX25" fmla="*/ 53216 w 771525"/>
                  <a:gd name="connsiteY25" fmla="*/ 26194 h 771525"/>
                  <a:gd name="connsiteX26" fmla="*/ 76791 w 771525"/>
                  <a:gd name="connsiteY26" fmla="*/ 92469 h 771525"/>
                  <a:gd name="connsiteX27" fmla="*/ 699487 w 771525"/>
                  <a:gd name="connsiteY27" fmla="*/ 92469 h 771525"/>
                  <a:gd name="connsiteX28" fmla="*/ 699487 w 771525"/>
                  <a:gd name="connsiteY28" fmla="*/ 683819 h 771525"/>
                  <a:gd name="connsiteX29" fmla="*/ 496491 w 771525"/>
                  <a:gd name="connsiteY29" fmla="*/ 683819 h 771525"/>
                  <a:gd name="connsiteX30" fmla="*/ 496491 w 771525"/>
                  <a:gd name="connsiteY30" fmla="*/ 470402 h 771525"/>
                  <a:gd name="connsiteX31" fmla="*/ 486966 w 771525"/>
                  <a:gd name="connsiteY31" fmla="*/ 460877 h 771525"/>
                  <a:gd name="connsiteX32" fmla="*/ 289322 w 771525"/>
                  <a:gd name="connsiteY32" fmla="*/ 460877 h 771525"/>
                  <a:gd name="connsiteX33" fmla="*/ 279797 w 771525"/>
                  <a:gd name="connsiteY33" fmla="*/ 470402 h 771525"/>
                  <a:gd name="connsiteX34" fmla="*/ 279797 w 771525"/>
                  <a:gd name="connsiteY34" fmla="*/ 683819 h 771525"/>
                  <a:gd name="connsiteX35" fmla="*/ 76791 w 771525"/>
                  <a:gd name="connsiteY35" fmla="*/ 683819 h 771525"/>
                  <a:gd name="connsiteX36" fmla="*/ 76791 w 771525"/>
                  <a:gd name="connsiteY36" fmla="*/ 92469 h 771525"/>
                  <a:gd name="connsiteX37" fmla="*/ 298847 w 771525"/>
                  <a:gd name="connsiteY37" fmla="*/ 683819 h 771525"/>
                  <a:gd name="connsiteX38" fmla="*/ 298847 w 771525"/>
                  <a:gd name="connsiteY38" fmla="*/ 479927 h 771525"/>
                  <a:gd name="connsiteX39" fmla="*/ 378619 w 771525"/>
                  <a:gd name="connsiteY39" fmla="*/ 479927 h 771525"/>
                  <a:gd name="connsiteX40" fmla="*/ 378619 w 771525"/>
                  <a:gd name="connsiteY40" fmla="*/ 683819 h 771525"/>
                  <a:gd name="connsiteX41" fmla="*/ 298847 w 771525"/>
                  <a:gd name="connsiteY41" fmla="*/ 683819 h 771525"/>
                  <a:gd name="connsiteX42" fmla="*/ 397669 w 771525"/>
                  <a:gd name="connsiteY42" fmla="*/ 479927 h 771525"/>
                  <a:gd name="connsiteX43" fmla="*/ 477441 w 771525"/>
                  <a:gd name="connsiteY43" fmla="*/ 479927 h 771525"/>
                  <a:gd name="connsiteX44" fmla="*/ 477441 w 771525"/>
                  <a:gd name="connsiteY44" fmla="*/ 683819 h 771525"/>
                  <a:gd name="connsiteX45" fmla="*/ 397669 w 771525"/>
                  <a:gd name="connsiteY45" fmla="*/ 683819 h 771525"/>
                  <a:gd name="connsiteX46" fmla="*/ 397669 w 771525"/>
                  <a:gd name="connsiteY46" fmla="*/ 479927 h 771525"/>
                  <a:gd name="connsiteX47" fmla="*/ 26194 w 771525"/>
                  <a:gd name="connsiteY47" fmla="*/ 702869 h 771525"/>
                  <a:gd name="connsiteX48" fmla="*/ 750094 w 771525"/>
                  <a:gd name="connsiteY48" fmla="*/ 702869 h 771525"/>
                  <a:gd name="connsiteX49" fmla="*/ 750094 w 771525"/>
                  <a:gd name="connsiteY49" fmla="*/ 750094 h 771525"/>
                  <a:gd name="connsiteX50" fmla="*/ 26194 w 771525"/>
                  <a:gd name="connsiteY50" fmla="*/ 750094 h 771525"/>
                  <a:gd name="connsiteX51" fmla="*/ 26194 w 771525"/>
                  <a:gd name="connsiteY51" fmla="*/ 702869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771525" h="771525">
                    <a:moveTo>
                      <a:pt x="16669" y="769144"/>
                    </a:moveTo>
                    <a:lnTo>
                      <a:pt x="759619" y="769144"/>
                    </a:lnTo>
                    <a:cubicBezTo>
                      <a:pt x="764877" y="769144"/>
                      <a:pt x="769144" y="764886"/>
                      <a:pt x="769144" y="759619"/>
                    </a:cubicBezTo>
                    <a:lnTo>
                      <a:pt x="769144" y="693344"/>
                    </a:lnTo>
                    <a:cubicBezTo>
                      <a:pt x="769144" y="688076"/>
                      <a:pt x="764877" y="683819"/>
                      <a:pt x="759619" y="683819"/>
                    </a:cubicBezTo>
                    <a:lnTo>
                      <a:pt x="718547" y="683819"/>
                    </a:lnTo>
                    <a:lnTo>
                      <a:pt x="718547" y="92469"/>
                    </a:lnTo>
                    <a:lnTo>
                      <a:pt x="732596" y="92469"/>
                    </a:lnTo>
                    <a:cubicBezTo>
                      <a:pt x="737854" y="92469"/>
                      <a:pt x="742121" y="88211"/>
                      <a:pt x="742121" y="82944"/>
                    </a:cubicBezTo>
                    <a:lnTo>
                      <a:pt x="742121" y="16669"/>
                    </a:lnTo>
                    <a:cubicBezTo>
                      <a:pt x="742121" y="11401"/>
                      <a:pt x="737854" y="7144"/>
                      <a:pt x="732596" y="7144"/>
                    </a:cubicBezTo>
                    <a:lnTo>
                      <a:pt x="43691" y="7144"/>
                    </a:lnTo>
                    <a:cubicBezTo>
                      <a:pt x="38433" y="7144"/>
                      <a:pt x="34166" y="11401"/>
                      <a:pt x="34166" y="16669"/>
                    </a:cubicBezTo>
                    <a:lnTo>
                      <a:pt x="34166" y="82944"/>
                    </a:lnTo>
                    <a:cubicBezTo>
                      <a:pt x="34166" y="88211"/>
                      <a:pt x="38433" y="92469"/>
                      <a:pt x="43691" y="92469"/>
                    </a:cubicBezTo>
                    <a:lnTo>
                      <a:pt x="57741" y="92469"/>
                    </a:lnTo>
                    <a:lnTo>
                      <a:pt x="57741" y="683819"/>
                    </a:lnTo>
                    <a:lnTo>
                      <a:pt x="16669" y="683819"/>
                    </a:lnTo>
                    <a:cubicBezTo>
                      <a:pt x="11411" y="683819"/>
                      <a:pt x="7144" y="688076"/>
                      <a:pt x="7144" y="693344"/>
                    </a:cubicBezTo>
                    <a:lnTo>
                      <a:pt x="7144" y="759619"/>
                    </a:lnTo>
                    <a:cubicBezTo>
                      <a:pt x="7144" y="764886"/>
                      <a:pt x="11411" y="769144"/>
                      <a:pt x="16669" y="769144"/>
                    </a:cubicBezTo>
                    <a:close/>
                    <a:moveTo>
                      <a:pt x="53216" y="26194"/>
                    </a:moveTo>
                    <a:lnTo>
                      <a:pt x="723062" y="26194"/>
                    </a:lnTo>
                    <a:lnTo>
                      <a:pt x="723062" y="73419"/>
                    </a:lnTo>
                    <a:lnTo>
                      <a:pt x="53216" y="73419"/>
                    </a:lnTo>
                    <a:lnTo>
                      <a:pt x="53216" y="26194"/>
                    </a:lnTo>
                    <a:close/>
                    <a:moveTo>
                      <a:pt x="76791" y="92469"/>
                    </a:moveTo>
                    <a:lnTo>
                      <a:pt x="699487" y="92469"/>
                    </a:lnTo>
                    <a:lnTo>
                      <a:pt x="699487" y="683819"/>
                    </a:lnTo>
                    <a:lnTo>
                      <a:pt x="496491" y="683819"/>
                    </a:lnTo>
                    <a:lnTo>
                      <a:pt x="496491" y="470402"/>
                    </a:lnTo>
                    <a:cubicBezTo>
                      <a:pt x="496491" y="465134"/>
                      <a:pt x="492223" y="460877"/>
                      <a:pt x="486966" y="460877"/>
                    </a:cubicBezTo>
                    <a:lnTo>
                      <a:pt x="289322" y="460877"/>
                    </a:lnTo>
                    <a:cubicBezTo>
                      <a:pt x="284064" y="460877"/>
                      <a:pt x="279797" y="465134"/>
                      <a:pt x="279797" y="470402"/>
                    </a:cubicBezTo>
                    <a:lnTo>
                      <a:pt x="279797" y="683819"/>
                    </a:lnTo>
                    <a:lnTo>
                      <a:pt x="76791" y="683819"/>
                    </a:lnTo>
                    <a:lnTo>
                      <a:pt x="76791" y="92469"/>
                    </a:lnTo>
                    <a:close/>
                    <a:moveTo>
                      <a:pt x="298847" y="683819"/>
                    </a:moveTo>
                    <a:lnTo>
                      <a:pt x="298847" y="479927"/>
                    </a:lnTo>
                    <a:lnTo>
                      <a:pt x="378619" y="479927"/>
                    </a:lnTo>
                    <a:lnTo>
                      <a:pt x="378619" y="683819"/>
                    </a:lnTo>
                    <a:lnTo>
                      <a:pt x="298847" y="683819"/>
                    </a:lnTo>
                    <a:close/>
                    <a:moveTo>
                      <a:pt x="397669" y="479927"/>
                    </a:moveTo>
                    <a:lnTo>
                      <a:pt x="477441" y="479927"/>
                    </a:lnTo>
                    <a:lnTo>
                      <a:pt x="477441" y="683819"/>
                    </a:lnTo>
                    <a:lnTo>
                      <a:pt x="397669" y="683819"/>
                    </a:lnTo>
                    <a:lnTo>
                      <a:pt x="397669" y="479927"/>
                    </a:lnTo>
                    <a:close/>
                    <a:moveTo>
                      <a:pt x="26194" y="702869"/>
                    </a:moveTo>
                    <a:lnTo>
                      <a:pt x="750094" y="702869"/>
                    </a:lnTo>
                    <a:lnTo>
                      <a:pt x="750094" y="750094"/>
                    </a:lnTo>
                    <a:lnTo>
                      <a:pt x="26194" y="750094"/>
                    </a:lnTo>
                    <a:lnTo>
                      <a:pt x="26194" y="70286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 name="Freeform: Shape 448">
                <a:extLst>
                  <a:ext uri="{FF2B5EF4-FFF2-40B4-BE49-F238E27FC236}">
                    <a16:creationId xmlns:a16="http://schemas.microsoft.com/office/drawing/2014/main" id="{F454034B-6763-4A0A-B0FE-D1DB9F72670E}"/>
                  </a:ext>
                </a:extLst>
              </p:cNvPr>
              <p:cNvSpPr/>
              <p:nvPr/>
            </p:nvSpPr>
            <p:spPr>
              <a:xfrm>
                <a:off x="6256849" y="337441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 name="Freeform: Shape 449">
                <a:extLst>
                  <a:ext uri="{FF2B5EF4-FFF2-40B4-BE49-F238E27FC236}">
                    <a16:creationId xmlns:a16="http://schemas.microsoft.com/office/drawing/2014/main" id="{24EF349C-A899-4CF6-B22D-E0DCD32D8C30}"/>
                  </a:ext>
                </a:extLst>
              </p:cNvPr>
              <p:cNvSpPr/>
              <p:nvPr/>
            </p:nvSpPr>
            <p:spPr>
              <a:xfrm>
                <a:off x="5842511" y="3374412"/>
                <a:ext cx="85725" cy="123825"/>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 name="Freeform: Shape 450">
                <a:extLst>
                  <a:ext uri="{FF2B5EF4-FFF2-40B4-BE49-F238E27FC236}">
                    <a16:creationId xmlns:a16="http://schemas.microsoft.com/office/drawing/2014/main" id="{7F3FE53C-CBF1-48F9-BA17-9AC14B5F8DAF}"/>
                  </a:ext>
                </a:extLst>
              </p:cNvPr>
              <p:cNvSpPr/>
              <p:nvPr/>
            </p:nvSpPr>
            <p:spPr>
              <a:xfrm>
                <a:off x="6256849" y="322320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 name="Freeform: Shape 451">
                <a:extLst>
                  <a:ext uri="{FF2B5EF4-FFF2-40B4-BE49-F238E27FC236}">
                    <a16:creationId xmlns:a16="http://schemas.microsoft.com/office/drawing/2014/main" id="{A8683496-7CDF-4C07-B477-B23572014B8D}"/>
                  </a:ext>
                </a:extLst>
              </p:cNvPr>
              <p:cNvSpPr/>
              <p:nvPr/>
            </p:nvSpPr>
            <p:spPr>
              <a:xfrm>
                <a:off x="6118841" y="322320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 name="Freeform: Shape 452">
                <a:extLst>
                  <a:ext uri="{FF2B5EF4-FFF2-40B4-BE49-F238E27FC236}">
                    <a16:creationId xmlns:a16="http://schemas.microsoft.com/office/drawing/2014/main" id="{E2309ABB-96AB-40B1-9E0A-EDF4B55385B7}"/>
                  </a:ext>
                </a:extLst>
              </p:cNvPr>
              <p:cNvSpPr/>
              <p:nvPr/>
            </p:nvSpPr>
            <p:spPr>
              <a:xfrm>
                <a:off x="5981710" y="322320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 name="Freeform: Shape 453">
                <a:extLst>
                  <a:ext uri="{FF2B5EF4-FFF2-40B4-BE49-F238E27FC236}">
                    <a16:creationId xmlns:a16="http://schemas.microsoft.com/office/drawing/2014/main" id="{F9BD3954-FCD8-4AE4-845C-21F5BEA83024}"/>
                  </a:ext>
                </a:extLst>
              </p:cNvPr>
              <p:cNvSpPr/>
              <p:nvPr/>
            </p:nvSpPr>
            <p:spPr>
              <a:xfrm>
                <a:off x="6118841" y="3071993"/>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 name="Freeform: Shape 454">
                <a:extLst>
                  <a:ext uri="{FF2B5EF4-FFF2-40B4-BE49-F238E27FC236}">
                    <a16:creationId xmlns:a16="http://schemas.microsoft.com/office/drawing/2014/main" id="{76CA987B-3DC7-4A24-9F8E-6D6C6CD1AAFB}"/>
                  </a:ext>
                </a:extLst>
              </p:cNvPr>
              <p:cNvSpPr/>
              <p:nvPr/>
            </p:nvSpPr>
            <p:spPr>
              <a:xfrm>
                <a:off x="5981710" y="3071993"/>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 name="Freeform: Shape 455">
                <a:extLst>
                  <a:ext uri="{FF2B5EF4-FFF2-40B4-BE49-F238E27FC236}">
                    <a16:creationId xmlns:a16="http://schemas.microsoft.com/office/drawing/2014/main" id="{D84E9FFA-61A1-4597-A96A-AF267E0FA218}"/>
                  </a:ext>
                </a:extLst>
              </p:cNvPr>
              <p:cNvSpPr/>
              <p:nvPr/>
            </p:nvSpPr>
            <p:spPr>
              <a:xfrm>
                <a:off x="5842511" y="3223202"/>
                <a:ext cx="85725" cy="123825"/>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 name="Freeform: Shape 456">
                <a:extLst>
                  <a:ext uri="{FF2B5EF4-FFF2-40B4-BE49-F238E27FC236}">
                    <a16:creationId xmlns:a16="http://schemas.microsoft.com/office/drawing/2014/main" id="{5B51065B-697D-458C-A1D3-CB303B7688C9}"/>
                  </a:ext>
                </a:extLst>
              </p:cNvPr>
              <p:cNvSpPr/>
              <p:nvPr/>
            </p:nvSpPr>
            <p:spPr>
              <a:xfrm>
                <a:off x="6256849" y="3071993"/>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 name="Freeform: Shape 457">
                <a:extLst>
                  <a:ext uri="{FF2B5EF4-FFF2-40B4-BE49-F238E27FC236}">
                    <a16:creationId xmlns:a16="http://schemas.microsoft.com/office/drawing/2014/main" id="{F3140EAF-9D64-4078-BBA5-6E461F2BA9B2}"/>
                  </a:ext>
                </a:extLst>
              </p:cNvPr>
              <p:cNvSpPr/>
              <p:nvPr/>
            </p:nvSpPr>
            <p:spPr>
              <a:xfrm>
                <a:off x="5842511" y="3071993"/>
                <a:ext cx="85725" cy="123825"/>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70" name="Group 269">
              <a:extLst>
                <a:ext uri="{FF2B5EF4-FFF2-40B4-BE49-F238E27FC236}">
                  <a16:creationId xmlns:a16="http://schemas.microsoft.com/office/drawing/2014/main" id="{8619C4E9-DEE1-44AB-9CAF-7CBD4EEBBF30}"/>
                </a:ext>
              </a:extLst>
            </p:cNvPr>
            <p:cNvGrpSpPr/>
            <p:nvPr/>
          </p:nvGrpSpPr>
          <p:grpSpPr>
            <a:xfrm>
              <a:off x="7602496" y="1739620"/>
              <a:ext cx="570891" cy="1272744"/>
              <a:chOff x="7602496" y="1739620"/>
              <a:chExt cx="570891" cy="1272744"/>
            </a:xfrm>
          </p:grpSpPr>
          <p:sp>
            <p:nvSpPr>
              <p:cNvPr id="329" name="Rectangle 328">
                <a:extLst>
                  <a:ext uri="{FF2B5EF4-FFF2-40B4-BE49-F238E27FC236}">
                    <a16:creationId xmlns:a16="http://schemas.microsoft.com/office/drawing/2014/main" id="{6F025070-A94E-4FD2-A480-A14146E83AE7}"/>
                  </a:ext>
                </a:extLst>
              </p:cNvPr>
              <p:cNvSpPr/>
              <p:nvPr/>
            </p:nvSpPr>
            <p:spPr>
              <a:xfrm>
                <a:off x="7602496" y="1863445"/>
                <a:ext cx="570891" cy="1148919"/>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330" name="Group 329">
                <a:extLst>
                  <a:ext uri="{FF2B5EF4-FFF2-40B4-BE49-F238E27FC236}">
                    <a16:creationId xmlns:a16="http://schemas.microsoft.com/office/drawing/2014/main" id="{0743A971-F4D0-4F49-A5B4-23D41CF3C6F5}"/>
                  </a:ext>
                </a:extLst>
              </p:cNvPr>
              <p:cNvGrpSpPr/>
              <p:nvPr/>
            </p:nvGrpSpPr>
            <p:grpSpPr>
              <a:xfrm>
                <a:off x="7681520" y="1918017"/>
                <a:ext cx="386355" cy="212495"/>
                <a:chOff x="7681520" y="1918017"/>
                <a:chExt cx="386355" cy="212495"/>
              </a:xfrm>
            </p:grpSpPr>
            <p:sp>
              <p:nvSpPr>
                <p:cNvPr id="359" name="Freeform: Shape 613">
                  <a:extLst>
                    <a:ext uri="{FF2B5EF4-FFF2-40B4-BE49-F238E27FC236}">
                      <a16:creationId xmlns:a16="http://schemas.microsoft.com/office/drawing/2014/main" id="{31D3003D-69D0-43AB-8F47-3B90954BB0A0}"/>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 name="Freeform: Shape 614">
                  <a:extLst>
                    <a:ext uri="{FF2B5EF4-FFF2-40B4-BE49-F238E27FC236}">
                      <a16:creationId xmlns:a16="http://schemas.microsoft.com/office/drawing/2014/main" id="{0ACDB22F-2041-487F-96F0-4D53C955592E}"/>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 name="Freeform: Shape 615">
                  <a:extLst>
                    <a:ext uri="{FF2B5EF4-FFF2-40B4-BE49-F238E27FC236}">
                      <a16:creationId xmlns:a16="http://schemas.microsoft.com/office/drawing/2014/main" id="{1D0F5495-80E2-4276-AD8A-E2CCB8379B87}"/>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 name="Freeform: Shape 616">
                  <a:extLst>
                    <a:ext uri="{FF2B5EF4-FFF2-40B4-BE49-F238E27FC236}">
                      <a16:creationId xmlns:a16="http://schemas.microsoft.com/office/drawing/2014/main" id="{75F5C856-CA0C-4DF8-ADE5-E9A692CC3F35}"/>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 name="Freeform: Shape 617">
                  <a:extLst>
                    <a:ext uri="{FF2B5EF4-FFF2-40B4-BE49-F238E27FC236}">
                      <a16:creationId xmlns:a16="http://schemas.microsoft.com/office/drawing/2014/main" id="{03C41B6B-DF1C-413C-BF10-948DC90FEFF2}"/>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 name="Freeform: Shape 618">
                  <a:extLst>
                    <a:ext uri="{FF2B5EF4-FFF2-40B4-BE49-F238E27FC236}">
                      <a16:creationId xmlns:a16="http://schemas.microsoft.com/office/drawing/2014/main" id="{B0871FBF-7C12-46A8-9D48-5E361F25A0E7}"/>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 name="Freeform: Shape 619">
                  <a:extLst>
                    <a:ext uri="{FF2B5EF4-FFF2-40B4-BE49-F238E27FC236}">
                      <a16:creationId xmlns:a16="http://schemas.microsoft.com/office/drawing/2014/main" id="{23776C9E-D53A-47EB-914D-03DB163B75DA}"/>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 name="Freeform: Shape 620">
                  <a:extLst>
                    <a:ext uri="{FF2B5EF4-FFF2-40B4-BE49-F238E27FC236}">
                      <a16:creationId xmlns:a16="http://schemas.microsoft.com/office/drawing/2014/main" id="{6FCE1129-6EEA-4818-9C22-5C96A9E1CB3E}"/>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31" name="Group 330">
                <a:extLst>
                  <a:ext uri="{FF2B5EF4-FFF2-40B4-BE49-F238E27FC236}">
                    <a16:creationId xmlns:a16="http://schemas.microsoft.com/office/drawing/2014/main" id="{623D1DE8-FB9E-431A-B1E6-25FADC13CD77}"/>
                  </a:ext>
                </a:extLst>
              </p:cNvPr>
              <p:cNvGrpSpPr/>
              <p:nvPr/>
            </p:nvGrpSpPr>
            <p:grpSpPr>
              <a:xfrm>
                <a:off x="7681520" y="2165667"/>
                <a:ext cx="386355" cy="212495"/>
                <a:chOff x="7681520" y="1918017"/>
                <a:chExt cx="386355" cy="212495"/>
              </a:xfrm>
            </p:grpSpPr>
            <p:sp>
              <p:nvSpPr>
                <p:cNvPr id="351" name="Freeform: Shape 622">
                  <a:extLst>
                    <a:ext uri="{FF2B5EF4-FFF2-40B4-BE49-F238E27FC236}">
                      <a16:creationId xmlns:a16="http://schemas.microsoft.com/office/drawing/2014/main" id="{5CFEA125-032F-43B6-A7B5-3B3E13B65B5A}"/>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 name="Freeform: Shape 623">
                  <a:extLst>
                    <a:ext uri="{FF2B5EF4-FFF2-40B4-BE49-F238E27FC236}">
                      <a16:creationId xmlns:a16="http://schemas.microsoft.com/office/drawing/2014/main" id="{1F95517B-8B68-4881-8DC1-4963D259D046}"/>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 name="Freeform: Shape 624">
                  <a:extLst>
                    <a:ext uri="{FF2B5EF4-FFF2-40B4-BE49-F238E27FC236}">
                      <a16:creationId xmlns:a16="http://schemas.microsoft.com/office/drawing/2014/main" id="{31A338DE-2041-42A7-852A-B440F865B845}"/>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 name="Freeform: Shape 625">
                  <a:extLst>
                    <a:ext uri="{FF2B5EF4-FFF2-40B4-BE49-F238E27FC236}">
                      <a16:creationId xmlns:a16="http://schemas.microsoft.com/office/drawing/2014/main" id="{2FA7AE4D-85F2-4C1B-970B-4BD418277FDC}"/>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 name="Freeform: Shape 626">
                  <a:extLst>
                    <a:ext uri="{FF2B5EF4-FFF2-40B4-BE49-F238E27FC236}">
                      <a16:creationId xmlns:a16="http://schemas.microsoft.com/office/drawing/2014/main" id="{2BB500AE-A26E-4651-B142-FEBDDFC045ED}"/>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 name="Freeform: Shape 627">
                  <a:extLst>
                    <a:ext uri="{FF2B5EF4-FFF2-40B4-BE49-F238E27FC236}">
                      <a16:creationId xmlns:a16="http://schemas.microsoft.com/office/drawing/2014/main" id="{9E3F810C-862D-4C6A-A7D8-A313D39B6BB2}"/>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 name="Freeform: Shape 628">
                  <a:extLst>
                    <a:ext uri="{FF2B5EF4-FFF2-40B4-BE49-F238E27FC236}">
                      <a16:creationId xmlns:a16="http://schemas.microsoft.com/office/drawing/2014/main" id="{D50613AF-9DAC-49B5-956A-94E8465E204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 name="Freeform: Shape 629">
                  <a:extLst>
                    <a:ext uri="{FF2B5EF4-FFF2-40B4-BE49-F238E27FC236}">
                      <a16:creationId xmlns:a16="http://schemas.microsoft.com/office/drawing/2014/main" id="{4B9269CF-6878-4C31-B7A6-D3A91E055EC4}"/>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32" name="Group 331">
                <a:extLst>
                  <a:ext uri="{FF2B5EF4-FFF2-40B4-BE49-F238E27FC236}">
                    <a16:creationId xmlns:a16="http://schemas.microsoft.com/office/drawing/2014/main" id="{83398368-FF21-4690-9F47-3C01B401F17E}"/>
                  </a:ext>
                </a:extLst>
              </p:cNvPr>
              <p:cNvGrpSpPr/>
              <p:nvPr/>
            </p:nvGrpSpPr>
            <p:grpSpPr>
              <a:xfrm>
                <a:off x="7681520" y="2429192"/>
                <a:ext cx="386355" cy="212495"/>
                <a:chOff x="7681520" y="1918017"/>
                <a:chExt cx="386355" cy="212495"/>
              </a:xfrm>
            </p:grpSpPr>
            <p:sp>
              <p:nvSpPr>
                <p:cNvPr id="343" name="Freeform: Shape 631">
                  <a:extLst>
                    <a:ext uri="{FF2B5EF4-FFF2-40B4-BE49-F238E27FC236}">
                      <a16:creationId xmlns:a16="http://schemas.microsoft.com/office/drawing/2014/main" id="{FADF1AD1-FBC6-4AFA-B95A-C3E1A6ABAE76}"/>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 name="Freeform: Shape 632">
                  <a:extLst>
                    <a:ext uri="{FF2B5EF4-FFF2-40B4-BE49-F238E27FC236}">
                      <a16:creationId xmlns:a16="http://schemas.microsoft.com/office/drawing/2014/main" id="{ECC23EDB-DDBE-4FD3-986F-B514BBCDA4EC}"/>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 name="Freeform: Shape 633">
                  <a:extLst>
                    <a:ext uri="{FF2B5EF4-FFF2-40B4-BE49-F238E27FC236}">
                      <a16:creationId xmlns:a16="http://schemas.microsoft.com/office/drawing/2014/main" id="{9F2142F2-3069-4C1D-8EF2-F90C79FA3AB8}"/>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 name="Freeform: Shape 634">
                  <a:extLst>
                    <a:ext uri="{FF2B5EF4-FFF2-40B4-BE49-F238E27FC236}">
                      <a16:creationId xmlns:a16="http://schemas.microsoft.com/office/drawing/2014/main" id="{B1EA25BE-5F9F-43FA-AEE5-154AD3736A64}"/>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 name="Freeform: Shape 635">
                  <a:extLst>
                    <a:ext uri="{FF2B5EF4-FFF2-40B4-BE49-F238E27FC236}">
                      <a16:creationId xmlns:a16="http://schemas.microsoft.com/office/drawing/2014/main" id="{613BC104-4FCD-4B68-A3F0-1D79B4254772}"/>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 name="Freeform: Shape 636">
                  <a:extLst>
                    <a:ext uri="{FF2B5EF4-FFF2-40B4-BE49-F238E27FC236}">
                      <a16:creationId xmlns:a16="http://schemas.microsoft.com/office/drawing/2014/main" id="{FD79181F-63B5-44AE-81D3-92203C35C660}"/>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 name="Freeform: Shape 637">
                  <a:extLst>
                    <a:ext uri="{FF2B5EF4-FFF2-40B4-BE49-F238E27FC236}">
                      <a16:creationId xmlns:a16="http://schemas.microsoft.com/office/drawing/2014/main" id="{5F5F1658-98D3-480F-87EE-7864866DCD00}"/>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 name="Freeform: Shape 638">
                  <a:extLst>
                    <a:ext uri="{FF2B5EF4-FFF2-40B4-BE49-F238E27FC236}">
                      <a16:creationId xmlns:a16="http://schemas.microsoft.com/office/drawing/2014/main" id="{0168CFCA-B35F-41A5-94B1-6202B4643E0A}"/>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33" name="Group 332">
                <a:extLst>
                  <a:ext uri="{FF2B5EF4-FFF2-40B4-BE49-F238E27FC236}">
                    <a16:creationId xmlns:a16="http://schemas.microsoft.com/office/drawing/2014/main" id="{1371FD26-6207-45DE-8FFF-F63928D3219E}"/>
                  </a:ext>
                </a:extLst>
              </p:cNvPr>
              <p:cNvGrpSpPr/>
              <p:nvPr/>
            </p:nvGrpSpPr>
            <p:grpSpPr>
              <a:xfrm>
                <a:off x="7681520" y="2692717"/>
                <a:ext cx="386355" cy="212495"/>
                <a:chOff x="7681520" y="1918017"/>
                <a:chExt cx="386355" cy="212495"/>
              </a:xfrm>
            </p:grpSpPr>
            <p:sp>
              <p:nvSpPr>
                <p:cNvPr id="335" name="Freeform: Shape 640">
                  <a:extLst>
                    <a:ext uri="{FF2B5EF4-FFF2-40B4-BE49-F238E27FC236}">
                      <a16:creationId xmlns:a16="http://schemas.microsoft.com/office/drawing/2014/main" id="{9227E197-9FA0-4FF6-B998-BCD32CACFCAF}"/>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 name="Freeform: Shape 641">
                  <a:extLst>
                    <a:ext uri="{FF2B5EF4-FFF2-40B4-BE49-F238E27FC236}">
                      <a16:creationId xmlns:a16="http://schemas.microsoft.com/office/drawing/2014/main" id="{A62770A8-41DA-4AA6-8DB0-48B9FF5E7174}"/>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 name="Freeform: Shape 642">
                  <a:extLst>
                    <a:ext uri="{FF2B5EF4-FFF2-40B4-BE49-F238E27FC236}">
                      <a16:creationId xmlns:a16="http://schemas.microsoft.com/office/drawing/2014/main" id="{99FD1C56-9940-44D5-B806-8F5641AED512}"/>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 name="Freeform: Shape 643">
                  <a:extLst>
                    <a:ext uri="{FF2B5EF4-FFF2-40B4-BE49-F238E27FC236}">
                      <a16:creationId xmlns:a16="http://schemas.microsoft.com/office/drawing/2014/main" id="{F45FCD9E-03EF-4961-B467-A1363C31AA26}"/>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 name="Freeform: Shape 644">
                  <a:extLst>
                    <a:ext uri="{FF2B5EF4-FFF2-40B4-BE49-F238E27FC236}">
                      <a16:creationId xmlns:a16="http://schemas.microsoft.com/office/drawing/2014/main" id="{D2678F5B-FFBA-44DD-829D-645CFC56D566}"/>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 name="Freeform: Shape 645">
                  <a:extLst>
                    <a:ext uri="{FF2B5EF4-FFF2-40B4-BE49-F238E27FC236}">
                      <a16:creationId xmlns:a16="http://schemas.microsoft.com/office/drawing/2014/main" id="{46552C97-E191-4623-8588-29F039D488DC}"/>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 name="Freeform: Shape 646">
                  <a:extLst>
                    <a:ext uri="{FF2B5EF4-FFF2-40B4-BE49-F238E27FC236}">
                      <a16:creationId xmlns:a16="http://schemas.microsoft.com/office/drawing/2014/main" id="{9C4EEF16-E9D3-42BB-B419-5978A70D805D}"/>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 name="Freeform: Shape 647">
                  <a:extLst>
                    <a:ext uri="{FF2B5EF4-FFF2-40B4-BE49-F238E27FC236}">
                      <a16:creationId xmlns:a16="http://schemas.microsoft.com/office/drawing/2014/main" id="{D525B7EF-BF21-47F2-AC13-B8C9B1284233}"/>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334" name="Rectangle 333">
                <a:extLst>
                  <a:ext uri="{FF2B5EF4-FFF2-40B4-BE49-F238E27FC236}">
                    <a16:creationId xmlns:a16="http://schemas.microsoft.com/office/drawing/2014/main" id="{49F05559-D241-48B8-ADA8-3F58000635BC}"/>
                  </a:ext>
                </a:extLst>
              </p:cNvPr>
              <p:cNvSpPr/>
              <p:nvPr/>
            </p:nvSpPr>
            <p:spPr>
              <a:xfrm>
                <a:off x="7710446" y="1739620"/>
                <a:ext cx="363579" cy="124105"/>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grpSp>
          <p:nvGrpSpPr>
            <p:cNvPr id="271" name="Group 270">
              <a:extLst>
                <a:ext uri="{FF2B5EF4-FFF2-40B4-BE49-F238E27FC236}">
                  <a16:creationId xmlns:a16="http://schemas.microsoft.com/office/drawing/2014/main" id="{FEA3E8C3-F514-452F-874E-9F8AB70A629E}"/>
                </a:ext>
              </a:extLst>
            </p:cNvPr>
            <p:cNvGrpSpPr/>
            <p:nvPr/>
          </p:nvGrpSpPr>
          <p:grpSpPr>
            <a:xfrm>
              <a:off x="8177171" y="2098675"/>
              <a:ext cx="570891" cy="913689"/>
              <a:chOff x="8177171" y="2098675"/>
              <a:chExt cx="570891" cy="913689"/>
            </a:xfrm>
          </p:grpSpPr>
          <p:sp>
            <p:nvSpPr>
              <p:cNvPr id="301" name="Rectangle 300">
                <a:extLst>
                  <a:ext uri="{FF2B5EF4-FFF2-40B4-BE49-F238E27FC236}">
                    <a16:creationId xmlns:a16="http://schemas.microsoft.com/office/drawing/2014/main" id="{D35675EB-DAC8-44CA-A3E3-FF7673828F1F}"/>
                  </a:ext>
                </a:extLst>
              </p:cNvPr>
              <p:cNvSpPr/>
              <p:nvPr/>
            </p:nvSpPr>
            <p:spPr>
              <a:xfrm>
                <a:off x="8177171" y="2098675"/>
                <a:ext cx="570891" cy="913689"/>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302" name="Group 301">
                <a:extLst>
                  <a:ext uri="{FF2B5EF4-FFF2-40B4-BE49-F238E27FC236}">
                    <a16:creationId xmlns:a16="http://schemas.microsoft.com/office/drawing/2014/main" id="{E88663B7-7F40-4F03-BC22-E4F1ECE0F746}"/>
                  </a:ext>
                </a:extLst>
              </p:cNvPr>
              <p:cNvGrpSpPr/>
              <p:nvPr/>
            </p:nvGrpSpPr>
            <p:grpSpPr>
              <a:xfrm>
                <a:off x="8256195" y="2165667"/>
                <a:ext cx="386355" cy="212495"/>
                <a:chOff x="7681520" y="1918017"/>
                <a:chExt cx="386355" cy="212495"/>
              </a:xfrm>
            </p:grpSpPr>
            <p:sp>
              <p:nvSpPr>
                <p:cNvPr id="321" name="Freeform: Shape 670">
                  <a:extLst>
                    <a:ext uri="{FF2B5EF4-FFF2-40B4-BE49-F238E27FC236}">
                      <a16:creationId xmlns:a16="http://schemas.microsoft.com/office/drawing/2014/main" id="{A8137716-D672-4DC9-9B3E-259C52644D02}"/>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 name="Freeform: Shape 671">
                  <a:extLst>
                    <a:ext uri="{FF2B5EF4-FFF2-40B4-BE49-F238E27FC236}">
                      <a16:creationId xmlns:a16="http://schemas.microsoft.com/office/drawing/2014/main" id="{4ED7132E-1AA7-4D65-93E4-5AF6FCB82695}"/>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 name="Freeform: Shape 672">
                  <a:extLst>
                    <a:ext uri="{FF2B5EF4-FFF2-40B4-BE49-F238E27FC236}">
                      <a16:creationId xmlns:a16="http://schemas.microsoft.com/office/drawing/2014/main" id="{8DDFE472-0C23-4E92-8762-FE9269710FF3}"/>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 name="Freeform: Shape 673">
                  <a:extLst>
                    <a:ext uri="{FF2B5EF4-FFF2-40B4-BE49-F238E27FC236}">
                      <a16:creationId xmlns:a16="http://schemas.microsoft.com/office/drawing/2014/main" id="{AF1C5192-1210-4FFB-81D5-35B4DE196F3C}"/>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 name="Freeform: Shape 674">
                  <a:extLst>
                    <a:ext uri="{FF2B5EF4-FFF2-40B4-BE49-F238E27FC236}">
                      <a16:creationId xmlns:a16="http://schemas.microsoft.com/office/drawing/2014/main" id="{7FECE02D-BD9A-453F-90FC-782E497486DF}"/>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 name="Freeform: Shape 675">
                  <a:extLst>
                    <a:ext uri="{FF2B5EF4-FFF2-40B4-BE49-F238E27FC236}">
                      <a16:creationId xmlns:a16="http://schemas.microsoft.com/office/drawing/2014/main" id="{2E87A703-6368-4475-B778-00D541B0C605}"/>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 name="Freeform: Shape 676">
                  <a:extLst>
                    <a:ext uri="{FF2B5EF4-FFF2-40B4-BE49-F238E27FC236}">
                      <a16:creationId xmlns:a16="http://schemas.microsoft.com/office/drawing/2014/main" id="{2FF07726-6A9F-4C80-BACC-453BE1104DB5}"/>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 name="Freeform: Shape 677">
                  <a:extLst>
                    <a:ext uri="{FF2B5EF4-FFF2-40B4-BE49-F238E27FC236}">
                      <a16:creationId xmlns:a16="http://schemas.microsoft.com/office/drawing/2014/main" id="{343B4E2C-23C4-471B-B287-CF1F22B8D71F}"/>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03" name="Group 302">
                <a:extLst>
                  <a:ext uri="{FF2B5EF4-FFF2-40B4-BE49-F238E27FC236}">
                    <a16:creationId xmlns:a16="http://schemas.microsoft.com/office/drawing/2014/main" id="{5EC42186-E0B0-4B42-A20D-A2E2F18DD4FD}"/>
                  </a:ext>
                </a:extLst>
              </p:cNvPr>
              <p:cNvGrpSpPr/>
              <p:nvPr/>
            </p:nvGrpSpPr>
            <p:grpSpPr>
              <a:xfrm>
                <a:off x="8256195" y="2429192"/>
                <a:ext cx="386355" cy="212495"/>
                <a:chOff x="7681520" y="1918017"/>
                <a:chExt cx="386355" cy="212495"/>
              </a:xfrm>
            </p:grpSpPr>
            <p:sp>
              <p:nvSpPr>
                <p:cNvPr id="313" name="Freeform: Shape 662">
                  <a:extLst>
                    <a:ext uri="{FF2B5EF4-FFF2-40B4-BE49-F238E27FC236}">
                      <a16:creationId xmlns:a16="http://schemas.microsoft.com/office/drawing/2014/main" id="{F5CD9D99-C5C7-43D6-A58F-C210C0D3148A}"/>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 name="Freeform: Shape 663">
                  <a:extLst>
                    <a:ext uri="{FF2B5EF4-FFF2-40B4-BE49-F238E27FC236}">
                      <a16:creationId xmlns:a16="http://schemas.microsoft.com/office/drawing/2014/main" id="{5010DB45-97F6-43E3-BABD-611841BC84C1}"/>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 name="Freeform: Shape 664">
                  <a:extLst>
                    <a:ext uri="{FF2B5EF4-FFF2-40B4-BE49-F238E27FC236}">
                      <a16:creationId xmlns:a16="http://schemas.microsoft.com/office/drawing/2014/main" id="{1A7A5710-8F56-4FE6-9D52-A395CE62612B}"/>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 name="Freeform: Shape 665">
                  <a:extLst>
                    <a:ext uri="{FF2B5EF4-FFF2-40B4-BE49-F238E27FC236}">
                      <a16:creationId xmlns:a16="http://schemas.microsoft.com/office/drawing/2014/main" id="{59C8D57C-1648-447C-A166-D34CBDC404DC}"/>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 name="Freeform: Shape 666">
                  <a:extLst>
                    <a:ext uri="{FF2B5EF4-FFF2-40B4-BE49-F238E27FC236}">
                      <a16:creationId xmlns:a16="http://schemas.microsoft.com/office/drawing/2014/main" id="{0348AE04-E05E-4E72-B18E-9CAC2E5699AE}"/>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8" name="Freeform: Shape 667">
                  <a:extLst>
                    <a:ext uri="{FF2B5EF4-FFF2-40B4-BE49-F238E27FC236}">
                      <a16:creationId xmlns:a16="http://schemas.microsoft.com/office/drawing/2014/main" id="{7531DB24-EFEE-462D-827D-C41060AACB53}"/>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 name="Freeform: Shape 668">
                  <a:extLst>
                    <a:ext uri="{FF2B5EF4-FFF2-40B4-BE49-F238E27FC236}">
                      <a16:creationId xmlns:a16="http://schemas.microsoft.com/office/drawing/2014/main" id="{C2C381B5-CF91-45F4-BAE6-A514FBD82D30}"/>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 name="Freeform: Shape 669">
                  <a:extLst>
                    <a:ext uri="{FF2B5EF4-FFF2-40B4-BE49-F238E27FC236}">
                      <a16:creationId xmlns:a16="http://schemas.microsoft.com/office/drawing/2014/main" id="{4AE38176-2FCA-48D8-917A-DF6F671DF3E2}"/>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04" name="Group 303">
                <a:extLst>
                  <a:ext uri="{FF2B5EF4-FFF2-40B4-BE49-F238E27FC236}">
                    <a16:creationId xmlns:a16="http://schemas.microsoft.com/office/drawing/2014/main" id="{72E74082-CEFB-4D10-91F2-8AE218698A18}"/>
                  </a:ext>
                </a:extLst>
              </p:cNvPr>
              <p:cNvGrpSpPr/>
              <p:nvPr/>
            </p:nvGrpSpPr>
            <p:grpSpPr>
              <a:xfrm>
                <a:off x="8256195" y="2692717"/>
                <a:ext cx="386355" cy="212495"/>
                <a:chOff x="7681520" y="1918017"/>
                <a:chExt cx="386355" cy="212495"/>
              </a:xfrm>
            </p:grpSpPr>
            <p:sp>
              <p:nvSpPr>
                <p:cNvPr id="305" name="Freeform: Shape 654">
                  <a:extLst>
                    <a:ext uri="{FF2B5EF4-FFF2-40B4-BE49-F238E27FC236}">
                      <a16:creationId xmlns:a16="http://schemas.microsoft.com/office/drawing/2014/main" id="{B463FEBF-3CF6-4BD2-A0D4-E2281CE33BA8}"/>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 name="Freeform: Shape 655">
                  <a:extLst>
                    <a:ext uri="{FF2B5EF4-FFF2-40B4-BE49-F238E27FC236}">
                      <a16:creationId xmlns:a16="http://schemas.microsoft.com/office/drawing/2014/main" id="{113EAD5A-6DA8-430E-882D-497E4086B4BF}"/>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 name="Freeform: Shape 656">
                  <a:extLst>
                    <a:ext uri="{FF2B5EF4-FFF2-40B4-BE49-F238E27FC236}">
                      <a16:creationId xmlns:a16="http://schemas.microsoft.com/office/drawing/2014/main" id="{67B2CE8D-1312-42F2-8504-18D9ECDEEE54}"/>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 name="Freeform: Shape 657">
                  <a:extLst>
                    <a:ext uri="{FF2B5EF4-FFF2-40B4-BE49-F238E27FC236}">
                      <a16:creationId xmlns:a16="http://schemas.microsoft.com/office/drawing/2014/main" id="{6E533FA1-EEBC-46E2-8117-A2BC0013469A}"/>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 name="Freeform: Shape 658">
                  <a:extLst>
                    <a:ext uri="{FF2B5EF4-FFF2-40B4-BE49-F238E27FC236}">
                      <a16:creationId xmlns:a16="http://schemas.microsoft.com/office/drawing/2014/main" id="{5A5F440A-58EE-4BE1-A601-BCB0285B4FC5}"/>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 name="Freeform: Shape 659">
                  <a:extLst>
                    <a:ext uri="{FF2B5EF4-FFF2-40B4-BE49-F238E27FC236}">
                      <a16:creationId xmlns:a16="http://schemas.microsoft.com/office/drawing/2014/main" id="{CAA0817C-3CDF-45AD-A68D-39675EC5F38C}"/>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 name="Freeform: Shape 660">
                  <a:extLst>
                    <a:ext uri="{FF2B5EF4-FFF2-40B4-BE49-F238E27FC236}">
                      <a16:creationId xmlns:a16="http://schemas.microsoft.com/office/drawing/2014/main" id="{929D3AED-C93D-427B-BC2D-FC5C304383D5}"/>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 name="Freeform: Shape 661">
                  <a:extLst>
                    <a:ext uri="{FF2B5EF4-FFF2-40B4-BE49-F238E27FC236}">
                      <a16:creationId xmlns:a16="http://schemas.microsoft.com/office/drawing/2014/main" id="{3C12F8D7-4B06-4D42-9CC2-866EE1E6A617}"/>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nvGrpSpPr>
            <p:cNvPr id="272" name="Group 271">
              <a:extLst>
                <a:ext uri="{FF2B5EF4-FFF2-40B4-BE49-F238E27FC236}">
                  <a16:creationId xmlns:a16="http://schemas.microsoft.com/office/drawing/2014/main" id="{32724CEB-FDE7-4F9B-AFAF-D12123EE2027}"/>
                </a:ext>
              </a:extLst>
            </p:cNvPr>
            <p:cNvGrpSpPr/>
            <p:nvPr/>
          </p:nvGrpSpPr>
          <p:grpSpPr>
            <a:xfrm>
              <a:off x="7030996" y="2098675"/>
              <a:ext cx="570891" cy="913689"/>
              <a:chOff x="8177171" y="2098675"/>
              <a:chExt cx="570891" cy="913689"/>
            </a:xfrm>
          </p:grpSpPr>
          <p:sp>
            <p:nvSpPr>
              <p:cNvPr id="273" name="Rectangle 272">
                <a:extLst>
                  <a:ext uri="{FF2B5EF4-FFF2-40B4-BE49-F238E27FC236}">
                    <a16:creationId xmlns:a16="http://schemas.microsoft.com/office/drawing/2014/main" id="{3F2AE079-085F-4CCD-9DF8-846D273EA67E}"/>
                  </a:ext>
                </a:extLst>
              </p:cNvPr>
              <p:cNvSpPr/>
              <p:nvPr/>
            </p:nvSpPr>
            <p:spPr>
              <a:xfrm>
                <a:off x="8177171" y="2098675"/>
                <a:ext cx="570891" cy="913689"/>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274" name="Group 273">
                <a:extLst>
                  <a:ext uri="{FF2B5EF4-FFF2-40B4-BE49-F238E27FC236}">
                    <a16:creationId xmlns:a16="http://schemas.microsoft.com/office/drawing/2014/main" id="{82F2CD1B-8EF3-4FD5-B6BB-4ED9806F627E}"/>
                  </a:ext>
                </a:extLst>
              </p:cNvPr>
              <p:cNvGrpSpPr/>
              <p:nvPr/>
            </p:nvGrpSpPr>
            <p:grpSpPr>
              <a:xfrm>
                <a:off x="8256195" y="2165667"/>
                <a:ext cx="386355" cy="212495"/>
                <a:chOff x="7681520" y="1918017"/>
                <a:chExt cx="386355" cy="212495"/>
              </a:xfrm>
            </p:grpSpPr>
            <p:sp>
              <p:nvSpPr>
                <p:cNvPr id="293" name="Freeform: Shape 707">
                  <a:extLst>
                    <a:ext uri="{FF2B5EF4-FFF2-40B4-BE49-F238E27FC236}">
                      <a16:creationId xmlns:a16="http://schemas.microsoft.com/office/drawing/2014/main" id="{203F7D2B-F5CB-4B61-8987-8D1ED35D1AD4}"/>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 name="Freeform: Shape 708">
                  <a:extLst>
                    <a:ext uri="{FF2B5EF4-FFF2-40B4-BE49-F238E27FC236}">
                      <a16:creationId xmlns:a16="http://schemas.microsoft.com/office/drawing/2014/main" id="{BEFB5D86-B84E-4C38-AC2F-D325429429DA}"/>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 name="Freeform: Shape 709">
                  <a:extLst>
                    <a:ext uri="{FF2B5EF4-FFF2-40B4-BE49-F238E27FC236}">
                      <a16:creationId xmlns:a16="http://schemas.microsoft.com/office/drawing/2014/main" id="{AA87997F-85D3-476F-9D39-2E59D4F7D359}"/>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 name="Freeform: Shape 710">
                  <a:extLst>
                    <a:ext uri="{FF2B5EF4-FFF2-40B4-BE49-F238E27FC236}">
                      <a16:creationId xmlns:a16="http://schemas.microsoft.com/office/drawing/2014/main" id="{3261E925-D374-430D-BE66-428624434C85}"/>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 name="Freeform: Shape 711">
                  <a:extLst>
                    <a:ext uri="{FF2B5EF4-FFF2-40B4-BE49-F238E27FC236}">
                      <a16:creationId xmlns:a16="http://schemas.microsoft.com/office/drawing/2014/main" id="{0860838F-CFDC-41BC-B92A-163A0EE3F14F}"/>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8" name="Freeform: Shape 712">
                  <a:extLst>
                    <a:ext uri="{FF2B5EF4-FFF2-40B4-BE49-F238E27FC236}">
                      <a16:creationId xmlns:a16="http://schemas.microsoft.com/office/drawing/2014/main" id="{E55480F1-1893-484D-8FF9-85A0A94DD473}"/>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 name="Freeform: Shape 713">
                  <a:extLst>
                    <a:ext uri="{FF2B5EF4-FFF2-40B4-BE49-F238E27FC236}">
                      <a16:creationId xmlns:a16="http://schemas.microsoft.com/office/drawing/2014/main" id="{1D41F713-F934-41C1-8730-4A748EF41DD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 name="Freeform: Shape 714">
                  <a:extLst>
                    <a:ext uri="{FF2B5EF4-FFF2-40B4-BE49-F238E27FC236}">
                      <a16:creationId xmlns:a16="http://schemas.microsoft.com/office/drawing/2014/main" id="{3268174C-3044-42A4-AD12-A0903062DADB}"/>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75" name="Group 274">
                <a:extLst>
                  <a:ext uri="{FF2B5EF4-FFF2-40B4-BE49-F238E27FC236}">
                    <a16:creationId xmlns:a16="http://schemas.microsoft.com/office/drawing/2014/main" id="{82C37B37-BA84-47CF-B761-1B8DF16E95A3}"/>
                  </a:ext>
                </a:extLst>
              </p:cNvPr>
              <p:cNvGrpSpPr/>
              <p:nvPr/>
            </p:nvGrpSpPr>
            <p:grpSpPr>
              <a:xfrm>
                <a:off x="8256195" y="2429192"/>
                <a:ext cx="386355" cy="212495"/>
                <a:chOff x="7681520" y="1918017"/>
                <a:chExt cx="386355" cy="212495"/>
              </a:xfrm>
            </p:grpSpPr>
            <p:sp>
              <p:nvSpPr>
                <p:cNvPr id="285" name="Freeform: Shape 699">
                  <a:extLst>
                    <a:ext uri="{FF2B5EF4-FFF2-40B4-BE49-F238E27FC236}">
                      <a16:creationId xmlns:a16="http://schemas.microsoft.com/office/drawing/2014/main" id="{54015EB5-AFCF-441A-B529-7B008BA11323}"/>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 name="Freeform: Shape 700">
                  <a:extLst>
                    <a:ext uri="{FF2B5EF4-FFF2-40B4-BE49-F238E27FC236}">
                      <a16:creationId xmlns:a16="http://schemas.microsoft.com/office/drawing/2014/main" id="{5C0325B9-FEC8-4CF2-A84F-E7EDF9734AF9}"/>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 name="Freeform: Shape 701">
                  <a:extLst>
                    <a:ext uri="{FF2B5EF4-FFF2-40B4-BE49-F238E27FC236}">
                      <a16:creationId xmlns:a16="http://schemas.microsoft.com/office/drawing/2014/main" id="{715C2893-6A38-4995-AB07-EDB72A2B6020}"/>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8" name="Freeform: Shape 702">
                  <a:extLst>
                    <a:ext uri="{FF2B5EF4-FFF2-40B4-BE49-F238E27FC236}">
                      <a16:creationId xmlns:a16="http://schemas.microsoft.com/office/drawing/2014/main" id="{B2E524EA-7500-401B-AA51-ACDA7049C5D7}"/>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 name="Freeform: Shape 703">
                  <a:extLst>
                    <a:ext uri="{FF2B5EF4-FFF2-40B4-BE49-F238E27FC236}">
                      <a16:creationId xmlns:a16="http://schemas.microsoft.com/office/drawing/2014/main" id="{4DEAB885-F959-44BC-9663-983D9EB5377A}"/>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 name="Freeform: Shape 704">
                  <a:extLst>
                    <a:ext uri="{FF2B5EF4-FFF2-40B4-BE49-F238E27FC236}">
                      <a16:creationId xmlns:a16="http://schemas.microsoft.com/office/drawing/2014/main" id="{3FF6C649-EAFC-4D3E-B311-CF8D6A2E342C}"/>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 name="Freeform: Shape 705">
                  <a:extLst>
                    <a:ext uri="{FF2B5EF4-FFF2-40B4-BE49-F238E27FC236}">
                      <a16:creationId xmlns:a16="http://schemas.microsoft.com/office/drawing/2014/main" id="{51CF9C68-DDD8-42E2-B73D-CBF745F6AD3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 name="Freeform: Shape 706">
                  <a:extLst>
                    <a:ext uri="{FF2B5EF4-FFF2-40B4-BE49-F238E27FC236}">
                      <a16:creationId xmlns:a16="http://schemas.microsoft.com/office/drawing/2014/main" id="{620A3177-F1C6-4C99-9E55-F8621C372FBF}"/>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76" name="Group 275">
                <a:extLst>
                  <a:ext uri="{FF2B5EF4-FFF2-40B4-BE49-F238E27FC236}">
                    <a16:creationId xmlns:a16="http://schemas.microsoft.com/office/drawing/2014/main" id="{0CC9FADE-28F9-49BB-A344-BDF29A40C9C5}"/>
                  </a:ext>
                </a:extLst>
              </p:cNvPr>
              <p:cNvGrpSpPr/>
              <p:nvPr/>
            </p:nvGrpSpPr>
            <p:grpSpPr>
              <a:xfrm>
                <a:off x="8256195" y="2692717"/>
                <a:ext cx="386355" cy="212495"/>
                <a:chOff x="7681520" y="1918017"/>
                <a:chExt cx="386355" cy="212495"/>
              </a:xfrm>
            </p:grpSpPr>
            <p:sp>
              <p:nvSpPr>
                <p:cNvPr id="277" name="Freeform: Shape 691">
                  <a:extLst>
                    <a:ext uri="{FF2B5EF4-FFF2-40B4-BE49-F238E27FC236}">
                      <a16:creationId xmlns:a16="http://schemas.microsoft.com/office/drawing/2014/main" id="{E6D347EC-194B-4960-86DC-D0E0E8626DD5}"/>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 name="Freeform: Shape 692">
                  <a:extLst>
                    <a:ext uri="{FF2B5EF4-FFF2-40B4-BE49-F238E27FC236}">
                      <a16:creationId xmlns:a16="http://schemas.microsoft.com/office/drawing/2014/main" id="{C5FE6987-2FA3-417F-B341-52792038C0DE}"/>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 name="Freeform: Shape 693">
                  <a:extLst>
                    <a:ext uri="{FF2B5EF4-FFF2-40B4-BE49-F238E27FC236}">
                      <a16:creationId xmlns:a16="http://schemas.microsoft.com/office/drawing/2014/main" id="{9B352CD8-25B0-4EDE-9A03-873248250118}"/>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 name="Freeform: Shape 694">
                  <a:extLst>
                    <a:ext uri="{FF2B5EF4-FFF2-40B4-BE49-F238E27FC236}">
                      <a16:creationId xmlns:a16="http://schemas.microsoft.com/office/drawing/2014/main" id="{D6DA0E0A-A52E-4E08-8F8B-9B7EA9ECD4C1}"/>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 name="Freeform: Shape 695">
                  <a:extLst>
                    <a:ext uri="{FF2B5EF4-FFF2-40B4-BE49-F238E27FC236}">
                      <a16:creationId xmlns:a16="http://schemas.microsoft.com/office/drawing/2014/main" id="{D46D8B46-5EB2-4AFB-B842-E2D25BAA1B84}"/>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 name="Freeform: Shape 696">
                  <a:extLst>
                    <a:ext uri="{FF2B5EF4-FFF2-40B4-BE49-F238E27FC236}">
                      <a16:creationId xmlns:a16="http://schemas.microsoft.com/office/drawing/2014/main" id="{063D1DC3-42EE-4D5E-9219-F2B3D5AA2BB0}"/>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3" name="Freeform: Shape 697">
                  <a:extLst>
                    <a:ext uri="{FF2B5EF4-FFF2-40B4-BE49-F238E27FC236}">
                      <a16:creationId xmlns:a16="http://schemas.microsoft.com/office/drawing/2014/main" id="{88BA0CC1-4D2D-46AD-925E-A89044247021}"/>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 name="Freeform: Shape 698">
                  <a:extLst>
                    <a:ext uri="{FF2B5EF4-FFF2-40B4-BE49-F238E27FC236}">
                      <a16:creationId xmlns:a16="http://schemas.microsoft.com/office/drawing/2014/main" id="{FC9383D1-ED48-4DF1-B637-C22F7ABB820F}"/>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sp>
        <p:nvSpPr>
          <p:cNvPr id="389" name="Rectangle 388">
            <a:extLst>
              <a:ext uri="{FF2B5EF4-FFF2-40B4-BE49-F238E27FC236}">
                <a16:creationId xmlns:a16="http://schemas.microsoft.com/office/drawing/2014/main" id="{0C5E4CCE-D8F2-4565-A100-B03D159874A3}"/>
              </a:ext>
            </a:extLst>
          </p:cNvPr>
          <p:cNvSpPr/>
          <p:nvPr/>
        </p:nvSpPr>
        <p:spPr>
          <a:xfrm>
            <a:off x="26464" y="3533233"/>
            <a:ext cx="12192001" cy="5818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5" name="Right Arrow 4"/>
          <p:cNvSpPr/>
          <p:nvPr/>
        </p:nvSpPr>
        <p:spPr>
          <a:xfrm>
            <a:off x="2919254" y="1525465"/>
            <a:ext cx="1254202" cy="546206"/>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2015</a:t>
            </a:r>
            <a:endParaRPr lang="en-US" dirty="0">
              <a:solidFill>
                <a:schemeClr val="tx1"/>
              </a:solidFill>
            </a:endParaRPr>
          </a:p>
        </p:txBody>
      </p:sp>
      <p:sp>
        <p:nvSpPr>
          <p:cNvPr id="398" name="Right Arrow 397"/>
          <p:cNvSpPr/>
          <p:nvPr/>
        </p:nvSpPr>
        <p:spPr>
          <a:xfrm>
            <a:off x="135091" y="1528000"/>
            <a:ext cx="940370" cy="546206"/>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1999</a:t>
            </a:r>
            <a:endParaRPr lang="en-US" dirty="0">
              <a:solidFill>
                <a:schemeClr val="tx1"/>
              </a:solidFill>
            </a:endParaRPr>
          </a:p>
        </p:txBody>
      </p:sp>
      <p:sp>
        <p:nvSpPr>
          <p:cNvPr id="399" name="Right Arrow 398"/>
          <p:cNvSpPr/>
          <p:nvPr/>
        </p:nvSpPr>
        <p:spPr>
          <a:xfrm>
            <a:off x="7398909" y="1543752"/>
            <a:ext cx="1254202" cy="546206"/>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2019</a:t>
            </a:r>
            <a:endParaRPr lang="en-US" dirty="0">
              <a:solidFill>
                <a:schemeClr val="tx1"/>
              </a:solidFill>
            </a:endParaRPr>
          </a:p>
        </p:txBody>
      </p:sp>
      <p:sp>
        <p:nvSpPr>
          <p:cNvPr id="400" name="Right Arrow 399"/>
          <p:cNvSpPr/>
          <p:nvPr/>
        </p:nvSpPr>
        <p:spPr>
          <a:xfrm>
            <a:off x="10898227" y="1497399"/>
            <a:ext cx="1254202" cy="546206"/>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Retire?</a:t>
            </a:r>
            <a:endParaRPr lang="en-US" dirty="0">
              <a:solidFill>
                <a:schemeClr val="tx1"/>
              </a:solidFill>
            </a:endParaRPr>
          </a:p>
        </p:txBody>
      </p:sp>
      <p:sp>
        <p:nvSpPr>
          <p:cNvPr id="529" name="Graphic 125">
            <a:extLst>
              <a:ext uri="{FF2B5EF4-FFF2-40B4-BE49-F238E27FC236}">
                <a16:creationId xmlns:a16="http://schemas.microsoft.com/office/drawing/2014/main" id="{9D287ABE-AD34-4808-82C5-6ED567104BDF}"/>
              </a:ext>
            </a:extLst>
          </p:cNvPr>
          <p:cNvSpPr/>
          <p:nvPr/>
        </p:nvSpPr>
        <p:spPr>
          <a:xfrm>
            <a:off x="3986094" y="862815"/>
            <a:ext cx="378618" cy="257528"/>
          </a:xfrm>
          <a:custGeom>
            <a:avLst/>
            <a:gdLst>
              <a:gd name="connsiteX0" fmla="*/ 959644 w 4229100"/>
              <a:gd name="connsiteY0" fmla="*/ 1074306 h 2876550"/>
              <a:gd name="connsiteX1" fmla="*/ 1645444 w 4229100"/>
              <a:gd name="connsiteY1" fmla="*/ 674256 h 2876550"/>
              <a:gd name="connsiteX2" fmla="*/ 2797969 w 4229100"/>
              <a:gd name="connsiteY2" fmla="*/ 17031 h 2876550"/>
              <a:gd name="connsiteX3" fmla="*/ 3759994 w 4229100"/>
              <a:gd name="connsiteY3" fmla="*/ 1188606 h 2876550"/>
              <a:gd name="connsiteX4" fmla="*/ 4226719 w 4229100"/>
              <a:gd name="connsiteY4" fmla="*/ 1979181 h 2876550"/>
              <a:gd name="connsiteX5" fmla="*/ 3331369 w 4229100"/>
              <a:gd name="connsiteY5" fmla="*/ 2874531 h 2876550"/>
              <a:gd name="connsiteX6" fmla="*/ 912019 w 4229100"/>
              <a:gd name="connsiteY6" fmla="*/ 2874531 h 2876550"/>
              <a:gd name="connsiteX7" fmla="*/ 7144 w 4229100"/>
              <a:gd name="connsiteY7" fmla="*/ 1979181 h 2876550"/>
              <a:gd name="connsiteX8" fmla="*/ 959644 w 4229100"/>
              <a:gd name="connsiteY8" fmla="*/ 1074306 h 2876550"/>
              <a:gd name="connsiteX9" fmla="*/ 197644 w 4229100"/>
              <a:gd name="connsiteY9" fmla="*/ 1979181 h 2876550"/>
              <a:gd name="connsiteX10" fmla="*/ 912019 w 4229100"/>
              <a:gd name="connsiteY10" fmla="*/ 2684031 h 2876550"/>
              <a:gd name="connsiteX11" fmla="*/ 3331369 w 4229100"/>
              <a:gd name="connsiteY11" fmla="*/ 2684031 h 2876550"/>
              <a:gd name="connsiteX12" fmla="*/ 4036219 w 4229100"/>
              <a:gd name="connsiteY12" fmla="*/ 1979181 h 2876550"/>
              <a:gd name="connsiteX13" fmla="*/ 3626644 w 4229100"/>
              <a:gd name="connsiteY13" fmla="*/ 1331481 h 2876550"/>
              <a:gd name="connsiteX14" fmla="*/ 3569494 w 4229100"/>
              <a:gd name="connsiteY14" fmla="*/ 1226706 h 2876550"/>
              <a:gd name="connsiteX15" fmla="*/ 2778919 w 4229100"/>
              <a:gd name="connsiteY15" fmla="*/ 207531 h 2876550"/>
              <a:gd name="connsiteX16" fmla="*/ 1797844 w 4229100"/>
              <a:gd name="connsiteY16" fmla="*/ 798081 h 2876550"/>
              <a:gd name="connsiteX17" fmla="*/ 1712119 w 4229100"/>
              <a:gd name="connsiteY17" fmla="*/ 864756 h 2876550"/>
              <a:gd name="connsiteX18" fmla="*/ 1092994 w 4229100"/>
              <a:gd name="connsiteY18" fmla="*/ 1226706 h 2876550"/>
              <a:gd name="connsiteX19" fmla="*/ 997744 w 4229100"/>
              <a:gd name="connsiteY19" fmla="*/ 1274331 h 2876550"/>
              <a:gd name="connsiteX20" fmla="*/ 197644 w 4229100"/>
              <a:gd name="connsiteY20" fmla="*/ 1979181 h 287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229100" h="2876550">
                <a:moveTo>
                  <a:pt x="959644" y="1074306"/>
                </a:moveTo>
                <a:cubicBezTo>
                  <a:pt x="1112044" y="845706"/>
                  <a:pt x="1369219" y="693306"/>
                  <a:pt x="1645444" y="674256"/>
                </a:cubicBezTo>
                <a:cubicBezTo>
                  <a:pt x="1835944" y="226581"/>
                  <a:pt x="2312194" y="-49644"/>
                  <a:pt x="2797969" y="17031"/>
                </a:cubicBezTo>
                <a:cubicBezTo>
                  <a:pt x="3378994" y="83706"/>
                  <a:pt x="3798094" y="607581"/>
                  <a:pt x="3759994" y="1188606"/>
                </a:cubicBezTo>
                <a:cubicBezTo>
                  <a:pt x="4055269" y="1341006"/>
                  <a:pt x="4226719" y="1645806"/>
                  <a:pt x="4226719" y="1979181"/>
                </a:cubicBezTo>
                <a:cubicBezTo>
                  <a:pt x="4226719" y="2474481"/>
                  <a:pt x="3826669" y="2874531"/>
                  <a:pt x="3331369" y="2874531"/>
                </a:cubicBezTo>
                <a:lnTo>
                  <a:pt x="912019" y="2874531"/>
                </a:lnTo>
                <a:cubicBezTo>
                  <a:pt x="407194" y="2874531"/>
                  <a:pt x="7144" y="2474481"/>
                  <a:pt x="7144" y="1979181"/>
                </a:cubicBezTo>
                <a:cubicBezTo>
                  <a:pt x="7144" y="1455306"/>
                  <a:pt x="445294" y="1045731"/>
                  <a:pt x="959644" y="1074306"/>
                </a:cubicBezTo>
                <a:close/>
                <a:moveTo>
                  <a:pt x="197644" y="1979181"/>
                </a:moveTo>
                <a:cubicBezTo>
                  <a:pt x="197644" y="2369706"/>
                  <a:pt x="511969" y="2684031"/>
                  <a:pt x="912019" y="2684031"/>
                </a:cubicBezTo>
                <a:lnTo>
                  <a:pt x="3331369" y="2684031"/>
                </a:lnTo>
                <a:cubicBezTo>
                  <a:pt x="3721894" y="2684031"/>
                  <a:pt x="4036219" y="2369706"/>
                  <a:pt x="4036219" y="1979181"/>
                </a:cubicBezTo>
                <a:cubicBezTo>
                  <a:pt x="4036219" y="1702956"/>
                  <a:pt x="3883819" y="1445781"/>
                  <a:pt x="3626644" y="1331481"/>
                </a:cubicBezTo>
                <a:cubicBezTo>
                  <a:pt x="3588544" y="1312431"/>
                  <a:pt x="3559969" y="1274331"/>
                  <a:pt x="3569494" y="1226706"/>
                </a:cubicBezTo>
                <a:cubicBezTo>
                  <a:pt x="3626644" y="731406"/>
                  <a:pt x="3283744" y="264681"/>
                  <a:pt x="2778919" y="207531"/>
                </a:cubicBezTo>
                <a:cubicBezTo>
                  <a:pt x="2350294" y="150381"/>
                  <a:pt x="1950244" y="398031"/>
                  <a:pt x="1797844" y="798081"/>
                </a:cubicBezTo>
                <a:cubicBezTo>
                  <a:pt x="1788319" y="836181"/>
                  <a:pt x="1750219" y="864756"/>
                  <a:pt x="1712119" y="864756"/>
                </a:cubicBezTo>
                <a:cubicBezTo>
                  <a:pt x="1454944" y="864756"/>
                  <a:pt x="1216819" y="998106"/>
                  <a:pt x="1092994" y="1226706"/>
                </a:cubicBezTo>
                <a:cubicBezTo>
                  <a:pt x="1073944" y="1255281"/>
                  <a:pt x="1045369" y="1274331"/>
                  <a:pt x="997744" y="1274331"/>
                </a:cubicBezTo>
                <a:cubicBezTo>
                  <a:pt x="578644" y="1217181"/>
                  <a:pt x="197644" y="1550556"/>
                  <a:pt x="197644" y="1979181"/>
                </a:cubicBezTo>
                <a:close/>
              </a:path>
            </a:pathLst>
          </a:custGeom>
          <a:solidFill>
            <a:srgbClr val="CCCCC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0" name="Graphic 125">
            <a:extLst>
              <a:ext uri="{FF2B5EF4-FFF2-40B4-BE49-F238E27FC236}">
                <a16:creationId xmlns:a16="http://schemas.microsoft.com/office/drawing/2014/main" id="{D85CED6B-9419-44B8-B4C5-73F557D8481F}"/>
              </a:ext>
            </a:extLst>
          </p:cNvPr>
          <p:cNvSpPr/>
          <p:nvPr/>
        </p:nvSpPr>
        <p:spPr>
          <a:xfrm>
            <a:off x="6776919" y="834240"/>
            <a:ext cx="378618" cy="257528"/>
          </a:xfrm>
          <a:custGeom>
            <a:avLst/>
            <a:gdLst>
              <a:gd name="connsiteX0" fmla="*/ 959644 w 4229100"/>
              <a:gd name="connsiteY0" fmla="*/ 1074306 h 2876550"/>
              <a:gd name="connsiteX1" fmla="*/ 1645444 w 4229100"/>
              <a:gd name="connsiteY1" fmla="*/ 674256 h 2876550"/>
              <a:gd name="connsiteX2" fmla="*/ 2797969 w 4229100"/>
              <a:gd name="connsiteY2" fmla="*/ 17031 h 2876550"/>
              <a:gd name="connsiteX3" fmla="*/ 3759994 w 4229100"/>
              <a:gd name="connsiteY3" fmla="*/ 1188606 h 2876550"/>
              <a:gd name="connsiteX4" fmla="*/ 4226719 w 4229100"/>
              <a:gd name="connsiteY4" fmla="*/ 1979181 h 2876550"/>
              <a:gd name="connsiteX5" fmla="*/ 3331369 w 4229100"/>
              <a:gd name="connsiteY5" fmla="*/ 2874531 h 2876550"/>
              <a:gd name="connsiteX6" fmla="*/ 912019 w 4229100"/>
              <a:gd name="connsiteY6" fmla="*/ 2874531 h 2876550"/>
              <a:gd name="connsiteX7" fmla="*/ 7144 w 4229100"/>
              <a:gd name="connsiteY7" fmla="*/ 1979181 h 2876550"/>
              <a:gd name="connsiteX8" fmla="*/ 959644 w 4229100"/>
              <a:gd name="connsiteY8" fmla="*/ 1074306 h 2876550"/>
              <a:gd name="connsiteX9" fmla="*/ 197644 w 4229100"/>
              <a:gd name="connsiteY9" fmla="*/ 1979181 h 2876550"/>
              <a:gd name="connsiteX10" fmla="*/ 912019 w 4229100"/>
              <a:gd name="connsiteY10" fmla="*/ 2684031 h 2876550"/>
              <a:gd name="connsiteX11" fmla="*/ 3331369 w 4229100"/>
              <a:gd name="connsiteY11" fmla="*/ 2684031 h 2876550"/>
              <a:gd name="connsiteX12" fmla="*/ 4036219 w 4229100"/>
              <a:gd name="connsiteY12" fmla="*/ 1979181 h 2876550"/>
              <a:gd name="connsiteX13" fmla="*/ 3626644 w 4229100"/>
              <a:gd name="connsiteY13" fmla="*/ 1331481 h 2876550"/>
              <a:gd name="connsiteX14" fmla="*/ 3569494 w 4229100"/>
              <a:gd name="connsiteY14" fmla="*/ 1226706 h 2876550"/>
              <a:gd name="connsiteX15" fmla="*/ 2778919 w 4229100"/>
              <a:gd name="connsiteY15" fmla="*/ 207531 h 2876550"/>
              <a:gd name="connsiteX16" fmla="*/ 1797844 w 4229100"/>
              <a:gd name="connsiteY16" fmla="*/ 798081 h 2876550"/>
              <a:gd name="connsiteX17" fmla="*/ 1712119 w 4229100"/>
              <a:gd name="connsiteY17" fmla="*/ 864756 h 2876550"/>
              <a:gd name="connsiteX18" fmla="*/ 1092994 w 4229100"/>
              <a:gd name="connsiteY18" fmla="*/ 1226706 h 2876550"/>
              <a:gd name="connsiteX19" fmla="*/ 997744 w 4229100"/>
              <a:gd name="connsiteY19" fmla="*/ 1274331 h 2876550"/>
              <a:gd name="connsiteX20" fmla="*/ 197644 w 4229100"/>
              <a:gd name="connsiteY20" fmla="*/ 1979181 h 287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229100" h="2876550">
                <a:moveTo>
                  <a:pt x="959644" y="1074306"/>
                </a:moveTo>
                <a:cubicBezTo>
                  <a:pt x="1112044" y="845706"/>
                  <a:pt x="1369219" y="693306"/>
                  <a:pt x="1645444" y="674256"/>
                </a:cubicBezTo>
                <a:cubicBezTo>
                  <a:pt x="1835944" y="226581"/>
                  <a:pt x="2312194" y="-49644"/>
                  <a:pt x="2797969" y="17031"/>
                </a:cubicBezTo>
                <a:cubicBezTo>
                  <a:pt x="3378994" y="83706"/>
                  <a:pt x="3798094" y="607581"/>
                  <a:pt x="3759994" y="1188606"/>
                </a:cubicBezTo>
                <a:cubicBezTo>
                  <a:pt x="4055269" y="1341006"/>
                  <a:pt x="4226719" y="1645806"/>
                  <a:pt x="4226719" y="1979181"/>
                </a:cubicBezTo>
                <a:cubicBezTo>
                  <a:pt x="4226719" y="2474481"/>
                  <a:pt x="3826669" y="2874531"/>
                  <a:pt x="3331369" y="2874531"/>
                </a:cubicBezTo>
                <a:lnTo>
                  <a:pt x="912019" y="2874531"/>
                </a:lnTo>
                <a:cubicBezTo>
                  <a:pt x="407194" y="2874531"/>
                  <a:pt x="7144" y="2474481"/>
                  <a:pt x="7144" y="1979181"/>
                </a:cubicBezTo>
                <a:cubicBezTo>
                  <a:pt x="7144" y="1455306"/>
                  <a:pt x="445294" y="1045731"/>
                  <a:pt x="959644" y="1074306"/>
                </a:cubicBezTo>
                <a:close/>
                <a:moveTo>
                  <a:pt x="197644" y="1979181"/>
                </a:moveTo>
                <a:cubicBezTo>
                  <a:pt x="197644" y="2369706"/>
                  <a:pt x="511969" y="2684031"/>
                  <a:pt x="912019" y="2684031"/>
                </a:cubicBezTo>
                <a:lnTo>
                  <a:pt x="3331369" y="2684031"/>
                </a:lnTo>
                <a:cubicBezTo>
                  <a:pt x="3721894" y="2684031"/>
                  <a:pt x="4036219" y="2369706"/>
                  <a:pt x="4036219" y="1979181"/>
                </a:cubicBezTo>
                <a:cubicBezTo>
                  <a:pt x="4036219" y="1702956"/>
                  <a:pt x="3883819" y="1445781"/>
                  <a:pt x="3626644" y="1331481"/>
                </a:cubicBezTo>
                <a:cubicBezTo>
                  <a:pt x="3588544" y="1312431"/>
                  <a:pt x="3559969" y="1274331"/>
                  <a:pt x="3569494" y="1226706"/>
                </a:cubicBezTo>
                <a:cubicBezTo>
                  <a:pt x="3626644" y="731406"/>
                  <a:pt x="3283744" y="264681"/>
                  <a:pt x="2778919" y="207531"/>
                </a:cubicBezTo>
                <a:cubicBezTo>
                  <a:pt x="2350294" y="150381"/>
                  <a:pt x="1950244" y="398031"/>
                  <a:pt x="1797844" y="798081"/>
                </a:cubicBezTo>
                <a:cubicBezTo>
                  <a:pt x="1788319" y="836181"/>
                  <a:pt x="1750219" y="864756"/>
                  <a:pt x="1712119" y="864756"/>
                </a:cubicBezTo>
                <a:cubicBezTo>
                  <a:pt x="1454944" y="864756"/>
                  <a:pt x="1216819" y="998106"/>
                  <a:pt x="1092994" y="1226706"/>
                </a:cubicBezTo>
                <a:cubicBezTo>
                  <a:pt x="1073944" y="1255281"/>
                  <a:pt x="1045369" y="1274331"/>
                  <a:pt x="997744" y="1274331"/>
                </a:cubicBezTo>
                <a:cubicBezTo>
                  <a:pt x="578644" y="1217181"/>
                  <a:pt x="197644" y="1550556"/>
                  <a:pt x="197644" y="1979181"/>
                </a:cubicBezTo>
                <a:close/>
              </a:path>
            </a:pathLst>
          </a:custGeom>
          <a:solidFill>
            <a:srgbClr val="CCCCC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1" name="Graphic 131">
            <a:extLst>
              <a:ext uri="{FF2B5EF4-FFF2-40B4-BE49-F238E27FC236}">
                <a16:creationId xmlns:a16="http://schemas.microsoft.com/office/drawing/2014/main" id="{41BD4DA3-19FE-462B-A6DE-21F53FF18EAA}"/>
              </a:ext>
            </a:extLst>
          </p:cNvPr>
          <p:cNvSpPr/>
          <p:nvPr/>
        </p:nvSpPr>
        <p:spPr>
          <a:xfrm>
            <a:off x="7195486" y="2952342"/>
            <a:ext cx="632126" cy="502765"/>
          </a:xfrm>
          <a:custGeom>
            <a:avLst/>
            <a:gdLst>
              <a:gd name="connsiteX0" fmla="*/ 937390 w 5342634"/>
              <a:gd name="connsiteY0" fmla="*/ 769016 h 3833745"/>
              <a:gd name="connsiteX1" fmla="*/ 1869922 w 5342634"/>
              <a:gd name="connsiteY1" fmla="*/ 2038296 h 3833745"/>
              <a:gd name="connsiteX2" fmla="*/ 989197 w 5342634"/>
              <a:gd name="connsiteY2" fmla="*/ 3307577 h 3833745"/>
              <a:gd name="connsiteX3" fmla="*/ 989197 w 5342634"/>
              <a:gd name="connsiteY3" fmla="*/ 3747939 h 3833745"/>
              <a:gd name="connsiteX4" fmla="*/ 2757123 w 5342634"/>
              <a:gd name="connsiteY4" fmla="*/ 3747939 h 3833745"/>
              <a:gd name="connsiteX5" fmla="*/ 2757123 w 5342634"/>
              <a:gd name="connsiteY5" fmla="*/ 3307577 h 3833745"/>
              <a:gd name="connsiteX6" fmla="*/ 1999441 w 5342634"/>
              <a:gd name="connsiteY6" fmla="*/ 2511038 h 3833745"/>
              <a:gd name="connsiteX7" fmla="*/ 2802455 w 5342634"/>
              <a:gd name="connsiteY7" fmla="*/ 1708024 h 3833745"/>
              <a:gd name="connsiteX8" fmla="*/ 3605469 w 5342634"/>
              <a:gd name="connsiteY8" fmla="*/ 2511038 h 3833745"/>
              <a:gd name="connsiteX9" fmla="*/ 2847786 w 5342634"/>
              <a:gd name="connsiteY9" fmla="*/ 3307577 h 3833745"/>
              <a:gd name="connsiteX10" fmla="*/ 2847786 w 5342634"/>
              <a:gd name="connsiteY10" fmla="*/ 3747939 h 3833745"/>
              <a:gd name="connsiteX11" fmla="*/ 4453815 w 5342634"/>
              <a:gd name="connsiteY11" fmla="*/ 3747939 h 3833745"/>
              <a:gd name="connsiteX12" fmla="*/ 4453815 w 5342634"/>
              <a:gd name="connsiteY12" fmla="*/ 3048540 h 3833745"/>
              <a:gd name="connsiteX13" fmla="*/ 3760891 w 5342634"/>
              <a:gd name="connsiteY13" fmla="*/ 1818115 h 3833745"/>
              <a:gd name="connsiteX14" fmla="*/ 4505622 w 5342634"/>
              <a:gd name="connsiteY14" fmla="*/ 4857 h 3833745"/>
              <a:gd name="connsiteX15" fmla="*/ 5250353 w 5342634"/>
              <a:gd name="connsiteY15" fmla="*/ 1818115 h 3833745"/>
              <a:gd name="connsiteX16" fmla="*/ 4550954 w 5342634"/>
              <a:gd name="connsiteY16" fmla="*/ 3048540 h 3833745"/>
              <a:gd name="connsiteX17" fmla="*/ 4550954 w 5342634"/>
              <a:gd name="connsiteY17" fmla="*/ 3747939 h 3833745"/>
              <a:gd name="connsiteX18" fmla="*/ 5146738 w 5342634"/>
              <a:gd name="connsiteY18" fmla="*/ 3747939 h 3833745"/>
              <a:gd name="connsiteX19" fmla="*/ 5140262 w 5342634"/>
              <a:gd name="connsiteY19" fmla="*/ 3832126 h 3833745"/>
              <a:gd name="connsiteX20" fmla="*/ 464647 w 5342634"/>
              <a:gd name="connsiteY20" fmla="*/ 3832126 h 3833745"/>
              <a:gd name="connsiteX21" fmla="*/ 458171 w 5342634"/>
              <a:gd name="connsiteY21" fmla="*/ 3747939 h 3833745"/>
              <a:gd name="connsiteX22" fmla="*/ 892058 w 5342634"/>
              <a:gd name="connsiteY22" fmla="*/ 3747939 h 3833745"/>
              <a:gd name="connsiteX23" fmla="*/ 892058 w 5342634"/>
              <a:gd name="connsiteY23" fmla="*/ 3307577 h 3833745"/>
              <a:gd name="connsiteX24" fmla="*/ 4857 w 5342634"/>
              <a:gd name="connsiteY24" fmla="*/ 2038296 h 3833745"/>
              <a:gd name="connsiteX25" fmla="*/ 937390 w 5342634"/>
              <a:gd name="connsiteY25" fmla="*/ 769016 h 3833745"/>
              <a:gd name="connsiteX26" fmla="*/ 1384228 w 5342634"/>
              <a:gd name="connsiteY26" fmla="*/ 1908778 h 3833745"/>
              <a:gd name="connsiteX27" fmla="*/ 989197 w 5342634"/>
              <a:gd name="connsiteY27" fmla="*/ 2329713 h 3833745"/>
              <a:gd name="connsiteX28" fmla="*/ 989197 w 5342634"/>
              <a:gd name="connsiteY28" fmla="*/ 3210438 h 3833745"/>
              <a:gd name="connsiteX29" fmla="*/ 1772783 w 5342634"/>
              <a:gd name="connsiteY29" fmla="*/ 2038296 h 3833745"/>
              <a:gd name="connsiteX30" fmla="*/ 937390 w 5342634"/>
              <a:gd name="connsiteY30" fmla="*/ 866154 h 3833745"/>
              <a:gd name="connsiteX31" fmla="*/ 101996 w 5342634"/>
              <a:gd name="connsiteY31" fmla="*/ 2038296 h 3833745"/>
              <a:gd name="connsiteX32" fmla="*/ 892058 w 5342634"/>
              <a:gd name="connsiteY32" fmla="*/ 3210438 h 3833745"/>
              <a:gd name="connsiteX33" fmla="*/ 892058 w 5342634"/>
              <a:gd name="connsiteY33" fmla="*/ 2770075 h 3833745"/>
              <a:gd name="connsiteX34" fmla="*/ 497027 w 5342634"/>
              <a:gd name="connsiteY34" fmla="*/ 2349140 h 3833745"/>
              <a:gd name="connsiteX35" fmla="*/ 561786 w 5342634"/>
              <a:gd name="connsiteY35" fmla="*/ 2290857 h 3833745"/>
              <a:gd name="connsiteX36" fmla="*/ 892058 w 5342634"/>
              <a:gd name="connsiteY36" fmla="*/ 2647033 h 3833745"/>
              <a:gd name="connsiteX37" fmla="*/ 892058 w 5342634"/>
              <a:gd name="connsiteY37" fmla="*/ 1798687 h 3833745"/>
              <a:gd name="connsiteX38" fmla="*/ 989197 w 5342634"/>
              <a:gd name="connsiteY38" fmla="*/ 1798687 h 3833745"/>
              <a:gd name="connsiteX39" fmla="*/ 989197 w 5342634"/>
              <a:gd name="connsiteY39" fmla="*/ 2206670 h 3833745"/>
              <a:gd name="connsiteX40" fmla="*/ 1319469 w 5342634"/>
              <a:gd name="connsiteY40" fmla="*/ 1850494 h 3833745"/>
              <a:gd name="connsiteX41" fmla="*/ 1384228 w 5342634"/>
              <a:gd name="connsiteY41" fmla="*/ 1908778 h 3833745"/>
              <a:gd name="connsiteX42" fmla="*/ 2614653 w 5342634"/>
              <a:gd name="connsiteY42" fmla="*/ 2679412 h 3833745"/>
              <a:gd name="connsiteX43" fmla="*/ 2757123 w 5342634"/>
              <a:gd name="connsiteY43" fmla="*/ 2847786 h 3833745"/>
              <a:gd name="connsiteX44" fmla="*/ 2757123 w 5342634"/>
              <a:gd name="connsiteY44" fmla="*/ 2323237 h 3833745"/>
              <a:gd name="connsiteX45" fmla="*/ 2847786 w 5342634"/>
              <a:gd name="connsiteY45" fmla="*/ 2323237 h 3833745"/>
              <a:gd name="connsiteX46" fmla="*/ 2847786 w 5342634"/>
              <a:gd name="connsiteY46" fmla="*/ 3210438 h 3833745"/>
              <a:gd name="connsiteX47" fmla="*/ 3508330 w 5342634"/>
              <a:gd name="connsiteY47" fmla="*/ 2511038 h 3833745"/>
              <a:gd name="connsiteX48" fmla="*/ 2802455 w 5342634"/>
              <a:gd name="connsiteY48" fmla="*/ 1805163 h 3833745"/>
              <a:gd name="connsiteX49" fmla="*/ 2096579 w 5342634"/>
              <a:gd name="connsiteY49" fmla="*/ 2511038 h 3833745"/>
              <a:gd name="connsiteX50" fmla="*/ 2757123 w 5342634"/>
              <a:gd name="connsiteY50" fmla="*/ 3210438 h 3833745"/>
              <a:gd name="connsiteX51" fmla="*/ 2757123 w 5342634"/>
              <a:gd name="connsiteY51" fmla="*/ 2983781 h 3833745"/>
              <a:gd name="connsiteX52" fmla="*/ 2549894 w 5342634"/>
              <a:gd name="connsiteY52" fmla="*/ 2737696 h 3833745"/>
              <a:gd name="connsiteX53" fmla="*/ 2614653 w 5342634"/>
              <a:gd name="connsiteY53" fmla="*/ 2679412 h 3833745"/>
              <a:gd name="connsiteX54" fmla="*/ 4058784 w 5342634"/>
              <a:gd name="connsiteY54" fmla="*/ 1487843 h 3833745"/>
              <a:gd name="connsiteX55" fmla="*/ 4453815 w 5342634"/>
              <a:gd name="connsiteY55" fmla="*/ 1908778 h 3833745"/>
              <a:gd name="connsiteX56" fmla="*/ 4453815 w 5342634"/>
              <a:gd name="connsiteY56" fmla="*/ 2951401 h 3833745"/>
              <a:gd name="connsiteX57" fmla="*/ 3864506 w 5342634"/>
              <a:gd name="connsiteY57" fmla="*/ 1837543 h 3833745"/>
              <a:gd name="connsiteX58" fmla="*/ 4505622 w 5342634"/>
              <a:gd name="connsiteY58" fmla="*/ 101996 h 3833745"/>
              <a:gd name="connsiteX59" fmla="*/ 5146738 w 5342634"/>
              <a:gd name="connsiteY59" fmla="*/ 1837543 h 3833745"/>
              <a:gd name="connsiteX60" fmla="*/ 4550954 w 5342634"/>
              <a:gd name="connsiteY60" fmla="*/ 2951401 h 3833745"/>
              <a:gd name="connsiteX61" fmla="*/ 4550954 w 5342634"/>
              <a:gd name="connsiteY61" fmla="*/ 2511038 h 3833745"/>
              <a:gd name="connsiteX62" fmla="*/ 4945985 w 5342634"/>
              <a:gd name="connsiteY62" fmla="*/ 2096579 h 3833745"/>
              <a:gd name="connsiteX63" fmla="*/ 4881226 w 5342634"/>
              <a:gd name="connsiteY63" fmla="*/ 2038296 h 3833745"/>
              <a:gd name="connsiteX64" fmla="*/ 4550954 w 5342634"/>
              <a:gd name="connsiteY64" fmla="*/ 2387996 h 3833745"/>
              <a:gd name="connsiteX65" fmla="*/ 4550954 w 5342634"/>
              <a:gd name="connsiteY65" fmla="*/ 1138143 h 3833745"/>
              <a:gd name="connsiteX66" fmla="*/ 4453815 w 5342634"/>
              <a:gd name="connsiteY66" fmla="*/ 1144619 h 3833745"/>
              <a:gd name="connsiteX67" fmla="*/ 4453815 w 5342634"/>
              <a:gd name="connsiteY67" fmla="*/ 1785735 h 3833745"/>
              <a:gd name="connsiteX68" fmla="*/ 4123543 w 5342634"/>
              <a:gd name="connsiteY68" fmla="*/ 1436035 h 3833745"/>
              <a:gd name="connsiteX69" fmla="*/ 4058784 w 5342634"/>
              <a:gd name="connsiteY69" fmla="*/ 1487843 h 3833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342634" h="3833745">
                <a:moveTo>
                  <a:pt x="937390" y="769016"/>
                </a:moveTo>
                <a:cubicBezTo>
                  <a:pt x="1565554" y="769016"/>
                  <a:pt x="1869922" y="1500795"/>
                  <a:pt x="1869922" y="2038296"/>
                </a:cubicBezTo>
                <a:cubicBezTo>
                  <a:pt x="1869922" y="2562846"/>
                  <a:pt x="1584982" y="3268721"/>
                  <a:pt x="989197" y="3307577"/>
                </a:cubicBezTo>
                <a:lnTo>
                  <a:pt x="989197" y="3747939"/>
                </a:lnTo>
                <a:lnTo>
                  <a:pt x="2757123" y="3747939"/>
                </a:lnTo>
                <a:lnTo>
                  <a:pt x="2757123" y="3307577"/>
                </a:lnTo>
                <a:cubicBezTo>
                  <a:pt x="2336189" y="3281673"/>
                  <a:pt x="1999441" y="2931973"/>
                  <a:pt x="1999441" y="2511038"/>
                </a:cubicBezTo>
                <a:cubicBezTo>
                  <a:pt x="1999441" y="2064200"/>
                  <a:pt x="2362092" y="1708024"/>
                  <a:pt x="2802455" y="1708024"/>
                </a:cubicBezTo>
                <a:cubicBezTo>
                  <a:pt x="3242818" y="1708024"/>
                  <a:pt x="3605469" y="2064200"/>
                  <a:pt x="3605469" y="2511038"/>
                </a:cubicBezTo>
                <a:cubicBezTo>
                  <a:pt x="3605469" y="2931973"/>
                  <a:pt x="3268721" y="3281673"/>
                  <a:pt x="2847786" y="3307577"/>
                </a:cubicBezTo>
                <a:lnTo>
                  <a:pt x="2847786" y="3747939"/>
                </a:lnTo>
                <a:lnTo>
                  <a:pt x="4453815" y="3747939"/>
                </a:lnTo>
                <a:lnTo>
                  <a:pt x="4453815" y="3048540"/>
                </a:lnTo>
                <a:cubicBezTo>
                  <a:pt x="3851554" y="3016160"/>
                  <a:pt x="3475951" y="2355616"/>
                  <a:pt x="3760891" y="1818115"/>
                </a:cubicBezTo>
                <a:cubicBezTo>
                  <a:pt x="3722036" y="1306517"/>
                  <a:pt x="3832126" y="4857"/>
                  <a:pt x="4505622" y="4857"/>
                </a:cubicBezTo>
                <a:cubicBezTo>
                  <a:pt x="5179118" y="4857"/>
                  <a:pt x="5289209" y="1306517"/>
                  <a:pt x="5250353" y="1818115"/>
                </a:cubicBezTo>
                <a:cubicBezTo>
                  <a:pt x="5528818" y="2355616"/>
                  <a:pt x="5153214" y="3016160"/>
                  <a:pt x="4550954" y="3048540"/>
                </a:cubicBezTo>
                <a:lnTo>
                  <a:pt x="4550954" y="3747939"/>
                </a:lnTo>
                <a:lnTo>
                  <a:pt x="5146738" y="3747939"/>
                </a:lnTo>
                <a:cubicBezTo>
                  <a:pt x="5205022" y="3747939"/>
                  <a:pt x="5198546" y="3838602"/>
                  <a:pt x="5140262" y="3832126"/>
                </a:cubicBezTo>
                <a:cubicBezTo>
                  <a:pt x="4719328" y="3832126"/>
                  <a:pt x="885582" y="3832126"/>
                  <a:pt x="464647" y="3832126"/>
                </a:cubicBezTo>
                <a:cubicBezTo>
                  <a:pt x="406364" y="3838602"/>
                  <a:pt x="399888" y="3747939"/>
                  <a:pt x="458171" y="3747939"/>
                </a:cubicBezTo>
                <a:lnTo>
                  <a:pt x="892058" y="3747939"/>
                </a:lnTo>
                <a:lnTo>
                  <a:pt x="892058" y="3307577"/>
                </a:lnTo>
                <a:cubicBezTo>
                  <a:pt x="296273" y="3268721"/>
                  <a:pt x="4857" y="2562846"/>
                  <a:pt x="4857" y="2038296"/>
                </a:cubicBezTo>
                <a:cubicBezTo>
                  <a:pt x="4857" y="1500795"/>
                  <a:pt x="309225" y="769016"/>
                  <a:pt x="937390" y="769016"/>
                </a:cubicBezTo>
                <a:close/>
                <a:moveTo>
                  <a:pt x="1384228" y="1908778"/>
                </a:moveTo>
                <a:lnTo>
                  <a:pt x="989197" y="2329713"/>
                </a:lnTo>
                <a:lnTo>
                  <a:pt x="989197" y="3210438"/>
                </a:lnTo>
                <a:cubicBezTo>
                  <a:pt x="1423084" y="3178058"/>
                  <a:pt x="1772783" y="2666460"/>
                  <a:pt x="1772783" y="2038296"/>
                </a:cubicBezTo>
                <a:cubicBezTo>
                  <a:pt x="1772783" y="1390704"/>
                  <a:pt x="1397180" y="866154"/>
                  <a:pt x="937390" y="866154"/>
                </a:cubicBezTo>
                <a:cubicBezTo>
                  <a:pt x="477599" y="866154"/>
                  <a:pt x="101996" y="1390704"/>
                  <a:pt x="101996" y="2038296"/>
                </a:cubicBezTo>
                <a:cubicBezTo>
                  <a:pt x="101996" y="2666460"/>
                  <a:pt x="451695" y="3178058"/>
                  <a:pt x="892058" y="3210438"/>
                </a:cubicBezTo>
                <a:lnTo>
                  <a:pt x="892058" y="2770075"/>
                </a:lnTo>
                <a:lnTo>
                  <a:pt x="497027" y="2349140"/>
                </a:lnTo>
                <a:cubicBezTo>
                  <a:pt x="458171" y="2310285"/>
                  <a:pt x="522931" y="2252002"/>
                  <a:pt x="561786" y="2290857"/>
                </a:cubicBezTo>
                <a:lnTo>
                  <a:pt x="892058" y="2647033"/>
                </a:lnTo>
                <a:lnTo>
                  <a:pt x="892058" y="1798687"/>
                </a:lnTo>
                <a:cubicBezTo>
                  <a:pt x="885582" y="1733928"/>
                  <a:pt x="989197" y="1733928"/>
                  <a:pt x="989197" y="1798687"/>
                </a:cubicBezTo>
                <a:lnTo>
                  <a:pt x="989197" y="2206670"/>
                </a:lnTo>
                <a:lnTo>
                  <a:pt x="1319469" y="1850494"/>
                </a:lnTo>
                <a:cubicBezTo>
                  <a:pt x="1358324" y="1805163"/>
                  <a:pt x="1423084" y="1863446"/>
                  <a:pt x="1384228" y="1908778"/>
                </a:cubicBezTo>
                <a:close/>
                <a:moveTo>
                  <a:pt x="2614653" y="2679412"/>
                </a:moveTo>
                <a:lnTo>
                  <a:pt x="2757123" y="2847786"/>
                </a:lnTo>
                <a:lnTo>
                  <a:pt x="2757123" y="2323237"/>
                </a:lnTo>
                <a:cubicBezTo>
                  <a:pt x="2750648" y="2258477"/>
                  <a:pt x="2847786" y="2258477"/>
                  <a:pt x="2847786" y="2323237"/>
                </a:cubicBezTo>
                <a:lnTo>
                  <a:pt x="2847786" y="3210438"/>
                </a:lnTo>
                <a:cubicBezTo>
                  <a:pt x="3216914" y="3184534"/>
                  <a:pt x="3508330" y="2880166"/>
                  <a:pt x="3508330" y="2511038"/>
                </a:cubicBezTo>
                <a:cubicBezTo>
                  <a:pt x="3508330" y="2116007"/>
                  <a:pt x="3191010" y="1805163"/>
                  <a:pt x="2802455" y="1805163"/>
                </a:cubicBezTo>
                <a:cubicBezTo>
                  <a:pt x="2413900" y="1805163"/>
                  <a:pt x="2096579" y="2116007"/>
                  <a:pt x="2096579" y="2511038"/>
                </a:cubicBezTo>
                <a:cubicBezTo>
                  <a:pt x="2096579" y="2880166"/>
                  <a:pt x="2387996" y="3184534"/>
                  <a:pt x="2757123" y="3210438"/>
                </a:cubicBezTo>
                <a:lnTo>
                  <a:pt x="2757123" y="2983781"/>
                </a:lnTo>
                <a:lnTo>
                  <a:pt x="2549894" y="2737696"/>
                </a:lnTo>
                <a:cubicBezTo>
                  <a:pt x="2511038" y="2692364"/>
                  <a:pt x="2575798" y="2634081"/>
                  <a:pt x="2614653" y="2679412"/>
                </a:cubicBezTo>
                <a:close/>
                <a:moveTo>
                  <a:pt x="4058784" y="1487843"/>
                </a:moveTo>
                <a:lnTo>
                  <a:pt x="4453815" y="1908778"/>
                </a:lnTo>
                <a:lnTo>
                  <a:pt x="4453815" y="2951401"/>
                </a:lnTo>
                <a:cubicBezTo>
                  <a:pt x="3909837" y="2919021"/>
                  <a:pt x="3586041" y="2310285"/>
                  <a:pt x="3864506" y="1837543"/>
                </a:cubicBezTo>
                <a:cubicBezTo>
                  <a:pt x="3812699" y="1377752"/>
                  <a:pt x="3916313" y="101996"/>
                  <a:pt x="4505622" y="101996"/>
                </a:cubicBezTo>
                <a:cubicBezTo>
                  <a:pt x="5094931" y="101996"/>
                  <a:pt x="5198546" y="1377752"/>
                  <a:pt x="5146738" y="1837543"/>
                </a:cubicBezTo>
                <a:cubicBezTo>
                  <a:pt x="5418727" y="2310285"/>
                  <a:pt x="5101407" y="2919021"/>
                  <a:pt x="4550954" y="2951401"/>
                </a:cubicBezTo>
                <a:lnTo>
                  <a:pt x="4550954" y="2511038"/>
                </a:lnTo>
                <a:lnTo>
                  <a:pt x="4945985" y="2096579"/>
                </a:lnTo>
                <a:cubicBezTo>
                  <a:pt x="4984840" y="2051248"/>
                  <a:pt x="4920081" y="1992965"/>
                  <a:pt x="4881226" y="2038296"/>
                </a:cubicBezTo>
                <a:lnTo>
                  <a:pt x="4550954" y="2387996"/>
                </a:lnTo>
                <a:lnTo>
                  <a:pt x="4550954" y="1138143"/>
                </a:lnTo>
                <a:cubicBezTo>
                  <a:pt x="4550954" y="1073384"/>
                  <a:pt x="4453815" y="1073384"/>
                  <a:pt x="4453815" y="1144619"/>
                </a:cubicBezTo>
                <a:lnTo>
                  <a:pt x="4453815" y="1785735"/>
                </a:lnTo>
                <a:lnTo>
                  <a:pt x="4123543" y="1436035"/>
                </a:lnTo>
                <a:cubicBezTo>
                  <a:pt x="4084687" y="1390704"/>
                  <a:pt x="4019928" y="1448987"/>
                  <a:pt x="4058784" y="1487843"/>
                </a:cubicBezTo>
                <a:close/>
              </a:path>
            </a:pathLst>
          </a:custGeom>
          <a:solidFill>
            <a:srgbClr val="CCCCC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532" name="Group 531">
            <a:extLst>
              <a:ext uri="{FF2B5EF4-FFF2-40B4-BE49-F238E27FC236}">
                <a16:creationId xmlns:a16="http://schemas.microsoft.com/office/drawing/2014/main" id="{98281823-F31F-41DA-B2CF-CAE6D0FEF905}"/>
              </a:ext>
            </a:extLst>
          </p:cNvPr>
          <p:cNvGrpSpPr/>
          <p:nvPr/>
        </p:nvGrpSpPr>
        <p:grpSpPr>
          <a:xfrm flipH="1">
            <a:off x="3141897" y="3009124"/>
            <a:ext cx="559707" cy="437271"/>
            <a:chOff x="-1402556" y="3597116"/>
            <a:chExt cx="1219200" cy="952500"/>
          </a:xfrm>
          <a:solidFill>
            <a:srgbClr val="CCCCCC"/>
          </a:solidFill>
        </p:grpSpPr>
        <p:sp>
          <p:nvSpPr>
            <p:cNvPr id="533" name="Freeform: Shape 143">
              <a:extLst>
                <a:ext uri="{FF2B5EF4-FFF2-40B4-BE49-F238E27FC236}">
                  <a16:creationId xmlns:a16="http://schemas.microsoft.com/office/drawing/2014/main" id="{0A6C75EB-AA63-4413-859C-8EE83450D2A5}"/>
                </a:ext>
              </a:extLst>
            </p:cNvPr>
            <p:cNvSpPr/>
            <p:nvPr/>
          </p:nvSpPr>
          <p:spPr>
            <a:xfrm>
              <a:off x="-1402556" y="3879056"/>
              <a:ext cx="1219200" cy="561975"/>
            </a:xfrm>
            <a:custGeom>
              <a:avLst/>
              <a:gdLst>
                <a:gd name="connsiteX0" fmla="*/ 1197769 w 1219200"/>
                <a:gd name="connsiteY0" fmla="*/ 563404 h 561975"/>
                <a:gd name="connsiteX1" fmla="*/ 1137761 w 1219200"/>
                <a:gd name="connsiteY1" fmla="*/ 563404 h 561975"/>
                <a:gd name="connsiteX2" fmla="*/ 1118711 w 1219200"/>
                <a:gd name="connsiteY2" fmla="*/ 546259 h 561975"/>
                <a:gd name="connsiteX3" fmla="*/ 1042511 w 1219200"/>
                <a:gd name="connsiteY3" fmla="*/ 477679 h 561975"/>
                <a:gd name="connsiteX4" fmla="*/ 966311 w 1219200"/>
                <a:gd name="connsiteY4" fmla="*/ 546259 h 561975"/>
                <a:gd name="connsiteX5" fmla="*/ 947261 w 1219200"/>
                <a:gd name="connsiteY5" fmla="*/ 563404 h 561975"/>
                <a:gd name="connsiteX6" fmla="*/ 469106 w 1219200"/>
                <a:gd name="connsiteY6" fmla="*/ 563404 h 561975"/>
                <a:gd name="connsiteX7" fmla="*/ 450056 w 1219200"/>
                <a:gd name="connsiteY7" fmla="*/ 546259 h 561975"/>
                <a:gd name="connsiteX8" fmla="*/ 373856 w 1219200"/>
                <a:gd name="connsiteY8" fmla="*/ 477679 h 561975"/>
                <a:gd name="connsiteX9" fmla="*/ 297656 w 1219200"/>
                <a:gd name="connsiteY9" fmla="*/ 546259 h 561975"/>
                <a:gd name="connsiteX10" fmla="*/ 278606 w 1219200"/>
                <a:gd name="connsiteY10" fmla="*/ 563404 h 561975"/>
                <a:gd name="connsiteX11" fmla="*/ 277654 w 1219200"/>
                <a:gd name="connsiteY11" fmla="*/ 563404 h 561975"/>
                <a:gd name="connsiteX12" fmla="*/ 258604 w 1219200"/>
                <a:gd name="connsiteY12" fmla="*/ 546259 h 561975"/>
                <a:gd name="connsiteX13" fmla="*/ 182404 w 1219200"/>
                <a:gd name="connsiteY13" fmla="*/ 477679 h 561975"/>
                <a:gd name="connsiteX14" fmla="*/ 106204 w 1219200"/>
                <a:gd name="connsiteY14" fmla="*/ 546259 h 561975"/>
                <a:gd name="connsiteX15" fmla="*/ 87154 w 1219200"/>
                <a:gd name="connsiteY15" fmla="*/ 563404 h 561975"/>
                <a:gd name="connsiteX16" fmla="*/ 26194 w 1219200"/>
                <a:gd name="connsiteY16" fmla="*/ 563404 h 561975"/>
                <a:gd name="connsiteX17" fmla="*/ 7144 w 1219200"/>
                <a:gd name="connsiteY17" fmla="*/ 544354 h 561975"/>
                <a:gd name="connsiteX18" fmla="*/ 7144 w 1219200"/>
                <a:gd name="connsiteY18" fmla="*/ 374809 h 561975"/>
                <a:gd name="connsiteX19" fmla="*/ 26194 w 1219200"/>
                <a:gd name="connsiteY19" fmla="*/ 355759 h 561975"/>
                <a:gd name="connsiteX20" fmla="*/ 868204 w 1219200"/>
                <a:gd name="connsiteY20" fmla="*/ 355759 h 561975"/>
                <a:gd name="connsiteX21" fmla="*/ 868204 w 1219200"/>
                <a:gd name="connsiteY21" fmla="*/ 26194 h 561975"/>
                <a:gd name="connsiteX22" fmla="*/ 887254 w 1219200"/>
                <a:gd name="connsiteY22" fmla="*/ 7144 h 561975"/>
                <a:gd name="connsiteX23" fmla="*/ 1052036 w 1219200"/>
                <a:gd name="connsiteY23" fmla="*/ 7144 h 561975"/>
                <a:gd name="connsiteX24" fmla="*/ 1068229 w 1219200"/>
                <a:gd name="connsiteY24" fmla="*/ 15716 h 561975"/>
                <a:gd name="connsiteX25" fmla="*/ 1213009 w 1219200"/>
                <a:gd name="connsiteY25" fmla="*/ 240506 h 561975"/>
                <a:gd name="connsiteX26" fmla="*/ 1215866 w 1219200"/>
                <a:gd name="connsiteY26" fmla="*/ 250984 h 561975"/>
                <a:gd name="connsiteX27" fmla="*/ 1215866 w 1219200"/>
                <a:gd name="connsiteY27" fmla="*/ 544354 h 561975"/>
                <a:gd name="connsiteX28" fmla="*/ 1197769 w 1219200"/>
                <a:gd name="connsiteY28" fmla="*/ 563404 h 561975"/>
                <a:gd name="connsiteX29" fmla="*/ 1153954 w 1219200"/>
                <a:gd name="connsiteY29" fmla="*/ 525304 h 561975"/>
                <a:gd name="connsiteX30" fmla="*/ 1178719 w 1219200"/>
                <a:gd name="connsiteY30" fmla="*/ 525304 h 561975"/>
                <a:gd name="connsiteX31" fmla="*/ 1178719 w 1219200"/>
                <a:gd name="connsiteY31" fmla="*/ 256699 h 561975"/>
                <a:gd name="connsiteX32" fmla="*/ 1042511 w 1219200"/>
                <a:gd name="connsiteY32" fmla="*/ 45244 h 561975"/>
                <a:gd name="connsiteX33" fmla="*/ 906304 w 1219200"/>
                <a:gd name="connsiteY33" fmla="*/ 45244 h 561975"/>
                <a:gd name="connsiteX34" fmla="*/ 906304 w 1219200"/>
                <a:gd name="connsiteY34" fmla="*/ 374809 h 561975"/>
                <a:gd name="connsiteX35" fmla="*/ 887254 w 1219200"/>
                <a:gd name="connsiteY35" fmla="*/ 393859 h 561975"/>
                <a:gd name="connsiteX36" fmla="*/ 45244 w 1219200"/>
                <a:gd name="connsiteY36" fmla="*/ 393859 h 561975"/>
                <a:gd name="connsiteX37" fmla="*/ 45244 w 1219200"/>
                <a:gd name="connsiteY37" fmla="*/ 525304 h 561975"/>
                <a:gd name="connsiteX38" fmla="*/ 70961 w 1219200"/>
                <a:gd name="connsiteY38" fmla="*/ 525304 h 561975"/>
                <a:gd name="connsiteX39" fmla="*/ 182404 w 1219200"/>
                <a:gd name="connsiteY39" fmla="*/ 440531 h 561975"/>
                <a:gd name="connsiteX40" fmla="*/ 278606 w 1219200"/>
                <a:gd name="connsiteY40" fmla="*/ 491966 h 561975"/>
                <a:gd name="connsiteX41" fmla="*/ 374809 w 1219200"/>
                <a:gd name="connsiteY41" fmla="*/ 440531 h 561975"/>
                <a:gd name="connsiteX42" fmla="*/ 486251 w 1219200"/>
                <a:gd name="connsiteY42" fmla="*/ 525304 h 561975"/>
                <a:gd name="connsiteX43" fmla="*/ 932974 w 1219200"/>
                <a:gd name="connsiteY43" fmla="*/ 525304 h 561975"/>
                <a:gd name="connsiteX44" fmla="*/ 1044416 w 1219200"/>
                <a:gd name="connsiteY44" fmla="*/ 440531 h 561975"/>
                <a:gd name="connsiteX45" fmla="*/ 1153954 w 1219200"/>
                <a:gd name="connsiteY45" fmla="*/ 525304 h 561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219200" h="561975">
                  <a:moveTo>
                    <a:pt x="1197769" y="563404"/>
                  </a:moveTo>
                  <a:lnTo>
                    <a:pt x="1137761" y="563404"/>
                  </a:lnTo>
                  <a:cubicBezTo>
                    <a:pt x="1128236" y="563404"/>
                    <a:pt x="1119664" y="555784"/>
                    <a:pt x="1118711" y="546259"/>
                  </a:cubicBezTo>
                  <a:cubicBezTo>
                    <a:pt x="1113949" y="507206"/>
                    <a:pt x="1081564" y="477679"/>
                    <a:pt x="1042511" y="477679"/>
                  </a:cubicBezTo>
                  <a:cubicBezTo>
                    <a:pt x="1003459" y="477679"/>
                    <a:pt x="970121" y="507206"/>
                    <a:pt x="966311" y="546259"/>
                  </a:cubicBezTo>
                  <a:cubicBezTo>
                    <a:pt x="965359" y="555784"/>
                    <a:pt x="956786" y="563404"/>
                    <a:pt x="947261" y="563404"/>
                  </a:cubicBezTo>
                  <a:lnTo>
                    <a:pt x="469106" y="563404"/>
                  </a:lnTo>
                  <a:cubicBezTo>
                    <a:pt x="459581" y="563404"/>
                    <a:pt x="451009" y="555784"/>
                    <a:pt x="450056" y="546259"/>
                  </a:cubicBezTo>
                  <a:cubicBezTo>
                    <a:pt x="445294" y="507206"/>
                    <a:pt x="412909" y="477679"/>
                    <a:pt x="373856" y="477679"/>
                  </a:cubicBezTo>
                  <a:cubicBezTo>
                    <a:pt x="334804" y="477679"/>
                    <a:pt x="301466" y="507206"/>
                    <a:pt x="297656" y="546259"/>
                  </a:cubicBezTo>
                  <a:cubicBezTo>
                    <a:pt x="296704" y="555784"/>
                    <a:pt x="288131" y="563404"/>
                    <a:pt x="278606" y="563404"/>
                  </a:cubicBezTo>
                  <a:lnTo>
                    <a:pt x="277654" y="563404"/>
                  </a:lnTo>
                  <a:cubicBezTo>
                    <a:pt x="268129" y="563404"/>
                    <a:pt x="259556" y="555784"/>
                    <a:pt x="258604" y="546259"/>
                  </a:cubicBezTo>
                  <a:cubicBezTo>
                    <a:pt x="253841" y="507206"/>
                    <a:pt x="221456" y="477679"/>
                    <a:pt x="182404" y="477679"/>
                  </a:cubicBezTo>
                  <a:cubicBezTo>
                    <a:pt x="143351" y="477679"/>
                    <a:pt x="110014" y="507206"/>
                    <a:pt x="106204" y="546259"/>
                  </a:cubicBezTo>
                  <a:cubicBezTo>
                    <a:pt x="105251" y="555784"/>
                    <a:pt x="96679" y="563404"/>
                    <a:pt x="87154" y="563404"/>
                  </a:cubicBezTo>
                  <a:lnTo>
                    <a:pt x="26194" y="563404"/>
                  </a:lnTo>
                  <a:cubicBezTo>
                    <a:pt x="15716" y="563404"/>
                    <a:pt x="7144" y="554831"/>
                    <a:pt x="7144" y="544354"/>
                  </a:cubicBezTo>
                  <a:lnTo>
                    <a:pt x="7144" y="374809"/>
                  </a:lnTo>
                  <a:cubicBezTo>
                    <a:pt x="7144" y="364331"/>
                    <a:pt x="15716" y="355759"/>
                    <a:pt x="26194" y="355759"/>
                  </a:cubicBezTo>
                  <a:lnTo>
                    <a:pt x="868204" y="355759"/>
                  </a:lnTo>
                  <a:lnTo>
                    <a:pt x="868204" y="26194"/>
                  </a:lnTo>
                  <a:cubicBezTo>
                    <a:pt x="868204" y="15716"/>
                    <a:pt x="876776" y="7144"/>
                    <a:pt x="887254" y="7144"/>
                  </a:cubicBezTo>
                  <a:lnTo>
                    <a:pt x="1052036" y="7144"/>
                  </a:lnTo>
                  <a:cubicBezTo>
                    <a:pt x="1058704" y="7144"/>
                    <a:pt x="1064419" y="10001"/>
                    <a:pt x="1068229" y="15716"/>
                  </a:cubicBezTo>
                  <a:lnTo>
                    <a:pt x="1213009" y="240506"/>
                  </a:lnTo>
                  <a:cubicBezTo>
                    <a:pt x="1214914" y="243364"/>
                    <a:pt x="1215866" y="247174"/>
                    <a:pt x="1215866" y="250984"/>
                  </a:cubicBezTo>
                  <a:lnTo>
                    <a:pt x="1215866" y="544354"/>
                  </a:lnTo>
                  <a:cubicBezTo>
                    <a:pt x="1216819" y="554831"/>
                    <a:pt x="1208246" y="563404"/>
                    <a:pt x="1197769" y="563404"/>
                  </a:cubicBezTo>
                  <a:close/>
                  <a:moveTo>
                    <a:pt x="1153954" y="525304"/>
                  </a:moveTo>
                  <a:lnTo>
                    <a:pt x="1178719" y="525304"/>
                  </a:lnTo>
                  <a:lnTo>
                    <a:pt x="1178719" y="256699"/>
                  </a:lnTo>
                  <a:lnTo>
                    <a:pt x="1042511" y="45244"/>
                  </a:lnTo>
                  <a:lnTo>
                    <a:pt x="906304" y="45244"/>
                  </a:lnTo>
                  <a:lnTo>
                    <a:pt x="906304" y="374809"/>
                  </a:lnTo>
                  <a:cubicBezTo>
                    <a:pt x="906304" y="385286"/>
                    <a:pt x="897731" y="393859"/>
                    <a:pt x="887254" y="393859"/>
                  </a:cubicBezTo>
                  <a:lnTo>
                    <a:pt x="45244" y="393859"/>
                  </a:lnTo>
                  <a:lnTo>
                    <a:pt x="45244" y="525304"/>
                  </a:lnTo>
                  <a:lnTo>
                    <a:pt x="70961" y="525304"/>
                  </a:lnTo>
                  <a:cubicBezTo>
                    <a:pt x="84296" y="475774"/>
                    <a:pt x="129064" y="440531"/>
                    <a:pt x="182404" y="440531"/>
                  </a:cubicBezTo>
                  <a:cubicBezTo>
                    <a:pt x="222409" y="440531"/>
                    <a:pt x="257651" y="460534"/>
                    <a:pt x="278606" y="491966"/>
                  </a:cubicBezTo>
                  <a:cubicBezTo>
                    <a:pt x="299561" y="460534"/>
                    <a:pt x="334804" y="440531"/>
                    <a:pt x="374809" y="440531"/>
                  </a:cubicBezTo>
                  <a:cubicBezTo>
                    <a:pt x="427196" y="440531"/>
                    <a:pt x="472916" y="475774"/>
                    <a:pt x="486251" y="525304"/>
                  </a:cubicBezTo>
                  <a:lnTo>
                    <a:pt x="932974" y="525304"/>
                  </a:lnTo>
                  <a:cubicBezTo>
                    <a:pt x="946309" y="475774"/>
                    <a:pt x="991076" y="440531"/>
                    <a:pt x="1044416" y="440531"/>
                  </a:cubicBezTo>
                  <a:cubicBezTo>
                    <a:pt x="1094899" y="439579"/>
                    <a:pt x="1140619" y="475774"/>
                    <a:pt x="1153954" y="52530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4" name="Freeform: Shape 144">
              <a:extLst>
                <a:ext uri="{FF2B5EF4-FFF2-40B4-BE49-F238E27FC236}">
                  <a16:creationId xmlns:a16="http://schemas.microsoft.com/office/drawing/2014/main" id="{035B8035-79FD-4010-9F70-A620E281ECF7}"/>
                </a:ext>
              </a:extLst>
            </p:cNvPr>
            <p:cNvSpPr/>
            <p:nvPr/>
          </p:nvSpPr>
          <p:spPr>
            <a:xfrm>
              <a:off x="-475774" y="3944779"/>
              <a:ext cx="209550" cy="190500"/>
            </a:xfrm>
            <a:custGeom>
              <a:avLst/>
              <a:gdLst>
                <a:gd name="connsiteX0" fmla="*/ 199549 w 209550"/>
                <a:gd name="connsiteY0" fmla="*/ 188119 h 190500"/>
                <a:gd name="connsiteX1" fmla="*/ 16669 w 209550"/>
                <a:gd name="connsiteY1" fmla="*/ 188119 h 190500"/>
                <a:gd name="connsiteX2" fmla="*/ 7144 w 209550"/>
                <a:gd name="connsiteY2" fmla="*/ 178594 h 190500"/>
                <a:gd name="connsiteX3" fmla="*/ 7144 w 209550"/>
                <a:gd name="connsiteY3" fmla="*/ 16669 h 190500"/>
                <a:gd name="connsiteX4" fmla="*/ 16669 w 209550"/>
                <a:gd name="connsiteY4" fmla="*/ 7144 h 190500"/>
                <a:gd name="connsiteX5" fmla="*/ 95726 w 209550"/>
                <a:gd name="connsiteY5" fmla="*/ 7144 h 190500"/>
                <a:gd name="connsiteX6" fmla="*/ 103346 w 209550"/>
                <a:gd name="connsiteY6" fmla="*/ 11906 h 190500"/>
                <a:gd name="connsiteX7" fmla="*/ 208121 w 209550"/>
                <a:gd name="connsiteY7" fmla="*/ 173831 h 190500"/>
                <a:gd name="connsiteX8" fmla="*/ 208121 w 209550"/>
                <a:gd name="connsiteY8" fmla="*/ 183356 h 190500"/>
                <a:gd name="connsiteX9" fmla="*/ 199549 w 209550"/>
                <a:gd name="connsiteY9" fmla="*/ 188119 h 190500"/>
                <a:gd name="connsiteX10" fmla="*/ 26194 w 209550"/>
                <a:gd name="connsiteY10" fmla="*/ 169069 h 190500"/>
                <a:gd name="connsiteX11" fmla="*/ 182404 w 209550"/>
                <a:gd name="connsiteY11" fmla="*/ 169069 h 190500"/>
                <a:gd name="connsiteX12" fmla="*/ 90011 w 209550"/>
                <a:gd name="connsiteY12" fmla="*/ 26194 h 190500"/>
                <a:gd name="connsiteX13" fmla="*/ 26194 w 209550"/>
                <a:gd name="connsiteY13" fmla="*/ 26194 h 190500"/>
                <a:gd name="connsiteX14" fmla="*/ 26194 w 209550"/>
                <a:gd name="connsiteY14" fmla="*/ 169069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9550" h="190500">
                  <a:moveTo>
                    <a:pt x="199549" y="188119"/>
                  </a:moveTo>
                  <a:lnTo>
                    <a:pt x="16669" y="188119"/>
                  </a:lnTo>
                  <a:cubicBezTo>
                    <a:pt x="10954" y="188119"/>
                    <a:pt x="7144" y="184309"/>
                    <a:pt x="7144" y="178594"/>
                  </a:cubicBezTo>
                  <a:lnTo>
                    <a:pt x="7144" y="16669"/>
                  </a:lnTo>
                  <a:cubicBezTo>
                    <a:pt x="7144" y="10954"/>
                    <a:pt x="10954" y="7144"/>
                    <a:pt x="16669" y="7144"/>
                  </a:cubicBezTo>
                  <a:lnTo>
                    <a:pt x="95726" y="7144"/>
                  </a:lnTo>
                  <a:cubicBezTo>
                    <a:pt x="98584" y="7144"/>
                    <a:pt x="102394" y="9049"/>
                    <a:pt x="103346" y="11906"/>
                  </a:cubicBezTo>
                  <a:lnTo>
                    <a:pt x="208121" y="173831"/>
                  </a:lnTo>
                  <a:cubicBezTo>
                    <a:pt x="210026" y="176689"/>
                    <a:pt x="210026" y="180499"/>
                    <a:pt x="208121" y="183356"/>
                  </a:cubicBezTo>
                  <a:cubicBezTo>
                    <a:pt x="206216" y="186214"/>
                    <a:pt x="203359" y="188119"/>
                    <a:pt x="199549" y="188119"/>
                  </a:cubicBezTo>
                  <a:close/>
                  <a:moveTo>
                    <a:pt x="26194" y="169069"/>
                  </a:moveTo>
                  <a:lnTo>
                    <a:pt x="182404" y="169069"/>
                  </a:lnTo>
                  <a:lnTo>
                    <a:pt x="90011" y="26194"/>
                  </a:lnTo>
                  <a:lnTo>
                    <a:pt x="26194" y="26194"/>
                  </a:lnTo>
                  <a:lnTo>
                    <a:pt x="26194" y="16906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5" name="Freeform: Shape 145">
              <a:extLst>
                <a:ext uri="{FF2B5EF4-FFF2-40B4-BE49-F238E27FC236}">
                  <a16:creationId xmlns:a16="http://schemas.microsoft.com/office/drawing/2014/main" id="{3EF2B20E-6B13-4AAA-BC7D-AD02D4ED264C}"/>
                </a:ext>
              </a:extLst>
            </p:cNvPr>
            <p:cNvSpPr/>
            <p:nvPr/>
          </p:nvSpPr>
          <p:spPr>
            <a:xfrm>
              <a:off x="-1402556" y="3775234"/>
              <a:ext cx="904875" cy="504825"/>
            </a:xfrm>
            <a:custGeom>
              <a:avLst/>
              <a:gdLst>
                <a:gd name="connsiteX0" fmla="*/ 887254 w 904875"/>
                <a:gd name="connsiteY0" fmla="*/ 497681 h 504825"/>
                <a:gd name="connsiteX1" fmla="*/ 26194 w 904875"/>
                <a:gd name="connsiteY1" fmla="*/ 497681 h 504825"/>
                <a:gd name="connsiteX2" fmla="*/ 7144 w 904875"/>
                <a:gd name="connsiteY2" fmla="*/ 478631 h 504825"/>
                <a:gd name="connsiteX3" fmla="*/ 7144 w 904875"/>
                <a:gd name="connsiteY3" fmla="*/ 26194 h 504825"/>
                <a:gd name="connsiteX4" fmla="*/ 26194 w 904875"/>
                <a:gd name="connsiteY4" fmla="*/ 7144 h 504825"/>
                <a:gd name="connsiteX5" fmla="*/ 887254 w 904875"/>
                <a:gd name="connsiteY5" fmla="*/ 7144 h 504825"/>
                <a:gd name="connsiteX6" fmla="*/ 906304 w 904875"/>
                <a:gd name="connsiteY6" fmla="*/ 26194 h 504825"/>
                <a:gd name="connsiteX7" fmla="*/ 906304 w 904875"/>
                <a:gd name="connsiteY7" fmla="*/ 478631 h 504825"/>
                <a:gd name="connsiteX8" fmla="*/ 887254 w 904875"/>
                <a:gd name="connsiteY8" fmla="*/ 497681 h 504825"/>
                <a:gd name="connsiteX9" fmla="*/ 45244 w 904875"/>
                <a:gd name="connsiteY9" fmla="*/ 459581 h 504825"/>
                <a:gd name="connsiteX10" fmla="*/ 868204 w 904875"/>
                <a:gd name="connsiteY10" fmla="*/ 459581 h 504825"/>
                <a:gd name="connsiteX11" fmla="*/ 868204 w 904875"/>
                <a:gd name="connsiteY11" fmla="*/ 45244 h 504825"/>
                <a:gd name="connsiteX12" fmla="*/ 45244 w 904875"/>
                <a:gd name="connsiteY12" fmla="*/ 45244 h 504825"/>
                <a:gd name="connsiteX13" fmla="*/ 45244 w 904875"/>
                <a:gd name="connsiteY13" fmla="*/ 459581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04875" h="504825">
                  <a:moveTo>
                    <a:pt x="887254" y="497681"/>
                  </a:moveTo>
                  <a:lnTo>
                    <a:pt x="26194" y="497681"/>
                  </a:lnTo>
                  <a:cubicBezTo>
                    <a:pt x="15716" y="497681"/>
                    <a:pt x="7144" y="489109"/>
                    <a:pt x="7144" y="478631"/>
                  </a:cubicBezTo>
                  <a:lnTo>
                    <a:pt x="7144" y="26194"/>
                  </a:lnTo>
                  <a:cubicBezTo>
                    <a:pt x="7144" y="15716"/>
                    <a:pt x="15716" y="7144"/>
                    <a:pt x="26194" y="7144"/>
                  </a:cubicBezTo>
                  <a:lnTo>
                    <a:pt x="887254" y="7144"/>
                  </a:lnTo>
                  <a:cubicBezTo>
                    <a:pt x="897731" y="7144"/>
                    <a:pt x="906304" y="15716"/>
                    <a:pt x="906304" y="26194"/>
                  </a:cubicBezTo>
                  <a:lnTo>
                    <a:pt x="906304" y="478631"/>
                  </a:lnTo>
                  <a:cubicBezTo>
                    <a:pt x="906304" y="489109"/>
                    <a:pt x="897731" y="497681"/>
                    <a:pt x="887254" y="497681"/>
                  </a:cubicBezTo>
                  <a:close/>
                  <a:moveTo>
                    <a:pt x="45244" y="459581"/>
                  </a:moveTo>
                  <a:lnTo>
                    <a:pt x="868204" y="459581"/>
                  </a:lnTo>
                  <a:lnTo>
                    <a:pt x="868204" y="45244"/>
                  </a:lnTo>
                  <a:lnTo>
                    <a:pt x="45244" y="45244"/>
                  </a:lnTo>
                  <a:lnTo>
                    <a:pt x="45244" y="45958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6" name="Freeform: Shape 146">
              <a:extLst>
                <a:ext uri="{FF2B5EF4-FFF2-40B4-BE49-F238E27FC236}">
                  <a16:creationId xmlns:a16="http://schemas.microsoft.com/office/drawing/2014/main" id="{CACFD6C9-B46E-41D9-919D-F4324184A7B2}"/>
                </a:ext>
              </a:extLst>
            </p:cNvPr>
            <p:cNvSpPr/>
            <p:nvPr/>
          </p:nvSpPr>
          <p:spPr>
            <a:xfrm>
              <a:off x="-482441" y="4311491"/>
              <a:ext cx="238125" cy="238125"/>
            </a:xfrm>
            <a:custGeom>
              <a:avLst/>
              <a:gdLst>
                <a:gd name="connsiteX0" fmla="*/ 122396 w 238125"/>
                <a:gd name="connsiteY0" fmla="*/ 237649 h 238125"/>
                <a:gd name="connsiteX1" fmla="*/ 7144 w 238125"/>
                <a:gd name="connsiteY1" fmla="*/ 122396 h 238125"/>
                <a:gd name="connsiteX2" fmla="*/ 8096 w 238125"/>
                <a:gd name="connsiteY2" fmla="*/ 109061 h 238125"/>
                <a:gd name="connsiteX3" fmla="*/ 122396 w 238125"/>
                <a:gd name="connsiteY3" fmla="*/ 7144 h 238125"/>
                <a:gd name="connsiteX4" fmla="*/ 236696 w 238125"/>
                <a:gd name="connsiteY4" fmla="*/ 109061 h 238125"/>
                <a:gd name="connsiteX5" fmla="*/ 237649 w 238125"/>
                <a:gd name="connsiteY5" fmla="*/ 122396 h 238125"/>
                <a:gd name="connsiteX6" fmla="*/ 122396 w 238125"/>
                <a:gd name="connsiteY6" fmla="*/ 237649 h 238125"/>
                <a:gd name="connsiteX7" fmla="*/ 122396 w 238125"/>
                <a:gd name="connsiteY7" fmla="*/ 45244 h 238125"/>
                <a:gd name="connsiteX8" fmla="*/ 46196 w 238125"/>
                <a:gd name="connsiteY8" fmla="*/ 113824 h 238125"/>
                <a:gd name="connsiteX9" fmla="*/ 45244 w 238125"/>
                <a:gd name="connsiteY9" fmla="*/ 122396 h 238125"/>
                <a:gd name="connsiteX10" fmla="*/ 122396 w 238125"/>
                <a:gd name="connsiteY10" fmla="*/ 199549 h 238125"/>
                <a:gd name="connsiteX11" fmla="*/ 199549 w 238125"/>
                <a:gd name="connsiteY11" fmla="*/ 122396 h 238125"/>
                <a:gd name="connsiteX12" fmla="*/ 198596 w 238125"/>
                <a:gd name="connsiteY12" fmla="*/ 113824 h 238125"/>
                <a:gd name="connsiteX13" fmla="*/ 122396 w 238125"/>
                <a:gd name="connsiteY13" fmla="*/ 452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8125" h="238125">
                  <a:moveTo>
                    <a:pt x="122396" y="237649"/>
                  </a:moveTo>
                  <a:cubicBezTo>
                    <a:pt x="58579" y="237649"/>
                    <a:pt x="7144" y="186214"/>
                    <a:pt x="7144" y="122396"/>
                  </a:cubicBezTo>
                  <a:cubicBezTo>
                    <a:pt x="7144" y="118586"/>
                    <a:pt x="7144" y="113824"/>
                    <a:pt x="8096" y="109061"/>
                  </a:cubicBezTo>
                  <a:cubicBezTo>
                    <a:pt x="14764" y="50959"/>
                    <a:pt x="63341" y="7144"/>
                    <a:pt x="122396" y="7144"/>
                  </a:cubicBezTo>
                  <a:cubicBezTo>
                    <a:pt x="180499" y="7144"/>
                    <a:pt x="230029" y="50959"/>
                    <a:pt x="236696" y="109061"/>
                  </a:cubicBezTo>
                  <a:cubicBezTo>
                    <a:pt x="237649" y="113824"/>
                    <a:pt x="237649" y="117634"/>
                    <a:pt x="237649" y="122396"/>
                  </a:cubicBezTo>
                  <a:cubicBezTo>
                    <a:pt x="237649" y="186214"/>
                    <a:pt x="186214" y="237649"/>
                    <a:pt x="122396" y="237649"/>
                  </a:cubicBezTo>
                  <a:close/>
                  <a:moveTo>
                    <a:pt x="122396" y="45244"/>
                  </a:moveTo>
                  <a:cubicBezTo>
                    <a:pt x="83344" y="45244"/>
                    <a:pt x="50006" y="74771"/>
                    <a:pt x="46196" y="113824"/>
                  </a:cubicBezTo>
                  <a:cubicBezTo>
                    <a:pt x="46196" y="116681"/>
                    <a:pt x="45244" y="119539"/>
                    <a:pt x="45244" y="122396"/>
                  </a:cubicBezTo>
                  <a:cubicBezTo>
                    <a:pt x="45244" y="165259"/>
                    <a:pt x="79534" y="199549"/>
                    <a:pt x="122396" y="199549"/>
                  </a:cubicBezTo>
                  <a:cubicBezTo>
                    <a:pt x="165259" y="199549"/>
                    <a:pt x="199549" y="165259"/>
                    <a:pt x="199549" y="122396"/>
                  </a:cubicBezTo>
                  <a:cubicBezTo>
                    <a:pt x="199549" y="119539"/>
                    <a:pt x="199549" y="116681"/>
                    <a:pt x="198596" y="113824"/>
                  </a:cubicBezTo>
                  <a:cubicBezTo>
                    <a:pt x="194786" y="74771"/>
                    <a:pt x="161449" y="45244"/>
                    <a:pt x="122396" y="4524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7" name="Freeform: Shape 147">
              <a:extLst>
                <a:ext uri="{FF2B5EF4-FFF2-40B4-BE49-F238E27FC236}">
                  <a16:creationId xmlns:a16="http://schemas.microsoft.com/office/drawing/2014/main" id="{FE3D8405-5286-4903-AAEE-B6C7372D64A8}"/>
                </a:ext>
              </a:extLst>
            </p:cNvPr>
            <p:cNvSpPr/>
            <p:nvPr/>
          </p:nvSpPr>
          <p:spPr>
            <a:xfrm>
              <a:off x="-415766" y="4378166"/>
              <a:ext cx="104775" cy="104775"/>
            </a:xfrm>
            <a:custGeom>
              <a:avLst/>
              <a:gdLst>
                <a:gd name="connsiteX0" fmla="*/ 55721 w 104775"/>
                <a:gd name="connsiteY0" fmla="*/ 104299 h 104775"/>
                <a:gd name="connsiteX1" fmla="*/ 7144 w 104775"/>
                <a:gd name="connsiteY1" fmla="*/ 55721 h 104775"/>
                <a:gd name="connsiteX2" fmla="*/ 7144 w 104775"/>
                <a:gd name="connsiteY2" fmla="*/ 50006 h 104775"/>
                <a:gd name="connsiteX3" fmla="*/ 54769 w 104775"/>
                <a:gd name="connsiteY3" fmla="*/ 7144 h 104775"/>
                <a:gd name="connsiteX4" fmla="*/ 102394 w 104775"/>
                <a:gd name="connsiteY4" fmla="*/ 50006 h 104775"/>
                <a:gd name="connsiteX5" fmla="*/ 102394 w 104775"/>
                <a:gd name="connsiteY5" fmla="*/ 55721 h 104775"/>
                <a:gd name="connsiteX6" fmla="*/ 55721 w 104775"/>
                <a:gd name="connsiteY6" fmla="*/ 104299 h 104775"/>
                <a:gd name="connsiteX7" fmla="*/ 55721 w 104775"/>
                <a:gd name="connsiteY7" fmla="*/ 26194 h 104775"/>
                <a:gd name="connsiteX8" fmla="*/ 27146 w 104775"/>
                <a:gd name="connsiteY8" fmla="*/ 51911 h 104775"/>
                <a:gd name="connsiteX9" fmla="*/ 27146 w 104775"/>
                <a:gd name="connsiteY9" fmla="*/ 55721 h 104775"/>
                <a:gd name="connsiteX10" fmla="*/ 56674 w 104775"/>
                <a:gd name="connsiteY10" fmla="*/ 85249 h 104775"/>
                <a:gd name="connsiteX11" fmla="*/ 86201 w 104775"/>
                <a:gd name="connsiteY11" fmla="*/ 55721 h 104775"/>
                <a:gd name="connsiteX12" fmla="*/ 86201 w 104775"/>
                <a:gd name="connsiteY12" fmla="*/ 51911 h 104775"/>
                <a:gd name="connsiteX13" fmla="*/ 55721 w 104775"/>
                <a:gd name="connsiteY13" fmla="*/ 26194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775" h="104775">
                  <a:moveTo>
                    <a:pt x="55721" y="104299"/>
                  </a:moveTo>
                  <a:cubicBezTo>
                    <a:pt x="29051" y="104299"/>
                    <a:pt x="7144" y="82391"/>
                    <a:pt x="7144" y="55721"/>
                  </a:cubicBezTo>
                  <a:cubicBezTo>
                    <a:pt x="7144" y="53816"/>
                    <a:pt x="7144" y="51911"/>
                    <a:pt x="7144" y="50006"/>
                  </a:cubicBezTo>
                  <a:cubicBezTo>
                    <a:pt x="10001" y="25241"/>
                    <a:pt x="30956" y="7144"/>
                    <a:pt x="54769" y="7144"/>
                  </a:cubicBezTo>
                  <a:cubicBezTo>
                    <a:pt x="79534" y="7144"/>
                    <a:pt x="99536" y="25241"/>
                    <a:pt x="102394" y="50006"/>
                  </a:cubicBezTo>
                  <a:cubicBezTo>
                    <a:pt x="102394" y="51911"/>
                    <a:pt x="102394" y="53816"/>
                    <a:pt x="102394" y="55721"/>
                  </a:cubicBezTo>
                  <a:cubicBezTo>
                    <a:pt x="104299" y="82391"/>
                    <a:pt x="82391" y="104299"/>
                    <a:pt x="55721" y="104299"/>
                  </a:cubicBezTo>
                  <a:close/>
                  <a:moveTo>
                    <a:pt x="55721" y="26194"/>
                  </a:moveTo>
                  <a:cubicBezTo>
                    <a:pt x="40481" y="26194"/>
                    <a:pt x="28099" y="37624"/>
                    <a:pt x="27146" y="51911"/>
                  </a:cubicBezTo>
                  <a:cubicBezTo>
                    <a:pt x="27146" y="52864"/>
                    <a:pt x="27146" y="53816"/>
                    <a:pt x="27146" y="55721"/>
                  </a:cubicBezTo>
                  <a:cubicBezTo>
                    <a:pt x="27146" y="71914"/>
                    <a:pt x="40481" y="85249"/>
                    <a:pt x="56674" y="85249"/>
                  </a:cubicBezTo>
                  <a:cubicBezTo>
                    <a:pt x="72866" y="85249"/>
                    <a:pt x="86201" y="71914"/>
                    <a:pt x="86201" y="55721"/>
                  </a:cubicBezTo>
                  <a:cubicBezTo>
                    <a:pt x="86201" y="54769"/>
                    <a:pt x="86201" y="53816"/>
                    <a:pt x="86201" y="51911"/>
                  </a:cubicBezTo>
                  <a:cubicBezTo>
                    <a:pt x="83344" y="37624"/>
                    <a:pt x="70961" y="26194"/>
                    <a:pt x="55721" y="2619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8" name="Freeform: Shape 148">
              <a:extLst>
                <a:ext uri="{FF2B5EF4-FFF2-40B4-BE49-F238E27FC236}">
                  <a16:creationId xmlns:a16="http://schemas.microsoft.com/office/drawing/2014/main" id="{C3AE5245-FC9C-42EE-9039-FB4084CDE63E}"/>
                </a:ext>
              </a:extLst>
            </p:cNvPr>
            <p:cNvSpPr/>
            <p:nvPr/>
          </p:nvSpPr>
          <p:spPr>
            <a:xfrm>
              <a:off x="-1343501" y="4311491"/>
              <a:ext cx="238125" cy="238125"/>
            </a:xfrm>
            <a:custGeom>
              <a:avLst/>
              <a:gdLst>
                <a:gd name="connsiteX0" fmla="*/ 122396 w 238125"/>
                <a:gd name="connsiteY0" fmla="*/ 237649 h 238125"/>
                <a:gd name="connsiteX1" fmla="*/ 7144 w 238125"/>
                <a:gd name="connsiteY1" fmla="*/ 122396 h 238125"/>
                <a:gd name="connsiteX2" fmla="*/ 8096 w 238125"/>
                <a:gd name="connsiteY2" fmla="*/ 109061 h 238125"/>
                <a:gd name="connsiteX3" fmla="*/ 122396 w 238125"/>
                <a:gd name="connsiteY3" fmla="*/ 7144 h 238125"/>
                <a:gd name="connsiteX4" fmla="*/ 236696 w 238125"/>
                <a:gd name="connsiteY4" fmla="*/ 109061 h 238125"/>
                <a:gd name="connsiteX5" fmla="*/ 237649 w 238125"/>
                <a:gd name="connsiteY5" fmla="*/ 122396 h 238125"/>
                <a:gd name="connsiteX6" fmla="*/ 122396 w 238125"/>
                <a:gd name="connsiteY6" fmla="*/ 237649 h 238125"/>
                <a:gd name="connsiteX7" fmla="*/ 122396 w 238125"/>
                <a:gd name="connsiteY7" fmla="*/ 45244 h 238125"/>
                <a:gd name="connsiteX8" fmla="*/ 46196 w 238125"/>
                <a:gd name="connsiteY8" fmla="*/ 113824 h 238125"/>
                <a:gd name="connsiteX9" fmla="*/ 45244 w 238125"/>
                <a:gd name="connsiteY9" fmla="*/ 122396 h 238125"/>
                <a:gd name="connsiteX10" fmla="*/ 122396 w 238125"/>
                <a:gd name="connsiteY10" fmla="*/ 199549 h 238125"/>
                <a:gd name="connsiteX11" fmla="*/ 199549 w 238125"/>
                <a:gd name="connsiteY11" fmla="*/ 122396 h 238125"/>
                <a:gd name="connsiteX12" fmla="*/ 198596 w 238125"/>
                <a:gd name="connsiteY12" fmla="*/ 113824 h 238125"/>
                <a:gd name="connsiteX13" fmla="*/ 122396 w 238125"/>
                <a:gd name="connsiteY13" fmla="*/ 452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8125" h="238125">
                  <a:moveTo>
                    <a:pt x="122396" y="237649"/>
                  </a:moveTo>
                  <a:cubicBezTo>
                    <a:pt x="58579" y="237649"/>
                    <a:pt x="7144" y="186214"/>
                    <a:pt x="7144" y="122396"/>
                  </a:cubicBezTo>
                  <a:cubicBezTo>
                    <a:pt x="7144" y="118586"/>
                    <a:pt x="7144" y="113824"/>
                    <a:pt x="8096" y="109061"/>
                  </a:cubicBezTo>
                  <a:cubicBezTo>
                    <a:pt x="14764" y="50959"/>
                    <a:pt x="63341" y="7144"/>
                    <a:pt x="122396" y="7144"/>
                  </a:cubicBezTo>
                  <a:cubicBezTo>
                    <a:pt x="180499" y="7144"/>
                    <a:pt x="230029" y="50959"/>
                    <a:pt x="236696" y="109061"/>
                  </a:cubicBezTo>
                  <a:cubicBezTo>
                    <a:pt x="237649" y="113824"/>
                    <a:pt x="237649" y="117634"/>
                    <a:pt x="237649" y="122396"/>
                  </a:cubicBezTo>
                  <a:cubicBezTo>
                    <a:pt x="237649" y="186214"/>
                    <a:pt x="186214" y="237649"/>
                    <a:pt x="122396" y="237649"/>
                  </a:cubicBezTo>
                  <a:close/>
                  <a:moveTo>
                    <a:pt x="122396" y="45244"/>
                  </a:moveTo>
                  <a:cubicBezTo>
                    <a:pt x="83344" y="45244"/>
                    <a:pt x="50006" y="74771"/>
                    <a:pt x="46196" y="113824"/>
                  </a:cubicBezTo>
                  <a:cubicBezTo>
                    <a:pt x="46196" y="116681"/>
                    <a:pt x="45244" y="119539"/>
                    <a:pt x="45244" y="122396"/>
                  </a:cubicBezTo>
                  <a:cubicBezTo>
                    <a:pt x="45244" y="165259"/>
                    <a:pt x="79534" y="199549"/>
                    <a:pt x="122396" y="199549"/>
                  </a:cubicBezTo>
                  <a:cubicBezTo>
                    <a:pt x="165259" y="199549"/>
                    <a:pt x="199549" y="165259"/>
                    <a:pt x="199549" y="122396"/>
                  </a:cubicBezTo>
                  <a:cubicBezTo>
                    <a:pt x="199549" y="119539"/>
                    <a:pt x="199549" y="116681"/>
                    <a:pt x="198596" y="113824"/>
                  </a:cubicBezTo>
                  <a:cubicBezTo>
                    <a:pt x="194786" y="74771"/>
                    <a:pt x="161449" y="45244"/>
                    <a:pt x="122396" y="4524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9" name="Freeform: Shape 149">
              <a:extLst>
                <a:ext uri="{FF2B5EF4-FFF2-40B4-BE49-F238E27FC236}">
                  <a16:creationId xmlns:a16="http://schemas.microsoft.com/office/drawing/2014/main" id="{BD31B175-9F59-45FB-BE83-F5AE3C67E8D2}"/>
                </a:ext>
              </a:extLst>
            </p:cNvPr>
            <p:cNvSpPr/>
            <p:nvPr/>
          </p:nvSpPr>
          <p:spPr>
            <a:xfrm>
              <a:off x="-1276826" y="4378166"/>
              <a:ext cx="104775" cy="104775"/>
            </a:xfrm>
            <a:custGeom>
              <a:avLst/>
              <a:gdLst>
                <a:gd name="connsiteX0" fmla="*/ 55721 w 104775"/>
                <a:gd name="connsiteY0" fmla="*/ 104299 h 104775"/>
                <a:gd name="connsiteX1" fmla="*/ 7144 w 104775"/>
                <a:gd name="connsiteY1" fmla="*/ 55721 h 104775"/>
                <a:gd name="connsiteX2" fmla="*/ 7144 w 104775"/>
                <a:gd name="connsiteY2" fmla="*/ 50006 h 104775"/>
                <a:gd name="connsiteX3" fmla="*/ 54769 w 104775"/>
                <a:gd name="connsiteY3" fmla="*/ 7144 h 104775"/>
                <a:gd name="connsiteX4" fmla="*/ 102394 w 104775"/>
                <a:gd name="connsiteY4" fmla="*/ 50006 h 104775"/>
                <a:gd name="connsiteX5" fmla="*/ 102394 w 104775"/>
                <a:gd name="connsiteY5" fmla="*/ 55721 h 104775"/>
                <a:gd name="connsiteX6" fmla="*/ 55721 w 104775"/>
                <a:gd name="connsiteY6" fmla="*/ 104299 h 104775"/>
                <a:gd name="connsiteX7" fmla="*/ 55721 w 104775"/>
                <a:gd name="connsiteY7" fmla="*/ 26194 h 104775"/>
                <a:gd name="connsiteX8" fmla="*/ 27146 w 104775"/>
                <a:gd name="connsiteY8" fmla="*/ 51911 h 104775"/>
                <a:gd name="connsiteX9" fmla="*/ 27146 w 104775"/>
                <a:gd name="connsiteY9" fmla="*/ 55721 h 104775"/>
                <a:gd name="connsiteX10" fmla="*/ 56674 w 104775"/>
                <a:gd name="connsiteY10" fmla="*/ 85249 h 104775"/>
                <a:gd name="connsiteX11" fmla="*/ 86201 w 104775"/>
                <a:gd name="connsiteY11" fmla="*/ 55721 h 104775"/>
                <a:gd name="connsiteX12" fmla="*/ 86201 w 104775"/>
                <a:gd name="connsiteY12" fmla="*/ 51911 h 104775"/>
                <a:gd name="connsiteX13" fmla="*/ 55721 w 104775"/>
                <a:gd name="connsiteY13" fmla="*/ 26194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775" h="104775">
                  <a:moveTo>
                    <a:pt x="55721" y="104299"/>
                  </a:moveTo>
                  <a:cubicBezTo>
                    <a:pt x="29051" y="104299"/>
                    <a:pt x="7144" y="82391"/>
                    <a:pt x="7144" y="55721"/>
                  </a:cubicBezTo>
                  <a:cubicBezTo>
                    <a:pt x="7144" y="53816"/>
                    <a:pt x="7144" y="51911"/>
                    <a:pt x="7144" y="50006"/>
                  </a:cubicBezTo>
                  <a:cubicBezTo>
                    <a:pt x="10001" y="25241"/>
                    <a:pt x="30956" y="7144"/>
                    <a:pt x="54769" y="7144"/>
                  </a:cubicBezTo>
                  <a:cubicBezTo>
                    <a:pt x="79534" y="7144"/>
                    <a:pt x="99536" y="25241"/>
                    <a:pt x="102394" y="50006"/>
                  </a:cubicBezTo>
                  <a:cubicBezTo>
                    <a:pt x="102394" y="51911"/>
                    <a:pt x="102394" y="53816"/>
                    <a:pt x="102394" y="55721"/>
                  </a:cubicBezTo>
                  <a:cubicBezTo>
                    <a:pt x="104299" y="82391"/>
                    <a:pt x="82391" y="104299"/>
                    <a:pt x="55721" y="104299"/>
                  </a:cubicBezTo>
                  <a:close/>
                  <a:moveTo>
                    <a:pt x="55721" y="26194"/>
                  </a:moveTo>
                  <a:cubicBezTo>
                    <a:pt x="40481" y="26194"/>
                    <a:pt x="28099" y="37624"/>
                    <a:pt x="27146" y="51911"/>
                  </a:cubicBezTo>
                  <a:cubicBezTo>
                    <a:pt x="27146" y="52864"/>
                    <a:pt x="27146" y="53816"/>
                    <a:pt x="27146" y="55721"/>
                  </a:cubicBezTo>
                  <a:cubicBezTo>
                    <a:pt x="27146" y="71914"/>
                    <a:pt x="40481" y="85249"/>
                    <a:pt x="56674" y="85249"/>
                  </a:cubicBezTo>
                  <a:cubicBezTo>
                    <a:pt x="72866" y="85249"/>
                    <a:pt x="86201" y="71914"/>
                    <a:pt x="86201" y="55721"/>
                  </a:cubicBezTo>
                  <a:cubicBezTo>
                    <a:pt x="86201" y="54769"/>
                    <a:pt x="86201" y="53816"/>
                    <a:pt x="86201" y="51911"/>
                  </a:cubicBezTo>
                  <a:cubicBezTo>
                    <a:pt x="83344" y="37624"/>
                    <a:pt x="70961" y="26194"/>
                    <a:pt x="55721" y="2619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0" name="Freeform: Shape 150">
              <a:extLst>
                <a:ext uri="{FF2B5EF4-FFF2-40B4-BE49-F238E27FC236}">
                  <a16:creationId xmlns:a16="http://schemas.microsoft.com/office/drawing/2014/main" id="{2593724A-EBFA-4B96-8EF7-0AD2808B18FB}"/>
                </a:ext>
              </a:extLst>
            </p:cNvPr>
            <p:cNvSpPr/>
            <p:nvPr/>
          </p:nvSpPr>
          <p:spPr>
            <a:xfrm>
              <a:off x="-1151096" y="4311491"/>
              <a:ext cx="238125" cy="238125"/>
            </a:xfrm>
            <a:custGeom>
              <a:avLst/>
              <a:gdLst>
                <a:gd name="connsiteX0" fmla="*/ 122396 w 238125"/>
                <a:gd name="connsiteY0" fmla="*/ 237649 h 238125"/>
                <a:gd name="connsiteX1" fmla="*/ 7144 w 238125"/>
                <a:gd name="connsiteY1" fmla="*/ 122396 h 238125"/>
                <a:gd name="connsiteX2" fmla="*/ 8096 w 238125"/>
                <a:gd name="connsiteY2" fmla="*/ 109061 h 238125"/>
                <a:gd name="connsiteX3" fmla="*/ 122396 w 238125"/>
                <a:gd name="connsiteY3" fmla="*/ 7144 h 238125"/>
                <a:gd name="connsiteX4" fmla="*/ 236696 w 238125"/>
                <a:gd name="connsiteY4" fmla="*/ 109061 h 238125"/>
                <a:gd name="connsiteX5" fmla="*/ 237649 w 238125"/>
                <a:gd name="connsiteY5" fmla="*/ 122396 h 238125"/>
                <a:gd name="connsiteX6" fmla="*/ 122396 w 238125"/>
                <a:gd name="connsiteY6" fmla="*/ 237649 h 238125"/>
                <a:gd name="connsiteX7" fmla="*/ 122396 w 238125"/>
                <a:gd name="connsiteY7" fmla="*/ 45244 h 238125"/>
                <a:gd name="connsiteX8" fmla="*/ 46196 w 238125"/>
                <a:gd name="connsiteY8" fmla="*/ 113824 h 238125"/>
                <a:gd name="connsiteX9" fmla="*/ 45244 w 238125"/>
                <a:gd name="connsiteY9" fmla="*/ 122396 h 238125"/>
                <a:gd name="connsiteX10" fmla="*/ 122396 w 238125"/>
                <a:gd name="connsiteY10" fmla="*/ 199549 h 238125"/>
                <a:gd name="connsiteX11" fmla="*/ 199549 w 238125"/>
                <a:gd name="connsiteY11" fmla="*/ 122396 h 238125"/>
                <a:gd name="connsiteX12" fmla="*/ 198596 w 238125"/>
                <a:gd name="connsiteY12" fmla="*/ 113824 h 238125"/>
                <a:gd name="connsiteX13" fmla="*/ 122396 w 238125"/>
                <a:gd name="connsiteY13" fmla="*/ 452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8125" h="238125">
                  <a:moveTo>
                    <a:pt x="122396" y="237649"/>
                  </a:moveTo>
                  <a:cubicBezTo>
                    <a:pt x="58579" y="237649"/>
                    <a:pt x="7144" y="186214"/>
                    <a:pt x="7144" y="122396"/>
                  </a:cubicBezTo>
                  <a:cubicBezTo>
                    <a:pt x="7144" y="118586"/>
                    <a:pt x="7144" y="113824"/>
                    <a:pt x="8096" y="109061"/>
                  </a:cubicBezTo>
                  <a:cubicBezTo>
                    <a:pt x="14764" y="50959"/>
                    <a:pt x="63341" y="7144"/>
                    <a:pt x="122396" y="7144"/>
                  </a:cubicBezTo>
                  <a:cubicBezTo>
                    <a:pt x="180499" y="7144"/>
                    <a:pt x="230029" y="50959"/>
                    <a:pt x="236696" y="109061"/>
                  </a:cubicBezTo>
                  <a:cubicBezTo>
                    <a:pt x="237649" y="113824"/>
                    <a:pt x="237649" y="117634"/>
                    <a:pt x="237649" y="122396"/>
                  </a:cubicBezTo>
                  <a:cubicBezTo>
                    <a:pt x="236696" y="186214"/>
                    <a:pt x="185261" y="237649"/>
                    <a:pt x="122396" y="237649"/>
                  </a:cubicBezTo>
                  <a:close/>
                  <a:moveTo>
                    <a:pt x="122396" y="45244"/>
                  </a:moveTo>
                  <a:cubicBezTo>
                    <a:pt x="83344" y="45244"/>
                    <a:pt x="50006" y="74771"/>
                    <a:pt x="46196" y="113824"/>
                  </a:cubicBezTo>
                  <a:cubicBezTo>
                    <a:pt x="46196" y="116681"/>
                    <a:pt x="45244" y="119539"/>
                    <a:pt x="45244" y="122396"/>
                  </a:cubicBezTo>
                  <a:cubicBezTo>
                    <a:pt x="45244" y="165259"/>
                    <a:pt x="79534" y="199549"/>
                    <a:pt x="122396" y="199549"/>
                  </a:cubicBezTo>
                  <a:cubicBezTo>
                    <a:pt x="165259" y="199549"/>
                    <a:pt x="199549" y="165259"/>
                    <a:pt x="199549" y="122396"/>
                  </a:cubicBezTo>
                  <a:cubicBezTo>
                    <a:pt x="199549" y="119539"/>
                    <a:pt x="199549" y="116681"/>
                    <a:pt x="198596" y="113824"/>
                  </a:cubicBezTo>
                  <a:cubicBezTo>
                    <a:pt x="193834" y="74771"/>
                    <a:pt x="161449" y="45244"/>
                    <a:pt x="122396" y="4524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1" name="Freeform: Shape 151">
              <a:extLst>
                <a:ext uri="{FF2B5EF4-FFF2-40B4-BE49-F238E27FC236}">
                  <a16:creationId xmlns:a16="http://schemas.microsoft.com/office/drawing/2014/main" id="{B85B7B37-D8B5-420F-8C75-552F9E2E3E6B}"/>
                </a:ext>
              </a:extLst>
            </p:cNvPr>
            <p:cNvSpPr/>
            <p:nvPr/>
          </p:nvSpPr>
          <p:spPr>
            <a:xfrm>
              <a:off x="-1084421" y="4378166"/>
              <a:ext cx="104775" cy="104775"/>
            </a:xfrm>
            <a:custGeom>
              <a:avLst/>
              <a:gdLst>
                <a:gd name="connsiteX0" fmla="*/ 55721 w 104775"/>
                <a:gd name="connsiteY0" fmla="*/ 104299 h 104775"/>
                <a:gd name="connsiteX1" fmla="*/ 7144 w 104775"/>
                <a:gd name="connsiteY1" fmla="*/ 55721 h 104775"/>
                <a:gd name="connsiteX2" fmla="*/ 7144 w 104775"/>
                <a:gd name="connsiteY2" fmla="*/ 50006 h 104775"/>
                <a:gd name="connsiteX3" fmla="*/ 54769 w 104775"/>
                <a:gd name="connsiteY3" fmla="*/ 7144 h 104775"/>
                <a:gd name="connsiteX4" fmla="*/ 102394 w 104775"/>
                <a:gd name="connsiteY4" fmla="*/ 50006 h 104775"/>
                <a:gd name="connsiteX5" fmla="*/ 102394 w 104775"/>
                <a:gd name="connsiteY5" fmla="*/ 55721 h 104775"/>
                <a:gd name="connsiteX6" fmla="*/ 55721 w 104775"/>
                <a:gd name="connsiteY6" fmla="*/ 104299 h 104775"/>
                <a:gd name="connsiteX7" fmla="*/ 55721 w 104775"/>
                <a:gd name="connsiteY7" fmla="*/ 26194 h 104775"/>
                <a:gd name="connsiteX8" fmla="*/ 27146 w 104775"/>
                <a:gd name="connsiteY8" fmla="*/ 51911 h 104775"/>
                <a:gd name="connsiteX9" fmla="*/ 27146 w 104775"/>
                <a:gd name="connsiteY9" fmla="*/ 55721 h 104775"/>
                <a:gd name="connsiteX10" fmla="*/ 56674 w 104775"/>
                <a:gd name="connsiteY10" fmla="*/ 85249 h 104775"/>
                <a:gd name="connsiteX11" fmla="*/ 86201 w 104775"/>
                <a:gd name="connsiteY11" fmla="*/ 55721 h 104775"/>
                <a:gd name="connsiteX12" fmla="*/ 86201 w 104775"/>
                <a:gd name="connsiteY12" fmla="*/ 51911 h 104775"/>
                <a:gd name="connsiteX13" fmla="*/ 55721 w 104775"/>
                <a:gd name="connsiteY13" fmla="*/ 26194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775" h="104775">
                  <a:moveTo>
                    <a:pt x="55721" y="104299"/>
                  </a:moveTo>
                  <a:cubicBezTo>
                    <a:pt x="29051" y="104299"/>
                    <a:pt x="7144" y="82391"/>
                    <a:pt x="7144" y="55721"/>
                  </a:cubicBezTo>
                  <a:cubicBezTo>
                    <a:pt x="7144" y="53816"/>
                    <a:pt x="7144" y="51911"/>
                    <a:pt x="7144" y="50006"/>
                  </a:cubicBezTo>
                  <a:cubicBezTo>
                    <a:pt x="10001" y="25241"/>
                    <a:pt x="30956" y="7144"/>
                    <a:pt x="54769" y="7144"/>
                  </a:cubicBezTo>
                  <a:cubicBezTo>
                    <a:pt x="79534" y="7144"/>
                    <a:pt x="99536" y="25241"/>
                    <a:pt x="102394" y="50006"/>
                  </a:cubicBezTo>
                  <a:cubicBezTo>
                    <a:pt x="102394" y="51911"/>
                    <a:pt x="102394" y="53816"/>
                    <a:pt x="102394" y="55721"/>
                  </a:cubicBezTo>
                  <a:cubicBezTo>
                    <a:pt x="103346" y="82391"/>
                    <a:pt x="81439" y="104299"/>
                    <a:pt x="55721" y="104299"/>
                  </a:cubicBezTo>
                  <a:close/>
                  <a:moveTo>
                    <a:pt x="55721" y="26194"/>
                  </a:moveTo>
                  <a:cubicBezTo>
                    <a:pt x="40481" y="26194"/>
                    <a:pt x="28099" y="37624"/>
                    <a:pt x="27146" y="51911"/>
                  </a:cubicBezTo>
                  <a:cubicBezTo>
                    <a:pt x="27146" y="52864"/>
                    <a:pt x="27146" y="53816"/>
                    <a:pt x="27146" y="55721"/>
                  </a:cubicBezTo>
                  <a:cubicBezTo>
                    <a:pt x="27146" y="71914"/>
                    <a:pt x="40481" y="85249"/>
                    <a:pt x="56674" y="85249"/>
                  </a:cubicBezTo>
                  <a:cubicBezTo>
                    <a:pt x="72866" y="85249"/>
                    <a:pt x="86201" y="71914"/>
                    <a:pt x="86201" y="55721"/>
                  </a:cubicBezTo>
                  <a:cubicBezTo>
                    <a:pt x="86201" y="54769"/>
                    <a:pt x="86201" y="53816"/>
                    <a:pt x="86201" y="51911"/>
                  </a:cubicBezTo>
                  <a:cubicBezTo>
                    <a:pt x="82391" y="37624"/>
                    <a:pt x="70009" y="26194"/>
                    <a:pt x="55721" y="2619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2" name="Freeform: Shape 153">
              <a:extLst>
                <a:ext uri="{FF2B5EF4-FFF2-40B4-BE49-F238E27FC236}">
                  <a16:creationId xmlns:a16="http://schemas.microsoft.com/office/drawing/2014/main" id="{BB3A0C03-D456-4A99-BEE9-AC37E04E6628}"/>
                </a:ext>
              </a:extLst>
            </p:cNvPr>
            <p:cNvSpPr/>
            <p:nvPr/>
          </p:nvSpPr>
          <p:spPr>
            <a:xfrm>
              <a:off x="-452914" y="4161949"/>
              <a:ext cx="76200" cy="28575"/>
            </a:xfrm>
            <a:custGeom>
              <a:avLst/>
              <a:gdLst>
                <a:gd name="connsiteX0" fmla="*/ 63341 w 76200"/>
                <a:gd name="connsiteY0" fmla="*/ 26194 h 28575"/>
                <a:gd name="connsiteX1" fmla="*/ 16669 w 76200"/>
                <a:gd name="connsiteY1" fmla="*/ 26194 h 28575"/>
                <a:gd name="connsiteX2" fmla="*/ 7144 w 76200"/>
                <a:gd name="connsiteY2" fmla="*/ 16669 h 28575"/>
                <a:gd name="connsiteX3" fmla="*/ 16669 w 76200"/>
                <a:gd name="connsiteY3" fmla="*/ 7144 h 28575"/>
                <a:gd name="connsiteX4" fmla="*/ 63341 w 76200"/>
                <a:gd name="connsiteY4" fmla="*/ 7144 h 28575"/>
                <a:gd name="connsiteX5" fmla="*/ 72866 w 76200"/>
                <a:gd name="connsiteY5" fmla="*/ 16669 h 28575"/>
                <a:gd name="connsiteX6" fmla="*/ 63341 w 76200"/>
                <a:gd name="connsiteY6" fmla="*/ 2619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28575">
                  <a:moveTo>
                    <a:pt x="63341" y="26194"/>
                  </a:moveTo>
                  <a:lnTo>
                    <a:pt x="16669" y="26194"/>
                  </a:lnTo>
                  <a:cubicBezTo>
                    <a:pt x="10954" y="26194"/>
                    <a:pt x="7144" y="22384"/>
                    <a:pt x="7144" y="16669"/>
                  </a:cubicBezTo>
                  <a:cubicBezTo>
                    <a:pt x="7144" y="10954"/>
                    <a:pt x="10954" y="7144"/>
                    <a:pt x="16669" y="7144"/>
                  </a:cubicBezTo>
                  <a:lnTo>
                    <a:pt x="63341" y="7144"/>
                  </a:lnTo>
                  <a:cubicBezTo>
                    <a:pt x="69056" y="7144"/>
                    <a:pt x="72866" y="10954"/>
                    <a:pt x="72866" y="16669"/>
                  </a:cubicBezTo>
                  <a:cubicBezTo>
                    <a:pt x="72866" y="22384"/>
                    <a:pt x="68104" y="26194"/>
                    <a:pt x="63341" y="2619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3" name="Freeform: Shape 156">
              <a:extLst>
                <a:ext uri="{FF2B5EF4-FFF2-40B4-BE49-F238E27FC236}">
                  <a16:creationId xmlns:a16="http://schemas.microsoft.com/office/drawing/2014/main" id="{D3E450D4-7D90-4D68-BD4A-293954C2134D}"/>
                </a:ext>
              </a:extLst>
            </p:cNvPr>
            <p:cNvSpPr/>
            <p:nvPr/>
          </p:nvSpPr>
          <p:spPr>
            <a:xfrm>
              <a:off x="-910114" y="3631406"/>
              <a:ext cx="333375" cy="190500"/>
            </a:xfrm>
            <a:custGeom>
              <a:avLst/>
              <a:gdLst>
                <a:gd name="connsiteX0" fmla="*/ 308134 w 333375"/>
                <a:gd name="connsiteY0" fmla="*/ 189071 h 190500"/>
                <a:gd name="connsiteX1" fmla="*/ 155734 w 333375"/>
                <a:gd name="connsiteY1" fmla="*/ 189071 h 190500"/>
                <a:gd name="connsiteX2" fmla="*/ 144304 w 333375"/>
                <a:gd name="connsiteY2" fmla="*/ 185261 h 190500"/>
                <a:gd name="connsiteX3" fmla="*/ 14764 w 333375"/>
                <a:gd name="connsiteY3" fmla="*/ 90011 h 190500"/>
                <a:gd name="connsiteX4" fmla="*/ 7144 w 333375"/>
                <a:gd name="connsiteY4" fmla="*/ 74771 h 190500"/>
                <a:gd name="connsiteX5" fmla="*/ 13811 w 333375"/>
                <a:gd name="connsiteY5" fmla="*/ 59531 h 190500"/>
                <a:gd name="connsiteX6" fmla="*/ 51911 w 333375"/>
                <a:gd name="connsiteY6" fmla="*/ 28099 h 190500"/>
                <a:gd name="connsiteX7" fmla="*/ 110014 w 333375"/>
                <a:gd name="connsiteY7" fmla="*/ 7144 h 190500"/>
                <a:gd name="connsiteX8" fmla="*/ 168116 w 333375"/>
                <a:gd name="connsiteY8" fmla="*/ 28099 h 190500"/>
                <a:gd name="connsiteX9" fmla="*/ 321469 w 333375"/>
                <a:gd name="connsiteY9" fmla="*/ 154781 h 190500"/>
                <a:gd name="connsiteX10" fmla="*/ 327184 w 333375"/>
                <a:gd name="connsiteY10" fmla="*/ 175736 h 190500"/>
                <a:gd name="connsiteX11" fmla="*/ 308134 w 333375"/>
                <a:gd name="connsiteY11" fmla="*/ 189071 h 190500"/>
                <a:gd name="connsiteX12" fmla="*/ 162401 w 333375"/>
                <a:gd name="connsiteY12" fmla="*/ 150971 h 190500"/>
                <a:gd name="connsiteX13" fmla="*/ 254794 w 333375"/>
                <a:gd name="connsiteY13" fmla="*/ 150971 h 190500"/>
                <a:gd name="connsiteX14" fmla="*/ 142399 w 333375"/>
                <a:gd name="connsiteY14" fmla="*/ 58579 h 190500"/>
                <a:gd name="connsiteX15" fmla="*/ 74771 w 333375"/>
                <a:gd name="connsiteY15" fmla="*/ 58579 h 190500"/>
                <a:gd name="connsiteX16" fmla="*/ 55721 w 333375"/>
                <a:gd name="connsiteY16" fmla="*/ 73819 h 190500"/>
                <a:gd name="connsiteX17" fmla="*/ 162401 w 333375"/>
                <a:gd name="connsiteY17" fmla="*/ 150971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3375" h="190500">
                  <a:moveTo>
                    <a:pt x="308134" y="189071"/>
                  </a:moveTo>
                  <a:lnTo>
                    <a:pt x="155734" y="189071"/>
                  </a:lnTo>
                  <a:cubicBezTo>
                    <a:pt x="151924" y="189071"/>
                    <a:pt x="148114" y="188119"/>
                    <a:pt x="144304" y="185261"/>
                  </a:cubicBezTo>
                  <a:lnTo>
                    <a:pt x="14764" y="90011"/>
                  </a:lnTo>
                  <a:cubicBezTo>
                    <a:pt x="10001" y="86201"/>
                    <a:pt x="7144" y="81439"/>
                    <a:pt x="7144" y="74771"/>
                  </a:cubicBezTo>
                  <a:cubicBezTo>
                    <a:pt x="7144" y="69056"/>
                    <a:pt x="9049" y="63341"/>
                    <a:pt x="13811" y="59531"/>
                  </a:cubicBezTo>
                  <a:lnTo>
                    <a:pt x="51911" y="28099"/>
                  </a:lnTo>
                  <a:cubicBezTo>
                    <a:pt x="68104" y="14764"/>
                    <a:pt x="89059" y="7144"/>
                    <a:pt x="110014" y="7144"/>
                  </a:cubicBezTo>
                  <a:cubicBezTo>
                    <a:pt x="130969" y="7144"/>
                    <a:pt x="151924" y="14764"/>
                    <a:pt x="168116" y="28099"/>
                  </a:cubicBezTo>
                  <a:lnTo>
                    <a:pt x="321469" y="154781"/>
                  </a:lnTo>
                  <a:cubicBezTo>
                    <a:pt x="328136" y="159544"/>
                    <a:pt x="330041" y="168116"/>
                    <a:pt x="327184" y="175736"/>
                  </a:cubicBezTo>
                  <a:cubicBezTo>
                    <a:pt x="323374" y="184309"/>
                    <a:pt x="316706" y="189071"/>
                    <a:pt x="308134" y="189071"/>
                  </a:cubicBezTo>
                  <a:close/>
                  <a:moveTo>
                    <a:pt x="162401" y="150971"/>
                  </a:moveTo>
                  <a:lnTo>
                    <a:pt x="254794" y="150971"/>
                  </a:lnTo>
                  <a:lnTo>
                    <a:pt x="142399" y="58579"/>
                  </a:lnTo>
                  <a:cubicBezTo>
                    <a:pt x="123349" y="43339"/>
                    <a:pt x="93821" y="43339"/>
                    <a:pt x="74771" y="58579"/>
                  </a:cubicBezTo>
                  <a:lnTo>
                    <a:pt x="55721" y="73819"/>
                  </a:lnTo>
                  <a:lnTo>
                    <a:pt x="162401" y="15097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4" name="Freeform: Shape 163">
              <a:extLst>
                <a:ext uri="{FF2B5EF4-FFF2-40B4-BE49-F238E27FC236}">
                  <a16:creationId xmlns:a16="http://schemas.microsoft.com/office/drawing/2014/main" id="{AD63EAD9-CDF0-4F73-ACDB-08AC5944E194}"/>
                </a:ext>
              </a:extLst>
            </p:cNvPr>
            <p:cNvSpPr/>
            <p:nvPr/>
          </p:nvSpPr>
          <p:spPr>
            <a:xfrm>
              <a:off x="-1316030" y="3597116"/>
              <a:ext cx="581025" cy="228600"/>
            </a:xfrm>
            <a:custGeom>
              <a:avLst/>
              <a:gdLst>
                <a:gd name="connsiteX0" fmla="*/ 561650 w 581025"/>
                <a:gd name="connsiteY0" fmla="*/ 223361 h 228600"/>
                <a:gd name="connsiteX1" fmla="*/ 26345 w 581025"/>
                <a:gd name="connsiteY1" fmla="*/ 223361 h 228600"/>
                <a:gd name="connsiteX2" fmla="*/ 8247 w 581025"/>
                <a:gd name="connsiteY2" fmla="*/ 210026 h 228600"/>
                <a:gd name="connsiteX3" fmla="*/ 14915 w 581025"/>
                <a:gd name="connsiteY3" fmla="*/ 189071 h 228600"/>
                <a:gd name="connsiteX4" fmla="*/ 240657 w 581025"/>
                <a:gd name="connsiteY4" fmla="*/ 24289 h 228600"/>
                <a:gd name="connsiteX5" fmla="*/ 293997 w 581025"/>
                <a:gd name="connsiteY5" fmla="*/ 7144 h 228600"/>
                <a:gd name="connsiteX6" fmla="*/ 347337 w 581025"/>
                <a:gd name="connsiteY6" fmla="*/ 24289 h 228600"/>
                <a:gd name="connsiteX7" fmla="*/ 573080 w 581025"/>
                <a:gd name="connsiteY7" fmla="*/ 189071 h 228600"/>
                <a:gd name="connsiteX8" fmla="*/ 579747 w 581025"/>
                <a:gd name="connsiteY8" fmla="*/ 210026 h 228600"/>
                <a:gd name="connsiteX9" fmla="*/ 561650 w 581025"/>
                <a:gd name="connsiteY9" fmla="*/ 223361 h 228600"/>
                <a:gd name="connsiteX10" fmla="*/ 84447 w 581025"/>
                <a:gd name="connsiteY10" fmla="*/ 185261 h 228600"/>
                <a:gd name="connsiteX11" fmla="*/ 503547 w 581025"/>
                <a:gd name="connsiteY11" fmla="*/ 185261 h 228600"/>
                <a:gd name="connsiteX12" fmla="*/ 325430 w 581025"/>
                <a:gd name="connsiteY12" fmla="*/ 55721 h 228600"/>
                <a:gd name="connsiteX13" fmla="*/ 262565 w 581025"/>
                <a:gd name="connsiteY13" fmla="*/ 55721 h 228600"/>
                <a:gd name="connsiteX14" fmla="*/ 84447 w 581025"/>
                <a:gd name="connsiteY14" fmla="*/ 185261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1025" h="228600">
                  <a:moveTo>
                    <a:pt x="561650" y="223361"/>
                  </a:moveTo>
                  <a:lnTo>
                    <a:pt x="26345" y="223361"/>
                  </a:lnTo>
                  <a:cubicBezTo>
                    <a:pt x="17772" y="223361"/>
                    <a:pt x="11105" y="217646"/>
                    <a:pt x="8247" y="210026"/>
                  </a:cubicBezTo>
                  <a:cubicBezTo>
                    <a:pt x="5390" y="202406"/>
                    <a:pt x="8247" y="193834"/>
                    <a:pt x="14915" y="189071"/>
                  </a:cubicBezTo>
                  <a:lnTo>
                    <a:pt x="240657" y="24289"/>
                  </a:lnTo>
                  <a:cubicBezTo>
                    <a:pt x="256850" y="12859"/>
                    <a:pt x="274947" y="7144"/>
                    <a:pt x="293997" y="7144"/>
                  </a:cubicBezTo>
                  <a:cubicBezTo>
                    <a:pt x="313047" y="7144"/>
                    <a:pt x="332097" y="12859"/>
                    <a:pt x="347337" y="24289"/>
                  </a:cubicBezTo>
                  <a:lnTo>
                    <a:pt x="573080" y="189071"/>
                  </a:lnTo>
                  <a:cubicBezTo>
                    <a:pt x="579747" y="193834"/>
                    <a:pt x="582605" y="202406"/>
                    <a:pt x="579747" y="210026"/>
                  </a:cubicBezTo>
                  <a:cubicBezTo>
                    <a:pt x="577842" y="218599"/>
                    <a:pt x="570222" y="223361"/>
                    <a:pt x="561650" y="223361"/>
                  </a:cubicBezTo>
                  <a:close/>
                  <a:moveTo>
                    <a:pt x="84447" y="185261"/>
                  </a:moveTo>
                  <a:lnTo>
                    <a:pt x="503547" y="185261"/>
                  </a:lnTo>
                  <a:lnTo>
                    <a:pt x="325430" y="55721"/>
                  </a:lnTo>
                  <a:cubicBezTo>
                    <a:pt x="307332" y="42386"/>
                    <a:pt x="280662" y="42386"/>
                    <a:pt x="262565" y="55721"/>
                  </a:cubicBezTo>
                  <a:lnTo>
                    <a:pt x="84447" y="18526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5" name="Freeform: Shape 757">
              <a:extLst>
                <a:ext uri="{FF2B5EF4-FFF2-40B4-BE49-F238E27FC236}">
                  <a16:creationId xmlns:a16="http://schemas.microsoft.com/office/drawing/2014/main" id="{5967EB2F-E4A0-4B19-8FB7-D9CE66C4CB4B}"/>
                </a:ext>
              </a:extLst>
            </p:cNvPr>
            <p:cNvSpPr/>
            <p:nvPr/>
          </p:nvSpPr>
          <p:spPr>
            <a:xfrm>
              <a:off x="-1214914" y="3901916"/>
              <a:ext cx="28575" cy="247650"/>
            </a:xfrm>
            <a:custGeom>
              <a:avLst/>
              <a:gdLst>
                <a:gd name="connsiteX0" fmla="*/ 16669 w 28575"/>
                <a:gd name="connsiteY0" fmla="*/ 244316 h 247650"/>
                <a:gd name="connsiteX1" fmla="*/ 7144 w 28575"/>
                <a:gd name="connsiteY1" fmla="*/ 234791 h 247650"/>
                <a:gd name="connsiteX2" fmla="*/ 7144 w 28575"/>
                <a:gd name="connsiteY2" fmla="*/ 16669 h 247650"/>
                <a:gd name="connsiteX3" fmla="*/ 16669 w 28575"/>
                <a:gd name="connsiteY3" fmla="*/ 7144 h 247650"/>
                <a:gd name="connsiteX4" fmla="*/ 26194 w 28575"/>
                <a:gd name="connsiteY4" fmla="*/ 16669 h 247650"/>
                <a:gd name="connsiteX5" fmla="*/ 26194 w 28575"/>
                <a:gd name="connsiteY5" fmla="*/ 233839 h 247650"/>
                <a:gd name="connsiteX6" fmla="*/ 16669 w 28575"/>
                <a:gd name="connsiteY6" fmla="*/ 24431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 h="247650">
                  <a:moveTo>
                    <a:pt x="16669" y="244316"/>
                  </a:moveTo>
                  <a:cubicBezTo>
                    <a:pt x="10954" y="244316"/>
                    <a:pt x="7144" y="240506"/>
                    <a:pt x="7144" y="234791"/>
                  </a:cubicBezTo>
                  <a:lnTo>
                    <a:pt x="7144" y="16669"/>
                  </a:lnTo>
                  <a:cubicBezTo>
                    <a:pt x="7144" y="10954"/>
                    <a:pt x="10954" y="7144"/>
                    <a:pt x="16669" y="7144"/>
                  </a:cubicBezTo>
                  <a:cubicBezTo>
                    <a:pt x="22384" y="7144"/>
                    <a:pt x="26194" y="10954"/>
                    <a:pt x="26194" y="16669"/>
                  </a:cubicBezTo>
                  <a:lnTo>
                    <a:pt x="26194" y="233839"/>
                  </a:lnTo>
                  <a:cubicBezTo>
                    <a:pt x="26194" y="239554"/>
                    <a:pt x="21431" y="244316"/>
                    <a:pt x="16669" y="24431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6" name="Freeform: Shape 758">
              <a:extLst>
                <a:ext uri="{FF2B5EF4-FFF2-40B4-BE49-F238E27FC236}">
                  <a16:creationId xmlns:a16="http://schemas.microsoft.com/office/drawing/2014/main" id="{85F87B06-BF15-4C9B-B6A9-DFD01F879E89}"/>
                </a:ext>
              </a:extLst>
            </p:cNvPr>
            <p:cNvSpPr/>
            <p:nvPr/>
          </p:nvSpPr>
          <p:spPr>
            <a:xfrm>
              <a:off x="-1046321" y="3901916"/>
              <a:ext cx="28575" cy="247650"/>
            </a:xfrm>
            <a:custGeom>
              <a:avLst/>
              <a:gdLst>
                <a:gd name="connsiteX0" fmla="*/ 16669 w 28575"/>
                <a:gd name="connsiteY0" fmla="*/ 244316 h 247650"/>
                <a:gd name="connsiteX1" fmla="*/ 7144 w 28575"/>
                <a:gd name="connsiteY1" fmla="*/ 234791 h 247650"/>
                <a:gd name="connsiteX2" fmla="*/ 7144 w 28575"/>
                <a:gd name="connsiteY2" fmla="*/ 16669 h 247650"/>
                <a:gd name="connsiteX3" fmla="*/ 16669 w 28575"/>
                <a:gd name="connsiteY3" fmla="*/ 7144 h 247650"/>
                <a:gd name="connsiteX4" fmla="*/ 26194 w 28575"/>
                <a:gd name="connsiteY4" fmla="*/ 16669 h 247650"/>
                <a:gd name="connsiteX5" fmla="*/ 26194 w 28575"/>
                <a:gd name="connsiteY5" fmla="*/ 233839 h 247650"/>
                <a:gd name="connsiteX6" fmla="*/ 16669 w 28575"/>
                <a:gd name="connsiteY6" fmla="*/ 24431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 h="247650">
                  <a:moveTo>
                    <a:pt x="16669" y="244316"/>
                  </a:moveTo>
                  <a:cubicBezTo>
                    <a:pt x="10954" y="244316"/>
                    <a:pt x="7144" y="240506"/>
                    <a:pt x="7144" y="234791"/>
                  </a:cubicBezTo>
                  <a:lnTo>
                    <a:pt x="7144" y="16669"/>
                  </a:lnTo>
                  <a:cubicBezTo>
                    <a:pt x="7144" y="10954"/>
                    <a:pt x="10954" y="7144"/>
                    <a:pt x="16669" y="7144"/>
                  </a:cubicBezTo>
                  <a:cubicBezTo>
                    <a:pt x="22384" y="7144"/>
                    <a:pt x="26194" y="10954"/>
                    <a:pt x="26194" y="16669"/>
                  </a:cubicBezTo>
                  <a:lnTo>
                    <a:pt x="26194" y="233839"/>
                  </a:lnTo>
                  <a:cubicBezTo>
                    <a:pt x="26194" y="239554"/>
                    <a:pt x="21431" y="244316"/>
                    <a:pt x="16669" y="24431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7" name="Freeform: Shape 759">
              <a:extLst>
                <a:ext uri="{FF2B5EF4-FFF2-40B4-BE49-F238E27FC236}">
                  <a16:creationId xmlns:a16="http://schemas.microsoft.com/office/drawing/2014/main" id="{3AA32B22-118F-431C-AA3B-BA91A3F67E58}"/>
                </a:ext>
              </a:extLst>
            </p:cNvPr>
            <p:cNvSpPr/>
            <p:nvPr/>
          </p:nvSpPr>
          <p:spPr>
            <a:xfrm>
              <a:off x="-877729" y="3901916"/>
              <a:ext cx="28575" cy="247650"/>
            </a:xfrm>
            <a:custGeom>
              <a:avLst/>
              <a:gdLst>
                <a:gd name="connsiteX0" fmla="*/ 16669 w 28575"/>
                <a:gd name="connsiteY0" fmla="*/ 244316 h 247650"/>
                <a:gd name="connsiteX1" fmla="*/ 7144 w 28575"/>
                <a:gd name="connsiteY1" fmla="*/ 234791 h 247650"/>
                <a:gd name="connsiteX2" fmla="*/ 7144 w 28575"/>
                <a:gd name="connsiteY2" fmla="*/ 16669 h 247650"/>
                <a:gd name="connsiteX3" fmla="*/ 16669 w 28575"/>
                <a:gd name="connsiteY3" fmla="*/ 7144 h 247650"/>
                <a:gd name="connsiteX4" fmla="*/ 26194 w 28575"/>
                <a:gd name="connsiteY4" fmla="*/ 16669 h 247650"/>
                <a:gd name="connsiteX5" fmla="*/ 26194 w 28575"/>
                <a:gd name="connsiteY5" fmla="*/ 233839 h 247650"/>
                <a:gd name="connsiteX6" fmla="*/ 16669 w 28575"/>
                <a:gd name="connsiteY6" fmla="*/ 24431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 h="247650">
                  <a:moveTo>
                    <a:pt x="16669" y="244316"/>
                  </a:moveTo>
                  <a:cubicBezTo>
                    <a:pt x="10954" y="244316"/>
                    <a:pt x="7144" y="240506"/>
                    <a:pt x="7144" y="234791"/>
                  </a:cubicBezTo>
                  <a:lnTo>
                    <a:pt x="7144" y="16669"/>
                  </a:lnTo>
                  <a:cubicBezTo>
                    <a:pt x="7144" y="10954"/>
                    <a:pt x="10954" y="7144"/>
                    <a:pt x="16669" y="7144"/>
                  </a:cubicBezTo>
                  <a:cubicBezTo>
                    <a:pt x="22384" y="7144"/>
                    <a:pt x="26194" y="10954"/>
                    <a:pt x="26194" y="16669"/>
                  </a:cubicBezTo>
                  <a:lnTo>
                    <a:pt x="26194" y="233839"/>
                  </a:lnTo>
                  <a:cubicBezTo>
                    <a:pt x="26194" y="239554"/>
                    <a:pt x="21431" y="244316"/>
                    <a:pt x="16669" y="24431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8" name="Freeform: Shape 760">
              <a:extLst>
                <a:ext uri="{FF2B5EF4-FFF2-40B4-BE49-F238E27FC236}">
                  <a16:creationId xmlns:a16="http://schemas.microsoft.com/office/drawing/2014/main" id="{68BC07A0-33D8-4C43-8261-48F92AF4BE6D}"/>
                </a:ext>
              </a:extLst>
            </p:cNvPr>
            <p:cNvSpPr/>
            <p:nvPr/>
          </p:nvSpPr>
          <p:spPr>
            <a:xfrm>
              <a:off x="-709136" y="3901916"/>
              <a:ext cx="28575" cy="247650"/>
            </a:xfrm>
            <a:custGeom>
              <a:avLst/>
              <a:gdLst>
                <a:gd name="connsiteX0" fmla="*/ 16669 w 28575"/>
                <a:gd name="connsiteY0" fmla="*/ 244316 h 247650"/>
                <a:gd name="connsiteX1" fmla="*/ 7144 w 28575"/>
                <a:gd name="connsiteY1" fmla="*/ 234791 h 247650"/>
                <a:gd name="connsiteX2" fmla="*/ 7144 w 28575"/>
                <a:gd name="connsiteY2" fmla="*/ 16669 h 247650"/>
                <a:gd name="connsiteX3" fmla="*/ 16669 w 28575"/>
                <a:gd name="connsiteY3" fmla="*/ 7144 h 247650"/>
                <a:gd name="connsiteX4" fmla="*/ 26194 w 28575"/>
                <a:gd name="connsiteY4" fmla="*/ 16669 h 247650"/>
                <a:gd name="connsiteX5" fmla="*/ 26194 w 28575"/>
                <a:gd name="connsiteY5" fmla="*/ 233839 h 247650"/>
                <a:gd name="connsiteX6" fmla="*/ 16669 w 28575"/>
                <a:gd name="connsiteY6" fmla="*/ 24431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 h="247650">
                  <a:moveTo>
                    <a:pt x="16669" y="244316"/>
                  </a:moveTo>
                  <a:cubicBezTo>
                    <a:pt x="10954" y="244316"/>
                    <a:pt x="7144" y="240506"/>
                    <a:pt x="7144" y="234791"/>
                  </a:cubicBezTo>
                  <a:lnTo>
                    <a:pt x="7144" y="16669"/>
                  </a:lnTo>
                  <a:cubicBezTo>
                    <a:pt x="7144" y="10954"/>
                    <a:pt x="10954" y="7144"/>
                    <a:pt x="16669" y="7144"/>
                  </a:cubicBezTo>
                  <a:cubicBezTo>
                    <a:pt x="22384" y="7144"/>
                    <a:pt x="26194" y="10954"/>
                    <a:pt x="26194" y="16669"/>
                  </a:cubicBezTo>
                  <a:lnTo>
                    <a:pt x="26194" y="233839"/>
                  </a:lnTo>
                  <a:cubicBezTo>
                    <a:pt x="26194" y="239554"/>
                    <a:pt x="21431" y="244316"/>
                    <a:pt x="16669" y="24431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549" name="Group 548">
            <a:extLst>
              <a:ext uri="{FF2B5EF4-FFF2-40B4-BE49-F238E27FC236}">
                <a16:creationId xmlns:a16="http://schemas.microsoft.com/office/drawing/2014/main" id="{E80F6F4E-8D26-4AA5-90D5-21EC266C4918}"/>
              </a:ext>
            </a:extLst>
          </p:cNvPr>
          <p:cNvGrpSpPr/>
          <p:nvPr/>
        </p:nvGrpSpPr>
        <p:grpSpPr>
          <a:xfrm>
            <a:off x="4184080" y="1621807"/>
            <a:ext cx="3288814" cy="1507156"/>
            <a:chOff x="6486211" y="1739620"/>
            <a:chExt cx="2801675" cy="1283916"/>
          </a:xfrm>
        </p:grpSpPr>
        <p:grpSp>
          <p:nvGrpSpPr>
            <p:cNvPr id="550" name="Group 549">
              <a:extLst>
                <a:ext uri="{FF2B5EF4-FFF2-40B4-BE49-F238E27FC236}">
                  <a16:creationId xmlns:a16="http://schemas.microsoft.com/office/drawing/2014/main" id="{6E4EAD5C-7924-4B1F-9DFF-D1AD8232C318}"/>
                </a:ext>
              </a:extLst>
            </p:cNvPr>
            <p:cNvGrpSpPr/>
            <p:nvPr/>
          </p:nvGrpSpPr>
          <p:grpSpPr>
            <a:xfrm>
              <a:off x="6486211" y="2427446"/>
              <a:ext cx="596090" cy="596090"/>
              <a:chOff x="6340161" y="2433796"/>
              <a:chExt cx="596090" cy="596090"/>
            </a:xfrm>
          </p:grpSpPr>
          <p:sp>
            <p:nvSpPr>
              <p:cNvPr id="660" name="Freeform: Shape 498">
                <a:extLst>
                  <a:ext uri="{FF2B5EF4-FFF2-40B4-BE49-F238E27FC236}">
                    <a16:creationId xmlns:a16="http://schemas.microsoft.com/office/drawing/2014/main" id="{52517459-A55E-400A-8290-6C0D2E0D05B7}"/>
                  </a:ext>
                </a:extLst>
              </p:cNvPr>
              <p:cNvSpPr/>
              <p:nvPr/>
            </p:nvSpPr>
            <p:spPr>
              <a:xfrm>
                <a:off x="6340161" y="2433796"/>
                <a:ext cx="596090" cy="596090"/>
              </a:xfrm>
              <a:custGeom>
                <a:avLst/>
                <a:gdLst>
                  <a:gd name="connsiteX0" fmla="*/ 16669 w 771525"/>
                  <a:gd name="connsiteY0" fmla="*/ 769144 h 771525"/>
                  <a:gd name="connsiteX1" fmla="*/ 759619 w 771525"/>
                  <a:gd name="connsiteY1" fmla="*/ 769144 h 771525"/>
                  <a:gd name="connsiteX2" fmla="*/ 769144 w 771525"/>
                  <a:gd name="connsiteY2" fmla="*/ 759619 h 771525"/>
                  <a:gd name="connsiteX3" fmla="*/ 769144 w 771525"/>
                  <a:gd name="connsiteY3" fmla="*/ 693344 h 771525"/>
                  <a:gd name="connsiteX4" fmla="*/ 759619 w 771525"/>
                  <a:gd name="connsiteY4" fmla="*/ 683819 h 771525"/>
                  <a:gd name="connsiteX5" fmla="*/ 718547 w 771525"/>
                  <a:gd name="connsiteY5" fmla="*/ 683819 h 771525"/>
                  <a:gd name="connsiteX6" fmla="*/ 718547 w 771525"/>
                  <a:gd name="connsiteY6" fmla="*/ 92469 h 771525"/>
                  <a:gd name="connsiteX7" fmla="*/ 732596 w 771525"/>
                  <a:gd name="connsiteY7" fmla="*/ 92469 h 771525"/>
                  <a:gd name="connsiteX8" fmla="*/ 742121 w 771525"/>
                  <a:gd name="connsiteY8" fmla="*/ 82944 h 771525"/>
                  <a:gd name="connsiteX9" fmla="*/ 742121 w 771525"/>
                  <a:gd name="connsiteY9" fmla="*/ 16669 h 771525"/>
                  <a:gd name="connsiteX10" fmla="*/ 732596 w 771525"/>
                  <a:gd name="connsiteY10" fmla="*/ 7144 h 771525"/>
                  <a:gd name="connsiteX11" fmla="*/ 43691 w 771525"/>
                  <a:gd name="connsiteY11" fmla="*/ 7144 h 771525"/>
                  <a:gd name="connsiteX12" fmla="*/ 34166 w 771525"/>
                  <a:gd name="connsiteY12" fmla="*/ 16669 h 771525"/>
                  <a:gd name="connsiteX13" fmla="*/ 34166 w 771525"/>
                  <a:gd name="connsiteY13" fmla="*/ 82944 h 771525"/>
                  <a:gd name="connsiteX14" fmla="*/ 43691 w 771525"/>
                  <a:gd name="connsiteY14" fmla="*/ 92469 h 771525"/>
                  <a:gd name="connsiteX15" fmla="*/ 57741 w 771525"/>
                  <a:gd name="connsiteY15" fmla="*/ 92469 h 771525"/>
                  <a:gd name="connsiteX16" fmla="*/ 57741 w 771525"/>
                  <a:gd name="connsiteY16" fmla="*/ 683819 h 771525"/>
                  <a:gd name="connsiteX17" fmla="*/ 16669 w 771525"/>
                  <a:gd name="connsiteY17" fmla="*/ 683819 h 771525"/>
                  <a:gd name="connsiteX18" fmla="*/ 7144 w 771525"/>
                  <a:gd name="connsiteY18" fmla="*/ 693344 h 771525"/>
                  <a:gd name="connsiteX19" fmla="*/ 7144 w 771525"/>
                  <a:gd name="connsiteY19" fmla="*/ 759619 h 771525"/>
                  <a:gd name="connsiteX20" fmla="*/ 16669 w 771525"/>
                  <a:gd name="connsiteY20" fmla="*/ 769144 h 771525"/>
                  <a:gd name="connsiteX21" fmla="*/ 53216 w 771525"/>
                  <a:gd name="connsiteY21" fmla="*/ 26194 h 771525"/>
                  <a:gd name="connsiteX22" fmla="*/ 723062 w 771525"/>
                  <a:gd name="connsiteY22" fmla="*/ 26194 h 771525"/>
                  <a:gd name="connsiteX23" fmla="*/ 723062 w 771525"/>
                  <a:gd name="connsiteY23" fmla="*/ 73419 h 771525"/>
                  <a:gd name="connsiteX24" fmla="*/ 53216 w 771525"/>
                  <a:gd name="connsiteY24" fmla="*/ 73419 h 771525"/>
                  <a:gd name="connsiteX25" fmla="*/ 53216 w 771525"/>
                  <a:gd name="connsiteY25" fmla="*/ 26194 h 771525"/>
                  <a:gd name="connsiteX26" fmla="*/ 76791 w 771525"/>
                  <a:gd name="connsiteY26" fmla="*/ 92469 h 771525"/>
                  <a:gd name="connsiteX27" fmla="*/ 699487 w 771525"/>
                  <a:gd name="connsiteY27" fmla="*/ 92469 h 771525"/>
                  <a:gd name="connsiteX28" fmla="*/ 699487 w 771525"/>
                  <a:gd name="connsiteY28" fmla="*/ 683819 h 771525"/>
                  <a:gd name="connsiteX29" fmla="*/ 496491 w 771525"/>
                  <a:gd name="connsiteY29" fmla="*/ 683819 h 771525"/>
                  <a:gd name="connsiteX30" fmla="*/ 496491 w 771525"/>
                  <a:gd name="connsiteY30" fmla="*/ 470402 h 771525"/>
                  <a:gd name="connsiteX31" fmla="*/ 486966 w 771525"/>
                  <a:gd name="connsiteY31" fmla="*/ 460877 h 771525"/>
                  <a:gd name="connsiteX32" fmla="*/ 289322 w 771525"/>
                  <a:gd name="connsiteY32" fmla="*/ 460877 h 771525"/>
                  <a:gd name="connsiteX33" fmla="*/ 279797 w 771525"/>
                  <a:gd name="connsiteY33" fmla="*/ 470402 h 771525"/>
                  <a:gd name="connsiteX34" fmla="*/ 279797 w 771525"/>
                  <a:gd name="connsiteY34" fmla="*/ 683819 h 771525"/>
                  <a:gd name="connsiteX35" fmla="*/ 76791 w 771525"/>
                  <a:gd name="connsiteY35" fmla="*/ 683819 h 771525"/>
                  <a:gd name="connsiteX36" fmla="*/ 76791 w 771525"/>
                  <a:gd name="connsiteY36" fmla="*/ 92469 h 771525"/>
                  <a:gd name="connsiteX37" fmla="*/ 298847 w 771525"/>
                  <a:gd name="connsiteY37" fmla="*/ 683819 h 771525"/>
                  <a:gd name="connsiteX38" fmla="*/ 298847 w 771525"/>
                  <a:gd name="connsiteY38" fmla="*/ 479927 h 771525"/>
                  <a:gd name="connsiteX39" fmla="*/ 378619 w 771525"/>
                  <a:gd name="connsiteY39" fmla="*/ 479927 h 771525"/>
                  <a:gd name="connsiteX40" fmla="*/ 378619 w 771525"/>
                  <a:gd name="connsiteY40" fmla="*/ 683819 h 771525"/>
                  <a:gd name="connsiteX41" fmla="*/ 298847 w 771525"/>
                  <a:gd name="connsiteY41" fmla="*/ 683819 h 771525"/>
                  <a:gd name="connsiteX42" fmla="*/ 397669 w 771525"/>
                  <a:gd name="connsiteY42" fmla="*/ 479927 h 771525"/>
                  <a:gd name="connsiteX43" fmla="*/ 477441 w 771525"/>
                  <a:gd name="connsiteY43" fmla="*/ 479927 h 771525"/>
                  <a:gd name="connsiteX44" fmla="*/ 477441 w 771525"/>
                  <a:gd name="connsiteY44" fmla="*/ 683819 h 771525"/>
                  <a:gd name="connsiteX45" fmla="*/ 397669 w 771525"/>
                  <a:gd name="connsiteY45" fmla="*/ 683819 h 771525"/>
                  <a:gd name="connsiteX46" fmla="*/ 397669 w 771525"/>
                  <a:gd name="connsiteY46" fmla="*/ 479927 h 771525"/>
                  <a:gd name="connsiteX47" fmla="*/ 26194 w 771525"/>
                  <a:gd name="connsiteY47" fmla="*/ 702869 h 771525"/>
                  <a:gd name="connsiteX48" fmla="*/ 750094 w 771525"/>
                  <a:gd name="connsiteY48" fmla="*/ 702869 h 771525"/>
                  <a:gd name="connsiteX49" fmla="*/ 750094 w 771525"/>
                  <a:gd name="connsiteY49" fmla="*/ 750094 h 771525"/>
                  <a:gd name="connsiteX50" fmla="*/ 26194 w 771525"/>
                  <a:gd name="connsiteY50" fmla="*/ 750094 h 771525"/>
                  <a:gd name="connsiteX51" fmla="*/ 26194 w 771525"/>
                  <a:gd name="connsiteY51" fmla="*/ 702869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771525" h="771525">
                    <a:moveTo>
                      <a:pt x="16669" y="769144"/>
                    </a:moveTo>
                    <a:lnTo>
                      <a:pt x="759619" y="769144"/>
                    </a:lnTo>
                    <a:cubicBezTo>
                      <a:pt x="764877" y="769144"/>
                      <a:pt x="769144" y="764886"/>
                      <a:pt x="769144" y="759619"/>
                    </a:cubicBezTo>
                    <a:lnTo>
                      <a:pt x="769144" y="693344"/>
                    </a:lnTo>
                    <a:cubicBezTo>
                      <a:pt x="769144" y="688076"/>
                      <a:pt x="764877" y="683819"/>
                      <a:pt x="759619" y="683819"/>
                    </a:cubicBezTo>
                    <a:lnTo>
                      <a:pt x="718547" y="683819"/>
                    </a:lnTo>
                    <a:lnTo>
                      <a:pt x="718547" y="92469"/>
                    </a:lnTo>
                    <a:lnTo>
                      <a:pt x="732596" y="92469"/>
                    </a:lnTo>
                    <a:cubicBezTo>
                      <a:pt x="737854" y="92469"/>
                      <a:pt x="742121" y="88211"/>
                      <a:pt x="742121" y="82944"/>
                    </a:cubicBezTo>
                    <a:lnTo>
                      <a:pt x="742121" y="16669"/>
                    </a:lnTo>
                    <a:cubicBezTo>
                      <a:pt x="742121" y="11401"/>
                      <a:pt x="737854" y="7144"/>
                      <a:pt x="732596" y="7144"/>
                    </a:cubicBezTo>
                    <a:lnTo>
                      <a:pt x="43691" y="7144"/>
                    </a:lnTo>
                    <a:cubicBezTo>
                      <a:pt x="38433" y="7144"/>
                      <a:pt x="34166" y="11401"/>
                      <a:pt x="34166" y="16669"/>
                    </a:cubicBezTo>
                    <a:lnTo>
                      <a:pt x="34166" y="82944"/>
                    </a:lnTo>
                    <a:cubicBezTo>
                      <a:pt x="34166" y="88211"/>
                      <a:pt x="38433" y="92469"/>
                      <a:pt x="43691" y="92469"/>
                    </a:cubicBezTo>
                    <a:lnTo>
                      <a:pt x="57741" y="92469"/>
                    </a:lnTo>
                    <a:lnTo>
                      <a:pt x="57741" y="683819"/>
                    </a:lnTo>
                    <a:lnTo>
                      <a:pt x="16669" y="683819"/>
                    </a:lnTo>
                    <a:cubicBezTo>
                      <a:pt x="11411" y="683819"/>
                      <a:pt x="7144" y="688076"/>
                      <a:pt x="7144" y="693344"/>
                    </a:cubicBezTo>
                    <a:lnTo>
                      <a:pt x="7144" y="759619"/>
                    </a:lnTo>
                    <a:cubicBezTo>
                      <a:pt x="7144" y="764886"/>
                      <a:pt x="11411" y="769144"/>
                      <a:pt x="16669" y="769144"/>
                    </a:cubicBezTo>
                    <a:close/>
                    <a:moveTo>
                      <a:pt x="53216" y="26194"/>
                    </a:moveTo>
                    <a:lnTo>
                      <a:pt x="723062" y="26194"/>
                    </a:lnTo>
                    <a:lnTo>
                      <a:pt x="723062" y="73419"/>
                    </a:lnTo>
                    <a:lnTo>
                      <a:pt x="53216" y="73419"/>
                    </a:lnTo>
                    <a:lnTo>
                      <a:pt x="53216" y="26194"/>
                    </a:lnTo>
                    <a:close/>
                    <a:moveTo>
                      <a:pt x="76791" y="92469"/>
                    </a:moveTo>
                    <a:lnTo>
                      <a:pt x="699487" y="92469"/>
                    </a:lnTo>
                    <a:lnTo>
                      <a:pt x="699487" y="683819"/>
                    </a:lnTo>
                    <a:lnTo>
                      <a:pt x="496491" y="683819"/>
                    </a:lnTo>
                    <a:lnTo>
                      <a:pt x="496491" y="470402"/>
                    </a:lnTo>
                    <a:cubicBezTo>
                      <a:pt x="496491" y="465134"/>
                      <a:pt x="492223" y="460877"/>
                      <a:pt x="486966" y="460877"/>
                    </a:cubicBezTo>
                    <a:lnTo>
                      <a:pt x="289322" y="460877"/>
                    </a:lnTo>
                    <a:cubicBezTo>
                      <a:pt x="284064" y="460877"/>
                      <a:pt x="279797" y="465134"/>
                      <a:pt x="279797" y="470402"/>
                    </a:cubicBezTo>
                    <a:lnTo>
                      <a:pt x="279797" y="683819"/>
                    </a:lnTo>
                    <a:lnTo>
                      <a:pt x="76791" y="683819"/>
                    </a:lnTo>
                    <a:lnTo>
                      <a:pt x="76791" y="92469"/>
                    </a:lnTo>
                    <a:close/>
                    <a:moveTo>
                      <a:pt x="298847" y="683819"/>
                    </a:moveTo>
                    <a:lnTo>
                      <a:pt x="298847" y="479927"/>
                    </a:lnTo>
                    <a:lnTo>
                      <a:pt x="378619" y="479927"/>
                    </a:lnTo>
                    <a:lnTo>
                      <a:pt x="378619" y="683819"/>
                    </a:lnTo>
                    <a:lnTo>
                      <a:pt x="298847" y="683819"/>
                    </a:lnTo>
                    <a:close/>
                    <a:moveTo>
                      <a:pt x="397669" y="479927"/>
                    </a:moveTo>
                    <a:lnTo>
                      <a:pt x="477441" y="479927"/>
                    </a:lnTo>
                    <a:lnTo>
                      <a:pt x="477441" y="683819"/>
                    </a:lnTo>
                    <a:lnTo>
                      <a:pt x="397669" y="683819"/>
                    </a:lnTo>
                    <a:lnTo>
                      <a:pt x="397669" y="479927"/>
                    </a:lnTo>
                    <a:close/>
                    <a:moveTo>
                      <a:pt x="26194" y="702869"/>
                    </a:moveTo>
                    <a:lnTo>
                      <a:pt x="750094" y="702869"/>
                    </a:lnTo>
                    <a:lnTo>
                      <a:pt x="750094" y="750094"/>
                    </a:lnTo>
                    <a:lnTo>
                      <a:pt x="26194" y="750094"/>
                    </a:lnTo>
                    <a:lnTo>
                      <a:pt x="26194" y="702869"/>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1" name="Freeform: Shape 499">
                <a:extLst>
                  <a:ext uri="{FF2B5EF4-FFF2-40B4-BE49-F238E27FC236}">
                    <a16:creationId xmlns:a16="http://schemas.microsoft.com/office/drawing/2014/main" id="{C234E4DC-8BF4-4232-B4C7-D48E7F3CC541}"/>
                  </a:ext>
                </a:extLst>
              </p:cNvPr>
              <p:cNvSpPr/>
              <p:nvPr/>
            </p:nvSpPr>
            <p:spPr>
              <a:xfrm>
                <a:off x="6763393" y="2783495"/>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2" name="Freeform: Shape 500">
                <a:extLst>
                  <a:ext uri="{FF2B5EF4-FFF2-40B4-BE49-F238E27FC236}">
                    <a16:creationId xmlns:a16="http://schemas.microsoft.com/office/drawing/2014/main" id="{244FF703-73B5-400C-AF9D-E63E9295D613}"/>
                  </a:ext>
                </a:extLst>
              </p:cNvPr>
              <p:cNvSpPr/>
              <p:nvPr/>
            </p:nvSpPr>
            <p:spPr>
              <a:xfrm>
                <a:off x="6443270" y="2783495"/>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3" name="Freeform: Shape 501">
                <a:extLst>
                  <a:ext uri="{FF2B5EF4-FFF2-40B4-BE49-F238E27FC236}">
                    <a16:creationId xmlns:a16="http://schemas.microsoft.com/office/drawing/2014/main" id="{5A7F3558-AB63-49D2-85F8-78BD0CF39CA9}"/>
                  </a:ext>
                </a:extLst>
              </p:cNvPr>
              <p:cNvSpPr/>
              <p:nvPr/>
            </p:nvSpPr>
            <p:spPr>
              <a:xfrm>
                <a:off x="6763393" y="2666668"/>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4" name="Freeform: Shape 502">
                <a:extLst>
                  <a:ext uri="{FF2B5EF4-FFF2-40B4-BE49-F238E27FC236}">
                    <a16:creationId xmlns:a16="http://schemas.microsoft.com/office/drawing/2014/main" id="{E491DDF7-1F22-4026-B037-0EE1E8E2CA8B}"/>
                  </a:ext>
                </a:extLst>
              </p:cNvPr>
              <p:cNvSpPr/>
              <p:nvPr/>
            </p:nvSpPr>
            <p:spPr>
              <a:xfrm>
                <a:off x="6656766" y="2666668"/>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5" name="Freeform: Shape 503">
                <a:extLst>
                  <a:ext uri="{FF2B5EF4-FFF2-40B4-BE49-F238E27FC236}">
                    <a16:creationId xmlns:a16="http://schemas.microsoft.com/office/drawing/2014/main" id="{E90C71D2-FD0E-4DEB-9168-156B709B7248}"/>
                  </a:ext>
                </a:extLst>
              </p:cNvPr>
              <p:cNvSpPr/>
              <p:nvPr/>
            </p:nvSpPr>
            <p:spPr>
              <a:xfrm>
                <a:off x="6550817" y="2666668"/>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6" name="Freeform: Shape 504">
                <a:extLst>
                  <a:ext uri="{FF2B5EF4-FFF2-40B4-BE49-F238E27FC236}">
                    <a16:creationId xmlns:a16="http://schemas.microsoft.com/office/drawing/2014/main" id="{468FE0E6-2E10-4571-BEF4-B972DC8A5716}"/>
                  </a:ext>
                </a:extLst>
              </p:cNvPr>
              <p:cNvSpPr/>
              <p:nvPr/>
            </p:nvSpPr>
            <p:spPr>
              <a:xfrm>
                <a:off x="6656766" y="2549842"/>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7" name="Freeform: Shape 505">
                <a:extLst>
                  <a:ext uri="{FF2B5EF4-FFF2-40B4-BE49-F238E27FC236}">
                    <a16:creationId xmlns:a16="http://schemas.microsoft.com/office/drawing/2014/main" id="{F0A130AE-D6CA-496A-B0ED-AA509C171A77}"/>
                  </a:ext>
                </a:extLst>
              </p:cNvPr>
              <p:cNvSpPr/>
              <p:nvPr/>
            </p:nvSpPr>
            <p:spPr>
              <a:xfrm>
                <a:off x="6550817" y="2549842"/>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8" name="Freeform: Shape 506">
                <a:extLst>
                  <a:ext uri="{FF2B5EF4-FFF2-40B4-BE49-F238E27FC236}">
                    <a16:creationId xmlns:a16="http://schemas.microsoft.com/office/drawing/2014/main" id="{38D846A2-5C49-4B78-9042-3EC8C7F82DBC}"/>
                  </a:ext>
                </a:extLst>
              </p:cNvPr>
              <p:cNvSpPr/>
              <p:nvPr/>
            </p:nvSpPr>
            <p:spPr>
              <a:xfrm>
                <a:off x="6443270" y="2666668"/>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9" name="Freeform: Shape 507">
                <a:extLst>
                  <a:ext uri="{FF2B5EF4-FFF2-40B4-BE49-F238E27FC236}">
                    <a16:creationId xmlns:a16="http://schemas.microsoft.com/office/drawing/2014/main" id="{0D4ADF69-2385-428D-8373-8B0535DBF489}"/>
                  </a:ext>
                </a:extLst>
              </p:cNvPr>
              <p:cNvSpPr/>
              <p:nvPr/>
            </p:nvSpPr>
            <p:spPr>
              <a:xfrm>
                <a:off x="6763393" y="2549842"/>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0" name="Freeform: Shape 508">
                <a:extLst>
                  <a:ext uri="{FF2B5EF4-FFF2-40B4-BE49-F238E27FC236}">
                    <a16:creationId xmlns:a16="http://schemas.microsoft.com/office/drawing/2014/main" id="{13EEFAC8-E33D-459A-A23D-4545B64E5E74}"/>
                  </a:ext>
                </a:extLst>
              </p:cNvPr>
              <p:cNvSpPr/>
              <p:nvPr/>
            </p:nvSpPr>
            <p:spPr>
              <a:xfrm>
                <a:off x="6443270" y="2549842"/>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551" name="Group 550">
              <a:extLst>
                <a:ext uri="{FF2B5EF4-FFF2-40B4-BE49-F238E27FC236}">
                  <a16:creationId xmlns:a16="http://schemas.microsoft.com/office/drawing/2014/main" id="{414C381E-3EF6-49FD-8548-F64955F2A892}"/>
                </a:ext>
              </a:extLst>
            </p:cNvPr>
            <p:cNvGrpSpPr/>
            <p:nvPr/>
          </p:nvGrpSpPr>
          <p:grpSpPr>
            <a:xfrm>
              <a:off x="8710808" y="2446457"/>
              <a:ext cx="577078" cy="577079"/>
              <a:chOff x="5709056" y="2921793"/>
              <a:chExt cx="771525" cy="771525"/>
            </a:xfrm>
            <a:solidFill>
              <a:srgbClr val="999999"/>
            </a:solidFill>
          </p:grpSpPr>
          <p:sp>
            <p:nvSpPr>
              <p:cNvPr id="649" name="Freeform: Shape 447">
                <a:extLst>
                  <a:ext uri="{FF2B5EF4-FFF2-40B4-BE49-F238E27FC236}">
                    <a16:creationId xmlns:a16="http://schemas.microsoft.com/office/drawing/2014/main" id="{2019140F-7B51-422A-B271-1EB6183FC1B7}"/>
                  </a:ext>
                </a:extLst>
              </p:cNvPr>
              <p:cNvSpPr/>
              <p:nvPr/>
            </p:nvSpPr>
            <p:spPr>
              <a:xfrm>
                <a:off x="5709056" y="2921793"/>
                <a:ext cx="771525" cy="771525"/>
              </a:xfrm>
              <a:custGeom>
                <a:avLst/>
                <a:gdLst>
                  <a:gd name="connsiteX0" fmla="*/ 16669 w 771525"/>
                  <a:gd name="connsiteY0" fmla="*/ 769144 h 771525"/>
                  <a:gd name="connsiteX1" fmla="*/ 759619 w 771525"/>
                  <a:gd name="connsiteY1" fmla="*/ 769144 h 771525"/>
                  <a:gd name="connsiteX2" fmla="*/ 769144 w 771525"/>
                  <a:gd name="connsiteY2" fmla="*/ 759619 h 771525"/>
                  <a:gd name="connsiteX3" fmla="*/ 769144 w 771525"/>
                  <a:gd name="connsiteY3" fmla="*/ 693344 h 771525"/>
                  <a:gd name="connsiteX4" fmla="*/ 759619 w 771525"/>
                  <a:gd name="connsiteY4" fmla="*/ 683819 h 771525"/>
                  <a:gd name="connsiteX5" fmla="*/ 718547 w 771525"/>
                  <a:gd name="connsiteY5" fmla="*/ 683819 h 771525"/>
                  <a:gd name="connsiteX6" fmla="*/ 718547 w 771525"/>
                  <a:gd name="connsiteY6" fmla="*/ 92469 h 771525"/>
                  <a:gd name="connsiteX7" fmla="*/ 732596 w 771525"/>
                  <a:gd name="connsiteY7" fmla="*/ 92469 h 771525"/>
                  <a:gd name="connsiteX8" fmla="*/ 742121 w 771525"/>
                  <a:gd name="connsiteY8" fmla="*/ 82944 h 771525"/>
                  <a:gd name="connsiteX9" fmla="*/ 742121 w 771525"/>
                  <a:gd name="connsiteY9" fmla="*/ 16669 h 771525"/>
                  <a:gd name="connsiteX10" fmla="*/ 732596 w 771525"/>
                  <a:gd name="connsiteY10" fmla="*/ 7144 h 771525"/>
                  <a:gd name="connsiteX11" fmla="*/ 43691 w 771525"/>
                  <a:gd name="connsiteY11" fmla="*/ 7144 h 771525"/>
                  <a:gd name="connsiteX12" fmla="*/ 34166 w 771525"/>
                  <a:gd name="connsiteY12" fmla="*/ 16669 h 771525"/>
                  <a:gd name="connsiteX13" fmla="*/ 34166 w 771525"/>
                  <a:gd name="connsiteY13" fmla="*/ 82944 h 771525"/>
                  <a:gd name="connsiteX14" fmla="*/ 43691 w 771525"/>
                  <a:gd name="connsiteY14" fmla="*/ 92469 h 771525"/>
                  <a:gd name="connsiteX15" fmla="*/ 57741 w 771525"/>
                  <a:gd name="connsiteY15" fmla="*/ 92469 h 771525"/>
                  <a:gd name="connsiteX16" fmla="*/ 57741 w 771525"/>
                  <a:gd name="connsiteY16" fmla="*/ 683819 h 771525"/>
                  <a:gd name="connsiteX17" fmla="*/ 16669 w 771525"/>
                  <a:gd name="connsiteY17" fmla="*/ 683819 h 771525"/>
                  <a:gd name="connsiteX18" fmla="*/ 7144 w 771525"/>
                  <a:gd name="connsiteY18" fmla="*/ 693344 h 771525"/>
                  <a:gd name="connsiteX19" fmla="*/ 7144 w 771525"/>
                  <a:gd name="connsiteY19" fmla="*/ 759619 h 771525"/>
                  <a:gd name="connsiteX20" fmla="*/ 16669 w 771525"/>
                  <a:gd name="connsiteY20" fmla="*/ 769144 h 771525"/>
                  <a:gd name="connsiteX21" fmla="*/ 53216 w 771525"/>
                  <a:gd name="connsiteY21" fmla="*/ 26194 h 771525"/>
                  <a:gd name="connsiteX22" fmla="*/ 723062 w 771525"/>
                  <a:gd name="connsiteY22" fmla="*/ 26194 h 771525"/>
                  <a:gd name="connsiteX23" fmla="*/ 723062 w 771525"/>
                  <a:gd name="connsiteY23" fmla="*/ 73419 h 771525"/>
                  <a:gd name="connsiteX24" fmla="*/ 53216 w 771525"/>
                  <a:gd name="connsiteY24" fmla="*/ 73419 h 771525"/>
                  <a:gd name="connsiteX25" fmla="*/ 53216 w 771525"/>
                  <a:gd name="connsiteY25" fmla="*/ 26194 h 771525"/>
                  <a:gd name="connsiteX26" fmla="*/ 76791 w 771525"/>
                  <a:gd name="connsiteY26" fmla="*/ 92469 h 771525"/>
                  <a:gd name="connsiteX27" fmla="*/ 699487 w 771525"/>
                  <a:gd name="connsiteY27" fmla="*/ 92469 h 771525"/>
                  <a:gd name="connsiteX28" fmla="*/ 699487 w 771525"/>
                  <a:gd name="connsiteY28" fmla="*/ 683819 h 771525"/>
                  <a:gd name="connsiteX29" fmla="*/ 496491 w 771525"/>
                  <a:gd name="connsiteY29" fmla="*/ 683819 h 771525"/>
                  <a:gd name="connsiteX30" fmla="*/ 496491 w 771525"/>
                  <a:gd name="connsiteY30" fmla="*/ 470402 h 771525"/>
                  <a:gd name="connsiteX31" fmla="*/ 486966 w 771525"/>
                  <a:gd name="connsiteY31" fmla="*/ 460877 h 771525"/>
                  <a:gd name="connsiteX32" fmla="*/ 289322 w 771525"/>
                  <a:gd name="connsiteY32" fmla="*/ 460877 h 771525"/>
                  <a:gd name="connsiteX33" fmla="*/ 279797 w 771525"/>
                  <a:gd name="connsiteY33" fmla="*/ 470402 h 771525"/>
                  <a:gd name="connsiteX34" fmla="*/ 279797 w 771525"/>
                  <a:gd name="connsiteY34" fmla="*/ 683819 h 771525"/>
                  <a:gd name="connsiteX35" fmla="*/ 76791 w 771525"/>
                  <a:gd name="connsiteY35" fmla="*/ 683819 h 771525"/>
                  <a:gd name="connsiteX36" fmla="*/ 76791 w 771525"/>
                  <a:gd name="connsiteY36" fmla="*/ 92469 h 771525"/>
                  <a:gd name="connsiteX37" fmla="*/ 298847 w 771525"/>
                  <a:gd name="connsiteY37" fmla="*/ 683819 h 771525"/>
                  <a:gd name="connsiteX38" fmla="*/ 298847 w 771525"/>
                  <a:gd name="connsiteY38" fmla="*/ 479927 h 771525"/>
                  <a:gd name="connsiteX39" fmla="*/ 378619 w 771525"/>
                  <a:gd name="connsiteY39" fmla="*/ 479927 h 771525"/>
                  <a:gd name="connsiteX40" fmla="*/ 378619 w 771525"/>
                  <a:gd name="connsiteY40" fmla="*/ 683819 h 771525"/>
                  <a:gd name="connsiteX41" fmla="*/ 298847 w 771525"/>
                  <a:gd name="connsiteY41" fmla="*/ 683819 h 771525"/>
                  <a:gd name="connsiteX42" fmla="*/ 397669 w 771525"/>
                  <a:gd name="connsiteY42" fmla="*/ 479927 h 771525"/>
                  <a:gd name="connsiteX43" fmla="*/ 477441 w 771525"/>
                  <a:gd name="connsiteY43" fmla="*/ 479927 h 771525"/>
                  <a:gd name="connsiteX44" fmla="*/ 477441 w 771525"/>
                  <a:gd name="connsiteY44" fmla="*/ 683819 h 771525"/>
                  <a:gd name="connsiteX45" fmla="*/ 397669 w 771525"/>
                  <a:gd name="connsiteY45" fmla="*/ 683819 h 771525"/>
                  <a:gd name="connsiteX46" fmla="*/ 397669 w 771525"/>
                  <a:gd name="connsiteY46" fmla="*/ 479927 h 771525"/>
                  <a:gd name="connsiteX47" fmla="*/ 26194 w 771525"/>
                  <a:gd name="connsiteY47" fmla="*/ 702869 h 771525"/>
                  <a:gd name="connsiteX48" fmla="*/ 750094 w 771525"/>
                  <a:gd name="connsiteY48" fmla="*/ 702869 h 771525"/>
                  <a:gd name="connsiteX49" fmla="*/ 750094 w 771525"/>
                  <a:gd name="connsiteY49" fmla="*/ 750094 h 771525"/>
                  <a:gd name="connsiteX50" fmla="*/ 26194 w 771525"/>
                  <a:gd name="connsiteY50" fmla="*/ 750094 h 771525"/>
                  <a:gd name="connsiteX51" fmla="*/ 26194 w 771525"/>
                  <a:gd name="connsiteY51" fmla="*/ 702869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771525" h="771525">
                    <a:moveTo>
                      <a:pt x="16669" y="769144"/>
                    </a:moveTo>
                    <a:lnTo>
                      <a:pt x="759619" y="769144"/>
                    </a:lnTo>
                    <a:cubicBezTo>
                      <a:pt x="764877" y="769144"/>
                      <a:pt x="769144" y="764886"/>
                      <a:pt x="769144" y="759619"/>
                    </a:cubicBezTo>
                    <a:lnTo>
                      <a:pt x="769144" y="693344"/>
                    </a:lnTo>
                    <a:cubicBezTo>
                      <a:pt x="769144" y="688076"/>
                      <a:pt x="764877" y="683819"/>
                      <a:pt x="759619" y="683819"/>
                    </a:cubicBezTo>
                    <a:lnTo>
                      <a:pt x="718547" y="683819"/>
                    </a:lnTo>
                    <a:lnTo>
                      <a:pt x="718547" y="92469"/>
                    </a:lnTo>
                    <a:lnTo>
                      <a:pt x="732596" y="92469"/>
                    </a:lnTo>
                    <a:cubicBezTo>
                      <a:pt x="737854" y="92469"/>
                      <a:pt x="742121" y="88211"/>
                      <a:pt x="742121" y="82944"/>
                    </a:cubicBezTo>
                    <a:lnTo>
                      <a:pt x="742121" y="16669"/>
                    </a:lnTo>
                    <a:cubicBezTo>
                      <a:pt x="742121" y="11401"/>
                      <a:pt x="737854" y="7144"/>
                      <a:pt x="732596" y="7144"/>
                    </a:cubicBezTo>
                    <a:lnTo>
                      <a:pt x="43691" y="7144"/>
                    </a:lnTo>
                    <a:cubicBezTo>
                      <a:pt x="38433" y="7144"/>
                      <a:pt x="34166" y="11401"/>
                      <a:pt x="34166" y="16669"/>
                    </a:cubicBezTo>
                    <a:lnTo>
                      <a:pt x="34166" y="82944"/>
                    </a:lnTo>
                    <a:cubicBezTo>
                      <a:pt x="34166" y="88211"/>
                      <a:pt x="38433" y="92469"/>
                      <a:pt x="43691" y="92469"/>
                    </a:cubicBezTo>
                    <a:lnTo>
                      <a:pt x="57741" y="92469"/>
                    </a:lnTo>
                    <a:lnTo>
                      <a:pt x="57741" y="683819"/>
                    </a:lnTo>
                    <a:lnTo>
                      <a:pt x="16669" y="683819"/>
                    </a:lnTo>
                    <a:cubicBezTo>
                      <a:pt x="11411" y="683819"/>
                      <a:pt x="7144" y="688076"/>
                      <a:pt x="7144" y="693344"/>
                    </a:cubicBezTo>
                    <a:lnTo>
                      <a:pt x="7144" y="759619"/>
                    </a:lnTo>
                    <a:cubicBezTo>
                      <a:pt x="7144" y="764886"/>
                      <a:pt x="11411" y="769144"/>
                      <a:pt x="16669" y="769144"/>
                    </a:cubicBezTo>
                    <a:close/>
                    <a:moveTo>
                      <a:pt x="53216" y="26194"/>
                    </a:moveTo>
                    <a:lnTo>
                      <a:pt x="723062" y="26194"/>
                    </a:lnTo>
                    <a:lnTo>
                      <a:pt x="723062" y="73419"/>
                    </a:lnTo>
                    <a:lnTo>
                      <a:pt x="53216" y="73419"/>
                    </a:lnTo>
                    <a:lnTo>
                      <a:pt x="53216" y="26194"/>
                    </a:lnTo>
                    <a:close/>
                    <a:moveTo>
                      <a:pt x="76791" y="92469"/>
                    </a:moveTo>
                    <a:lnTo>
                      <a:pt x="699487" y="92469"/>
                    </a:lnTo>
                    <a:lnTo>
                      <a:pt x="699487" y="683819"/>
                    </a:lnTo>
                    <a:lnTo>
                      <a:pt x="496491" y="683819"/>
                    </a:lnTo>
                    <a:lnTo>
                      <a:pt x="496491" y="470402"/>
                    </a:lnTo>
                    <a:cubicBezTo>
                      <a:pt x="496491" y="465134"/>
                      <a:pt x="492223" y="460877"/>
                      <a:pt x="486966" y="460877"/>
                    </a:cubicBezTo>
                    <a:lnTo>
                      <a:pt x="289322" y="460877"/>
                    </a:lnTo>
                    <a:cubicBezTo>
                      <a:pt x="284064" y="460877"/>
                      <a:pt x="279797" y="465134"/>
                      <a:pt x="279797" y="470402"/>
                    </a:cubicBezTo>
                    <a:lnTo>
                      <a:pt x="279797" y="683819"/>
                    </a:lnTo>
                    <a:lnTo>
                      <a:pt x="76791" y="683819"/>
                    </a:lnTo>
                    <a:lnTo>
                      <a:pt x="76791" y="92469"/>
                    </a:lnTo>
                    <a:close/>
                    <a:moveTo>
                      <a:pt x="298847" y="683819"/>
                    </a:moveTo>
                    <a:lnTo>
                      <a:pt x="298847" y="479927"/>
                    </a:lnTo>
                    <a:lnTo>
                      <a:pt x="378619" y="479927"/>
                    </a:lnTo>
                    <a:lnTo>
                      <a:pt x="378619" y="683819"/>
                    </a:lnTo>
                    <a:lnTo>
                      <a:pt x="298847" y="683819"/>
                    </a:lnTo>
                    <a:close/>
                    <a:moveTo>
                      <a:pt x="397669" y="479927"/>
                    </a:moveTo>
                    <a:lnTo>
                      <a:pt x="477441" y="479927"/>
                    </a:lnTo>
                    <a:lnTo>
                      <a:pt x="477441" y="683819"/>
                    </a:lnTo>
                    <a:lnTo>
                      <a:pt x="397669" y="683819"/>
                    </a:lnTo>
                    <a:lnTo>
                      <a:pt x="397669" y="479927"/>
                    </a:lnTo>
                    <a:close/>
                    <a:moveTo>
                      <a:pt x="26194" y="702869"/>
                    </a:moveTo>
                    <a:lnTo>
                      <a:pt x="750094" y="702869"/>
                    </a:lnTo>
                    <a:lnTo>
                      <a:pt x="750094" y="750094"/>
                    </a:lnTo>
                    <a:lnTo>
                      <a:pt x="26194" y="750094"/>
                    </a:lnTo>
                    <a:lnTo>
                      <a:pt x="26194" y="70286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0" name="Freeform: Shape 448">
                <a:extLst>
                  <a:ext uri="{FF2B5EF4-FFF2-40B4-BE49-F238E27FC236}">
                    <a16:creationId xmlns:a16="http://schemas.microsoft.com/office/drawing/2014/main" id="{F454034B-6763-4A0A-B0FE-D1DB9F72670E}"/>
                  </a:ext>
                </a:extLst>
              </p:cNvPr>
              <p:cNvSpPr/>
              <p:nvPr/>
            </p:nvSpPr>
            <p:spPr>
              <a:xfrm>
                <a:off x="6256849" y="337441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1" name="Freeform: Shape 449">
                <a:extLst>
                  <a:ext uri="{FF2B5EF4-FFF2-40B4-BE49-F238E27FC236}">
                    <a16:creationId xmlns:a16="http://schemas.microsoft.com/office/drawing/2014/main" id="{24EF349C-A899-4CF6-B22D-E0DCD32D8C30}"/>
                  </a:ext>
                </a:extLst>
              </p:cNvPr>
              <p:cNvSpPr/>
              <p:nvPr/>
            </p:nvSpPr>
            <p:spPr>
              <a:xfrm>
                <a:off x="5842511" y="3374412"/>
                <a:ext cx="85725" cy="123825"/>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2" name="Freeform: Shape 450">
                <a:extLst>
                  <a:ext uri="{FF2B5EF4-FFF2-40B4-BE49-F238E27FC236}">
                    <a16:creationId xmlns:a16="http://schemas.microsoft.com/office/drawing/2014/main" id="{7F3FE53C-CBF1-48F9-BA17-9AC14B5F8DAF}"/>
                  </a:ext>
                </a:extLst>
              </p:cNvPr>
              <p:cNvSpPr/>
              <p:nvPr/>
            </p:nvSpPr>
            <p:spPr>
              <a:xfrm>
                <a:off x="6256849" y="322320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3" name="Freeform: Shape 451">
                <a:extLst>
                  <a:ext uri="{FF2B5EF4-FFF2-40B4-BE49-F238E27FC236}">
                    <a16:creationId xmlns:a16="http://schemas.microsoft.com/office/drawing/2014/main" id="{A8683496-7CDF-4C07-B477-B23572014B8D}"/>
                  </a:ext>
                </a:extLst>
              </p:cNvPr>
              <p:cNvSpPr/>
              <p:nvPr/>
            </p:nvSpPr>
            <p:spPr>
              <a:xfrm>
                <a:off x="6118841" y="322320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4" name="Freeform: Shape 452">
                <a:extLst>
                  <a:ext uri="{FF2B5EF4-FFF2-40B4-BE49-F238E27FC236}">
                    <a16:creationId xmlns:a16="http://schemas.microsoft.com/office/drawing/2014/main" id="{E2309ABB-96AB-40B1-9E0A-EDF4B55385B7}"/>
                  </a:ext>
                </a:extLst>
              </p:cNvPr>
              <p:cNvSpPr/>
              <p:nvPr/>
            </p:nvSpPr>
            <p:spPr>
              <a:xfrm>
                <a:off x="5981710" y="322320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5" name="Freeform: Shape 453">
                <a:extLst>
                  <a:ext uri="{FF2B5EF4-FFF2-40B4-BE49-F238E27FC236}">
                    <a16:creationId xmlns:a16="http://schemas.microsoft.com/office/drawing/2014/main" id="{F9BD3954-FCD8-4AE4-845C-21F5BEA83024}"/>
                  </a:ext>
                </a:extLst>
              </p:cNvPr>
              <p:cNvSpPr/>
              <p:nvPr/>
            </p:nvSpPr>
            <p:spPr>
              <a:xfrm>
                <a:off x="6118841" y="3071993"/>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6" name="Freeform: Shape 454">
                <a:extLst>
                  <a:ext uri="{FF2B5EF4-FFF2-40B4-BE49-F238E27FC236}">
                    <a16:creationId xmlns:a16="http://schemas.microsoft.com/office/drawing/2014/main" id="{76CA987B-3DC7-4A24-9F8E-6D6C6CD1AAFB}"/>
                  </a:ext>
                </a:extLst>
              </p:cNvPr>
              <p:cNvSpPr/>
              <p:nvPr/>
            </p:nvSpPr>
            <p:spPr>
              <a:xfrm>
                <a:off x="5981710" y="3071993"/>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7" name="Freeform: Shape 455">
                <a:extLst>
                  <a:ext uri="{FF2B5EF4-FFF2-40B4-BE49-F238E27FC236}">
                    <a16:creationId xmlns:a16="http://schemas.microsoft.com/office/drawing/2014/main" id="{D84E9FFA-61A1-4597-A96A-AF267E0FA218}"/>
                  </a:ext>
                </a:extLst>
              </p:cNvPr>
              <p:cNvSpPr/>
              <p:nvPr/>
            </p:nvSpPr>
            <p:spPr>
              <a:xfrm>
                <a:off x="5842511" y="3223202"/>
                <a:ext cx="85725" cy="123825"/>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8" name="Freeform: Shape 456">
                <a:extLst>
                  <a:ext uri="{FF2B5EF4-FFF2-40B4-BE49-F238E27FC236}">
                    <a16:creationId xmlns:a16="http://schemas.microsoft.com/office/drawing/2014/main" id="{5B51065B-697D-458C-A1D3-CB303B7688C9}"/>
                  </a:ext>
                </a:extLst>
              </p:cNvPr>
              <p:cNvSpPr/>
              <p:nvPr/>
            </p:nvSpPr>
            <p:spPr>
              <a:xfrm>
                <a:off x="6256849" y="3071993"/>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9" name="Freeform: Shape 457">
                <a:extLst>
                  <a:ext uri="{FF2B5EF4-FFF2-40B4-BE49-F238E27FC236}">
                    <a16:creationId xmlns:a16="http://schemas.microsoft.com/office/drawing/2014/main" id="{F3140EAF-9D64-4078-BBA5-6E461F2BA9B2}"/>
                  </a:ext>
                </a:extLst>
              </p:cNvPr>
              <p:cNvSpPr/>
              <p:nvPr/>
            </p:nvSpPr>
            <p:spPr>
              <a:xfrm>
                <a:off x="5842511" y="3071993"/>
                <a:ext cx="85725" cy="123825"/>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552" name="Group 551">
              <a:extLst>
                <a:ext uri="{FF2B5EF4-FFF2-40B4-BE49-F238E27FC236}">
                  <a16:creationId xmlns:a16="http://schemas.microsoft.com/office/drawing/2014/main" id="{8619C4E9-DEE1-44AB-9CAF-7CBD4EEBBF30}"/>
                </a:ext>
              </a:extLst>
            </p:cNvPr>
            <p:cNvGrpSpPr/>
            <p:nvPr/>
          </p:nvGrpSpPr>
          <p:grpSpPr>
            <a:xfrm>
              <a:off x="7602496" y="1739620"/>
              <a:ext cx="570891" cy="1272744"/>
              <a:chOff x="7602496" y="1739620"/>
              <a:chExt cx="570891" cy="1272744"/>
            </a:xfrm>
          </p:grpSpPr>
          <p:sp>
            <p:nvSpPr>
              <p:cNvPr id="611" name="Rectangle 610">
                <a:extLst>
                  <a:ext uri="{FF2B5EF4-FFF2-40B4-BE49-F238E27FC236}">
                    <a16:creationId xmlns:a16="http://schemas.microsoft.com/office/drawing/2014/main" id="{6F025070-A94E-4FD2-A480-A14146E83AE7}"/>
                  </a:ext>
                </a:extLst>
              </p:cNvPr>
              <p:cNvSpPr/>
              <p:nvPr/>
            </p:nvSpPr>
            <p:spPr>
              <a:xfrm>
                <a:off x="7602496" y="1863445"/>
                <a:ext cx="570891" cy="1148919"/>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612" name="Group 611">
                <a:extLst>
                  <a:ext uri="{FF2B5EF4-FFF2-40B4-BE49-F238E27FC236}">
                    <a16:creationId xmlns:a16="http://schemas.microsoft.com/office/drawing/2014/main" id="{0743A971-F4D0-4F49-A5B4-23D41CF3C6F5}"/>
                  </a:ext>
                </a:extLst>
              </p:cNvPr>
              <p:cNvGrpSpPr/>
              <p:nvPr/>
            </p:nvGrpSpPr>
            <p:grpSpPr>
              <a:xfrm>
                <a:off x="7681520" y="1918017"/>
                <a:ext cx="386355" cy="212495"/>
                <a:chOff x="7681520" y="1918017"/>
                <a:chExt cx="386355" cy="212495"/>
              </a:xfrm>
            </p:grpSpPr>
            <p:sp>
              <p:nvSpPr>
                <p:cNvPr id="641" name="Freeform: Shape 613">
                  <a:extLst>
                    <a:ext uri="{FF2B5EF4-FFF2-40B4-BE49-F238E27FC236}">
                      <a16:creationId xmlns:a16="http://schemas.microsoft.com/office/drawing/2014/main" id="{31D3003D-69D0-43AB-8F47-3B90954BB0A0}"/>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2" name="Freeform: Shape 614">
                  <a:extLst>
                    <a:ext uri="{FF2B5EF4-FFF2-40B4-BE49-F238E27FC236}">
                      <a16:creationId xmlns:a16="http://schemas.microsoft.com/office/drawing/2014/main" id="{0ACDB22F-2041-487F-96F0-4D53C955592E}"/>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3" name="Freeform: Shape 615">
                  <a:extLst>
                    <a:ext uri="{FF2B5EF4-FFF2-40B4-BE49-F238E27FC236}">
                      <a16:creationId xmlns:a16="http://schemas.microsoft.com/office/drawing/2014/main" id="{1D0F5495-80E2-4276-AD8A-E2CCB8379B87}"/>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4" name="Freeform: Shape 616">
                  <a:extLst>
                    <a:ext uri="{FF2B5EF4-FFF2-40B4-BE49-F238E27FC236}">
                      <a16:creationId xmlns:a16="http://schemas.microsoft.com/office/drawing/2014/main" id="{75F5C856-CA0C-4DF8-ADE5-E9A692CC3F35}"/>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5" name="Freeform: Shape 617">
                  <a:extLst>
                    <a:ext uri="{FF2B5EF4-FFF2-40B4-BE49-F238E27FC236}">
                      <a16:creationId xmlns:a16="http://schemas.microsoft.com/office/drawing/2014/main" id="{03C41B6B-DF1C-413C-BF10-948DC90FEFF2}"/>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6" name="Freeform: Shape 618">
                  <a:extLst>
                    <a:ext uri="{FF2B5EF4-FFF2-40B4-BE49-F238E27FC236}">
                      <a16:creationId xmlns:a16="http://schemas.microsoft.com/office/drawing/2014/main" id="{B0871FBF-7C12-46A8-9D48-5E361F25A0E7}"/>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7" name="Freeform: Shape 619">
                  <a:extLst>
                    <a:ext uri="{FF2B5EF4-FFF2-40B4-BE49-F238E27FC236}">
                      <a16:creationId xmlns:a16="http://schemas.microsoft.com/office/drawing/2014/main" id="{23776C9E-D53A-47EB-914D-03DB163B75DA}"/>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8" name="Freeform: Shape 620">
                  <a:extLst>
                    <a:ext uri="{FF2B5EF4-FFF2-40B4-BE49-F238E27FC236}">
                      <a16:creationId xmlns:a16="http://schemas.microsoft.com/office/drawing/2014/main" id="{6FCE1129-6EEA-4818-9C22-5C96A9E1CB3E}"/>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613" name="Group 612">
                <a:extLst>
                  <a:ext uri="{FF2B5EF4-FFF2-40B4-BE49-F238E27FC236}">
                    <a16:creationId xmlns:a16="http://schemas.microsoft.com/office/drawing/2014/main" id="{623D1DE8-FB9E-431A-B1E6-25FADC13CD77}"/>
                  </a:ext>
                </a:extLst>
              </p:cNvPr>
              <p:cNvGrpSpPr/>
              <p:nvPr/>
            </p:nvGrpSpPr>
            <p:grpSpPr>
              <a:xfrm>
                <a:off x="7681520" y="2165667"/>
                <a:ext cx="386355" cy="212495"/>
                <a:chOff x="7681520" y="1918017"/>
                <a:chExt cx="386355" cy="212495"/>
              </a:xfrm>
            </p:grpSpPr>
            <p:sp>
              <p:nvSpPr>
                <p:cNvPr id="633" name="Freeform: Shape 622">
                  <a:extLst>
                    <a:ext uri="{FF2B5EF4-FFF2-40B4-BE49-F238E27FC236}">
                      <a16:creationId xmlns:a16="http://schemas.microsoft.com/office/drawing/2014/main" id="{5CFEA125-032F-43B6-A7B5-3B3E13B65B5A}"/>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4" name="Freeform: Shape 623">
                  <a:extLst>
                    <a:ext uri="{FF2B5EF4-FFF2-40B4-BE49-F238E27FC236}">
                      <a16:creationId xmlns:a16="http://schemas.microsoft.com/office/drawing/2014/main" id="{1F95517B-8B68-4881-8DC1-4963D259D046}"/>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5" name="Freeform: Shape 624">
                  <a:extLst>
                    <a:ext uri="{FF2B5EF4-FFF2-40B4-BE49-F238E27FC236}">
                      <a16:creationId xmlns:a16="http://schemas.microsoft.com/office/drawing/2014/main" id="{31A338DE-2041-42A7-852A-B440F865B845}"/>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6" name="Freeform: Shape 625">
                  <a:extLst>
                    <a:ext uri="{FF2B5EF4-FFF2-40B4-BE49-F238E27FC236}">
                      <a16:creationId xmlns:a16="http://schemas.microsoft.com/office/drawing/2014/main" id="{2FA7AE4D-85F2-4C1B-970B-4BD418277FDC}"/>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7" name="Freeform: Shape 626">
                  <a:extLst>
                    <a:ext uri="{FF2B5EF4-FFF2-40B4-BE49-F238E27FC236}">
                      <a16:creationId xmlns:a16="http://schemas.microsoft.com/office/drawing/2014/main" id="{2BB500AE-A26E-4651-B142-FEBDDFC045ED}"/>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8" name="Freeform: Shape 627">
                  <a:extLst>
                    <a:ext uri="{FF2B5EF4-FFF2-40B4-BE49-F238E27FC236}">
                      <a16:creationId xmlns:a16="http://schemas.microsoft.com/office/drawing/2014/main" id="{9E3F810C-862D-4C6A-A7D8-A313D39B6BB2}"/>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9" name="Freeform: Shape 628">
                  <a:extLst>
                    <a:ext uri="{FF2B5EF4-FFF2-40B4-BE49-F238E27FC236}">
                      <a16:creationId xmlns:a16="http://schemas.microsoft.com/office/drawing/2014/main" id="{D50613AF-9DAC-49B5-956A-94E8465E204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0" name="Freeform: Shape 629">
                  <a:extLst>
                    <a:ext uri="{FF2B5EF4-FFF2-40B4-BE49-F238E27FC236}">
                      <a16:creationId xmlns:a16="http://schemas.microsoft.com/office/drawing/2014/main" id="{4B9269CF-6878-4C31-B7A6-D3A91E055EC4}"/>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614" name="Group 613">
                <a:extLst>
                  <a:ext uri="{FF2B5EF4-FFF2-40B4-BE49-F238E27FC236}">
                    <a16:creationId xmlns:a16="http://schemas.microsoft.com/office/drawing/2014/main" id="{83398368-FF21-4690-9F47-3C01B401F17E}"/>
                  </a:ext>
                </a:extLst>
              </p:cNvPr>
              <p:cNvGrpSpPr/>
              <p:nvPr/>
            </p:nvGrpSpPr>
            <p:grpSpPr>
              <a:xfrm>
                <a:off x="7681520" y="2429192"/>
                <a:ext cx="386355" cy="212495"/>
                <a:chOff x="7681520" y="1918017"/>
                <a:chExt cx="386355" cy="212495"/>
              </a:xfrm>
            </p:grpSpPr>
            <p:sp>
              <p:nvSpPr>
                <p:cNvPr id="625" name="Freeform: Shape 631">
                  <a:extLst>
                    <a:ext uri="{FF2B5EF4-FFF2-40B4-BE49-F238E27FC236}">
                      <a16:creationId xmlns:a16="http://schemas.microsoft.com/office/drawing/2014/main" id="{FADF1AD1-FBC6-4AFA-B95A-C3E1A6ABAE76}"/>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6" name="Freeform: Shape 632">
                  <a:extLst>
                    <a:ext uri="{FF2B5EF4-FFF2-40B4-BE49-F238E27FC236}">
                      <a16:creationId xmlns:a16="http://schemas.microsoft.com/office/drawing/2014/main" id="{ECC23EDB-DDBE-4FD3-986F-B514BBCDA4EC}"/>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7" name="Freeform: Shape 633">
                  <a:extLst>
                    <a:ext uri="{FF2B5EF4-FFF2-40B4-BE49-F238E27FC236}">
                      <a16:creationId xmlns:a16="http://schemas.microsoft.com/office/drawing/2014/main" id="{9F2142F2-3069-4C1D-8EF2-F90C79FA3AB8}"/>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8" name="Freeform: Shape 634">
                  <a:extLst>
                    <a:ext uri="{FF2B5EF4-FFF2-40B4-BE49-F238E27FC236}">
                      <a16:creationId xmlns:a16="http://schemas.microsoft.com/office/drawing/2014/main" id="{B1EA25BE-5F9F-43FA-AEE5-154AD3736A64}"/>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9" name="Freeform: Shape 635">
                  <a:extLst>
                    <a:ext uri="{FF2B5EF4-FFF2-40B4-BE49-F238E27FC236}">
                      <a16:creationId xmlns:a16="http://schemas.microsoft.com/office/drawing/2014/main" id="{613BC104-4FCD-4B68-A3F0-1D79B4254772}"/>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0" name="Freeform: Shape 636">
                  <a:extLst>
                    <a:ext uri="{FF2B5EF4-FFF2-40B4-BE49-F238E27FC236}">
                      <a16:creationId xmlns:a16="http://schemas.microsoft.com/office/drawing/2014/main" id="{FD79181F-63B5-44AE-81D3-92203C35C660}"/>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1" name="Freeform: Shape 637">
                  <a:extLst>
                    <a:ext uri="{FF2B5EF4-FFF2-40B4-BE49-F238E27FC236}">
                      <a16:creationId xmlns:a16="http://schemas.microsoft.com/office/drawing/2014/main" id="{5F5F1658-98D3-480F-87EE-7864866DCD00}"/>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2" name="Freeform: Shape 638">
                  <a:extLst>
                    <a:ext uri="{FF2B5EF4-FFF2-40B4-BE49-F238E27FC236}">
                      <a16:creationId xmlns:a16="http://schemas.microsoft.com/office/drawing/2014/main" id="{0168CFCA-B35F-41A5-94B1-6202B4643E0A}"/>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615" name="Group 614">
                <a:extLst>
                  <a:ext uri="{FF2B5EF4-FFF2-40B4-BE49-F238E27FC236}">
                    <a16:creationId xmlns:a16="http://schemas.microsoft.com/office/drawing/2014/main" id="{1371FD26-6207-45DE-8FFF-F63928D3219E}"/>
                  </a:ext>
                </a:extLst>
              </p:cNvPr>
              <p:cNvGrpSpPr/>
              <p:nvPr/>
            </p:nvGrpSpPr>
            <p:grpSpPr>
              <a:xfrm>
                <a:off x="7681520" y="2692717"/>
                <a:ext cx="386355" cy="212495"/>
                <a:chOff x="7681520" y="1918017"/>
                <a:chExt cx="386355" cy="212495"/>
              </a:xfrm>
            </p:grpSpPr>
            <p:sp>
              <p:nvSpPr>
                <p:cNvPr id="617" name="Freeform: Shape 640">
                  <a:extLst>
                    <a:ext uri="{FF2B5EF4-FFF2-40B4-BE49-F238E27FC236}">
                      <a16:creationId xmlns:a16="http://schemas.microsoft.com/office/drawing/2014/main" id="{9227E197-9FA0-4FF6-B998-BCD32CACFCAF}"/>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8" name="Freeform: Shape 641">
                  <a:extLst>
                    <a:ext uri="{FF2B5EF4-FFF2-40B4-BE49-F238E27FC236}">
                      <a16:creationId xmlns:a16="http://schemas.microsoft.com/office/drawing/2014/main" id="{A62770A8-41DA-4AA6-8DB0-48B9FF5E7174}"/>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9" name="Freeform: Shape 642">
                  <a:extLst>
                    <a:ext uri="{FF2B5EF4-FFF2-40B4-BE49-F238E27FC236}">
                      <a16:creationId xmlns:a16="http://schemas.microsoft.com/office/drawing/2014/main" id="{99FD1C56-9940-44D5-B806-8F5641AED512}"/>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0" name="Freeform: Shape 643">
                  <a:extLst>
                    <a:ext uri="{FF2B5EF4-FFF2-40B4-BE49-F238E27FC236}">
                      <a16:creationId xmlns:a16="http://schemas.microsoft.com/office/drawing/2014/main" id="{F45FCD9E-03EF-4961-B467-A1363C31AA26}"/>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1" name="Freeform: Shape 644">
                  <a:extLst>
                    <a:ext uri="{FF2B5EF4-FFF2-40B4-BE49-F238E27FC236}">
                      <a16:creationId xmlns:a16="http://schemas.microsoft.com/office/drawing/2014/main" id="{D2678F5B-FFBA-44DD-829D-645CFC56D566}"/>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2" name="Freeform: Shape 645">
                  <a:extLst>
                    <a:ext uri="{FF2B5EF4-FFF2-40B4-BE49-F238E27FC236}">
                      <a16:creationId xmlns:a16="http://schemas.microsoft.com/office/drawing/2014/main" id="{46552C97-E191-4623-8588-29F039D488DC}"/>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3" name="Freeform: Shape 646">
                  <a:extLst>
                    <a:ext uri="{FF2B5EF4-FFF2-40B4-BE49-F238E27FC236}">
                      <a16:creationId xmlns:a16="http://schemas.microsoft.com/office/drawing/2014/main" id="{9C4EEF16-E9D3-42BB-B419-5978A70D805D}"/>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4" name="Freeform: Shape 647">
                  <a:extLst>
                    <a:ext uri="{FF2B5EF4-FFF2-40B4-BE49-F238E27FC236}">
                      <a16:creationId xmlns:a16="http://schemas.microsoft.com/office/drawing/2014/main" id="{D525B7EF-BF21-47F2-AC13-B8C9B1284233}"/>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616" name="Rectangle 615">
                <a:extLst>
                  <a:ext uri="{FF2B5EF4-FFF2-40B4-BE49-F238E27FC236}">
                    <a16:creationId xmlns:a16="http://schemas.microsoft.com/office/drawing/2014/main" id="{49F05559-D241-48B8-ADA8-3F58000635BC}"/>
                  </a:ext>
                </a:extLst>
              </p:cNvPr>
              <p:cNvSpPr/>
              <p:nvPr/>
            </p:nvSpPr>
            <p:spPr>
              <a:xfrm>
                <a:off x="7710446" y="1739620"/>
                <a:ext cx="363579" cy="124105"/>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grpSp>
          <p:nvGrpSpPr>
            <p:cNvPr id="553" name="Group 552">
              <a:extLst>
                <a:ext uri="{FF2B5EF4-FFF2-40B4-BE49-F238E27FC236}">
                  <a16:creationId xmlns:a16="http://schemas.microsoft.com/office/drawing/2014/main" id="{FEA3E8C3-F514-452F-874E-9F8AB70A629E}"/>
                </a:ext>
              </a:extLst>
            </p:cNvPr>
            <p:cNvGrpSpPr/>
            <p:nvPr/>
          </p:nvGrpSpPr>
          <p:grpSpPr>
            <a:xfrm>
              <a:off x="8177171" y="2098675"/>
              <a:ext cx="570891" cy="913689"/>
              <a:chOff x="8177171" y="2098675"/>
              <a:chExt cx="570891" cy="913689"/>
            </a:xfrm>
          </p:grpSpPr>
          <p:sp>
            <p:nvSpPr>
              <p:cNvPr id="583" name="Rectangle 582">
                <a:extLst>
                  <a:ext uri="{FF2B5EF4-FFF2-40B4-BE49-F238E27FC236}">
                    <a16:creationId xmlns:a16="http://schemas.microsoft.com/office/drawing/2014/main" id="{D35675EB-DAC8-44CA-A3E3-FF7673828F1F}"/>
                  </a:ext>
                </a:extLst>
              </p:cNvPr>
              <p:cNvSpPr/>
              <p:nvPr/>
            </p:nvSpPr>
            <p:spPr>
              <a:xfrm>
                <a:off x="8177171" y="2098675"/>
                <a:ext cx="570891" cy="913689"/>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584" name="Group 583">
                <a:extLst>
                  <a:ext uri="{FF2B5EF4-FFF2-40B4-BE49-F238E27FC236}">
                    <a16:creationId xmlns:a16="http://schemas.microsoft.com/office/drawing/2014/main" id="{E88663B7-7F40-4F03-BC22-E4F1ECE0F746}"/>
                  </a:ext>
                </a:extLst>
              </p:cNvPr>
              <p:cNvGrpSpPr/>
              <p:nvPr/>
            </p:nvGrpSpPr>
            <p:grpSpPr>
              <a:xfrm>
                <a:off x="8256195" y="2165667"/>
                <a:ext cx="386355" cy="212495"/>
                <a:chOff x="7681520" y="1918017"/>
                <a:chExt cx="386355" cy="212495"/>
              </a:xfrm>
            </p:grpSpPr>
            <p:sp>
              <p:nvSpPr>
                <p:cNvPr id="603" name="Freeform: Shape 670">
                  <a:extLst>
                    <a:ext uri="{FF2B5EF4-FFF2-40B4-BE49-F238E27FC236}">
                      <a16:creationId xmlns:a16="http://schemas.microsoft.com/office/drawing/2014/main" id="{A8137716-D672-4DC9-9B3E-259C52644D02}"/>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4" name="Freeform: Shape 671">
                  <a:extLst>
                    <a:ext uri="{FF2B5EF4-FFF2-40B4-BE49-F238E27FC236}">
                      <a16:creationId xmlns:a16="http://schemas.microsoft.com/office/drawing/2014/main" id="{4ED7132E-1AA7-4D65-93E4-5AF6FCB82695}"/>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5" name="Freeform: Shape 672">
                  <a:extLst>
                    <a:ext uri="{FF2B5EF4-FFF2-40B4-BE49-F238E27FC236}">
                      <a16:creationId xmlns:a16="http://schemas.microsoft.com/office/drawing/2014/main" id="{8DDFE472-0C23-4E92-8762-FE9269710FF3}"/>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6" name="Freeform: Shape 673">
                  <a:extLst>
                    <a:ext uri="{FF2B5EF4-FFF2-40B4-BE49-F238E27FC236}">
                      <a16:creationId xmlns:a16="http://schemas.microsoft.com/office/drawing/2014/main" id="{AF1C5192-1210-4FFB-81D5-35B4DE196F3C}"/>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7" name="Freeform: Shape 674">
                  <a:extLst>
                    <a:ext uri="{FF2B5EF4-FFF2-40B4-BE49-F238E27FC236}">
                      <a16:creationId xmlns:a16="http://schemas.microsoft.com/office/drawing/2014/main" id="{7FECE02D-BD9A-453F-90FC-782E497486DF}"/>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8" name="Freeform: Shape 675">
                  <a:extLst>
                    <a:ext uri="{FF2B5EF4-FFF2-40B4-BE49-F238E27FC236}">
                      <a16:creationId xmlns:a16="http://schemas.microsoft.com/office/drawing/2014/main" id="{2E87A703-6368-4475-B778-00D541B0C605}"/>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9" name="Freeform: Shape 676">
                  <a:extLst>
                    <a:ext uri="{FF2B5EF4-FFF2-40B4-BE49-F238E27FC236}">
                      <a16:creationId xmlns:a16="http://schemas.microsoft.com/office/drawing/2014/main" id="{2FF07726-6A9F-4C80-BACC-453BE1104DB5}"/>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0" name="Freeform: Shape 677">
                  <a:extLst>
                    <a:ext uri="{FF2B5EF4-FFF2-40B4-BE49-F238E27FC236}">
                      <a16:creationId xmlns:a16="http://schemas.microsoft.com/office/drawing/2014/main" id="{343B4E2C-23C4-471B-B287-CF1F22B8D71F}"/>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585" name="Group 584">
                <a:extLst>
                  <a:ext uri="{FF2B5EF4-FFF2-40B4-BE49-F238E27FC236}">
                    <a16:creationId xmlns:a16="http://schemas.microsoft.com/office/drawing/2014/main" id="{5EC42186-E0B0-4B42-A20D-A2E2F18DD4FD}"/>
                  </a:ext>
                </a:extLst>
              </p:cNvPr>
              <p:cNvGrpSpPr/>
              <p:nvPr/>
            </p:nvGrpSpPr>
            <p:grpSpPr>
              <a:xfrm>
                <a:off x="8256195" y="2429192"/>
                <a:ext cx="386355" cy="212495"/>
                <a:chOff x="7681520" y="1918017"/>
                <a:chExt cx="386355" cy="212495"/>
              </a:xfrm>
            </p:grpSpPr>
            <p:sp>
              <p:nvSpPr>
                <p:cNvPr id="595" name="Freeform: Shape 662">
                  <a:extLst>
                    <a:ext uri="{FF2B5EF4-FFF2-40B4-BE49-F238E27FC236}">
                      <a16:creationId xmlns:a16="http://schemas.microsoft.com/office/drawing/2014/main" id="{F5CD9D99-C5C7-43D6-A58F-C210C0D3148A}"/>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6" name="Freeform: Shape 663">
                  <a:extLst>
                    <a:ext uri="{FF2B5EF4-FFF2-40B4-BE49-F238E27FC236}">
                      <a16:creationId xmlns:a16="http://schemas.microsoft.com/office/drawing/2014/main" id="{5010DB45-97F6-43E3-BABD-611841BC84C1}"/>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7" name="Freeform: Shape 664">
                  <a:extLst>
                    <a:ext uri="{FF2B5EF4-FFF2-40B4-BE49-F238E27FC236}">
                      <a16:creationId xmlns:a16="http://schemas.microsoft.com/office/drawing/2014/main" id="{1A7A5710-8F56-4FE6-9D52-A395CE62612B}"/>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8" name="Freeform: Shape 665">
                  <a:extLst>
                    <a:ext uri="{FF2B5EF4-FFF2-40B4-BE49-F238E27FC236}">
                      <a16:creationId xmlns:a16="http://schemas.microsoft.com/office/drawing/2014/main" id="{59C8D57C-1648-447C-A166-D34CBDC404DC}"/>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9" name="Freeform: Shape 666">
                  <a:extLst>
                    <a:ext uri="{FF2B5EF4-FFF2-40B4-BE49-F238E27FC236}">
                      <a16:creationId xmlns:a16="http://schemas.microsoft.com/office/drawing/2014/main" id="{0348AE04-E05E-4E72-B18E-9CAC2E5699AE}"/>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0" name="Freeform: Shape 667">
                  <a:extLst>
                    <a:ext uri="{FF2B5EF4-FFF2-40B4-BE49-F238E27FC236}">
                      <a16:creationId xmlns:a16="http://schemas.microsoft.com/office/drawing/2014/main" id="{7531DB24-EFEE-462D-827D-C41060AACB53}"/>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1" name="Freeform: Shape 668">
                  <a:extLst>
                    <a:ext uri="{FF2B5EF4-FFF2-40B4-BE49-F238E27FC236}">
                      <a16:creationId xmlns:a16="http://schemas.microsoft.com/office/drawing/2014/main" id="{C2C381B5-CF91-45F4-BAE6-A514FBD82D30}"/>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2" name="Freeform: Shape 669">
                  <a:extLst>
                    <a:ext uri="{FF2B5EF4-FFF2-40B4-BE49-F238E27FC236}">
                      <a16:creationId xmlns:a16="http://schemas.microsoft.com/office/drawing/2014/main" id="{4AE38176-2FCA-48D8-917A-DF6F671DF3E2}"/>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586" name="Group 585">
                <a:extLst>
                  <a:ext uri="{FF2B5EF4-FFF2-40B4-BE49-F238E27FC236}">
                    <a16:creationId xmlns:a16="http://schemas.microsoft.com/office/drawing/2014/main" id="{72E74082-CEFB-4D10-91F2-8AE218698A18}"/>
                  </a:ext>
                </a:extLst>
              </p:cNvPr>
              <p:cNvGrpSpPr/>
              <p:nvPr/>
            </p:nvGrpSpPr>
            <p:grpSpPr>
              <a:xfrm>
                <a:off x="8256195" y="2692717"/>
                <a:ext cx="386355" cy="212495"/>
                <a:chOff x="7681520" y="1918017"/>
                <a:chExt cx="386355" cy="212495"/>
              </a:xfrm>
            </p:grpSpPr>
            <p:sp>
              <p:nvSpPr>
                <p:cNvPr id="587" name="Freeform: Shape 654">
                  <a:extLst>
                    <a:ext uri="{FF2B5EF4-FFF2-40B4-BE49-F238E27FC236}">
                      <a16:creationId xmlns:a16="http://schemas.microsoft.com/office/drawing/2014/main" id="{B463FEBF-3CF6-4BD2-A0D4-E2281CE33BA8}"/>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8" name="Freeform: Shape 655">
                  <a:extLst>
                    <a:ext uri="{FF2B5EF4-FFF2-40B4-BE49-F238E27FC236}">
                      <a16:creationId xmlns:a16="http://schemas.microsoft.com/office/drawing/2014/main" id="{113EAD5A-6DA8-430E-882D-497E4086B4BF}"/>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9" name="Freeform: Shape 656">
                  <a:extLst>
                    <a:ext uri="{FF2B5EF4-FFF2-40B4-BE49-F238E27FC236}">
                      <a16:creationId xmlns:a16="http://schemas.microsoft.com/office/drawing/2014/main" id="{67B2CE8D-1312-42F2-8504-18D9ECDEEE54}"/>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0" name="Freeform: Shape 657">
                  <a:extLst>
                    <a:ext uri="{FF2B5EF4-FFF2-40B4-BE49-F238E27FC236}">
                      <a16:creationId xmlns:a16="http://schemas.microsoft.com/office/drawing/2014/main" id="{6E533FA1-EEBC-46E2-8117-A2BC0013469A}"/>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1" name="Freeform: Shape 658">
                  <a:extLst>
                    <a:ext uri="{FF2B5EF4-FFF2-40B4-BE49-F238E27FC236}">
                      <a16:creationId xmlns:a16="http://schemas.microsoft.com/office/drawing/2014/main" id="{5A5F440A-58EE-4BE1-A601-BCB0285B4FC5}"/>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2" name="Freeform: Shape 659">
                  <a:extLst>
                    <a:ext uri="{FF2B5EF4-FFF2-40B4-BE49-F238E27FC236}">
                      <a16:creationId xmlns:a16="http://schemas.microsoft.com/office/drawing/2014/main" id="{CAA0817C-3CDF-45AD-A68D-39675EC5F38C}"/>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3" name="Freeform: Shape 660">
                  <a:extLst>
                    <a:ext uri="{FF2B5EF4-FFF2-40B4-BE49-F238E27FC236}">
                      <a16:creationId xmlns:a16="http://schemas.microsoft.com/office/drawing/2014/main" id="{929D3AED-C93D-427B-BC2D-FC5C304383D5}"/>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4" name="Freeform: Shape 661">
                  <a:extLst>
                    <a:ext uri="{FF2B5EF4-FFF2-40B4-BE49-F238E27FC236}">
                      <a16:creationId xmlns:a16="http://schemas.microsoft.com/office/drawing/2014/main" id="{3C12F8D7-4B06-4D42-9CC2-866EE1E6A617}"/>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nvGrpSpPr>
            <p:cNvPr id="554" name="Group 553">
              <a:extLst>
                <a:ext uri="{FF2B5EF4-FFF2-40B4-BE49-F238E27FC236}">
                  <a16:creationId xmlns:a16="http://schemas.microsoft.com/office/drawing/2014/main" id="{32724CEB-FDE7-4F9B-AFAF-D12123EE2027}"/>
                </a:ext>
              </a:extLst>
            </p:cNvPr>
            <p:cNvGrpSpPr/>
            <p:nvPr/>
          </p:nvGrpSpPr>
          <p:grpSpPr>
            <a:xfrm>
              <a:off x="7030996" y="2098675"/>
              <a:ext cx="570891" cy="913689"/>
              <a:chOff x="8177171" y="2098675"/>
              <a:chExt cx="570891" cy="913689"/>
            </a:xfrm>
          </p:grpSpPr>
          <p:sp>
            <p:nvSpPr>
              <p:cNvPr id="555" name="Rectangle 554">
                <a:extLst>
                  <a:ext uri="{FF2B5EF4-FFF2-40B4-BE49-F238E27FC236}">
                    <a16:creationId xmlns:a16="http://schemas.microsoft.com/office/drawing/2014/main" id="{3F2AE079-085F-4CCD-9DF8-846D273EA67E}"/>
                  </a:ext>
                </a:extLst>
              </p:cNvPr>
              <p:cNvSpPr/>
              <p:nvPr/>
            </p:nvSpPr>
            <p:spPr>
              <a:xfrm>
                <a:off x="8177171" y="2098675"/>
                <a:ext cx="570891" cy="913689"/>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556" name="Group 555">
                <a:extLst>
                  <a:ext uri="{FF2B5EF4-FFF2-40B4-BE49-F238E27FC236}">
                    <a16:creationId xmlns:a16="http://schemas.microsoft.com/office/drawing/2014/main" id="{82F2CD1B-8EF3-4FD5-B6BB-4ED9806F627E}"/>
                  </a:ext>
                </a:extLst>
              </p:cNvPr>
              <p:cNvGrpSpPr/>
              <p:nvPr/>
            </p:nvGrpSpPr>
            <p:grpSpPr>
              <a:xfrm>
                <a:off x="8256195" y="2165667"/>
                <a:ext cx="386355" cy="212495"/>
                <a:chOff x="7681520" y="1918017"/>
                <a:chExt cx="386355" cy="212495"/>
              </a:xfrm>
            </p:grpSpPr>
            <p:sp>
              <p:nvSpPr>
                <p:cNvPr id="575" name="Freeform: Shape 707">
                  <a:extLst>
                    <a:ext uri="{FF2B5EF4-FFF2-40B4-BE49-F238E27FC236}">
                      <a16:creationId xmlns:a16="http://schemas.microsoft.com/office/drawing/2014/main" id="{203F7D2B-F5CB-4B61-8987-8D1ED35D1AD4}"/>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6" name="Freeform: Shape 708">
                  <a:extLst>
                    <a:ext uri="{FF2B5EF4-FFF2-40B4-BE49-F238E27FC236}">
                      <a16:creationId xmlns:a16="http://schemas.microsoft.com/office/drawing/2014/main" id="{BEFB5D86-B84E-4C38-AC2F-D325429429DA}"/>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7" name="Freeform: Shape 709">
                  <a:extLst>
                    <a:ext uri="{FF2B5EF4-FFF2-40B4-BE49-F238E27FC236}">
                      <a16:creationId xmlns:a16="http://schemas.microsoft.com/office/drawing/2014/main" id="{AA87997F-85D3-476F-9D39-2E59D4F7D359}"/>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8" name="Freeform: Shape 710">
                  <a:extLst>
                    <a:ext uri="{FF2B5EF4-FFF2-40B4-BE49-F238E27FC236}">
                      <a16:creationId xmlns:a16="http://schemas.microsoft.com/office/drawing/2014/main" id="{3261E925-D374-430D-BE66-428624434C85}"/>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9" name="Freeform: Shape 711">
                  <a:extLst>
                    <a:ext uri="{FF2B5EF4-FFF2-40B4-BE49-F238E27FC236}">
                      <a16:creationId xmlns:a16="http://schemas.microsoft.com/office/drawing/2014/main" id="{0860838F-CFDC-41BC-B92A-163A0EE3F14F}"/>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0" name="Freeform: Shape 712">
                  <a:extLst>
                    <a:ext uri="{FF2B5EF4-FFF2-40B4-BE49-F238E27FC236}">
                      <a16:creationId xmlns:a16="http://schemas.microsoft.com/office/drawing/2014/main" id="{E55480F1-1893-484D-8FF9-85A0A94DD473}"/>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1" name="Freeform: Shape 713">
                  <a:extLst>
                    <a:ext uri="{FF2B5EF4-FFF2-40B4-BE49-F238E27FC236}">
                      <a16:creationId xmlns:a16="http://schemas.microsoft.com/office/drawing/2014/main" id="{1D41F713-F934-41C1-8730-4A748EF41DD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2" name="Freeform: Shape 714">
                  <a:extLst>
                    <a:ext uri="{FF2B5EF4-FFF2-40B4-BE49-F238E27FC236}">
                      <a16:creationId xmlns:a16="http://schemas.microsoft.com/office/drawing/2014/main" id="{3268174C-3044-42A4-AD12-A0903062DADB}"/>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557" name="Group 556">
                <a:extLst>
                  <a:ext uri="{FF2B5EF4-FFF2-40B4-BE49-F238E27FC236}">
                    <a16:creationId xmlns:a16="http://schemas.microsoft.com/office/drawing/2014/main" id="{82C37B37-BA84-47CF-B761-1B8DF16E95A3}"/>
                  </a:ext>
                </a:extLst>
              </p:cNvPr>
              <p:cNvGrpSpPr/>
              <p:nvPr/>
            </p:nvGrpSpPr>
            <p:grpSpPr>
              <a:xfrm>
                <a:off x="8256195" y="2429192"/>
                <a:ext cx="386355" cy="212495"/>
                <a:chOff x="7681520" y="1918017"/>
                <a:chExt cx="386355" cy="212495"/>
              </a:xfrm>
            </p:grpSpPr>
            <p:sp>
              <p:nvSpPr>
                <p:cNvPr id="567" name="Freeform: Shape 699">
                  <a:extLst>
                    <a:ext uri="{FF2B5EF4-FFF2-40B4-BE49-F238E27FC236}">
                      <a16:creationId xmlns:a16="http://schemas.microsoft.com/office/drawing/2014/main" id="{54015EB5-AFCF-441A-B529-7B008BA11323}"/>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8" name="Freeform: Shape 700">
                  <a:extLst>
                    <a:ext uri="{FF2B5EF4-FFF2-40B4-BE49-F238E27FC236}">
                      <a16:creationId xmlns:a16="http://schemas.microsoft.com/office/drawing/2014/main" id="{5C0325B9-FEC8-4CF2-A84F-E7EDF9734AF9}"/>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9" name="Freeform: Shape 701">
                  <a:extLst>
                    <a:ext uri="{FF2B5EF4-FFF2-40B4-BE49-F238E27FC236}">
                      <a16:creationId xmlns:a16="http://schemas.microsoft.com/office/drawing/2014/main" id="{715C2893-6A38-4995-AB07-EDB72A2B6020}"/>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0" name="Freeform: Shape 702">
                  <a:extLst>
                    <a:ext uri="{FF2B5EF4-FFF2-40B4-BE49-F238E27FC236}">
                      <a16:creationId xmlns:a16="http://schemas.microsoft.com/office/drawing/2014/main" id="{B2E524EA-7500-401B-AA51-ACDA7049C5D7}"/>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1" name="Freeform: Shape 703">
                  <a:extLst>
                    <a:ext uri="{FF2B5EF4-FFF2-40B4-BE49-F238E27FC236}">
                      <a16:creationId xmlns:a16="http://schemas.microsoft.com/office/drawing/2014/main" id="{4DEAB885-F959-44BC-9663-983D9EB5377A}"/>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2" name="Freeform: Shape 704">
                  <a:extLst>
                    <a:ext uri="{FF2B5EF4-FFF2-40B4-BE49-F238E27FC236}">
                      <a16:creationId xmlns:a16="http://schemas.microsoft.com/office/drawing/2014/main" id="{3FF6C649-EAFC-4D3E-B311-CF8D6A2E342C}"/>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3" name="Freeform: Shape 705">
                  <a:extLst>
                    <a:ext uri="{FF2B5EF4-FFF2-40B4-BE49-F238E27FC236}">
                      <a16:creationId xmlns:a16="http://schemas.microsoft.com/office/drawing/2014/main" id="{51CF9C68-DDD8-42E2-B73D-CBF745F6AD3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4" name="Freeform: Shape 706">
                  <a:extLst>
                    <a:ext uri="{FF2B5EF4-FFF2-40B4-BE49-F238E27FC236}">
                      <a16:creationId xmlns:a16="http://schemas.microsoft.com/office/drawing/2014/main" id="{620A3177-F1C6-4C99-9E55-F8621C372FBF}"/>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558" name="Group 557">
                <a:extLst>
                  <a:ext uri="{FF2B5EF4-FFF2-40B4-BE49-F238E27FC236}">
                    <a16:creationId xmlns:a16="http://schemas.microsoft.com/office/drawing/2014/main" id="{0CC9FADE-28F9-49BB-A344-BDF29A40C9C5}"/>
                  </a:ext>
                </a:extLst>
              </p:cNvPr>
              <p:cNvGrpSpPr/>
              <p:nvPr/>
            </p:nvGrpSpPr>
            <p:grpSpPr>
              <a:xfrm>
                <a:off x="8256195" y="2692717"/>
                <a:ext cx="386355" cy="212495"/>
                <a:chOff x="7681520" y="1918017"/>
                <a:chExt cx="386355" cy="212495"/>
              </a:xfrm>
            </p:grpSpPr>
            <p:sp>
              <p:nvSpPr>
                <p:cNvPr id="559" name="Freeform: Shape 691">
                  <a:extLst>
                    <a:ext uri="{FF2B5EF4-FFF2-40B4-BE49-F238E27FC236}">
                      <a16:creationId xmlns:a16="http://schemas.microsoft.com/office/drawing/2014/main" id="{E6D347EC-194B-4960-86DC-D0E0E8626DD5}"/>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0" name="Freeform: Shape 692">
                  <a:extLst>
                    <a:ext uri="{FF2B5EF4-FFF2-40B4-BE49-F238E27FC236}">
                      <a16:creationId xmlns:a16="http://schemas.microsoft.com/office/drawing/2014/main" id="{C5FE6987-2FA3-417F-B341-52792038C0DE}"/>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1" name="Freeform: Shape 693">
                  <a:extLst>
                    <a:ext uri="{FF2B5EF4-FFF2-40B4-BE49-F238E27FC236}">
                      <a16:creationId xmlns:a16="http://schemas.microsoft.com/office/drawing/2014/main" id="{9B352CD8-25B0-4EDE-9A03-873248250118}"/>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2" name="Freeform: Shape 694">
                  <a:extLst>
                    <a:ext uri="{FF2B5EF4-FFF2-40B4-BE49-F238E27FC236}">
                      <a16:creationId xmlns:a16="http://schemas.microsoft.com/office/drawing/2014/main" id="{D6DA0E0A-A52E-4E08-8F8B-9B7EA9ECD4C1}"/>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3" name="Freeform: Shape 695">
                  <a:extLst>
                    <a:ext uri="{FF2B5EF4-FFF2-40B4-BE49-F238E27FC236}">
                      <a16:creationId xmlns:a16="http://schemas.microsoft.com/office/drawing/2014/main" id="{D46D8B46-5EB2-4AFB-B842-E2D25BAA1B84}"/>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4" name="Freeform: Shape 696">
                  <a:extLst>
                    <a:ext uri="{FF2B5EF4-FFF2-40B4-BE49-F238E27FC236}">
                      <a16:creationId xmlns:a16="http://schemas.microsoft.com/office/drawing/2014/main" id="{063D1DC3-42EE-4D5E-9219-F2B3D5AA2BB0}"/>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5" name="Freeform: Shape 697">
                  <a:extLst>
                    <a:ext uri="{FF2B5EF4-FFF2-40B4-BE49-F238E27FC236}">
                      <a16:creationId xmlns:a16="http://schemas.microsoft.com/office/drawing/2014/main" id="{88BA0CC1-4D2D-46AD-925E-A89044247021}"/>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6" name="Freeform: Shape 698">
                  <a:extLst>
                    <a:ext uri="{FF2B5EF4-FFF2-40B4-BE49-F238E27FC236}">
                      <a16:creationId xmlns:a16="http://schemas.microsoft.com/office/drawing/2014/main" id="{FC9383D1-ED48-4DF1-B637-C22F7ABB820F}"/>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grpSp>
        <p:nvGrpSpPr>
          <p:cNvPr id="671" name="Group 670">
            <a:extLst>
              <a:ext uri="{FF2B5EF4-FFF2-40B4-BE49-F238E27FC236}">
                <a16:creationId xmlns:a16="http://schemas.microsoft.com/office/drawing/2014/main" id="{E80F6F4E-8D26-4AA5-90D5-21EC266C4918}"/>
              </a:ext>
            </a:extLst>
          </p:cNvPr>
          <p:cNvGrpSpPr/>
          <p:nvPr/>
        </p:nvGrpSpPr>
        <p:grpSpPr>
          <a:xfrm>
            <a:off x="5534767" y="1087644"/>
            <a:ext cx="1276105" cy="458623"/>
            <a:chOff x="6486211" y="1739620"/>
            <a:chExt cx="2801675" cy="1283916"/>
          </a:xfrm>
        </p:grpSpPr>
        <p:grpSp>
          <p:nvGrpSpPr>
            <p:cNvPr id="672" name="Group 671">
              <a:extLst>
                <a:ext uri="{FF2B5EF4-FFF2-40B4-BE49-F238E27FC236}">
                  <a16:creationId xmlns:a16="http://schemas.microsoft.com/office/drawing/2014/main" id="{6E4EAD5C-7924-4B1F-9DFF-D1AD8232C318}"/>
                </a:ext>
              </a:extLst>
            </p:cNvPr>
            <p:cNvGrpSpPr/>
            <p:nvPr/>
          </p:nvGrpSpPr>
          <p:grpSpPr>
            <a:xfrm>
              <a:off x="6486211" y="2427446"/>
              <a:ext cx="596090" cy="596090"/>
              <a:chOff x="6340161" y="2433796"/>
              <a:chExt cx="596090" cy="596090"/>
            </a:xfrm>
          </p:grpSpPr>
          <p:sp>
            <p:nvSpPr>
              <p:cNvPr id="782" name="Freeform: Shape 498">
                <a:extLst>
                  <a:ext uri="{FF2B5EF4-FFF2-40B4-BE49-F238E27FC236}">
                    <a16:creationId xmlns:a16="http://schemas.microsoft.com/office/drawing/2014/main" id="{52517459-A55E-400A-8290-6C0D2E0D05B7}"/>
                  </a:ext>
                </a:extLst>
              </p:cNvPr>
              <p:cNvSpPr/>
              <p:nvPr/>
            </p:nvSpPr>
            <p:spPr>
              <a:xfrm>
                <a:off x="6340161" y="2433796"/>
                <a:ext cx="596090" cy="596090"/>
              </a:xfrm>
              <a:custGeom>
                <a:avLst/>
                <a:gdLst>
                  <a:gd name="connsiteX0" fmla="*/ 16669 w 771525"/>
                  <a:gd name="connsiteY0" fmla="*/ 769144 h 771525"/>
                  <a:gd name="connsiteX1" fmla="*/ 759619 w 771525"/>
                  <a:gd name="connsiteY1" fmla="*/ 769144 h 771525"/>
                  <a:gd name="connsiteX2" fmla="*/ 769144 w 771525"/>
                  <a:gd name="connsiteY2" fmla="*/ 759619 h 771525"/>
                  <a:gd name="connsiteX3" fmla="*/ 769144 w 771525"/>
                  <a:gd name="connsiteY3" fmla="*/ 693344 h 771525"/>
                  <a:gd name="connsiteX4" fmla="*/ 759619 w 771525"/>
                  <a:gd name="connsiteY4" fmla="*/ 683819 h 771525"/>
                  <a:gd name="connsiteX5" fmla="*/ 718547 w 771525"/>
                  <a:gd name="connsiteY5" fmla="*/ 683819 h 771525"/>
                  <a:gd name="connsiteX6" fmla="*/ 718547 w 771525"/>
                  <a:gd name="connsiteY6" fmla="*/ 92469 h 771525"/>
                  <a:gd name="connsiteX7" fmla="*/ 732596 w 771525"/>
                  <a:gd name="connsiteY7" fmla="*/ 92469 h 771525"/>
                  <a:gd name="connsiteX8" fmla="*/ 742121 w 771525"/>
                  <a:gd name="connsiteY8" fmla="*/ 82944 h 771525"/>
                  <a:gd name="connsiteX9" fmla="*/ 742121 w 771525"/>
                  <a:gd name="connsiteY9" fmla="*/ 16669 h 771525"/>
                  <a:gd name="connsiteX10" fmla="*/ 732596 w 771525"/>
                  <a:gd name="connsiteY10" fmla="*/ 7144 h 771525"/>
                  <a:gd name="connsiteX11" fmla="*/ 43691 w 771525"/>
                  <a:gd name="connsiteY11" fmla="*/ 7144 h 771525"/>
                  <a:gd name="connsiteX12" fmla="*/ 34166 w 771525"/>
                  <a:gd name="connsiteY12" fmla="*/ 16669 h 771525"/>
                  <a:gd name="connsiteX13" fmla="*/ 34166 w 771525"/>
                  <a:gd name="connsiteY13" fmla="*/ 82944 h 771525"/>
                  <a:gd name="connsiteX14" fmla="*/ 43691 w 771525"/>
                  <a:gd name="connsiteY14" fmla="*/ 92469 h 771525"/>
                  <a:gd name="connsiteX15" fmla="*/ 57741 w 771525"/>
                  <a:gd name="connsiteY15" fmla="*/ 92469 h 771525"/>
                  <a:gd name="connsiteX16" fmla="*/ 57741 w 771525"/>
                  <a:gd name="connsiteY16" fmla="*/ 683819 h 771525"/>
                  <a:gd name="connsiteX17" fmla="*/ 16669 w 771525"/>
                  <a:gd name="connsiteY17" fmla="*/ 683819 h 771525"/>
                  <a:gd name="connsiteX18" fmla="*/ 7144 w 771525"/>
                  <a:gd name="connsiteY18" fmla="*/ 693344 h 771525"/>
                  <a:gd name="connsiteX19" fmla="*/ 7144 w 771525"/>
                  <a:gd name="connsiteY19" fmla="*/ 759619 h 771525"/>
                  <a:gd name="connsiteX20" fmla="*/ 16669 w 771525"/>
                  <a:gd name="connsiteY20" fmla="*/ 769144 h 771525"/>
                  <a:gd name="connsiteX21" fmla="*/ 53216 w 771525"/>
                  <a:gd name="connsiteY21" fmla="*/ 26194 h 771525"/>
                  <a:gd name="connsiteX22" fmla="*/ 723062 w 771525"/>
                  <a:gd name="connsiteY22" fmla="*/ 26194 h 771525"/>
                  <a:gd name="connsiteX23" fmla="*/ 723062 w 771525"/>
                  <a:gd name="connsiteY23" fmla="*/ 73419 h 771525"/>
                  <a:gd name="connsiteX24" fmla="*/ 53216 w 771525"/>
                  <a:gd name="connsiteY24" fmla="*/ 73419 h 771525"/>
                  <a:gd name="connsiteX25" fmla="*/ 53216 w 771525"/>
                  <a:gd name="connsiteY25" fmla="*/ 26194 h 771525"/>
                  <a:gd name="connsiteX26" fmla="*/ 76791 w 771525"/>
                  <a:gd name="connsiteY26" fmla="*/ 92469 h 771525"/>
                  <a:gd name="connsiteX27" fmla="*/ 699487 w 771525"/>
                  <a:gd name="connsiteY27" fmla="*/ 92469 h 771525"/>
                  <a:gd name="connsiteX28" fmla="*/ 699487 w 771525"/>
                  <a:gd name="connsiteY28" fmla="*/ 683819 h 771525"/>
                  <a:gd name="connsiteX29" fmla="*/ 496491 w 771525"/>
                  <a:gd name="connsiteY29" fmla="*/ 683819 h 771525"/>
                  <a:gd name="connsiteX30" fmla="*/ 496491 w 771525"/>
                  <a:gd name="connsiteY30" fmla="*/ 470402 h 771525"/>
                  <a:gd name="connsiteX31" fmla="*/ 486966 w 771525"/>
                  <a:gd name="connsiteY31" fmla="*/ 460877 h 771525"/>
                  <a:gd name="connsiteX32" fmla="*/ 289322 w 771525"/>
                  <a:gd name="connsiteY32" fmla="*/ 460877 h 771525"/>
                  <a:gd name="connsiteX33" fmla="*/ 279797 w 771525"/>
                  <a:gd name="connsiteY33" fmla="*/ 470402 h 771525"/>
                  <a:gd name="connsiteX34" fmla="*/ 279797 w 771525"/>
                  <a:gd name="connsiteY34" fmla="*/ 683819 h 771525"/>
                  <a:gd name="connsiteX35" fmla="*/ 76791 w 771525"/>
                  <a:gd name="connsiteY35" fmla="*/ 683819 h 771525"/>
                  <a:gd name="connsiteX36" fmla="*/ 76791 w 771525"/>
                  <a:gd name="connsiteY36" fmla="*/ 92469 h 771525"/>
                  <a:gd name="connsiteX37" fmla="*/ 298847 w 771525"/>
                  <a:gd name="connsiteY37" fmla="*/ 683819 h 771525"/>
                  <a:gd name="connsiteX38" fmla="*/ 298847 w 771525"/>
                  <a:gd name="connsiteY38" fmla="*/ 479927 h 771525"/>
                  <a:gd name="connsiteX39" fmla="*/ 378619 w 771525"/>
                  <a:gd name="connsiteY39" fmla="*/ 479927 h 771525"/>
                  <a:gd name="connsiteX40" fmla="*/ 378619 w 771525"/>
                  <a:gd name="connsiteY40" fmla="*/ 683819 h 771525"/>
                  <a:gd name="connsiteX41" fmla="*/ 298847 w 771525"/>
                  <a:gd name="connsiteY41" fmla="*/ 683819 h 771525"/>
                  <a:gd name="connsiteX42" fmla="*/ 397669 w 771525"/>
                  <a:gd name="connsiteY42" fmla="*/ 479927 h 771525"/>
                  <a:gd name="connsiteX43" fmla="*/ 477441 w 771525"/>
                  <a:gd name="connsiteY43" fmla="*/ 479927 h 771525"/>
                  <a:gd name="connsiteX44" fmla="*/ 477441 w 771525"/>
                  <a:gd name="connsiteY44" fmla="*/ 683819 h 771525"/>
                  <a:gd name="connsiteX45" fmla="*/ 397669 w 771525"/>
                  <a:gd name="connsiteY45" fmla="*/ 683819 h 771525"/>
                  <a:gd name="connsiteX46" fmla="*/ 397669 w 771525"/>
                  <a:gd name="connsiteY46" fmla="*/ 479927 h 771525"/>
                  <a:gd name="connsiteX47" fmla="*/ 26194 w 771525"/>
                  <a:gd name="connsiteY47" fmla="*/ 702869 h 771525"/>
                  <a:gd name="connsiteX48" fmla="*/ 750094 w 771525"/>
                  <a:gd name="connsiteY48" fmla="*/ 702869 h 771525"/>
                  <a:gd name="connsiteX49" fmla="*/ 750094 w 771525"/>
                  <a:gd name="connsiteY49" fmla="*/ 750094 h 771525"/>
                  <a:gd name="connsiteX50" fmla="*/ 26194 w 771525"/>
                  <a:gd name="connsiteY50" fmla="*/ 750094 h 771525"/>
                  <a:gd name="connsiteX51" fmla="*/ 26194 w 771525"/>
                  <a:gd name="connsiteY51" fmla="*/ 702869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771525" h="771525">
                    <a:moveTo>
                      <a:pt x="16669" y="769144"/>
                    </a:moveTo>
                    <a:lnTo>
                      <a:pt x="759619" y="769144"/>
                    </a:lnTo>
                    <a:cubicBezTo>
                      <a:pt x="764877" y="769144"/>
                      <a:pt x="769144" y="764886"/>
                      <a:pt x="769144" y="759619"/>
                    </a:cubicBezTo>
                    <a:lnTo>
                      <a:pt x="769144" y="693344"/>
                    </a:lnTo>
                    <a:cubicBezTo>
                      <a:pt x="769144" y="688076"/>
                      <a:pt x="764877" y="683819"/>
                      <a:pt x="759619" y="683819"/>
                    </a:cubicBezTo>
                    <a:lnTo>
                      <a:pt x="718547" y="683819"/>
                    </a:lnTo>
                    <a:lnTo>
                      <a:pt x="718547" y="92469"/>
                    </a:lnTo>
                    <a:lnTo>
                      <a:pt x="732596" y="92469"/>
                    </a:lnTo>
                    <a:cubicBezTo>
                      <a:pt x="737854" y="92469"/>
                      <a:pt x="742121" y="88211"/>
                      <a:pt x="742121" y="82944"/>
                    </a:cubicBezTo>
                    <a:lnTo>
                      <a:pt x="742121" y="16669"/>
                    </a:lnTo>
                    <a:cubicBezTo>
                      <a:pt x="742121" y="11401"/>
                      <a:pt x="737854" y="7144"/>
                      <a:pt x="732596" y="7144"/>
                    </a:cubicBezTo>
                    <a:lnTo>
                      <a:pt x="43691" y="7144"/>
                    </a:lnTo>
                    <a:cubicBezTo>
                      <a:pt x="38433" y="7144"/>
                      <a:pt x="34166" y="11401"/>
                      <a:pt x="34166" y="16669"/>
                    </a:cubicBezTo>
                    <a:lnTo>
                      <a:pt x="34166" y="82944"/>
                    </a:lnTo>
                    <a:cubicBezTo>
                      <a:pt x="34166" y="88211"/>
                      <a:pt x="38433" y="92469"/>
                      <a:pt x="43691" y="92469"/>
                    </a:cubicBezTo>
                    <a:lnTo>
                      <a:pt x="57741" y="92469"/>
                    </a:lnTo>
                    <a:lnTo>
                      <a:pt x="57741" y="683819"/>
                    </a:lnTo>
                    <a:lnTo>
                      <a:pt x="16669" y="683819"/>
                    </a:lnTo>
                    <a:cubicBezTo>
                      <a:pt x="11411" y="683819"/>
                      <a:pt x="7144" y="688076"/>
                      <a:pt x="7144" y="693344"/>
                    </a:cubicBezTo>
                    <a:lnTo>
                      <a:pt x="7144" y="759619"/>
                    </a:lnTo>
                    <a:cubicBezTo>
                      <a:pt x="7144" y="764886"/>
                      <a:pt x="11411" y="769144"/>
                      <a:pt x="16669" y="769144"/>
                    </a:cubicBezTo>
                    <a:close/>
                    <a:moveTo>
                      <a:pt x="53216" y="26194"/>
                    </a:moveTo>
                    <a:lnTo>
                      <a:pt x="723062" y="26194"/>
                    </a:lnTo>
                    <a:lnTo>
                      <a:pt x="723062" y="73419"/>
                    </a:lnTo>
                    <a:lnTo>
                      <a:pt x="53216" y="73419"/>
                    </a:lnTo>
                    <a:lnTo>
                      <a:pt x="53216" y="26194"/>
                    </a:lnTo>
                    <a:close/>
                    <a:moveTo>
                      <a:pt x="76791" y="92469"/>
                    </a:moveTo>
                    <a:lnTo>
                      <a:pt x="699487" y="92469"/>
                    </a:lnTo>
                    <a:lnTo>
                      <a:pt x="699487" y="683819"/>
                    </a:lnTo>
                    <a:lnTo>
                      <a:pt x="496491" y="683819"/>
                    </a:lnTo>
                    <a:lnTo>
                      <a:pt x="496491" y="470402"/>
                    </a:lnTo>
                    <a:cubicBezTo>
                      <a:pt x="496491" y="465134"/>
                      <a:pt x="492223" y="460877"/>
                      <a:pt x="486966" y="460877"/>
                    </a:cubicBezTo>
                    <a:lnTo>
                      <a:pt x="289322" y="460877"/>
                    </a:lnTo>
                    <a:cubicBezTo>
                      <a:pt x="284064" y="460877"/>
                      <a:pt x="279797" y="465134"/>
                      <a:pt x="279797" y="470402"/>
                    </a:cubicBezTo>
                    <a:lnTo>
                      <a:pt x="279797" y="683819"/>
                    </a:lnTo>
                    <a:lnTo>
                      <a:pt x="76791" y="683819"/>
                    </a:lnTo>
                    <a:lnTo>
                      <a:pt x="76791" y="92469"/>
                    </a:lnTo>
                    <a:close/>
                    <a:moveTo>
                      <a:pt x="298847" y="683819"/>
                    </a:moveTo>
                    <a:lnTo>
                      <a:pt x="298847" y="479927"/>
                    </a:lnTo>
                    <a:lnTo>
                      <a:pt x="378619" y="479927"/>
                    </a:lnTo>
                    <a:lnTo>
                      <a:pt x="378619" y="683819"/>
                    </a:lnTo>
                    <a:lnTo>
                      <a:pt x="298847" y="683819"/>
                    </a:lnTo>
                    <a:close/>
                    <a:moveTo>
                      <a:pt x="397669" y="479927"/>
                    </a:moveTo>
                    <a:lnTo>
                      <a:pt x="477441" y="479927"/>
                    </a:lnTo>
                    <a:lnTo>
                      <a:pt x="477441" y="683819"/>
                    </a:lnTo>
                    <a:lnTo>
                      <a:pt x="397669" y="683819"/>
                    </a:lnTo>
                    <a:lnTo>
                      <a:pt x="397669" y="479927"/>
                    </a:lnTo>
                    <a:close/>
                    <a:moveTo>
                      <a:pt x="26194" y="702869"/>
                    </a:moveTo>
                    <a:lnTo>
                      <a:pt x="750094" y="702869"/>
                    </a:lnTo>
                    <a:lnTo>
                      <a:pt x="750094" y="750094"/>
                    </a:lnTo>
                    <a:lnTo>
                      <a:pt x="26194" y="750094"/>
                    </a:lnTo>
                    <a:lnTo>
                      <a:pt x="26194" y="702869"/>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3" name="Freeform: Shape 499">
                <a:extLst>
                  <a:ext uri="{FF2B5EF4-FFF2-40B4-BE49-F238E27FC236}">
                    <a16:creationId xmlns:a16="http://schemas.microsoft.com/office/drawing/2014/main" id="{C234E4DC-8BF4-4232-B4C7-D48E7F3CC541}"/>
                  </a:ext>
                </a:extLst>
              </p:cNvPr>
              <p:cNvSpPr/>
              <p:nvPr/>
            </p:nvSpPr>
            <p:spPr>
              <a:xfrm>
                <a:off x="6763393" y="2783495"/>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4" name="Freeform: Shape 500">
                <a:extLst>
                  <a:ext uri="{FF2B5EF4-FFF2-40B4-BE49-F238E27FC236}">
                    <a16:creationId xmlns:a16="http://schemas.microsoft.com/office/drawing/2014/main" id="{244FF703-73B5-400C-AF9D-E63E9295D613}"/>
                  </a:ext>
                </a:extLst>
              </p:cNvPr>
              <p:cNvSpPr/>
              <p:nvPr/>
            </p:nvSpPr>
            <p:spPr>
              <a:xfrm>
                <a:off x="6443270" y="2783495"/>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5" name="Freeform: Shape 501">
                <a:extLst>
                  <a:ext uri="{FF2B5EF4-FFF2-40B4-BE49-F238E27FC236}">
                    <a16:creationId xmlns:a16="http://schemas.microsoft.com/office/drawing/2014/main" id="{5A7F3558-AB63-49D2-85F8-78BD0CF39CA9}"/>
                  </a:ext>
                </a:extLst>
              </p:cNvPr>
              <p:cNvSpPr/>
              <p:nvPr/>
            </p:nvSpPr>
            <p:spPr>
              <a:xfrm>
                <a:off x="6763393" y="2666668"/>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6" name="Freeform: Shape 502">
                <a:extLst>
                  <a:ext uri="{FF2B5EF4-FFF2-40B4-BE49-F238E27FC236}">
                    <a16:creationId xmlns:a16="http://schemas.microsoft.com/office/drawing/2014/main" id="{E491DDF7-1F22-4026-B037-0EE1E8E2CA8B}"/>
                  </a:ext>
                </a:extLst>
              </p:cNvPr>
              <p:cNvSpPr/>
              <p:nvPr/>
            </p:nvSpPr>
            <p:spPr>
              <a:xfrm>
                <a:off x="6656766" y="2666668"/>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7" name="Freeform: Shape 503">
                <a:extLst>
                  <a:ext uri="{FF2B5EF4-FFF2-40B4-BE49-F238E27FC236}">
                    <a16:creationId xmlns:a16="http://schemas.microsoft.com/office/drawing/2014/main" id="{E90C71D2-FD0E-4DEB-9168-156B709B7248}"/>
                  </a:ext>
                </a:extLst>
              </p:cNvPr>
              <p:cNvSpPr/>
              <p:nvPr/>
            </p:nvSpPr>
            <p:spPr>
              <a:xfrm>
                <a:off x="6550817" y="2666668"/>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8" name="Freeform: Shape 504">
                <a:extLst>
                  <a:ext uri="{FF2B5EF4-FFF2-40B4-BE49-F238E27FC236}">
                    <a16:creationId xmlns:a16="http://schemas.microsoft.com/office/drawing/2014/main" id="{468FE0E6-2E10-4571-BEF4-B972DC8A5716}"/>
                  </a:ext>
                </a:extLst>
              </p:cNvPr>
              <p:cNvSpPr/>
              <p:nvPr/>
            </p:nvSpPr>
            <p:spPr>
              <a:xfrm>
                <a:off x="6656766" y="2549842"/>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9" name="Freeform: Shape 505">
                <a:extLst>
                  <a:ext uri="{FF2B5EF4-FFF2-40B4-BE49-F238E27FC236}">
                    <a16:creationId xmlns:a16="http://schemas.microsoft.com/office/drawing/2014/main" id="{F0A130AE-D6CA-496A-B0ED-AA509C171A77}"/>
                  </a:ext>
                </a:extLst>
              </p:cNvPr>
              <p:cNvSpPr/>
              <p:nvPr/>
            </p:nvSpPr>
            <p:spPr>
              <a:xfrm>
                <a:off x="6550817" y="2549842"/>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90" name="Freeform: Shape 506">
                <a:extLst>
                  <a:ext uri="{FF2B5EF4-FFF2-40B4-BE49-F238E27FC236}">
                    <a16:creationId xmlns:a16="http://schemas.microsoft.com/office/drawing/2014/main" id="{38D846A2-5C49-4B78-9042-3EC8C7F82DBC}"/>
                  </a:ext>
                </a:extLst>
              </p:cNvPr>
              <p:cNvSpPr/>
              <p:nvPr/>
            </p:nvSpPr>
            <p:spPr>
              <a:xfrm>
                <a:off x="6443270" y="2666668"/>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91" name="Freeform: Shape 507">
                <a:extLst>
                  <a:ext uri="{FF2B5EF4-FFF2-40B4-BE49-F238E27FC236}">
                    <a16:creationId xmlns:a16="http://schemas.microsoft.com/office/drawing/2014/main" id="{0D4ADF69-2385-428D-8373-8B0535DBF489}"/>
                  </a:ext>
                </a:extLst>
              </p:cNvPr>
              <p:cNvSpPr/>
              <p:nvPr/>
            </p:nvSpPr>
            <p:spPr>
              <a:xfrm>
                <a:off x="6763393" y="2549842"/>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92" name="Freeform: Shape 508">
                <a:extLst>
                  <a:ext uri="{FF2B5EF4-FFF2-40B4-BE49-F238E27FC236}">
                    <a16:creationId xmlns:a16="http://schemas.microsoft.com/office/drawing/2014/main" id="{13EEFAC8-E33D-459A-A23D-4545B64E5E74}"/>
                  </a:ext>
                </a:extLst>
              </p:cNvPr>
              <p:cNvSpPr/>
              <p:nvPr/>
            </p:nvSpPr>
            <p:spPr>
              <a:xfrm>
                <a:off x="6443270" y="2549842"/>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673" name="Group 672">
              <a:extLst>
                <a:ext uri="{FF2B5EF4-FFF2-40B4-BE49-F238E27FC236}">
                  <a16:creationId xmlns:a16="http://schemas.microsoft.com/office/drawing/2014/main" id="{414C381E-3EF6-49FD-8548-F64955F2A892}"/>
                </a:ext>
              </a:extLst>
            </p:cNvPr>
            <p:cNvGrpSpPr/>
            <p:nvPr/>
          </p:nvGrpSpPr>
          <p:grpSpPr>
            <a:xfrm>
              <a:off x="8710808" y="2446457"/>
              <a:ext cx="577078" cy="577079"/>
              <a:chOff x="5709056" y="2921793"/>
              <a:chExt cx="771525" cy="771525"/>
            </a:xfrm>
            <a:solidFill>
              <a:srgbClr val="999999"/>
            </a:solidFill>
          </p:grpSpPr>
          <p:sp>
            <p:nvSpPr>
              <p:cNvPr id="771" name="Freeform: Shape 447">
                <a:extLst>
                  <a:ext uri="{FF2B5EF4-FFF2-40B4-BE49-F238E27FC236}">
                    <a16:creationId xmlns:a16="http://schemas.microsoft.com/office/drawing/2014/main" id="{2019140F-7B51-422A-B271-1EB6183FC1B7}"/>
                  </a:ext>
                </a:extLst>
              </p:cNvPr>
              <p:cNvSpPr/>
              <p:nvPr/>
            </p:nvSpPr>
            <p:spPr>
              <a:xfrm>
                <a:off x="5709056" y="2921793"/>
                <a:ext cx="771525" cy="771525"/>
              </a:xfrm>
              <a:custGeom>
                <a:avLst/>
                <a:gdLst>
                  <a:gd name="connsiteX0" fmla="*/ 16669 w 771525"/>
                  <a:gd name="connsiteY0" fmla="*/ 769144 h 771525"/>
                  <a:gd name="connsiteX1" fmla="*/ 759619 w 771525"/>
                  <a:gd name="connsiteY1" fmla="*/ 769144 h 771525"/>
                  <a:gd name="connsiteX2" fmla="*/ 769144 w 771525"/>
                  <a:gd name="connsiteY2" fmla="*/ 759619 h 771525"/>
                  <a:gd name="connsiteX3" fmla="*/ 769144 w 771525"/>
                  <a:gd name="connsiteY3" fmla="*/ 693344 h 771525"/>
                  <a:gd name="connsiteX4" fmla="*/ 759619 w 771525"/>
                  <a:gd name="connsiteY4" fmla="*/ 683819 h 771525"/>
                  <a:gd name="connsiteX5" fmla="*/ 718547 w 771525"/>
                  <a:gd name="connsiteY5" fmla="*/ 683819 h 771525"/>
                  <a:gd name="connsiteX6" fmla="*/ 718547 w 771525"/>
                  <a:gd name="connsiteY6" fmla="*/ 92469 h 771525"/>
                  <a:gd name="connsiteX7" fmla="*/ 732596 w 771525"/>
                  <a:gd name="connsiteY7" fmla="*/ 92469 h 771525"/>
                  <a:gd name="connsiteX8" fmla="*/ 742121 w 771525"/>
                  <a:gd name="connsiteY8" fmla="*/ 82944 h 771525"/>
                  <a:gd name="connsiteX9" fmla="*/ 742121 w 771525"/>
                  <a:gd name="connsiteY9" fmla="*/ 16669 h 771525"/>
                  <a:gd name="connsiteX10" fmla="*/ 732596 w 771525"/>
                  <a:gd name="connsiteY10" fmla="*/ 7144 h 771525"/>
                  <a:gd name="connsiteX11" fmla="*/ 43691 w 771525"/>
                  <a:gd name="connsiteY11" fmla="*/ 7144 h 771525"/>
                  <a:gd name="connsiteX12" fmla="*/ 34166 w 771525"/>
                  <a:gd name="connsiteY12" fmla="*/ 16669 h 771525"/>
                  <a:gd name="connsiteX13" fmla="*/ 34166 w 771525"/>
                  <a:gd name="connsiteY13" fmla="*/ 82944 h 771525"/>
                  <a:gd name="connsiteX14" fmla="*/ 43691 w 771525"/>
                  <a:gd name="connsiteY14" fmla="*/ 92469 h 771525"/>
                  <a:gd name="connsiteX15" fmla="*/ 57741 w 771525"/>
                  <a:gd name="connsiteY15" fmla="*/ 92469 h 771525"/>
                  <a:gd name="connsiteX16" fmla="*/ 57741 w 771525"/>
                  <a:gd name="connsiteY16" fmla="*/ 683819 h 771525"/>
                  <a:gd name="connsiteX17" fmla="*/ 16669 w 771525"/>
                  <a:gd name="connsiteY17" fmla="*/ 683819 h 771525"/>
                  <a:gd name="connsiteX18" fmla="*/ 7144 w 771525"/>
                  <a:gd name="connsiteY18" fmla="*/ 693344 h 771525"/>
                  <a:gd name="connsiteX19" fmla="*/ 7144 w 771525"/>
                  <a:gd name="connsiteY19" fmla="*/ 759619 h 771525"/>
                  <a:gd name="connsiteX20" fmla="*/ 16669 w 771525"/>
                  <a:gd name="connsiteY20" fmla="*/ 769144 h 771525"/>
                  <a:gd name="connsiteX21" fmla="*/ 53216 w 771525"/>
                  <a:gd name="connsiteY21" fmla="*/ 26194 h 771525"/>
                  <a:gd name="connsiteX22" fmla="*/ 723062 w 771525"/>
                  <a:gd name="connsiteY22" fmla="*/ 26194 h 771525"/>
                  <a:gd name="connsiteX23" fmla="*/ 723062 w 771525"/>
                  <a:gd name="connsiteY23" fmla="*/ 73419 h 771525"/>
                  <a:gd name="connsiteX24" fmla="*/ 53216 w 771525"/>
                  <a:gd name="connsiteY24" fmla="*/ 73419 h 771525"/>
                  <a:gd name="connsiteX25" fmla="*/ 53216 w 771525"/>
                  <a:gd name="connsiteY25" fmla="*/ 26194 h 771525"/>
                  <a:gd name="connsiteX26" fmla="*/ 76791 w 771525"/>
                  <a:gd name="connsiteY26" fmla="*/ 92469 h 771525"/>
                  <a:gd name="connsiteX27" fmla="*/ 699487 w 771525"/>
                  <a:gd name="connsiteY27" fmla="*/ 92469 h 771525"/>
                  <a:gd name="connsiteX28" fmla="*/ 699487 w 771525"/>
                  <a:gd name="connsiteY28" fmla="*/ 683819 h 771525"/>
                  <a:gd name="connsiteX29" fmla="*/ 496491 w 771525"/>
                  <a:gd name="connsiteY29" fmla="*/ 683819 h 771525"/>
                  <a:gd name="connsiteX30" fmla="*/ 496491 w 771525"/>
                  <a:gd name="connsiteY30" fmla="*/ 470402 h 771525"/>
                  <a:gd name="connsiteX31" fmla="*/ 486966 w 771525"/>
                  <a:gd name="connsiteY31" fmla="*/ 460877 h 771525"/>
                  <a:gd name="connsiteX32" fmla="*/ 289322 w 771525"/>
                  <a:gd name="connsiteY32" fmla="*/ 460877 h 771525"/>
                  <a:gd name="connsiteX33" fmla="*/ 279797 w 771525"/>
                  <a:gd name="connsiteY33" fmla="*/ 470402 h 771525"/>
                  <a:gd name="connsiteX34" fmla="*/ 279797 w 771525"/>
                  <a:gd name="connsiteY34" fmla="*/ 683819 h 771525"/>
                  <a:gd name="connsiteX35" fmla="*/ 76791 w 771525"/>
                  <a:gd name="connsiteY35" fmla="*/ 683819 h 771525"/>
                  <a:gd name="connsiteX36" fmla="*/ 76791 w 771525"/>
                  <a:gd name="connsiteY36" fmla="*/ 92469 h 771525"/>
                  <a:gd name="connsiteX37" fmla="*/ 298847 w 771525"/>
                  <a:gd name="connsiteY37" fmla="*/ 683819 h 771525"/>
                  <a:gd name="connsiteX38" fmla="*/ 298847 w 771525"/>
                  <a:gd name="connsiteY38" fmla="*/ 479927 h 771525"/>
                  <a:gd name="connsiteX39" fmla="*/ 378619 w 771525"/>
                  <a:gd name="connsiteY39" fmla="*/ 479927 h 771525"/>
                  <a:gd name="connsiteX40" fmla="*/ 378619 w 771525"/>
                  <a:gd name="connsiteY40" fmla="*/ 683819 h 771525"/>
                  <a:gd name="connsiteX41" fmla="*/ 298847 w 771525"/>
                  <a:gd name="connsiteY41" fmla="*/ 683819 h 771525"/>
                  <a:gd name="connsiteX42" fmla="*/ 397669 w 771525"/>
                  <a:gd name="connsiteY42" fmla="*/ 479927 h 771525"/>
                  <a:gd name="connsiteX43" fmla="*/ 477441 w 771525"/>
                  <a:gd name="connsiteY43" fmla="*/ 479927 h 771525"/>
                  <a:gd name="connsiteX44" fmla="*/ 477441 w 771525"/>
                  <a:gd name="connsiteY44" fmla="*/ 683819 h 771525"/>
                  <a:gd name="connsiteX45" fmla="*/ 397669 w 771525"/>
                  <a:gd name="connsiteY45" fmla="*/ 683819 h 771525"/>
                  <a:gd name="connsiteX46" fmla="*/ 397669 w 771525"/>
                  <a:gd name="connsiteY46" fmla="*/ 479927 h 771525"/>
                  <a:gd name="connsiteX47" fmla="*/ 26194 w 771525"/>
                  <a:gd name="connsiteY47" fmla="*/ 702869 h 771525"/>
                  <a:gd name="connsiteX48" fmla="*/ 750094 w 771525"/>
                  <a:gd name="connsiteY48" fmla="*/ 702869 h 771525"/>
                  <a:gd name="connsiteX49" fmla="*/ 750094 w 771525"/>
                  <a:gd name="connsiteY49" fmla="*/ 750094 h 771525"/>
                  <a:gd name="connsiteX50" fmla="*/ 26194 w 771525"/>
                  <a:gd name="connsiteY50" fmla="*/ 750094 h 771525"/>
                  <a:gd name="connsiteX51" fmla="*/ 26194 w 771525"/>
                  <a:gd name="connsiteY51" fmla="*/ 702869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771525" h="771525">
                    <a:moveTo>
                      <a:pt x="16669" y="769144"/>
                    </a:moveTo>
                    <a:lnTo>
                      <a:pt x="759619" y="769144"/>
                    </a:lnTo>
                    <a:cubicBezTo>
                      <a:pt x="764877" y="769144"/>
                      <a:pt x="769144" y="764886"/>
                      <a:pt x="769144" y="759619"/>
                    </a:cubicBezTo>
                    <a:lnTo>
                      <a:pt x="769144" y="693344"/>
                    </a:lnTo>
                    <a:cubicBezTo>
                      <a:pt x="769144" y="688076"/>
                      <a:pt x="764877" y="683819"/>
                      <a:pt x="759619" y="683819"/>
                    </a:cubicBezTo>
                    <a:lnTo>
                      <a:pt x="718547" y="683819"/>
                    </a:lnTo>
                    <a:lnTo>
                      <a:pt x="718547" y="92469"/>
                    </a:lnTo>
                    <a:lnTo>
                      <a:pt x="732596" y="92469"/>
                    </a:lnTo>
                    <a:cubicBezTo>
                      <a:pt x="737854" y="92469"/>
                      <a:pt x="742121" y="88211"/>
                      <a:pt x="742121" y="82944"/>
                    </a:cubicBezTo>
                    <a:lnTo>
                      <a:pt x="742121" y="16669"/>
                    </a:lnTo>
                    <a:cubicBezTo>
                      <a:pt x="742121" y="11401"/>
                      <a:pt x="737854" y="7144"/>
                      <a:pt x="732596" y="7144"/>
                    </a:cubicBezTo>
                    <a:lnTo>
                      <a:pt x="43691" y="7144"/>
                    </a:lnTo>
                    <a:cubicBezTo>
                      <a:pt x="38433" y="7144"/>
                      <a:pt x="34166" y="11401"/>
                      <a:pt x="34166" y="16669"/>
                    </a:cubicBezTo>
                    <a:lnTo>
                      <a:pt x="34166" y="82944"/>
                    </a:lnTo>
                    <a:cubicBezTo>
                      <a:pt x="34166" y="88211"/>
                      <a:pt x="38433" y="92469"/>
                      <a:pt x="43691" y="92469"/>
                    </a:cubicBezTo>
                    <a:lnTo>
                      <a:pt x="57741" y="92469"/>
                    </a:lnTo>
                    <a:lnTo>
                      <a:pt x="57741" y="683819"/>
                    </a:lnTo>
                    <a:lnTo>
                      <a:pt x="16669" y="683819"/>
                    </a:lnTo>
                    <a:cubicBezTo>
                      <a:pt x="11411" y="683819"/>
                      <a:pt x="7144" y="688076"/>
                      <a:pt x="7144" y="693344"/>
                    </a:cubicBezTo>
                    <a:lnTo>
                      <a:pt x="7144" y="759619"/>
                    </a:lnTo>
                    <a:cubicBezTo>
                      <a:pt x="7144" y="764886"/>
                      <a:pt x="11411" y="769144"/>
                      <a:pt x="16669" y="769144"/>
                    </a:cubicBezTo>
                    <a:close/>
                    <a:moveTo>
                      <a:pt x="53216" y="26194"/>
                    </a:moveTo>
                    <a:lnTo>
                      <a:pt x="723062" y="26194"/>
                    </a:lnTo>
                    <a:lnTo>
                      <a:pt x="723062" y="73419"/>
                    </a:lnTo>
                    <a:lnTo>
                      <a:pt x="53216" y="73419"/>
                    </a:lnTo>
                    <a:lnTo>
                      <a:pt x="53216" y="26194"/>
                    </a:lnTo>
                    <a:close/>
                    <a:moveTo>
                      <a:pt x="76791" y="92469"/>
                    </a:moveTo>
                    <a:lnTo>
                      <a:pt x="699487" y="92469"/>
                    </a:lnTo>
                    <a:lnTo>
                      <a:pt x="699487" y="683819"/>
                    </a:lnTo>
                    <a:lnTo>
                      <a:pt x="496491" y="683819"/>
                    </a:lnTo>
                    <a:lnTo>
                      <a:pt x="496491" y="470402"/>
                    </a:lnTo>
                    <a:cubicBezTo>
                      <a:pt x="496491" y="465134"/>
                      <a:pt x="492223" y="460877"/>
                      <a:pt x="486966" y="460877"/>
                    </a:cubicBezTo>
                    <a:lnTo>
                      <a:pt x="289322" y="460877"/>
                    </a:lnTo>
                    <a:cubicBezTo>
                      <a:pt x="284064" y="460877"/>
                      <a:pt x="279797" y="465134"/>
                      <a:pt x="279797" y="470402"/>
                    </a:cubicBezTo>
                    <a:lnTo>
                      <a:pt x="279797" y="683819"/>
                    </a:lnTo>
                    <a:lnTo>
                      <a:pt x="76791" y="683819"/>
                    </a:lnTo>
                    <a:lnTo>
                      <a:pt x="76791" y="92469"/>
                    </a:lnTo>
                    <a:close/>
                    <a:moveTo>
                      <a:pt x="298847" y="683819"/>
                    </a:moveTo>
                    <a:lnTo>
                      <a:pt x="298847" y="479927"/>
                    </a:lnTo>
                    <a:lnTo>
                      <a:pt x="378619" y="479927"/>
                    </a:lnTo>
                    <a:lnTo>
                      <a:pt x="378619" y="683819"/>
                    </a:lnTo>
                    <a:lnTo>
                      <a:pt x="298847" y="683819"/>
                    </a:lnTo>
                    <a:close/>
                    <a:moveTo>
                      <a:pt x="397669" y="479927"/>
                    </a:moveTo>
                    <a:lnTo>
                      <a:pt x="477441" y="479927"/>
                    </a:lnTo>
                    <a:lnTo>
                      <a:pt x="477441" y="683819"/>
                    </a:lnTo>
                    <a:lnTo>
                      <a:pt x="397669" y="683819"/>
                    </a:lnTo>
                    <a:lnTo>
                      <a:pt x="397669" y="479927"/>
                    </a:lnTo>
                    <a:close/>
                    <a:moveTo>
                      <a:pt x="26194" y="702869"/>
                    </a:moveTo>
                    <a:lnTo>
                      <a:pt x="750094" y="702869"/>
                    </a:lnTo>
                    <a:lnTo>
                      <a:pt x="750094" y="750094"/>
                    </a:lnTo>
                    <a:lnTo>
                      <a:pt x="26194" y="750094"/>
                    </a:lnTo>
                    <a:lnTo>
                      <a:pt x="26194" y="70286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2" name="Freeform: Shape 448">
                <a:extLst>
                  <a:ext uri="{FF2B5EF4-FFF2-40B4-BE49-F238E27FC236}">
                    <a16:creationId xmlns:a16="http://schemas.microsoft.com/office/drawing/2014/main" id="{F454034B-6763-4A0A-B0FE-D1DB9F72670E}"/>
                  </a:ext>
                </a:extLst>
              </p:cNvPr>
              <p:cNvSpPr/>
              <p:nvPr/>
            </p:nvSpPr>
            <p:spPr>
              <a:xfrm>
                <a:off x="6256849" y="337441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3" name="Freeform: Shape 449">
                <a:extLst>
                  <a:ext uri="{FF2B5EF4-FFF2-40B4-BE49-F238E27FC236}">
                    <a16:creationId xmlns:a16="http://schemas.microsoft.com/office/drawing/2014/main" id="{24EF349C-A899-4CF6-B22D-E0DCD32D8C30}"/>
                  </a:ext>
                </a:extLst>
              </p:cNvPr>
              <p:cNvSpPr/>
              <p:nvPr/>
            </p:nvSpPr>
            <p:spPr>
              <a:xfrm>
                <a:off x="5842511" y="3374412"/>
                <a:ext cx="85725" cy="123825"/>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4" name="Freeform: Shape 450">
                <a:extLst>
                  <a:ext uri="{FF2B5EF4-FFF2-40B4-BE49-F238E27FC236}">
                    <a16:creationId xmlns:a16="http://schemas.microsoft.com/office/drawing/2014/main" id="{7F3FE53C-CBF1-48F9-BA17-9AC14B5F8DAF}"/>
                  </a:ext>
                </a:extLst>
              </p:cNvPr>
              <p:cNvSpPr/>
              <p:nvPr/>
            </p:nvSpPr>
            <p:spPr>
              <a:xfrm>
                <a:off x="6256849" y="322320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5" name="Freeform: Shape 451">
                <a:extLst>
                  <a:ext uri="{FF2B5EF4-FFF2-40B4-BE49-F238E27FC236}">
                    <a16:creationId xmlns:a16="http://schemas.microsoft.com/office/drawing/2014/main" id="{A8683496-7CDF-4C07-B477-B23572014B8D}"/>
                  </a:ext>
                </a:extLst>
              </p:cNvPr>
              <p:cNvSpPr/>
              <p:nvPr/>
            </p:nvSpPr>
            <p:spPr>
              <a:xfrm>
                <a:off x="6118841" y="322320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6" name="Freeform: Shape 452">
                <a:extLst>
                  <a:ext uri="{FF2B5EF4-FFF2-40B4-BE49-F238E27FC236}">
                    <a16:creationId xmlns:a16="http://schemas.microsoft.com/office/drawing/2014/main" id="{E2309ABB-96AB-40B1-9E0A-EDF4B55385B7}"/>
                  </a:ext>
                </a:extLst>
              </p:cNvPr>
              <p:cNvSpPr/>
              <p:nvPr/>
            </p:nvSpPr>
            <p:spPr>
              <a:xfrm>
                <a:off x="5981710" y="322320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7" name="Freeform: Shape 453">
                <a:extLst>
                  <a:ext uri="{FF2B5EF4-FFF2-40B4-BE49-F238E27FC236}">
                    <a16:creationId xmlns:a16="http://schemas.microsoft.com/office/drawing/2014/main" id="{F9BD3954-FCD8-4AE4-845C-21F5BEA83024}"/>
                  </a:ext>
                </a:extLst>
              </p:cNvPr>
              <p:cNvSpPr/>
              <p:nvPr/>
            </p:nvSpPr>
            <p:spPr>
              <a:xfrm>
                <a:off x="6118841" y="3071993"/>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8" name="Freeform: Shape 454">
                <a:extLst>
                  <a:ext uri="{FF2B5EF4-FFF2-40B4-BE49-F238E27FC236}">
                    <a16:creationId xmlns:a16="http://schemas.microsoft.com/office/drawing/2014/main" id="{76CA987B-3DC7-4A24-9F8E-6D6C6CD1AAFB}"/>
                  </a:ext>
                </a:extLst>
              </p:cNvPr>
              <p:cNvSpPr/>
              <p:nvPr/>
            </p:nvSpPr>
            <p:spPr>
              <a:xfrm>
                <a:off x="5981710" y="3071993"/>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9" name="Freeform: Shape 455">
                <a:extLst>
                  <a:ext uri="{FF2B5EF4-FFF2-40B4-BE49-F238E27FC236}">
                    <a16:creationId xmlns:a16="http://schemas.microsoft.com/office/drawing/2014/main" id="{D84E9FFA-61A1-4597-A96A-AF267E0FA218}"/>
                  </a:ext>
                </a:extLst>
              </p:cNvPr>
              <p:cNvSpPr/>
              <p:nvPr/>
            </p:nvSpPr>
            <p:spPr>
              <a:xfrm>
                <a:off x="5842511" y="3223202"/>
                <a:ext cx="85725" cy="123825"/>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0" name="Freeform: Shape 456">
                <a:extLst>
                  <a:ext uri="{FF2B5EF4-FFF2-40B4-BE49-F238E27FC236}">
                    <a16:creationId xmlns:a16="http://schemas.microsoft.com/office/drawing/2014/main" id="{5B51065B-697D-458C-A1D3-CB303B7688C9}"/>
                  </a:ext>
                </a:extLst>
              </p:cNvPr>
              <p:cNvSpPr/>
              <p:nvPr/>
            </p:nvSpPr>
            <p:spPr>
              <a:xfrm>
                <a:off x="6256849" y="3071993"/>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1" name="Freeform: Shape 457">
                <a:extLst>
                  <a:ext uri="{FF2B5EF4-FFF2-40B4-BE49-F238E27FC236}">
                    <a16:creationId xmlns:a16="http://schemas.microsoft.com/office/drawing/2014/main" id="{F3140EAF-9D64-4078-BBA5-6E461F2BA9B2}"/>
                  </a:ext>
                </a:extLst>
              </p:cNvPr>
              <p:cNvSpPr/>
              <p:nvPr/>
            </p:nvSpPr>
            <p:spPr>
              <a:xfrm>
                <a:off x="5842511" y="3071993"/>
                <a:ext cx="85725" cy="123825"/>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674" name="Group 673">
              <a:extLst>
                <a:ext uri="{FF2B5EF4-FFF2-40B4-BE49-F238E27FC236}">
                  <a16:creationId xmlns:a16="http://schemas.microsoft.com/office/drawing/2014/main" id="{8619C4E9-DEE1-44AB-9CAF-7CBD4EEBBF30}"/>
                </a:ext>
              </a:extLst>
            </p:cNvPr>
            <p:cNvGrpSpPr/>
            <p:nvPr/>
          </p:nvGrpSpPr>
          <p:grpSpPr>
            <a:xfrm>
              <a:off x="7602496" y="1739620"/>
              <a:ext cx="570891" cy="1272744"/>
              <a:chOff x="7602496" y="1739620"/>
              <a:chExt cx="570891" cy="1272744"/>
            </a:xfrm>
          </p:grpSpPr>
          <p:sp>
            <p:nvSpPr>
              <p:cNvPr id="733" name="Rectangle 732">
                <a:extLst>
                  <a:ext uri="{FF2B5EF4-FFF2-40B4-BE49-F238E27FC236}">
                    <a16:creationId xmlns:a16="http://schemas.microsoft.com/office/drawing/2014/main" id="{6F025070-A94E-4FD2-A480-A14146E83AE7}"/>
                  </a:ext>
                </a:extLst>
              </p:cNvPr>
              <p:cNvSpPr/>
              <p:nvPr/>
            </p:nvSpPr>
            <p:spPr>
              <a:xfrm>
                <a:off x="7602496" y="1863445"/>
                <a:ext cx="570891" cy="1148919"/>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734" name="Group 733">
                <a:extLst>
                  <a:ext uri="{FF2B5EF4-FFF2-40B4-BE49-F238E27FC236}">
                    <a16:creationId xmlns:a16="http://schemas.microsoft.com/office/drawing/2014/main" id="{0743A971-F4D0-4F49-A5B4-23D41CF3C6F5}"/>
                  </a:ext>
                </a:extLst>
              </p:cNvPr>
              <p:cNvGrpSpPr/>
              <p:nvPr/>
            </p:nvGrpSpPr>
            <p:grpSpPr>
              <a:xfrm>
                <a:off x="7681520" y="1918017"/>
                <a:ext cx="386355" cy="212495"/>
                <a:chOff x="7681520" y="1918017"/>
                <a:chExt cx="386355" cy="212495"/>
              </a:xfrm>
            </p:grpSpPr>
            <p:sp>
              <p:nvSpPr>
                <p:cNvPr id="763" name="Freeform: Shape 613">
                  <a:extLst>
                    <a:ext uri="{FF2B5EF4-FFF2-40B4-BE49-F238E27FC236}">
                      <a16:creationId xmlns:a16="http://schemas.microsoft.com/office/drawing/2014/main" id="{31D3003D-69D0-43AB-8F47-3B90954BB0A0}"/>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4" name="Freeform: Shape 614">
                  <a:extLst>
                    <a:ext uri="{FF2B5EF4-FFF2-40B4-BE49-F238E27FC236}">
                      <a16:creationId xmlns:a16="http://schemas.microsoft.com/office/drawing/2014/main" id="{0ACDB22F-2041-487F-96F0-4D53C955592E}"/>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5" name="Freeform: Shape 615">
                  <a:extLst>
                    <a:ext uri="{FF2B5EF4-FFF2-40B4-BE49-F238E27FC236}">
                      <a16:creationId xmlns:a16="http://schemas.microsoft.com/office/drawing/2014/main" id="{1D0F5495-80E2-4276-AD8A-E2CCB8379B87}"/>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6" name="Freeform: Shape 616">
                  <a:extLst>
                    <a:ext uri="{FF2B5EF4-FFF2-40B4-BE49-F238E27FC236}">
                      <a16:creationId xmlns:a16="http://schemas.microsoft.com/office/drawing/2014/main" id="{75F5C856-CA0C-4DF8-ADE5-E9A692CC3F35}"/>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7" name="Freeform: Shape 617">
                  <a:extLst>
                    <a:ext uri="{FF2B5EF4-FFF2-40B4-BE49-F238E27FC236}">
                      <a16:creationId xmlns:a16="http://schemas.microsoft.com/office/drawing/2014/main" id="{03C41B6B-DF1C-413C-BF10-948DC90FEFF2}"/>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8" name="Freeform: Shape 618">
                  <a:extLst>
                    <a:ext uri="{FF2B5EF4-FFF2-40B4-BE49-F238E27FC236}">
                      <a16:creationId xmlns:a16="http://schemas.microsoft.com/office/drawing/2014/main" id="{B0871FBF-7C12-46A8-9D48-5E361F25A0E7}"/>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9" name="Freeform: Shape 619">
                  <a:extLst>
                    <a:ext uri="{FF2B5EF4-FFF2-40B4-BE49-F238E27FC236}">
                      <a16:creationId xmlns:a16="http://schemas.microsoft.com/office/drawing/2014/main" id="{23776C9E-D53A-47EB-914D-03DB163B75DA}"/>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0" name="Freeform: Shape 620">
                  <a:extLst>
                    <a:ext uri="{FF2B5EF4-FFF2-40B4-BE49-F238E27FC236}">
                      <a16:creationId xmlns:a16="http://schemas.microsoft.com/office/drawing/2014/main" id="{6FCE1129-6EEA-4818-9C22-5C96A9E1CB3E}"/>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735" name="Group 734">
                <a:extLst>
                  <a:ext uri="{FF2B5EF4-FFF2-40B4-BE49-F238E27FC236}">
                    <a16:creationId xmlns:a16="http://schemas.microsoft.com/office/drawing/2014/main" id="{623D1DE8-FB9E-431A-B1E6-25FADC13CD77}"/>
                  </a:ext>
                </a:extLst>
              </p:cNvPr>
              <p:cNvGrpSpPr/>
              <p:nvPr/>
            </p:nvGrpSpPr>
            <p:grpSpPr>
              <a:xfrm>
                <a:off x="7681520" y="2165667"/>
                <a:ext cx="386355" cy="212495"/>
                <a:chOff x="7681520" y="1918017"/>
                <a:chExt cx="386355" cy="212495"/>
              </a:xfrm>
            </p:grpSpPr>
            <p:sp>
              <p:nvSpPr>
                <p:cNvPr id="755" name="Freeform: Shape 622">
                  <a:extLst>
                    <a:ext uri="{FF2B5EF4-FFF2-40B4-BE49-F238E27FC236}">
                      <a16:creationId xmlns:a16="http://schemas.microsoft.com/office/drawing/2014/main" id="{5CFEA125-032F-43B6-A7B5-3B3E13B65B5A}"/>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6" name="Freeform: Shape 623">
                  <a:extLst>
                    <a:ext uri="{FF2B5EF4-FFF2-40B4-BE49-F238E27FC236}">
                      <a16:creationId xmlns:a16="http://schemas.microsoft.com/office/drawing/2014/main" id="{1F95517B-8B68-4881-8DC1-4963D259D046}"/>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7" name="Freeform: Shape 624">
                  <a:extLst>
                    <a:ext uri="{FF2B5EF4-FFF2-40B4-BE49-F238E27FC236}">
                      <a16:creationId xmlns:a16="http://schemas.microsoft.com/office/drawing/2014/main" id="{31A338DE-2041-42A7-852A-B440F865B845}"/>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8" name="Freeform: Shape 625">
                  <a:extLst>
                    <a:ext uri="{FF2B5EF4-FFF2-40B4-BE49-F238E27FC236}">
                      <a16:creationId xmlns:a16="http://schemas.microsoft.com/office/drawing/2014/main" id="{2FA7AE4D-85F2-4C1B-970B-4BD418277FDC}"/>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9" name="Freeform: Shape 626">
                  <a:extLst>
                    <a:ext uri="{FF2B5EF4-FFF2-40B4-BE49-F238E27FC236}">
                      <a16:creationId xmlns:a16="http://schemas.microsoft.com/office/drawing/2014/main" id="{2BB500AE-A26E-4651-B142-FEBDDFC045ED}"/>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0" name="Freeform: Shape 627">
                  <a:extLst>
                    <a:ext uri="{FF2B5EF4-FFF2-40B4-BE49-F238E27FC236}">
                      <a16:creationId xmlns:a16="http://schemas.microsoft.com/office/drawing/2014/main" id="{9E3F810C-862D-4C6A-A7D8-A313D39B6BB2}"/>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1" name="Freeform: Shape 628">
                  <a:extLst>
                    <a:ext uri="{FF2B5EF4-FFF2-40B4-BE49-F238E27FC236}">
                      <a16:creationId xmlns:a16="http://schemas.microsoft.com/office/drawing/2014/main" id="{D50613AF-9DAC-49B5-956A-94E8465E204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2" name="Freeform: Shape 629">
                  <a:extLst>
                    <a:ext uri="{FF2B5EF4-FFF2-40B4-BE49-F238E27FC236}">
                      <a16:creationId xmlns:a16="http://schemas.microsoft.com/office/drawing/2014/main" id="{4B9269CF-6878-4C31-B7A6-D3A91E055EC4}"/>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736" name="Group 735">
                <a:extLst>
                  <a:ext uri="{FF2B5EF4-FFF2-40B4-BE49-F238E27FC236}">
                    <a16:creationId xmlns:a16="http://schemas.microsoft.com/office/drawing/2014/main" id="{83398368-FF21-4690-9F47-3C01B401F17E}"/>
                  </a:ext>
                </a:extLst>
              </p:cNvPr>
              <p:cNvGrpSpPr/>
              <p:nvPr/>
            </p:nvGrpSpPr>
            <p:grpSpPr>
              <a:xfrm>
                <a:off x="7681520" y="2429192"/>
                <a:ext cx="386355" cy="212495"/>
                <a:chOff x="7681520" y="1918017"/>
                <a:chExt cx="386355" cy="212495"/>
              </a:xfrm>
            </p:grpSpPr>
            <p:sp>
              <p:nvSpPr>
                <p:cNvPr id="747" name="Freeform: Shape 631">
                  <a:extLst>
                    <a:ext uri="{FF2B5EF4-FFF2-40B4-BE49-F238E27FC236}">
                      <a16:creationId xmlns:a16="http://schemas.microsoft.com/office/drawing/2014/main" id="{FADF1AD1-FBC6-4AFA-B95A-C3E1A6ABAE76}"/>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8" name="Freeform: Shape 632">
                  <a:extLst>
                    <a:ext uri="{FF2B5EF4-FFF2-40B4-BE49-F238E27FC236}">
                      <a16:creationId xmlns:a16="http://schemas.microsoft.com/office/drawing/2014/main" id="{ECC23EDB-DDBE-4FD3-986F-B514BBCDA4EC}"/>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9" name="Freeform: Shape 633">
                  <a:extLst>
                    <a:ext uri="{FF2B5EF4-FFF2-40B4-BE49-F238E27FC236}">
                      <a16:creationId xmlns:a16="http://schemas.microsoft.com/office/drawing/2014/main" id="{9F2142F2-3069-4C1D-8EF2-F90C79FA3AB8}"/>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0" name="Freeform: Shape 634">
                  <a:extLst>
                    <a:ext uri="{FF2B5EF4-FFF2-40B4-BE49-F238E27FC236}">
                      <a16:creationId xmlns:a16="http://schemas.microsoft.com/office/drawing/2014/main" id="{B1EA25BE-5F9F-43FA-AEE5-154AD3736A64}"/>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1" name="Freeform: Shape 635">
                  <a:extLst>
                    <a:ext uri="{FF2B5EF4-FFF2-40B4-BE49-F238E27FC236}">
                      <a16:creationId xmlns:a16="http://schemas.microsoft.com/office/drawing/2014/main" id="{613BC104-4FCD-4B68-A3F0-1D79B4254772}"/>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2" name="Freeform: Shape 636">
                  <a:extLst>
                    <a:ext uri="{FF2B5EF4-FFF2-40B4-BE49-F238E27FC236}">
                      <a16:creationId xmlns:a16="http://schemas.microsoft.com/office/drawing/2014/main" id="{FD79181F-63B5-44AE-81D3-92203C35C660}"/>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3" name="Freeform: Shape 637">
                  <a:extLst>
                    <a:ext uri="{FF2B5EF4-FFF2-40B4-BE49-F238E27FC236}">
                      <a16:creationId xmlns:a16="http://schemas.microsoft.com/office/drawing/2014/main" id="{5F5F1658-98D3-480F-87EE-7864866DCD00}"/>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4" name="Freeform: Shape 638">
                  <a:extLst>
                    <a:ext uri="{FF2B5EF4-FFF2-40B4-BE49-F238E27FC236}">
                      <a16:creationId xmlns:a16="http://schemas.microsoft.com/office/drawing/2014/main" id="{0168CFCA-B35F-41A5-94B1-6202B4643E0A}"/>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737" name="Group 736">
                <a:extLst>
                  <a:ext uri="{FF2B5EF4-FFF2-40B4-BE49-F238E27FC236}">
                    <a16:creationId xmlns:a16="http://schemas.microsoft.com/office/drawing/2014/main" id="{1371FD26-6207-45DE-8FFF-F63928D3219E}"/>
                  </a:ext>
                </a:extLst>
              </p:cNvPr>
              <p:cNvGrpSpPr/>
              <p:nvPr/>
            </p:nvGrpSpPr>
            <p:grpSpPr>
              <a:xfrm>
                <a:off x="7681520" y="2692717"/>
                <a:ext cx="386355" cy="212495"/>
                <a:chOff x="7681520" y="1918017"/>
                <a:chExt cx="386355" cy="212495"/>
              </a:xfrm>
            </p:grpSpPr>
            <p:sp>
              <p:nvSpPr>
                <p:cNvPr id="739" name="Freeform: Shape 640">
                  <a:extLst>
                    <a:ext uri="{FF2B5EF4-FFF2-40B4-BE49-F238E27FC236}">
                      <a16:creationId xmlns:a16="http://schemas.microsoft.com/office/drawing/2014/main" id="{9227E197-9FA0-4FF6-B998-BCD32CACFCAF}"/>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0" name="Freeform: Shape 641">
                  <a:extLst>
                    <a:ext uri="{FF2B5EF4-FFF2-40B4-BE49-F238E27FC236}">
                      <a16:creationId xmlns:a16="http://schemas.microsoft.com/office/drawing/2014/main" id="{A62770A8-41DA-4AA6-8DB0-48B9FF5E7174}"/>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1" name="Freeform: Shape 642">
                  <a:extLst>
                    <a:ext uri="{FF2B5EF4-FFF2-40B4-BE49-F238E27FC236}">
                      <a16:creationId xmlns:a16="http://schemas.microsoft.com/office/drawing/2014/main" id="{99FD1C56-9940-44D5-B806-8F5641AED512}"/>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2" name="Freeform: Shape 643">
                  <a:extLst>
                    <a:ext uri="{FF2B5EF4-FFF2-40B4-BE49-F238E27FC236}">
                      <a16:creationId xmlns:a16="http://schemas.microsoft.com/office/drawing/2014/main" id="{F45FCD9E-03EF-4961-B467-A1363C31AA26}"/>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3" name="Freeform: Shape 644">
                  <a:extLst>
                    <a:ext uri="{FF2B5EF4-FFF2-40B4-BE49-F238E27FC236}">
                      <a16:creationId xmlns:a16="http://schemas.microsoft.com/office/drawing/2014/main" id="{D2678F5B-FFBA-44DD-829D-645CFC56D566}"/>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4" name="Freeform: Shape 645">
                  <a:extLst>
                    <a:ext uri="{FF2B5EF4-FFF2-40B4-BE49-F238E27FC236}">
                      <a16:creationId xmlns:a16="http://schemas.microsoft.com/office/drawing/2014/main" id="{46552C97-E191-4623-8588-29F039D488DC}"/>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5" name="Freeform: Shape 646">
                  <a:extLst>
                    <a:ext uri="{FF2B5EF4-FFF2-40B4-BE49-F238E27FC236}">
                      <a16:creationId xmlns:a16="http://schemas.microsoft.com/office/drawing/2014/main" id="{9C4EEF16-E9D3-42BB-B419-5978A70D805D}"/>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6" name="Freeform: Shape 647">
                  <a:extLst>
                    <a:ext uri="{FF2B5EF4-FFF2-40B4-BE49-F238E27FC236}">
                      <a16:creationId xmlns:a16="http://schemas.microsoft.com/office/drawing/2014/main" id="{D525B7EF-BF21-47F2-AC13-B8C9B1284233}"/>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738" name="Rectangle 737">
                <a:extLst>
                  <a:ext uri="{FF2B5EF4-FFF2-40B4-BE49-F238E27FC236}">
                    <a16:creationId xmlns:a16="http://schemas.microsoft.com/office/drawing/2014/main" id="{49F05559-D241-48B8-ADA8-3F58000635BC}"/>
                  </a:ext>
                </a:extLst>
              </p:cNvPr>
              <p:cNvSpPr/>
              <p:nvPr/>
            </p:nvSpPr>
            <p:spPr>
              <a:xfrm>
                <a:off x="7710446" y="1739620"/>
                <a:ext cx="363579" cy="124105"/>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grpSp>
          <p:nvGrpSpPr>
            <p:cNvPr id="675" name="Group 674">
              <a:extLst>
                <a:ext uri="{FF2B5EF4-FFF2-40B4-BE49-F238E27FC236}">
                  <a16:creationId xmlns:a16="http://schemas.microsoft.com/office/drawing/2014/main" id="{FEA3E8C3-F514-452F-874E-9F8AB70A629E}"/>
                </a:ext>
              </a:extLst>
            </p:cNvPr>
            <p:cNvGrpSpPr/>
            <p:nvPr/>
          </p:nvGrpSpPr>
          <p:grpSpPr>
            <a:xfrm>
              <a:off x="8177171" y="2098675"/>
              <a:ext cx="570891" cy="913689"/>
              <a:chOff x="8177171" y="2098675"/>
              <a:chExt cx="570891" cy="913689"/>
            </a:xfrm>
          </p:grpSpPr>
          <p:sp>
            <p:nvSpPr>
              <p:cNvPr id="705" name="Rectangle 704">
                <a:extLst>
                  <a:ext uri="{FF2B5EF4-FFF2-40B4-BE49-F238E27FC236}">
                    <a16:creationId xmlns:a16="http://schemas.microsoft.com/office/drawing/2014/main" id="{D35675EB-DAC8-44CA-A3E3-FF7673828F1F}"/>
                  </a:ext>
                </a:extLst>
              </p:cNvPr>
              <p:cNvSpPr/>
              <p:nvPr/>
            </p:nvSpPr>
            <p:spPr>
              <a:xfrm>
                <a:off x="8177171" y="2098675"/>
                <a:ext cx="570891" cy="913689"/>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706" name="Group 705">
                <a:extLst>
                  <a:ext uri="{FF2B5EF4-FFF2-40B4-BE49-F238E27FC236}">
                    <a16:creationId xmlns:a16="http://schemas.microsoft.com/office/drawing/2014/main" id="{E88663B7-7F40-4F03-BC22-E4F1ECE0F746}"/>
                  </a:ext>
                </a:extLst>
              </p:cNvPr>
              <p:cNvGrpSpPr/>
              <p:nvPr/>
            </p:nvGrpSpPr>
            <p:grpSpPr>
              <a:xfrm>
                <a:off x="8256195" y="2165667"/>
                <a:ext cx="386355" cy="212495"/>
                <a:chOff x="7681520" y="1918017"/>
                <a:chExt cx="386355" cy="212495"/>
              </a:xfrm>
            </p:grpSpPr>
            <p:sp>
              <p:nvSpPr>
                <p:cNvPr id="725" name="Freeform: Shape 670">
                  <a:extLst>
                    <a:ext uri="{FF2B5EF4-FFF2-40B4-BE49-F238E27FC236}">
                      <a16:creationId xmlns:a16="http://schemas.microsoft.com/office/drawing/2014/main" id="{A8137716-D672-4DC9-9B3E-259C52644D02}"/>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6" name="Freeform: Shape 671">
                  <a:extLst>
                    <a:ext uri="{FF2B5EF4-FFF2-40B4-BE49-F238E27FC236}">
                      <a16:creationId xmlns:a16="http://schemas.microsoft.com/office/drawing/2014/main" id="{4ED7132E-1AA7-4D65-93E4-5AF6FCB82695}"/>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7" name="Freeform: Shape 672">
                  <a:extLst>
                    <a:ext uri="{FF2B5EF4-FFF2-40B4-BE49-F238E27FC236}">
                      <a16:creationId xmlns:a16="http://schemas.microsoft.com/office/drawing/2014/main" id="{8DDFE472-0C23-4E92-8762-FE9269710FF3}"/>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8" name="Freeform: Shape 673">
                  <a:extLst>
                    <a:ext uri="{FF2B5EF4-FFF2-40B4-BE49-F238E27FC236}">
                      <a16:creationId xmlns:a16="http://schemas.microsoft.com/office/drawing/2014/main" id="{AF1C5192-1210-4FFB-81D5-35B4DE196F3C}"/>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9" name="Freeform: Shape 674">
                  <a:extLst>
                    <a:ext uri="{FF2B5EF4-FFF2-40B4-BE49-F238E27FC236}">
                      <a16:creationId xmlns:a16="http://schemas.microsoft.com/office/drawing/2014/main" id="{7FECE02D-BD9A-453F-90FC-782E497486DF}"/>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0" name="Freeform: Shape 675">
                  <a:extLst>
                    <a:ext uri="{FF2B5EF4-FFF2-40B4-BE49-F238E27FC236}">
                      <a16:creationId xmlns:a16="http://schemas.microsoft.com/office/drawing/2014/main" id="{2E87A703-6368-4475-B778-00D541B0C605}"/>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1" name="Freeform: Shape 676">
                  <a:extLst>
                    <a:ext uri="{FF2B5EF4-FFF2-40B4-BE49-F238E27FC236}">
                      <a16:creationId xmlns:a16="http://schemas.microsoft.com/office/drawing/2014/main" id="{2FF07726-6A9F-4C80-BACC-453BE1104DB5}"/>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2" name="Freeform: Shape 677">
                  <a:extLst>
                    <a:ext uri="{FF2B5EF4-FFF2-40B4-BE49-F238E27FC236}">
                      <a16:creationId xmlns:a16="http://schemas.microsoft.com/office/drawing/2014/main" id="{343B4E2C-23C4-471B-B287-CF1F22B8D71F}"/>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707" name="Group 706">
                <a:extLst>
                  <a:ext uri="{FF2B5EF4-FFF2-40B4-BE49-F238E27FC236}">
                    <a16:creationId xmlns:a16="http://schemas.microsoft.com/office/drawing/2014/main" id="{5EC42186-E0B0-4B42-A20D-A2E2F18DD4FD}"/>
                  </a:ext>
                </a:extLst>
              </p:cNvPr>
              <p:cNvGrpSpPr/>
              <p:nvPr/>
            </p:nvGrpSpPr>
            <p:grpSpPr>
              <a:xfrm>
                <a:off x="8256195" y="2429192"/>
                <a:ext cx="386355" cy="212495"/>
                <a:chOff x="7681520" y="1918017"/>
                <a:chExt cx="386355" cy="212495"/>
              </a:xfrm>
            </p:grpSpPr>
            <p:sp>
              <p:nvSpPr>
                <p:cNvPr id="717" name="Freeform: Shape 662">
                  <a:extLst>
                    <a:ext uri="{FF2B5EF4-FFF2-40B4-BE49-F238E27FC236}">
                      <a16:creationId xmlns:a16="http://schemas.microsoft.com/office/drawing/2014/main" id="{F5CD9D99-C5C7-43D6-A58F-C210C0D3148A}"/>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8" name="Freeform: Shape 663">
                  <a:extLst>
                    <a:ext uri="{FF2B5EF4-FFF2-40B4-BE49-F238E27FC236}">
                      <a16:creationId xmlns:a16="http://schemas.microsoft.com/office/drawing/2014/main" id="{5010DB45-97F6-43E3-BABD-611841BC84C1}"/>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9" name="Freeform: Shape 664">
                  <a:extLst>
                    <a:ext uri="{FF2B5EF4-FFF2-40B4-BE49-F238E27FC236}">
                      <a16:creationId xmlns:a16="http://schemas.microsoft.com/office/drawing/2014/main" id="{1A7A5710-8F56-4FE6-9D52-A395CE62612B}"/>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0" name="Freeform: Shape 665">
                  <a:extLst>
                    <a:ext uri="{FF2B5EF4-FFF2-40B4-BE49-F238E27FC236}">
                      <a16:creationId xmlns:a16="http://schemas.microsoft.com/office/drawing/2014/main" id="{59C8D57C-1648-447C-A166-D34CBDC404DC}"/>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1" name="Freeform: Shape 666">
                  <a:extLst>
                    <a:ext uri="{FF2B5EF4-FFF2-40B4-BE49-F238E27FC236}">
                      <a16:creationId xmlns:a16="http://schemas.microsoft.com/office/drawing/2014/main" id="{0348AE04-E05E-4E72-B18E-9CAC2E5699AE}"/>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2" name="Freeform: Shape 667">
                  <a:extLst>
                    <a:ext uri="{FF2B5EF4-FFF2-40B4-BE49-F238E27FC236}">
                      <a16:creationId xmlns:a16="http://schemas.microsoft.com/office/drawing/2014/main" id="{7531DB24-EFEE-462D-827D-C41060AACB53}"/>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3" name="Freeform: Shape 668">
                  <a:extLst>
                    <a:ext uri="{FF2B5EF4-FFF2-40B4-BE49-F238E27FC236}">
                      <a16:creationId xmlns:a16="http://schemas.microsoft.com/office/drawing/2014/main" id="{C2C381B5-CF91-45F4-BAE6-A514FBD82D30}"/>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4" name="Freeform: Shape 669">
                  <a:extLst>
                    <a:ext uri="{FF2B5EF4-FFF2-40B4-BE49-F238E27FC236}">
                      <a16:creationId xmlns:a16="http://schemas.microsoft.com/office/drawing/2014/main" id="{4AE38176-2FCA-48D8-917A-DF6F671DF3E2}"/>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708" name="Group 707">
                <a:extLst>
                  <a:ext uri="{FF2B5EF4-FFF2-40B4-BE49-F238E27FC236}">
                    <a16:creationId xmlns:a16="http://schemas.microsoft.com/office/drawing/2014/main" id="{72E74082-CEFB-4D10-91F2-8AE218698A18}"/>
                  </a:ext>
                </a:extLst>
              </p:cNvPr>
              <p:cNvGrpSpPr/>
              <p:nvPr/>
            </p:nvGrpSpPr>
            <p:grpSpPr>
              <a:xfrm>
                <a:off x="8256195" y="2692717"/>
                <a:ext cx="386355" cy="212495"/>
                <a:chOff x="7681520" y="1918017"/>
                <a:chExt cx="386355" cy="212495"/>
              </a:xfrm>
            </p:grpSpPr>
            <p:sp>
              <p:nvSpPr>
                <p:cNvPr id="709" name="Freeform: Shape 654">
                  <a:extLst>
                    <a:ext uri="{FF2B5EF4-FFF2-40B4-BE49-F238E27FC236}">
                      <a16:creationId xmlns:a16="http://schemas.microsoft.com/office/drawing/2014/main" id="{B463FEBF-3CF6-4BD2-A0D4-E2281CE33BA8}"/>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0" name="Freeform: Shape 655">
                  <a:extLst>
                    <a:ext uri="{FF2B5EF4-FFF2-40B4-BE49-F238E27FC236}">
                      <a16:creationId xmlns:a16="http://schemas.microsoft.com/office/drawing/2014/main" id="{113EAD5A-6DA8-430E-882D-497E4086B4BF}"/>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1" name="Freeform: Shape 656">
                  <a:extLst>
                    <a:ext uri="{FF2B5EF4-FFF2-40B4-BE49-F238E27FC236}">
                      <a16:creationId xmlns:a16="http://schemas.microsoft.com/office/drawing/2014/main" id="{67B2CE8D-1312-42F2-8504-18D9ECDEEE54}"/>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2" name="Freeform: Shape 657">
                  <a:extLst>
                    <a:ext uri="{FF2B5EF4-FFF2-40B4-BE49-F238E27FC236}">
                      <a16:creationId xmlns:a16="http://schemas.microsoft.com/office/drawing/2014/main" id="{6E533FA1-EEBC-46E2-8117-A2BC0013469A}"/>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3" name="Freeform: Shape 658">
                  <a:extLst>
                    <a:ext uri="{FF2B5EF4-FFF2-40B4-BE49-F238E27FC236}">
                      <a16:creationId xmlns:a16="http://schemas.microsoft.com/office/drawing/2014/main" id="{5A5F440A-58EE-4BE1-A601-BCB0285B4FC5}"/>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4" name="Freeform: Shape 659">
                  <a:extLst>
                    <a:ext uri="{FF2B5EF4-FFF2-40B4-BE49-F238E27FC236}">
                      <a16:creationId xmlns:a16="http://schemas.microsoft.com/office/drawing/2014/main" id="{CAA0817C-3CDF-45AD-A68D-39675EC5F38C}"/>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5" name="Freeform: Shape 660">
                  <a:extLst>
                    <a:ext uri="{FF2B5EF4-FFF2-40B4-BE49-F238E27FC236}">
                      <a16:creationId xmlns:a16="http://schemas.microsoft.com/office/drawing/2014/main" id="{929D3AED-C93D-427B-BC2D-FC5C304383D5}"/>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6" name="Freeform: Shape 661">
                  <a:extLst>
                    <a:ext uri="{FF2B5EF4-FFF2-40B4-BE49-F238E27FC236}">
                      <a16:creationId xmlns:a16="http://schemas.microsoft.com/office/drawing/2014/main" id="{3C12F8D7-4B06-4D42-9CC2-866EE1E6A617}"/>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nvGrpSpPr>
            <p:cNvPr id="676" name="Group 675">
              <a:extLst>
                <a:ext uri="{FF2B5EF4-FFF2-40B4-BE49-F238E27FC236}">
                  <a16:creationId xmlns:a16="http://schemas.microsoft.com/office/drawing/2014/main" id="{32724CEB-FDE7-4F9B-AFAF-D12123EE2027}"/>
                </a:ext>
              </a:extLst>
            </p:cNvPr>
            <p:cNvGrpSpPr/>
            <p:nvPr/>
          </p:nvGrpSpPr>
          <p:grpSpPr>
            <a:xfrm>
              <a:off x="7030996" y="2098675"/>
              <a:ext cx="570891" cy="913689"/>
              <a:chOff x="8177171" y="2098675"/>
              <a:chExt cx="570891" cy="913689"/>
            </a:xfrm>
          </p:grpSpPr>
          <p:sp>
            <p:nvSpPr>
              <p:cNvPr id="677" name="Rectangle 676">
                <a:extLst>
                  <a:ext uri="{FF2B5EF4-FFF2-40B4-BE49-F238E27FC236}">
                    <a16:creationId xmlns:a16="http://schemas.microsoft.com/office/drawing/2014/main" id="{3F2AE079-085F-4CCD-9DF8-846D273EA67E}"/>
                  </a:ext>
                </a:extLst>
              </p:cNvPr>
              <p:cNvSpPr/>
              <p:nvPr/>
            </p:nvSpPr>
            <p:spPr>
              <a:xfrm>
                <a:off x="8177171" y="2098675"/>
                <a:ext cx="570891" cy="913689"/>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678" name="Group 677">
                <a:extLst>
                  <a:ext uri="{FF2B5EF4-FFF2-40B4-BE49-F238E27FC236}">
                    <a16:creationId xmlns:a16="http://schemas.microsoft.com/office/drawing/2014/main" id="{82F2CD1B-8EF3-4FD5-B6BB-4ED9806F627E}"/>
                  </a:ext>
                </a:extLst>
              </p:cNvPr>
              <p:cNvGrpSpPr/>
              <p:nvPr/>
            </p:nvGrpSpPr>
            <p:grpSpPr>
              <a:xfrm>
                <a:off x="8256195" y="2165667"/>
                <a:ext cx="386355" cy="212495"/>
                <a:chOff x="7681520" y="1918017"/>
                <a:chExt cx="386355" cy="212495"/>
              </a:xfrm>
            </p:grpSpPr>
            <p:sp>
              <p:nvSpPr>
                <p:cNvPr id="697" name="Freeform: Shape 707">
                  <a:extLst>
                    <a:ext uri="{FF2B5EF4-FFF2-40B4-BE49-F238E27FC236}">
                      <a16:creationId xmlns:a16="http://schemas.microsoft.com/office/drawing/2014/main" id="{203F7D2B-F5CB-4B61-8987-8D1ED35D1AD4}"/>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8" name="Freeform: Shape 708">
                  <a:extLst>
                    <a:ext uri="{FF2B5EF4-FFF2-40B4-BE49-F238E27FC236}">
                      <a16:creationId xmlns:a16="http://schemas.microsoft.com/office/drawing/2014/main" id="{BEFB5D86-B84E-4C38-AC2F-D325429429DA}"/>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9" name="Freeform: Shape 709">
                  <a:extLst>
                    <a:ext uri="{FF2B5EF4-FFF2-40B4-BE49-F238E27FC236}">
                      <a16:creationId xmlns:a16="http://schemas.microsoft.com/office/drawing/2014/main" id="{AA87997F-85D3-476F-9D39-2E59D4F7D359}"/>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0" name="Freeform: Shape 710">
                  <a:extLst>
                    <a:ext uri="{FF2B5EF4-FFF2-40B4-BE49-F238E27FC236}">
                      <a16:creationId xmlns:a16="http://schemas.microsoft.com/office/drawing/2014/main" id="{3261E925-D374-430D-BE66-428624434C85}"/>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1" name="Freeform: Shape 711">
                  <a:extLst>
                    <a:ext uri="{FF2B5EF4-FFF2-40B4-BE49-F238E27FC236}">
                      <a16:creationId xmlns:a16="http://schemas.microsoft.com/office/drawing/2014/main" id="{0860838F-CFDC-41BC-B92A-163A0EE3F14F}"/>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2" name="Freeform: Shape 712">
                  <a:extLst>
                    <a:ext uri="{FF2B5EF4-FFF2-40B4-BE49-F238E27FC236}">
                      <a16:creationId xmlns:a16="http://schemas.microsoft.com/office/drawing/2014/main" id="{E55480F1-1893-484D-8FF9-85A0A94DD473}"/>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3" name="Freeform: Shape 713">
                  <a:extLst>
                    <a:ext uri="{FF2B5EF4-FFF2-40B4-BE49-F238E27FC236}">
                      <a16:creationId xmlns:a16="http://schemas.microsoft.com/office/drawing/2014/main" id="{1D41F713-F934-41C1-8730-4A748EF41DD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4" name="Freeform: Shape 714">
                  <a:extLst>
                    <a:ext uri="{FF2B5EF4-FFF2-40B4-BE49-F238E27FC236}">
                      <a16:creationId xmlns:a16="http://schemas.microsoft.com/office/drawing/2014/main" id="{3268174C-3044-42A4-AD12-A0903062DADB}"/>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679" name="Group 678">
                <a:extLst>
                  <a:ext uri="{FF2B5EF4-FFF2-40B4-BE49-F238E27FC236}">
                    <a16:creationId xmlns:a16="http://schemas.microsoft.com/office/drawing/2014/main" id="{82C37B37-BA84-47CF-B761-1B8DF16E95A3}"/>
                  </a:ext>
                </a:extLst>
              </p:cNvPr>
              <p:cNvGrpSpPr/>
              <p:nvPr/>
            </p:nvGrpSpPr>
            <p:grpSpPr>
              <a:xfrm>
                <a:off x="8256195" y="2429192"/>
                <a:ext cx="386355" cy="212495"/>
                <a:chOff x="7681520" y="1918017"/>
                <a:chExt cx="386355" cy="212495"/>
              </a:xfrm>
            </p:grpSpPr>
            <p:sp>
              <p:nvSpPr>
                <p:cNvPr id="689" name="Freeform: Shape 699">
                  <a:extLst>
                    <a:ext uri="{FF2B5EF4-FFF2-40B4-BE49-F238E27FC236}">
                      <a16:creationId xmlns:a16="http://schemas.microsoft.com/office/drawing/2014/main" id="{54015EB5-AFCF-441A-B529-7B008BA11323}"/>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0" name="Freeform: Shape 700">
                  <a:extLst>
                    <a:ext uri="{FF2B5EF4-FFF2-40B4-BE49-F238E27FC236}">
                      <a16:creationId xmlns:a16="http://schemas.microsoft.com/office/drawing/2014/main" id="{5C0325B9-FEC8-4CF2-A84F-E7EDF9734AF9}"/>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1" name="Freeform: Shape 701">
                  <a:extLst>
                    <a:ext uri="{FF2B5EF4-FFF2-40B4-BE49-F238E27FC236}">
                      <a16:creationId xmlns:a16="http://schemas.microsoft.com/office/drawing/2014/main" id="{715C2893-6A38-4995-AB07-EDB72A2B6020}"/>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2" name="Freeform: Shape 702">
                  <a:extLst>
                    <a:ext uri="{FF2B5EF4-FFF2-40B4-BE49-F238E27FC236}">
                      <a16:creationId xmlns:a16="http://schemas.microsoft.com/office/drawing/2014/main" id="{B2E524EA-7500-401B-AA51-ACDA7049C5D7}"/>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3" name="Freeform: Shape 703">
                  <a:extLst>
                    <a:ext uri="{FF2B5EF4-FFF2-40B4-BE49-F238E27FC236}">
                      <a16:creationId xmlns:a16="http://schemas.microsoft.com/office/drawing/2014/main" id="{4DEAB885-F959-44BC-9663-983D9EB5377A}"/>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4" name="Freeform: Shape 704">
                  <a:extLst>
                    <a:ext uri="{FF2B5EF4-FFF2-40B4-BE49-F238E27FC236}">
                      <a16:creationId xmlns:a16="http://schemas.microsoft.com/office/drawing/2014/main" id="{3FF6C649-EAFC-4D3E-B311-CF8D6A2E342C}"/>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5" name="Freeform: Shape 705">
                  <a:extLst>
                    <a:ext uri="{FF2B5EF4-FFF2-40B4-BE49-F238E27FC236}">
                      <a16:creationId xmlns:a16="http://schemas.microsoft.com/office/drawing/2014/main" id="{51CF9C68-DDD8-42E2-B73D-CBF745F6AD3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6" name="Freeform: Shape 706">
                  <a:extLst>
                    <a:ext uri="{FF2B5EF4-FFF2-40B4-BE49-F238E27FC236}">
                      <a16:creationId xmlns:a16="http://schemas.microsoft.com/office/drawing/2014/main" id="{620A3177-F1C6-4C99-9E55-F8621C372FBF}"/>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680" name="Group 679">
                <a:extLst>
                  <a:ext uri="{FF2B5EF4-FFF2-40B4-BE49-F238E27FC236}">
                    <a16:creationId xmlns:a16="http://schemas.microsoft.com/office/drawing/2014/main" id="{0CC9FADE-28F9-49BB-A344-BDF29A40C9C5}"/>
                  </a:ext>
                </a:extLst>
              </p:cNvPr>
              <p:cNvGrpSpPr/>
              <p:nvPr/>
            </p:nvGrpSpPr>
            <p:grpSpPr>
              <a:xfrm>
                <a:off x="8256195" y="2692717"/>
                <a:ext cx="386355" cy="212495"/>
                <a:chOff x="7681520" y="1918017"/>
                <a:chExt cx="386355" cy="212495"/>
              </a:xfrm>
            </p:grpSpPr>
            <p:sp>
              <p:nvSpPr>
                <p:cNvPr id="681" name="Freeform: Shape 691">
                  <a:extLst>
                    <a:ext uri="{FF2B5EF4-FFF2-40B4-BE49-F238E27FC236}">
                      <a16:creationId xmlns:a16="http://schemas.microsoft.com/office/drawing/2014/main" id="{E6D347EC-194B-4960-86DC-D0E0E8626DD5}"/>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2" name="Freeform: Shape 692">
                  <a:extLst>
                    <a:ext uri="{FF2B5EF4-FFF2-40B4-BE49-F238E27FC236}">
                      <a16:creationId xmlns:a16="http://schemas.microsoft.com/office/drawing/2014/main" id="{C5FE6987-2FA3-417F-B341-52792038C0DE}"/>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3" name="Freeform: Shape 693">
                  <a:extLst>
                    <a:ext uri="{FF2B5EF4-FFF2-40B4-BE49-F238E27FC236}">
                      <a16:creationId xmlns:a16="http://schemas.microsoft.com/office/drawing/2014/main" id="{9B352CD8-25B0-4EDE-9A03-873248250118}"/>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4" name="Freeform: Shape 694">
                  <a:extLst>
                    <a:ext uri="{FF2B5EF4-FFF2-40B4-BE49-F238E27FC236}">
                      <a16:creationId xmlns:a16="http://schemas.microsoft.com/office/drawing/2014/main" id="{D6DA0E0A-A52E-4E08-8F8B-9B7EA9ECD4C1}"/>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5" name="Freeform: Shape 695">
                  <a:extLst>
                    <a:ext uri="{FF2B5EF4-FFF2-40B4-BE49-F238E27FC236}">
                      <a16:creationId xmlns:a16="http://schemas.microsoft.com/office/drawing/2014/main" id="{D46D8B46-5EB2-4AFB-B842-E2D25BAA1B84}"/>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6" name="Freeform: Shape 696">
                  <a:extLst>
                    <a:ext uri="{FF2B5EF4-FFF2-40B4-BE49-F238E27FC236}">
                      <a16:creationId xmlns:a16="http://schemas.microsoft.com/office/drawing/2014/main" id="{063D1DC3-42EE-4D5E-9219-F2B3D5AA2BB0}"/>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7" name="Freeform: Shape 697">
                  <a:extLst>
                    <a:ext uri="{FF2B5EF4-FFF2-40B4-BE49-F238E27FC236}">
                      <a16:creationId xmlns:a16="http://schemas.microsoft.com/office/drawing/2014/main" id="{88BA0CC1-4D2D-46AD-925E-A89044247021}"/>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8" name="Freeform: Shape 698">
                  <a:extLst>
                    <a:ext uri="{FF2B5EF4-FFF2-40B4-BE49-F238E27FC236}">
                      <a16:creationId xmlns:a16="http://schemas.microsoft.com/office/drawing/2014/main" id="{FC9383D1-ED48-4DF1-B637-C22F7ABB820F}"/>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grpSp>
        <p:nvGrpSpPr>
          <p:cNvPr id="793" name="Group 792">
            <a:extLst>
              <a:ext uri="{FF2B5EF4-FFF2-40B4-BE49-F238E27FC236}">
                <a16:creationId xmlns:a16="http://schemas.microsoft.com/office/drawing/2014/main" id="{E80F6F4E-8D26-4AA5-90D5-21EC266C4918}"/>
              </a:ext>
            </a:extLst>
          </p:cNvPr>
          <p:cNvGrpSpPr/>
          <p:nvPr/>
        </p:nvGrpSpPr>
        <p:grpSpPr>
          <a:xfrm>
            <a:off x="4624058" y="938421"/>
            <a:ext cx="670137" cy="411356"/>
            <a:chOff x="6486211" y="1739620"/>
            <a:chExt cx="2801675" cy="1283916"/>
          </a:xfrm>
        </p:grpSpPr>
        <p:grpSp>
          <p:nvGrpSpPr>
            <p:cNvPr id="794" name="Group 793">
              <a:extLst>
                <a:ext uri="{FF2B5EF4-FFF2-40B4-BE49-F238E27FC236}">
                  <a16:creationId xmlns:a16="http://schemas.microsoft.com/office/drawing/2014/main" id="{6E4EAD5C-7924-4B1F-9DFF-D1AD8232C318}"/>
                </a:ext>
              </a:extLst>
            </p:cNvPr>
            <p:cNvGrpSpPr/>
            <p:nvPr/>
          </p:nvGrpSpPr>
          <p:grpSpPr>
            <a:xfrm>
              <a:off x="6486211" y="2427446"/>
              <a:ext cx="596090" cy="596090"/>
              <a:chOff x="6340161" y="2433796"/>
              <a:chExt cx="596090" cy="596090"/>
            </a:xfrm>
          </p:grpSpPr>
          <p:sp>
            <p:nvSpPr>
              <p:cNvPr id="904" name="Freeform: Shape 498">
                <a:extLst>
                  <a:ext uri="{FF2B5EF4-FFF2-40B4-BE49-F238E27FC236}">
                    <a16:creationId xmlns:a16="http://schemas.microsoft.com/office/drawing/2014/main" id="{52517459-A55E-400A-8290-6C0D2E0D05B7}"/>
                  </a:ext>
                </a:extLst>
              </p:cNvPr>
              <p:cNvSpPr/>
              <p:nvPr/>
            </p:nvSpPr>
            <p:spPr>
              <a:xfrm>
                <a:off x="6340161" y="2433796"/>
                <a:ext cx="596090" cy="596090"/>
              </a:xfrm>
              <a:custGeom>
                <a:avLst/>
                <a:gdLst>
                  <a:gd name="connsiteX0" fmla="*/ 16669 w 771525"/>
                  <a:gd name="connsiteY0" fmla="*/ 769144 h 771525"/>
                  <a:gd name="connsiteX1" fmla="*/ 759619 w 771525"/>
                  <a:gd name="connsiteY1" fmla="*/ 769144 h 771525"/>
                  <a:gd name="connsiteX2" fmla="*/ 769144 w 771525"/>
                  <a:gd name="connsiteY2" fmla="*/ 759619 h 771525"/>
                  <a:gd name="connsiteX3" fmla="*/ 769144 w 771525"/>
                  <a:gd name="connsiteY3" fmla="*/ 693344 h 771525"/>
                  <a:gd name="connsiteX4" fmla="*/ 759619 w 771525"/>
                  <a:gd name="connsiteY4" fmla="*/ 683819 h 771525"/>
                  <a:gd name="connsiteX5" fmla="*/ 718547 w 771525"/>
                  <a:gd name="connsiteY5" fmla="*/ 683819 h 771525"/>
                  <a:gd name="connsiteX6" fmla="*/ 718547 w 771525"/>
                  <a:gd name="connsiteY6" fmla="*/ 92469 h 771525"/>
                  <a:gd name="connsiteX7" fmla="*/ 732596 w 771525"/>
                  <a:gd name="connsiteY7" fmla="*/ 92469 h 771525"/>
                  <a:gd name="connsiteX8" fmla="*/ 742121 w 771525"/>
                  <a:gd name="connsiteY8" fmla="*/ 82944 h 771525"/>
                  <a:gd name="connsiteX9" fmla="*/ 742121 w 771525"/>
                  <a:gd name="connsiteY9" fmla="*/ 16669 h 771525"/>
                  <a:gd name="connsiteX10" fmla="*/ 732596 w 771525"/>
                  <a:gd name="connsiteY10" fmla="*/ 7144 h 771525"/>
                  <a:gd name="connsiteX11" fmla="*/ 43691 w 771525"/>
                  <a:gd name="connsiteY11" fmla="*/ 7144 h 771525"/>
                  <a:gd name="connsiteX12" fmla="*/ 34166 w 771525"/>
                  <a:gd name="connsiteY12" fmla="*/ 16669 h 771525"/>
                  <a:gd name="connsiteX13" fmla="*/ 34166 w 771525"/>
                  <a:gd name="connsiteY13" fmla="*/ 82944 h 771525"/>
                  <a:gd name="connsiteX14" fmla="*/ 43691 w 771525"/>
                  <a:gd name="connsiteY14" fmla="*/ 92469 h 771525"/>
                  <a:gd name="connsiteX15" fmla="*/ 57741 w 771525"/>
                  <a:gd name="connsiteY15" fmla="*/ 92469 h 771525"/>
                  <a:gd name="connsiteX16" fmla="*/ 57741 w 771525"/>
                  <a:gd name="connsiteY16" fmla="*/ 683819 h 771525"/>
                  <a:gd name="connsiteX17" fmla="*/ 16669 w 771525"/>
                  <a:gd name="connsiteY17" fmla="*/ 683819 h 771525"/>
                  <a:gd name="connsiteX18" fmla="*/ 7144 w 771525"/>
                  <a:gd name="connsiteY18" fmla="*/ 693344 h 771525"/>
                  <a:gd name="connsiteX19" fmla="*/ 7144 w 771525"/>
                  <a:gd name="connsiteY19" fmla="*/ 759619 h 771525"/>
                  <a:gd name="connsiteX20" fmla="*/ 16669 w 771525"/>
                  <a:gd name="connsiteY20" fmla="*/ 769144 h 771525"/>
                  <a:gd name="connsiteX21" fmla="*/ 53216 w 771525"/>
                  <a:gd name="connsiteY21" fmla="*/ 26194 h 771525"/>
                  <a:gd name="connsiteX22" fmla="*/ 723062 w 771525"/>
                  <a:gd name="connsiteY22" fmla="*/ 26194 h 771525"/>
                  <a:gd name="connsiteX23" fmla="*/ 723062 w 771525"/>
                  <a:gd name="connsiteY23" fmla="*/ 73419 h 771525"/>
                  <a:gd name="connsiteX24" fmla="*/ 53216 w 771525"/>
                  <a:gd name="connsiteY24" fmla="*/ 73419 h 771525"/>
                  <a:gd name="connsiteX25" fmla="*/ 53216 w 771525"/>
                  <a:gd name="connsiteY25" fmla="*/ 26194 h 771525"/>
                  <a:gd name="connsiteX26" fmla="*/ 76791 w 771525"/>
                  <a:gd name="connsiteY26" fmla="*/ 92469 h 771525"/>
                  <a:gd name="connsiteX27" fmla="*/ 699487 w 771525"/>
                  <a:gd name="connsiteY27" fmla="*/ 92469 h 771525"/>
                  <a:gd name="connsiteX28" fmla="*/ 699487 w 771525"/>
                  <a:gd name="connsiteY28" fmla="*/ 683819 h 771525"/>
                  <a:gd name="connsiteX29" fmla="*/ 496491 w 771525"/>
                  <a:gd name="connsiteY29" fmla="*/ 683819 h 771525"/>
                  <a:gd name="connsiteX30" fmla="*/ 496491 w 771525"/>
                  <a:gd name="connsiteY30" fmla="*/ 470402 h 771525"/>
                  <a:gd name="connsiteX31" fmla="*/ 486966 w 771525"/>
                  <a:gd name="connsiteY31" fmla="*/ 460877 h 771525"/>
                  <a:gd name="connsiteX32" fmla="*/ 289322 w 771525"/>
                  <a:gd name="connsiteY32" fmla="*/ 460877 h 771525"/>
                  <a:gd name="connsiteX33" fmla="*/ 279797 w 771525"/>
                  <a:gd name="connsiteY33" fmla="*/ 470402 h 771525"/>
                  <a:gd name="connsiteX34" fmla="*/ 279797 w 771525"/>
                  <a:gd name="connsiteY34" fmla="*/ 683819 h 771525"/>
                  <a:gd name="connsiteX35" fmla="*/ 76791 w 771525"/>
                  <a:gd name="connsiteY35" fmla="*/ 683819 h 771525"/>
                  <a:gd name="connsiteX36" fmla="*/ 76791 w 771525"/>
                  <a:gd name="connsiteY36" fmla="*/ 92469 h 771525"/>
                  <a:gd name="connsiteX37" fmla="*/ 298847 w 771525"/>
                  <a:gd name="connsiteY37" fmla="*/ 683819 h 771525"/>
                  <a:gd name="connsiteX38" fmla="*/ 298847 w 771525"/>
                  <a:gd name="connsiteY38" fmla="*/ 479927 h 771525"/>
                  <a:gd name="connsiteX39" fmla="*/ 378619 w 771525"/>
                  <a:gd name="connsiteY39" fmla="*/ 479927 h 771525"/>
                  <a:gd name="connsiteX40" fmla="*/ 378619 w 771525"/>
                  <a:gd name="connsiteY40" fmla="*/ 683819 h 771525"/>
                  <a:gd name="connsiteX41" fmla="*/ 298847 w 771525"/>
                  <a:gd name="connsiteY41" fmla="*/ 683819 h 771525"/>
                  <a:gd name="connsiteX42" fmla="*/ 397669 w 771525"/>
                  <a:gd name="connsiteY42" fmla="*/ 479927 h 771525"/>
                  <a:gd name="connsiteX43" fmla="*/ 477441 w 771525"/>
                  <a:gd name="connsiteY43" fmla="*/ 479927 h 771525"/>
                  <a:gd name="connsiteX44" fmla="*/ 477441 w 771525"/>
                  <a:gd name="connsiteY44" fmla="*/ 683819 h 771525"/>
                  <a:gd name="connsiteX45" fmla="*/ 397669 w 771525"/>
                  <a:gd name="connsiteY45" fmla="*/ 683819 h 771525"/>
                  <a:gd name="connsiteX46" fmla="*/ 397669 w 771525"/>
                  <a:gd name="connsiteY46" fmla="*/ 479927 h 771525"/>
                  <a:gd name="connsiteX47" fmla="*/ 26194 w 771525"/>
                  <a:gd name="connsiteY47" fmla="*/ 702869 h 771525"/>
                  <a:gd name="connsiteX48" fmla="*/ 750094 w 771525"/>
                  <a:gd name="connsiteY48" fmla="*/ 702869 h 771525"/>
                  <a:gd name="connsiteX49" fmla="*/ 750094 w 771525"/>
                  <a:gd name="connsiteY49" fmla="*/ 750094 h 771525"/>
                  <a:gd name="connsiteX50" fmla="*/ 26194 w 771525"/>
                  <a:gd name="connsiteY50" fmla="*/ 750094 h 771525"/>
                  <a:gd name="connsiteX51" fmla="*/ 26194 w 771525"/>
                  <a:gd name="connsiteY51" fmla="*/ 702869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771525" h="771525">
                    <a:moveTo>
                      <a:pt x="16669" y="769144"/>
                    </a:moveTo>
                    <a:lnTo>
                      <a:pt x="759619" y="769144"/>
                    </a:lnTo>
                    <a:cubicBezTo>
                      <a:pt x="764877" y="769144"/>
                      <a:pt x="769144" y="764886"/>
                      <a:pt x="769144" y="759619"/>
                    </a:cubicBezTo>
                    <a:lnTo>
                      <a:pt x="769144" y="693344"/>
                    </a:lnTo>
                    <a:cubicBezTo>
                      <a:pt x="769144" y="688076"/>
                      <a:pt x="764877" y="683819"/>
                      <a:pt x="759619" y="683819"/>
                    </a:cubicBezTo>
                    <a:lnTo>
                      <a:pt x="718547" y="683819"/>
                    </a:lnTo>
                    <a:lnTo>
                      <a:pt x="718547" y="92469"/>
                    </a:lnTo>
                    <a:lnTo>
                      <a:pt x="732596" y="92469"/>
                    </a:lnTo>
                    <a:cubicBezTo>
                      <a:pt x="737854" y="92469"/>
                      <a:pt x="742121" y="88211"/>
                      <a:pt x="742121" y="82944"/>
                    </a:cubicBezTo>
                    <a:lnTo>
                      <a:pt x="742121" y="16669"/>
                    </a:lnTo>
                    <a:cubicBezTo>
                      <a:pt x="742121" y="11401"/>
                      <a:pt x="737854" y="7144"/>
                      <a:pt x="732596" y="7144"/>
                    </a:cubicBezTo>
                    <a:lnTo>
                      <a:pt x="43691" y="7144"/>
                    </a:lnTo>
                    <a:cubicBezTo>
                      <a:pt x="38433" y="7144"/>
                      <a:pt x="34166" y="11401"/>
                      <a:pt x="34166" y="16669"/>
                    </a:cubicBezTo>
                    <a:lnTo>
                      <a:pt x="34166" y="82944"/>
                    </a:lnTo>
                    <a:cubicBezTo>
                      <a:pt x="34166" y="88211"/>
                      <a:pt x="38433" y="92469"/>
                      <a:pt x="43691" y="92469"/>
                    </a:cubicBezTo>
                    <a:lnTo>
                      <a:pt x="57741" y="92469"/>
                    </a:lnTo>
                    <a:lnTo>
                      <a:pt x="57741" y="683819"/>
                    </a:lnTo>
                    <a:lnTo>
                      <a:pt x="16669" y="683819"/>
                    </a:lnTo>
                    <a:cubicBezTo>
                      <a:pt x="11411" y="683819"/>
                      <a:pt x="7144" y="688076"/>
                      <a:pt x="7144" y="693344"/>
                    </a:cubicBezTo>
                    <a:lnTo>
                      <a:pt x="7144" y="759619"/>
                    </a:lnTo>
                    <a:cubicBezTo>
                      <a:pt x="7144" y="764886"/>
                      <a:pt x="11411" y="769144"/>
                      <a:pt x="16669" y="769144"/>
                    </a:cubicBezTo>
                    <a:close/>
                    <a:moveTo>
                      <a:pt x="53216" y="26194"/>
                    </a:moveTo>
                    <a:lnTo>
                      <a:pt x="723062" y="26194"/>
                    </a:lnTo>
                    <a:lnTo>
                      <a:pt x="723062" y="73419"/>
                    </a:lnTo>
                    <a:lnTo>
                      <a:pt x="53216" y="73419"/>
                    </a:lnTo>
                    <a:lnTo>
                      <a:pt x="53216" y="26194"/>
                    </a:lnTo>
                    <a:close/>
                    <a:moveTo>
                      <a:pt x="76791" y="92469"/>
                    </a:moveTo>
                    <a:lnTo>
                      <a:pt x="699487" y="92469"/>
                    </a:lnTo>
                    <a:lnTo>
                      <a:pt x="699487" y="683819"/>
                    </a:lnTo>
                    <a:lnTo>
                      <a:pt x="496491" y="683819"/>
                    </a:lnTo>
                    <a:lnTo>
                      <a:pt x="496491" y="470402"/>
                    </a:lnTo>
                    <a:cubicBezTo>
                      <a:pt x="496491" y="465134"/>
                      <a:pt x="492223" y="460877"/>
                      <a:pt x="486966" y="460877"/>
                    </a:cubicBezTo>
                    <a:lnTo>
                      <a:pt x="289322" y="460877"/>
                    </a:lnTo>
                    <a:cubicBezTo>
                      <a:pt x="284064" y="460877"/>
                      <a:pt x="279797" y="465134"/>
                      <a:pt x="279797" y="470402"/>
                    </a:cubicBezTo>
                    <a:lnTo>
                      <a:pt x="279797" y="683819"/>
                    </a:lnTo>
                    <a:lnTo>
                      <a:pt x="76791" y="683819"/>
                    </a:lnTo>
                    <a:lnTo>
                      <a:pt x="76791" y="92469"/>
                    </a:lnTo>
                    <a:close/>
                    <a:moveTo>
                      <a:pt x="298847" y="683819"/>
                    </a:moveTo>
                    <a:lnTo>
                      <a:pt x="298847" y="479927"/>
                    </a:lnTo>
                    <a:lnTo>
                      <a:pt x="378619" y="479927"/>
                    </a:lnTo>
                    <a:lnTo>
                      <a:pt x="378619" y="683819"/>
                    </a:lnTo>
                    <a:lnTo>
                      <a:pt x="298847" y="683819"/>
                    </a:lnTo>
                    <a:close/>
                    <a:moveTo>
                      <a:pt x="397669" y="479927"/>
                    </a:moveTo>
                    <a:lnTo>
                      <a:pt x="477441" y="479927"/>
                    </a:lnTo>
                    <a:lnTo>
                      <a:pt x="477441" y="683819"/>
                    </a:lnTo>
                    <a:lnTo>
                      <a:pt x="397669" y="683819"/>
                    </a:lnTo>
                    <a:lnTo>
                      <a:pt x="397669" y="479927"/>
                    </a:lnTo>
                    <a:close/>
                    <a:moveTo>
                      <a:pt x="26194" y="702869"/>
                    </a:moveTo>
                    <a:lnTo>
                      <a:pt x="750094" y="702869"/>
                    </a:lnTo>
                    <a:lnTo>
                      <a:pt x="750094" y="750094"/>
                    </a:lnTo>
                    <a:lnTo>
                      <a:pt x="26194" y="750094"/>
                    </a:lnTo>
                    <a:lnTo>
                      <a:pt x="26194" y="702869"/>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5" name="Freeform: Shape 499">
                <a:extLst>
                  <a:ext uri="{FF2B5EF4-FFF2-40B4-BE49-F238E27FC236}">
                    <a16:creationId xmlns:a16="http://schemas.microsoft.com/office/drawing/2014/main" id="{C234E4DC-8BF4-4232-B4C7-D48E7F3CC541}"/>
                  </a:ext>
                </a:extLst>
              </p:cNvPr>
              <p:cNvSpPr/>
              <p:nvPr/>
            </p:nvSpPr>
            <p:spPr>
              <a:xfrm>
                <a:off x="6763393" y="2783495"/>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6" name="Freeform: Shape 500">
                <a:extLst>
                  <a:ext uri="{FF2B5EF4-FFF2-40B4-BE49-F238E27FC236}">
                    <a16:creationId xmlns:a16="http://schemas.microsoft.com/office/drawing/2014/main" id="{244FF703-73B5-400C-AF9D-E63E9295D613}"/>
                  </a:ext>
                </a:extLst>
              </p:cNvPr>
              <p:cNvSpPr/>
              <p:nvPr/>
            </p:nvSpPr>
            <p:spPr>
              <a:xfrm>
                <a:off x="6443270" y="2783495"/>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7" name="Freeform: Shape 501">
                <a:extLst>
                  <a:ext uri="{FF2B5EF4-FFF2-40B4-BE49-F238E27FC236}">
                    <a16:creationId xmlns:a16="http://schemas.microsoft.com/office/drawing/2014/main" id="{5A7F3558-AB63-49D2-85F8-78BD0CF39CA9}"/>
                  </a:ext>
                </a:extLst>
              </p:cNvPr>
              <p:cNvSpPr/>
              <p:nvPr/>
            </p:nvSpPr>
            <p:spPr>
              <a:xfrm>
                <a:off x="6763393" y="2666668"/>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8" name="Freeform: Shape 502">
                <a:extLst>
                  <a:ext uri="{FF2B5EF4-FFF2-40B4-BE49-F238E27FC236}">
                    <a16:creationId xmlns:a16="http://schemas.microsoft.com/office/drawing/2014/main" id="{E491DDF7-1F22-4026-B037-0EE1E8E2CA8B}"/>
                  </a:ext>
                </a:extLst>
              </p:cNvPr>
              <p:cNvSpPr/>
              <p:nvPr/>
            </p:nvSpPr>
            <p:spPr>
              <a:xfrm>
                <a:off x="6656766" y="2666668"/>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9" name="Freeform: Shape 503">
                <a:extLst>
                  <a:ext uri="{FF2B5EF4-FFF2-40B4-BE49-F238E27FC236}">
                    <a16:creationId xmlns:a16="http://schemas.microsoft.com/office/drawing/2014/main" id="{E90C71D2-FD0E-4DEB-9168-156B709B7248}"/>
                  </a:ext>
                </a:extLst>
              </p:cNvPr>
              <p:cNvSpPr/>
              <p:nvPr/>
            </p:nvSpPr>
            <p:spPr>
              <a:xfrm>
                <a:off x="6550817" y="2666668"/>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0" name="Freeform: Shape 504">
                <a:extLst>
                  <a:ext uri="{FF2B5EF4-FFF2-40B4-BE49-F238E27FC236}">
                    <a16:creationId xmlns:a16="http://schemas.microsoft.com/office/drawing/2014/main" id="{468FE0E6-2E10-4571-BEF4-B972DC8A5716}"/>
                  </a:ext>
                </a:extLst>
              </p:cNvPr>
              <p:cNvSpPr/>
              <p:nvPr/>
            </p:nvSpPr>
            <p:spPr>
              <a:xfrm>
                <a:off x="6656766" y="2549842"/>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1" name="Freeform: Shape 505">
                <a:extLst>
                  <a:ext uri="{FF2B5EF4-FFF2-40B4-BE49-F238E27FC236}">
                    <a16:creationId xmlns:a16="http://schemas.microsoft.com/office/drawing/2014/main" id="{F0A130AE-D6CA-496A-B0ED-AA509C171A77}"/>
                  </a:ext>
                </a:extLst>
              </p:cNvPr>
              <p:cNvSpPr/>
              <p:nvPr/>
            </p:nvSpPr>
            <p:spPr>
              <a:xfrm>
                <a:off x="6550817" y="2549842"/>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2" name="Freeform: Shape 506">
                <a:extLst>
                  <a:ext uri="{FF2B5EF4-FFF2-40B4-BE49-F238E27FC236}">
                    <a16:creationId xmlns:a16="http://schemas.microsoft.com/office/drawing/2014/main" id="{38D846A2-5C49-4B78-9042-3EC8C7F82DBC}"/>
                  </a:ext>
                </a:extLst>
              </p:cNvPr>
              <p:cNvSpPr/>
              <p:nvPr/>
            </p:nvSpPr>
            <p:spPr>
              <a:xfrm>
                <a:off x="6443270" y="2666668"/>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3" name="Freeform: Shape 507">
                <a:extLst>
                  <a:ext uri="{FF2B5EF4-FFF2-40B4-BE49-F238E27FC236}">
                    <a16:creationId xmlns:a16="http://schemas.microsoft.com/office/drawing/2014/main" id="{0D4ADF69-2385-428D-8373-8B0535DBF489}"/>
                  </a:ext>
                </a:extLst>
              </p:cNvPr>
              <p:cNvSpPr/>
              <p:nvPr/>
            </p:nvSpPr>
            <p:spPr>
              <a:xfrm>
                <a:off x="6763393" y="2549842"/>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4" name="Freeform: Shape 508">
                <a:extLst>
                  <a:ext uri="{FF2B5EF4-FFF2-40B4-BE49-F238E27FC236}">
                    <a16:creationId xmlns:a16="http://schemas.microsoft.com/office/drawing/2014/main" id="{13EEFAC8-E33D-459A-A23D-4545B64E5E74}"/>
                  </a:ext>
                </a:extLst>
              </p:cNvPr>
              <p:cNvSpPr/>
              <p:nvPr/>
            </p:nvSpPr>
            <p:spPr>
              <a:xfrm>
                <a:off x="6443270" y="2549842"/>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795" name="Group 794">
              <a:extLst>
                <a:ext uri="{FF2B5EF4-FFF2-40B4-BE49-F238E27FC236}">
                  <a16:creationId xmlns:a16="http://schemas.microsoft.com/office/drawing/2014/main" id="{414C381E-3EF6-49FD-8548-F64955F2A892}"/>
                </a:ext>
              </a:extLst>
            </p:cNvPr>
            <p:cNvGrpSpPr/>
            <p:nvPr/>
          </p:nvGrpSpPr>
          <p:grpSpPr>
            <a:xfrm>
              <a:off x="8710808" y="2446457"/>
              <a:ext cx="577078" cy="577079"/>
              <a:chOff x="5709056" y="2921793"/>
              <a:chExt cx="771525" cy="771525"/>
            </a:xfrm>
            <a:solidFill>
              <a:srgbClr val="999999"/>
            </a:solidFill>
          </p:grpSpPr>
          <p:sp>
            <p:nvSpPr>
              <p:cNvPr id="893" name="Freeform: Shape 447">
                <a:extLst>
                  <a:ext uri="{FF2B5EF4-FFF2-40B4-BE49-F238E27FC236}">
                    <a16:creationId xmlns:a16="http://schemas.microsoft.com/office/drawing/2014/main" id="{2019140F-7B51-422A-B271-1EB6183FC1B7}"/>
                  </a:ext>
                </a:extLst>
              </p:cNvPr>
              <p:cNvSpPr/>
              <p:nvPr/>
            </p:nvSpPr>
            <p:spPr>
              <a:xfrm>
                <a:off x="5709056" y="2921793"/>
                <a:ext cx="771525" cy="771525"/>
              </a:xfrm>
              <a:custGeom>
                <a:avLst/>
                <a:gdLst>
                  <a:gd name="connsiteX0" fmla="*/ 16669 w 771525"/>
                  <a:gd name="connsiteY0" fmla="*/ 769144 h 771525"/>
                  <a:gd name="connsiteX1" fmla="*/ 759619 w 771525"/>
                  <a:gd name="connsiteY1" fmla="*/ 769144 h 771525"/>
                  <a:gd name="connsiteX2" fmla="*/ 769144 w 771525"/>
                  <a:gd name="connsiteY2" fmla="*/ 759619 h 771525"/>
                  <a:gd name="connsiteX3" fmla="*/ 769144 w 771525"/>
                  <a:gd name="connsiteY3" fmla="*/ 693344 h 771525"/>
                  <a:gd name="connsiteX4" fmla="*/ 759619 w 771525"/>
                  <a:gd name="connsiteY4" fmla="*/ 683819 h 771525"/>
                  <a:gd name="connsiteX5" fmla="*/ 718547 w 771525"/>
                  <a:gd name="connsiteY5" fmla="*/ 683819 h 771525"/>
                  <a:gd name="connsiteX6" fmla="*/ 718547 w 771525"/>
                  <a:gd name="connsiteY6" fmla="*/ 92469 h 771525"/>
                  <a:gd name="connsiteX7" fmla="*/ 732596 w 771525"/>
                  <a:gd name="connsiteY7" fmla="*/ 92469 h 771525"/>
                  <a:gd name="connsiteX8" fmla="*/ 742121 w 771525"/>
                  <a:gd name="connsiteY8" fmla="*/ 82944 h 771525"/>
                  <a:gd name="connsiteX9" fmla="*/ 742121 w 771525"/>
                  <a:gd name="connsiteY9" fmla="*/ 16669 h 771525"/>
                  <a:gd name="connsiteX10" fmla="*/ 732596 w 771525"/>
                  <a:gd name="connsiteY10" fmla="*/ 7144 h 771525"/>
                  <a:gd name="connsiteX11" fmla="*/ 43691 w 771525"/>
                  <a:gd name="connsiteY11" fmla="*/ 7144 h 771525"/>
                  <a:gd name="connsiteX12" fmla="*/ 34166 w 771525"/>
                  <a:gd name="connsiteY12" fmla="*/ 16669 h 771525"/>
                  <a:gd name="connsiteX13" fmla="*/ 34166 w 771525"/>
                  <a:gd name="connsiteY13" fmla="*/ 82944 h 771525"/>
                  <a:gd name="connsiteX14" fmla="*/ 43691 w 771525"/>
                  <a:gd name="connsiteY14" fmla="*/ 92469 h 771525"/>
                  <a:gd name="connsiteX15" fmla="*/ 57741 w 771525"/>
                  <a:gd name="connsiteY15" fmla="*/ 92469 h 771525"/>
                  <a:gd name="connsiteX16" fmla="*/ 57741 w 771525"/>
                  <a:gd name="connsiteY16" fmla="*/ 683819 h 771525"/>
                  <a:gd name="connsiteX17" fmla="*/ 16669 w 771525"/>
                  <a:gd name="connsiteY17" fmla="*/ 683819 h 771525"/>
                  <a:gd name="connsiteX18" fmla="*/ 7144 w 771525"/>
                  <a:gd name="connsiteY18" fmla="*/ 693344 h 771525"/>
                  <a:gd name="connsiteX19" fmla="*/ 7144 w 771525"/>
                  <a:gd name="connsiteY19" fmla="*/ 759619 h 771525"/>
                  <a:gd name="connsiteX20" fmla="*/ 16669 w 771525"/>
                  <a:gd name="connsiteY20" fmla="*/ 769144 h 771525"/>
                  <a:gd name="connsiteX21" fmla="*/ 53216 w 771525"/>
                  <a:gd name="connsiteY21" fmla="*/ 26194 h 771525"/>
                  <a:gd name="connsiteX22" fmla="*/ 723062 w 771525"/>
                  <a:gd name="connsiteY22" fmla="*/ 26194 h 771525"/>
                  <a:gd name="connsiteX23" fmla="*/ 723062 w 771525"/>
                  <a:gd name="connsiteY23" fmla="*/ 73419 h 771525"/>
                  <a:gd name="connsiteX24" fmla="*/ 53216 w 771525"/>
                  <a:gd name="connsiteY24" fmla="*/ 73419 h 771525"/>
                  <a:gd name="connsiteX25" fmla="*/ 53216 w 771525"/>
                  <a:gd name="connsiteY25" fmla="*/ 26194 h 771525"/>
                  <a:gd name="connsiteX26" fmla="*/ 76791 w 771525"/>
                  <a:gd name="connsiteY26" fmla="*/ 92469 h 771525"/>
                  <a:gd name="connsiteX27" fmla="*/ 699487 w 771525"/>
                  <a:gd name="connsiteY27" fmla="*/ 92469 h 771525"/>
                  <a:gd name="connsiteX28" fmla="*/ 699487 w 771525"/>
                  <a:gd name="connsiteY28" fmla="*/ 683819 h 771525"/>
                  <a:gd name="connsiteX29" fmla="*/ 496491 w 771525"/>
                  <a:gd name="connsiteY29" fmla="*/ 683819 h 771525"/>
                  <a:gd name="connsiteX30" fmla="*/ 496491 w 771525"/>
                  <a:gd name="connsiteY30" fmla="*/ 470402 h 771525"/>
                  <a:gd name="connsiteX31" fmla="*/ 486966 w 771525"/>
                  <a:gd name="connsiteY31" fmla="*/ 460877 h 771525"/>
                  <a:gd name="connsiteX32" fmla="*/ 289322 w 771525"/>
                  <a:gd name="connsiteY32" fmla="*/ 460877 h 771525"/>
                  <a:gd name="connsiteX33" fmla="*/ 279797 w 771525"/>
                  <a:gd name="connsiteY33" fmla="*/ 470402 h 771525"/>
                  <a:gd name="connsiteX34" fmla="*/ 279797 w 771525"/>
                  <a:gd name="connsiteY34" fmla="*/ 683819 h 771525"/>
                  <a:gd name="connsiteX35" fmla="*/ 76791 w 771525"/>
                  <a:gd name="connsiteY35" fmla="*/ 683819 h 771525"/>
                  <a:gd name="connsiteX36" fmla="*/ 76791 w 771525"/>
                  <a:gd name="connsiteY36" fmla="*/ 92469 h 771525"/>
                  <a:gd name="connsiteX37" fmla="*/ 298847 w 771525"/>
                  <a:gd name="connsiteY37" fmla="*/ 683819 h 771525"/>
                  <a:gd name="connsiteX38" fmla="*/ 298847 w 771525"/>
                  <a:gd name="connsiteY38" fmla="*/ 479927 h 771525"/>
                  <a:gd name="connsiteX39" fmla="*/ 378619 w 771525"/>
                  <a:gd name="connsiteY39" fmla="*/ 479927 h 771525"/>
                  <a:gd name="connsiteX40" fmla="*/ 378619 w 771525"/>
                  <a:gd name="connsiteY40" fmla="*/ 683819 h 771525"/>
                  <a:gd name="connsiteX41" fmla="*/ 298847 w 771525"/>
                  <a:gd name="connsiteY41" fmla="*/ 683819 h 771525"/>
                  <a:gd name="connsiteX42" fmla="*/ 397669 w 771525"/>
                  <a:gd name="connsiteY42" fmla="*/ 479927 h 771525"/>
                  <a:gd name="connsiteX43" fmla="*/ 477441 w 771525"/>
                  <a:gd name="connsiteY43" fmla="*/ 479927 h 771525"/>
                  <a:gd name="connsiteX44" fmla="*/ 477441 w 771525"/>
                  <a:gd name="connsiteY44" fmla="*/ 683819 h 771525"/>
                  <a:gd name="connsiteX45" fmla="*/ 397669 w 771525"/>
                  <a:gd name="connsiteY45" fmla="*/ 683819 h 771525"/>
                  <a:gd name="connsiteX46" fmla="*/ 397669 w 771525"/>
                  <a:gd name="connsiteY46" fmla="*/ 479927 h 771525"/>
                  <a:gd name="connsiteX47" fmla="*/ 26194 w 771525"/>
                  <a:gd name="connsiteY47" fmla="*/ 702869 h 771525"/>
                  <a:gd name="connsiteX48" fmla="*/ 750094 w 771525"/>
                  <a:gd name="connsiteY48" fmla="*/ 702869 h 771525"/>
                  <a:gd name="connsiteX49" fmla="*/ 750094 w 771525"/>
                  <a:gd name="connsiteY49" fmla="*/ 750094 h 771525"/>
                  <a:gd name="connsiteX50" fmla="*/ 26194 w 771525"/>
                  <a:gd name="connsiteY50" fmla="*/ 750094 h 771525"/>
                  <a:gd name="connsiteX51" fmla="*/ 26194 w 771525"/>
                  <a:gd name="connsiteY51" fmla="*/ 702869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771525" h="771525">
                    <a:moveTo>
                      <a:pt x="16669" y="769144"/>
                    </a:moveTo>
                    <a:lnTo>
                      <a:pt x="759619" y="769144"/>
                    </a:lnTo>
                    <a:cubicBezTo>
                      <a:pt x="764877" y="769144"/>
                      <a:pt x="769144" y="764886"/>
                      <a:pt x="769144" y="759619"/>
                    </a:cubicBezTo>
                    <a:lnTo>
                      <a:pt x="769144" y="693344"/>
                    </a:lnTo>
                    <a:cubicBezTo>
                      <a:pt x="769144" y="688076"/>
                      <a:pt x="764877" y="683819"/>
                      <a:pt x="759619" y="683819"/>
                    </a:cubicBezTo>
                    <a:lnTo>
                      <a:pt x="718547" y="683819"/>
                    </a:lnTo>
                    <a:lnTo>
                      <a:pt x="718547" y="92469"/>
                    </a:lnTo>
                    <a:lnTo>
                      <a:pt x="732596" y="92469"/>
                    </a:lnTo>
                    <a:cubicBezTo>
                      <a:pt x="737854" y="92469"/>
                      <a:pt x="742121" y="88211"/>
                      <a:pt x="742121" y="82944"/>
                    </a:cubicBezTo>
                    <a:lnTo>
                      <a:pt x="742121" y="16669"/>
                    </a:lnTo>
                    <a:cubicBezTo>
                      <a:pt x="742121" y="11401"/>
                      <a:pt x="737854" y="7144"/>
                      <a:pt x="732596" y="7144"/>
                    </a:cubicBezTo>
                    <a:lnTo>
                      <a:pt x="43691" y="7144"/>
                    </a:lnTo>
                    <a:cubicBezTo>
                      <a:pt x="38433" y="7144"/>
                      <a:pt x="34166" y="11401"/>
                      <a:pt x="34166" y="16669"/>
                    </a:cubicBezTo>
                    <a:lnTo>
                      <a:pt x="34166" y="82944"/>
                    </a:lnTo>
                    <a:cubicBezTo>
                      <a:pt x="34166" y="88211"/>
                      <a:pt x="38433" y="92469"/>
                      <a:pt x="43691" y="92469"/>
                    </a:cubicBezTo>
                    <a:lnTo>
                      <a:pt x="57741" y="92469"/>
                    </a:lnTo>
                    <a:lnTo>
                      <a:pt x="57741" y="683819"/>
                    </a:lnTo>
                    <a:lnTo>
                      <a:pt x="16669" y="683819"/>
                    </a:lnTo>
                    <a:cubicBezTo>
                      <a:pt x="11411" y="683819"/>
                      <a:pt x="7144" y="688076"/>
                      <a:pt x="7144" y="693344"/>
                    </a:cubicBezTo>
                    <a:lnTo>
                      <a:pt x="7144" y="759619"/>
                    </a:lnTo>
                    <a:cubicBezTo>
                      <a:pt x="7144" y="764886"/>
                      <a:pt x="11411" y="769144"/>
                      <a:pt x="16669" y="769144"/>
                    </a:cubicBezTo>
                    <a:close/>
                    <a:moveTo>
                      <a:pt x="53216" y="26194"/>
                    </a:moveTo>
                    <a:lnTo>
                      <a:pt x="723062" y="26194"/>
                    </a:lnTo>
                    <a:lnTo>
                      <a:pt x="723062" y="73419"/>
                    </a:lnTo>
                    <a:lnTo>
                      <a:pt x="53216" y="73419"/>
                    </a:lnTo>
                    <a:lnTo>
                      <a:pt x="53216" y="26194"/>
                    </a:lnTo>
                    <a:close/>
                    <a:moveTo>
                      <a:pt x="76791" y="92469"/>
                    </a:moveTo>
                    <a:lnTo>
                      <a:pt x="699487" y="92469"/>
                    </a:lnTo>
                    <a:lnTo>
                      <a:pt x="699487" y="683819"/>
                    </a:lnTo>
                    <a:lnTo>
                      <a:pt x="496491" y="683819"/>
                    </a:lnTo>
                    <a:lnTo>
                      <a:pt x="496491" y="470402"/>
                    </a:lnTo>
                    <a:cubicBezTo>
                      <a:pt x="496491" y="465134"/>
                      <a:pt x="492223" y="460877"/>
                      <a:pt x="486966" y="460877"/>
                    </a:cubicBezTo>
                    <a:lnTo>
                      <a:pt x="289322" y="460877"/>
                    </a:lnTo>
                    <a:cubicBezTo>
                      <a:pt x="284064" y="460877"/>
                      <a:pt x="279797" y="465134"/>
                      <a:pt x="279797" y="470402"/>
                    </a:cubicBezTo>
                    <a:lnTo>
                      <a:pt x="279797" y="683819"/>
                    </a:lnTo>
                    <a:lnTo>
                      <a:pt x="76791" y="683819"/>
                    </a:lnTo>
                    <a:lnTo>
                      <a:pt x="76791" y="92469"/>
                    </a:lnTo>
                    <a:close/>
                    <a:moveTo>
                      <a:pt x="298847" y="683819"/>
                    </a:moveTo>
                    <a:lnTo>
                      <a:pt x="298847" y="479927"/>
                    </a:lnTo>
                    <a:lnTo>
                      <a:pt x="378619" y="479927"/>
                    </a:lnTo>
                    <a:lnTo>
                      <a:pt x="378619" y="683819"/>
                    </a:lnTo>
                    <a:lnTo>
                      <a:pt x="298847" y="683819"/>
                    </a:lnTo>
                    <a:close/>
                    <a:moveTo>
                      <a:pt x="397669" y="479927"/>
                    </a:moveTo>
                    <a:lnTo>
                      <a:pt x="477441" y="479927"/>
                    </a:lnTo>
                    <a:lnTo>
                      <a:pt x="477441" y="683819"/>
                    </a:lnTo>
                    <a:lnTo>
                      <a:pt x="397669" y="683819"/>
                    </a:lnTo>
                    <a:lnTo>
                      <a:pt x="397669" y="479927"/>
                    </a:lnTo>
                    <a:close/>
                    <a:moveTo>
                      <a:pt x="26194" y="702869"/>
                    </a:moveTo>
                    <a:lnTo>
                      <a:pt x="750094" y="702869"/>
                    </a:lnTo>
                    <a:lnTo>
                      <a:pt x="750094" y="750094"/>
                    </a:lnTo>
                    <a:lnTo>
                      <a:pt x="26194" y="750094"/>
                    </a:lnTo>
                    <a:lnTo>
                      <a:pt x="26194" y="70286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4" name="Freeform: Shape 448">
                <a:extLst>
                  <a:ext uri="{FF2B5EF4-FFF2-40B4-BE49-F238E27FC236}">
                    <a16:creationId xmlns:a16="http://schemas.microsoft.com/office/drawing/2014/main" id="{F454034B-6763-4A0A-B0FE-D1DB9F72670E}"/>
                  </a:ext>
                </a:extLst>
              </p:cNvPr>
              <p:cNvSpPr/>
              <p:nvPr/>
            </p:nvSpPr>
            <p:spPr>
              <a:xfrm>
                <a:off x="6256849" y="337441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5" name="Freeform: Shape 449">
                <a:extLst>
                  <a:ext uri="{FF2B5EF4-FFF2-40B4-BE49-F238E27FC236}">
                    <a16:creationId xmlns:a16="http://schemas.microsoft.com/office/drawing/2014/main" id="{24EF349C-A899-4CF6-B22D-E0DCD32D8C30}"/>
                  </a:ext>
                </a:extLst>
              </p:cNvPr>
              <p:cNvSpPr/>
              <p:nvPr/>
            </p:nvSpPr>
            <p:spPr>
              <a:xfrm>
                <a:off x="5842511" y="3374412"/>
                <a:ext cx="85725" cy="123825"/>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6" name="Freeform: Shape 450">
                <a:extLst>
                  <a:ext uri="{FF2B5EF4-FFF2-40B4-BE49-F238E27FC236}">
                    <a16:creationId xmlns:a16="http://schemas.microsoft.com/office/drawing/2014/main" id="{7F3FE53C-CBF1-48F9-BA17-9AC14B5F8DAF}"/>
                  </a:ext>
                </a:extLst>
              </p:cNvPr>
              <p:cNvSpPr/>
              <p:nvPr/>
            </p:nvSpPr>
            <p:spPr>
              <a:xfrm>
                <a:off x="6256849" y="322320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7" name="Freeform: Shape 451">
                <a:extLst>
                  <a:ext uri="{FF2B5EF4-FFF2-40B4-BE49-F238E27FC236}">
                    <a16:creationId xmlns:a16="http://schemas.microsoft.com/office/drawing/2014/main" id="{A8683496-7CDF-4C07-B477-B23572014B8D}"/>
                  </a:ext>
                </a:extLst>
              </p:cNvPr>
              <p:cNvSpPr/>
              <p:nvPr/>
            </p:nvSpPr>
            <p:spPr>
              <a:xfrm>
                <a:off x="6118841" y="322320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8" name="Freeform: Shape 452">
                <a:extLst>
                  <a:ext uri="{FF2B5EF4-FFF2-40B4-BE49-F238E27FC236}">
                    <a16:creationId xmlns:a16="http://schemas.microsoft.com/office/drawing/2014/main" id="{E2309ABB-96AB-40B1-9E0A-EDF4B55385B7}"/>
                  </a:ext>
                </a:extLst>
              </p:cNvPr>
              <p:cNvSpPr/>
              <p:nvPr/>
            </p:nvSpPr>
            <p:spPr>
              <a:xfrm>
                <a:off x="5981710" y="322320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9" name="Freeform: Shape 453">
                <a:extLst>
                  <a:ext uri="{FF2B5EF4-FFF2-40B4-BE49-F238E27FC236}">
                    <a16:creationId xmlns:a16="http://schemas.microsoft.com/office/drawing/2014/main" id="{F9BD3954-FCD8-4AE4-845C-21F5BEA83024}"/>
                  </a:ext>
                </a:extLst>
              </p:cNvPr>
              <p:cNvSpPr/>
              <p:nvPr/>
            </p:nvSpPr>
            <p:spPr>
              <a:xfrm>
                <a:off x="6118841" y="3071993"/>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0" name="Freeform: Shape 454">
                <a:extLst>
                  <a:ext uri="{FF2B5EF4-FFF2-40B4-BE49-F238E27FC236}">
                    <a16:creationId xmlns:a16="http://schemas.microsoft.com/office/drawing/2014/main" id="{76CA987B-3DC7-4A24-9F8E-6D6C6CD1AAFB}"/>
                  </a:ext>
                </a:extLst>
              </p:cNvPr>
              <p:cNvSpPr/>
              <p:nvPr/>
            </p:nvSpPr>
            <p:spPr>
              <a:xfrm>
                <a:off x="5981710" y="3071993"/>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1" name="Freeform: Shape 455">
                <a:extLst>
                  <a:ext uri="{FF2B5EF4-FFF2-40B4-BE49-F238E27FC236}">
                    <a16:creationId xmlns:a16="http://schemas.microsoft.com/office/drawing/2014/main" id="{D84E9FFA-61A1-4597-A96A-AF267E0FA218}"/>
                  </a:ext>
                </a:extLst>
              </p:cNvPr>
              <p:cNvSpPr/>
              <p:nvPr/>
            </p:nvSpPr>
            <p:spPr>
              <a:xfrm>
                <a:off x="5842511" y="3223202"/>
                <a:ext cx="85725" cy="123825"/>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2" name="Freeform: Shape 456">
                <a:extLst>
                  <a:ext uri="{FF2B5EF4-FFF2-40B4-BE49-F238E27FC236}">
                    <a16:creationId xmlns:a16="http://schemas.microsoft.com/office/drawing/2014/main" id="{5B51065B-697D-458C-A1D3-CB303B7688C9}"/>
                  </a:ext>
                </a:extLst>
              </p:cNvPr>
              <p:cNvSpPr/>
              <p:nvPr/>
            </p:nvSpPr>
            <p:spPr>
              <a:xfrm>
                <a:off x="6256849" y="3071993"/>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3" name="Freeform: Shape 457">
                <a:extLst>
                  <a:ext uri="{FF2B5EF4-FFF2-40B4-BE49-F238E27FC236}">
                    <a16:creationId xmlns:a16="http://schemas.microsoft.com/office/drawing/2014/main" id="{F3140EAF-9D64-4078-BBA5-6E461F2BA9B2}"/>
                  </a:ext>
                </a:extLst>
              </p:cNvPr>
              <p:cNvSpPr/>
              <p:nvPr/>
            </p:nvSpPr>
            <p:spPr>
              <a:xfrm>
                <a:off x="5842511" y="3071993"/>
                <a:ext cx="85725" cy="123825"/>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796" name="Group 795">
              <a:extLst>
                <a:ext uri="{FF2B5EF4-FFF2-40B4-BE49-F238E27FC236}">
                  <a16:creationId xmlns:a16="http://schemas.microsoft.com/office/drawing/2014/main" id="{8619C4E9-DEE1-44AB-9CAF-7CBD4EEBBF30}"/>
                </a:ext>
              </a:extLst>
            </p:cNvPr>
            <p:cNvGrpSpPr/>
            <p:nvPr/>
          </p:nvGrpSpPr>
          <p:grpSpPr>
            <a:xfrm>
              <a:off x="7602496" y="1739620"/>
              <a:ext cx="570891" cy="1272744"/>
              <a:chOff x="7602496" y="1739620"/>
              <a:chExt cx="570891" cy="1272744"/>
            </a:xfrm>
          </p:grpSpPr>
          <p:sp>
            <p:nvSpPr>
              <p:cNvPr id="855" name="Rectangle 854">
                <a:extLst>
                  <a:ext uri="{FF2B5EF4-FFF2-40B4-BE49-F238E27FC236}">
                    <a16:creationId xmlns:a16="http://schemas.microsoft.com/office/drawing/2014/main" id="{6F025070-A94E-4FD2-A480-A14146E83AE7}"/>
                  </a:ext>
                </a:extLst>
              </p:cNvPr>
              <p:cNvSpPr/>
              <p:nvPr/>
            </p:nvSpPr>
            <p:spPr>
              <a:xfrm>
                <a:off x="7602496" y="1863445"/>
                <a:ext cx="570891" cy="1148919"/>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856" name="Group 855">
                <a:extLst>
                  <a:ext uri="{FF2B5EF4-FFF2-40B4-BE49-F238E27FC236}">
                    <a16:creationId xmlns:a16="http://schemas.microsoft.com/office/drawing/2014/main" id="{0743A971-F4D0-4F49-A5B4-23D41CF3C6F5}"/>
                  </a:ext>
                </a:extLst>
              </p:cNvPr>
              <p:cNvGrpSpPr/>
              <p:nvPr/>
            </p:nvGrpSpPr>
            <p:grpSpPr>
              <a:xfrm>
                <a:off x="7681520" y="1918017"/>
                <a:ext cx="386355" cy="212495"/>
                <a:chOff x="7681520" y="1918017"/>
                <a:chExt cx="386355" cy="212495"/>
              </a:xfrm>
            </p:grpSpPr>
            <p:sp>
              <p:nvSpPr>
                <p:cNvPr id="885" name="Freeform: Shape 613">
                  <a:extLst>
                    <a:ext uri="{FF2B5EF4-FFF2-40B4-BE49-F238E27FC236}">
                      <a16:creationId xmlns:a16="http://schemas.microsoft.com/office/drawing/2014/main" id="{31D3003D-69D0-43AB-8F47-3B90954BB0A0}"/>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6" name="Freeform: Shape 614">
                  <a:extLst>
                    <a:ext uri="{FF2B5EF4-FFF2-40B4-BE49-F238E27FC236}">
                      <a16:creationId xmlns:a16="http://schemas.microsoft.com/office/drawing/2014/main" id="{0ACDB22F-2041-487F-96F0-4D53C955592E}"/>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7" name="Freeform: Shape 615">
                  <a:extLst>
                    <a:ext uri="{FF2B5EF4-FFF2-40B4-BE49-F238E27FC236}">
                      <a16:creationId xmlns:a16="http://schemas.microsoft.com/office/drawing/2014/main" id="{1D0F5495-80E2-4276-AD8A-E2CCB8379B87}"/>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8" name="Freeform: Shape 616">
                  <a:extLst>
                    <a:ext uri="{FF2B5EF4-FFF2-40B4-BE49-F238E27FC236}">
                      <a16:creationId xmlns:a16="http://schemas.microsoft.com/office/drawing/2014/main" id="{75F5C856-CA0C-4DF8-ADE5-E9A692CC3F35}"/>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9" name="Freeform: Shape 617">
                  <a:extLst>
                    <a:ext uri="{FF2B5EF4-FFF2-40B4-BE49-F238E27FC236}">
                      <a16:creationId xmlns:a16="http://schemas.microsoft.com/office/drawing/2014/main" id="{03C41B6B-DF1C-413C-BF10-948DC90FEFF2}"/>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0" name="Freeform: Shape 618">
                  <a:extLst>
                    <a:ext uri="{FF2B5EF4-FFF2-40B4-BE49-F238E27FC236}">
                      <a16:creationId xmlns:a16="http://schemas.microsoft.com/office/drawing/2014/main" id="{B0871FBF-7C12-46A8-9D48-5E361F25A0E7}"/>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1" name="Freeform: Shape 619">
                  <a:extLst>
                    <a:ext uri="{FF2B5EF4-FFF2-40B4-BE49-F238E27FC236}">
                      <a16:creationId xmlns:a16="http://schemas.microsoft.com/office/drawing/2014/main" id="{23776C9E-D53A-47EB-914D-03DB163B75DA}"/>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2" name="Freeform: Shape 620">
                  <a:extLst>
                    <a:ext uri="{FF2B5EF4-FFF2-40B4-BE49-F238E27FC236}">
                      <a16:creationId xmlns:a16="http://schemas.microsoft.com/office/drawing/2014/main" id="{6FCE1129-6EEA-4818-9C22-5C96A9E1CB3E}"/>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857" name="Group 856">
                <a:extLst>
                  <a:ext uri="{FF2B5EF4-FFF2-40B4-BE49-F238E27FC236}">
                    <a16:creationId xmlns:a16="http://schemas.microsoft.com/office/drawing/2014/main" id="{623D1DE8-FB9E-431A-B1E6-25FADC13CD77}"/>
                  </a:ext>
                </a:extLst>
              </p:cNvPr>
              <p:cNvGrpSpPr/>
              <p:nvPr/>
            </p:nvGrpSpPr>
            <p:grpSpPr>
              <a:xfrm>
                <a:off x="7681520" y="2165667"/>
                <a:ext cx="386355" cy="212495"/>
                <a:chOff x="7681520" y="1918017"/>
                <a:chExt cx="386355" cy="212495"/>
              </a:xfrm>
            </p:grpSpPr>
            <p:sp>
              <p:nvSpPr>
                <p:cNvPr id="877" name="Freeform: Shape 622">
                  <a:extLst>
                    <a:ext uri="{FF2B5EF4-FFF2-40B4-BE49-F238E27FC236}">
                      <a16:creationId xmlns:a16="http://schemas.microsoft.com/office/drawing/2014/main" id="{5CFEA125-032F-43B6-A7B5-3B3E13B65B5A}"/>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8" name="Freeform: Shape 623">
                  <a:extLst>
                    <a:ext uri="{FF2B5EF4-FFF2-40B4-BE49-F238E27FC236}">
                      <a16:creationId xmlns:a16="http://schemas.microsoft.com/office/drawing/2014/main" id="{1F95517B-8B68-4881-8DC1-4963D259D046}"/>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9" name="Freeform: Shape 624">
                  <a:extLst>
                    <a:ext uri="{FF2B5EF4-FFF2-40B4-BE49-F238E27FC236}">
                      <a16:creationId xmlns:a16="http://schemas.microsoft.com/office/drawing/2014/main" id="{31A338DE-2041-42A7-852A-B440F865B845}"/>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0" name="Freeform: Shape 625">
                  <a:extLst>
                    <a:ext uri="{FF2B5EF4-FFF2-40B4-BE49-F238E27FC236}">
                      <a16:creationId xmlns:a16="http://schemas.microsoft.com/office/drawing/2014/main" id="{2FA7AE4D-85F2-4C1B-970B-4BD418277FDC}"/>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1" name="Freeform: Shape 626">
                  <a:extLst>
                    <a:ext uri="{FF2B5EF4-FFF2-40B4-BE49-F238E27FC236}">
                      <a16:creationId xmlns:a16="http://schemas.microsoft.com/office/drawing/2014/main" id="{2BB500AE-A26E-4651-B142-FEBDDFC045ED}"/>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2" name="Freeform: Shape 627">
                  <a:extLst>
                    <a:ext uri="{FF2B5EF4-FFF2-40B4-BE49-F238E27FC236}">
                      <a16:creationId xmlns:a16="http://schemas.microsoft.com/office/drawing/2014/main" id="{9E3F810C-862D-4C6A-A7D8-A313D39B6BB2}"/>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3" name="Freeform: Shape 628">
                  <a:extLst>
                    <a:ext uri="{FF2B5EF4-FFF2-40B4-BE49-F238E27FC236}">
                      <a16:creationId xmlns:a16="http://schemas.microsoft.com/office/drawing/2014/main" id="{D50613AF-9DAC-49B5-956A-94E8465E204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4" name="Freeform: Shape 629">
                  <a:extLst>
                    <a:ext uri="{FF2B5EF4-FFF2-40B4-BE49-F238E27FC236}">
                      <a16:creationId xmlns:a16="http://schemas.microsoft.com/office/drawing/2014/main" id="{4B9269CF-6878-4C31-B7A6-D3A91E055EC4}"/>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858" name="Group 857">
                <a:extLst>
                  <a:ext uri="{FF2B5EF4-FFF2-40B4-BE49-F238E27FC236}">
                    <a16:creationId xmlns:a16="http://schemas.microsoft.com/office/drawing/2014/main" id="{83398368-FF21-4690-9F47-3C01B401F17E}"/>
                  </a:ext>
                </a:extLst>
              </p:cNvPr>
              <p:cNvGrpSpPr/>
              <p:nvPr/>
            </p:nvGrpSpPr>
            <p:grpSpPr>
              <a:xfrm>
                <a:off x="7681520" y="2429192"/>
                <a:ext cx="386355" cy="212495"/>
                <a:chOff x="7681520" y="1918017"/>
                <a:chExt cx="386355" cy="212495"/>
              </a:xfrm>
            </p:grpSpPr>
            <p:sp>
              <p:nvSpPr>
                <p:cNvPr id="869" name="Freeform: Shape 631">
                  <a:extLst>
                    <a:ext uri="{FF2B5EF4-FFF2-40B4-BE49-F238E27FC236}">
                      <a16:creationId xmlns:a16="http://schemas.microsoft.com/office/drawing/2014/main" id="{FADF1AD1-FBC6-4AFA-B95A-C3E1A6ABAE76}"/>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0" name="Freeform: Shape 632">
                  <a:extLst>
                    <a:ext uri="{FF2B5EF4-FFF2-40B4-BE49-F238E27FC236}">
                      <a16:creationId xmlns:a16="http://schemas.microsoft.com/office/drawing/2014/main" id="{ECC23EDB-DDBE-4FD3-986F-B514BBCDA4EC}"/>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1" name="Freeform: Shape 633">
                  <a:extLst>
                    <a:ext uri="{FF2B5EF4-FFF2-40B4-BE49-F238E27FC236}">
                      <a16:creationId xmlns:a16="http://schemas.microsoft.com/office/drawing/2014/main" id="{9F2142F2-3069-4C1D-8EF2-F90C79FA3AB8}"/>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2" name="Freeform: Shape 634">
                  <a:extLst>
                    <a:ext uri="{FF2B5EF4-FFF2-40B4-BE49-F238E27FC236}">
                      <a16:creationId xmlns:a16="http://schemas.microsoft.com/office/drawing/2014/main" id="{B1EA25BE-5F9F-43FA-AEE5-154AD3736A64}"/>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3" name="Freeform: Shape 635">
                  <a:extLst>
                    <a:ext uri="{FF2B5EF4-FFF2-40B4-BE49-F238E27FC236}">
                      <a16:creationId xmlns:a16="http://schemas.microsoft.com/office/drawing/2014/main" id="{613BC104-4FCD-4B68-A3F0-1D79B4254772}"/>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4" name="Freeform: Shape 636">
                  <a:extLst>
                    <a:ext uri="{FF2B5EF4-FFF2-40B4-BE49-F238E27FC236}">
                      <a16:creationId xmlns:a16="http://schemas.microsoft.com/office/drawing/2014/main" id="{FD79181F-63B5-44AE-81D3-92203C35C660}"/>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5" name="Freeform: Shape 637">
                  <a:extLst>
                    <a:ext uri="{FF2B5EF4-FFF2-40B4-BE49-F238E27FC236}">
                      <a16:creationId xmlns:a16="http://schemas.microsoft.com/office/drawing/2014/main" id="{5F5F1658-98D3-480F-87EE-7864866DCD00}"/>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6" name="Freeform: Shape 638">
                  <a:extLst>
                    <a:ext uri="{FF2B5EF4-FFF2-40B4-BE49-F238E27FC236}">
                      <a16:creationId xmlns:a16="http://schemas.microsoft.com/office/drawing/2014/main" id="{0168CFCA-B35F-41A5-94B1-6202B4643E0A}"/>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859" name="Group 858">
                <a:extLst>
                  <a:ext uri="{FF2B5EF4-FFF2-40B4-BE49-F238E27FC236}">
                    <a16:creationId xmlns:a16="http://schemas.microsoft.com/office/drawing/2014/main" id="{1371FD26-6207-45DE-8FFF-F63928D3219E}"/>
                  </a:ext>
                </a:extLst>
              </p:cNvPr>
              <p:cNvGrpSpPr/>
              <p:nvPr/>
            </p:nvGrpSpPr>
            <p:grpSpPr>
              <a:xfrm>
                <a:off x="7681520" y="2692717"/>
                <a:ext cx="386355" cy="212495"/>
                <a:chOff x="7681520" y="1918017"/>
                <a:chExt cx="386355" cy="212495"/>
              </a:xfrm>
            </p:grpSpPr>
            <p:sp>
              <p:nvSpPr>
                <p:cNvPr id="861" name="Freeform: Shape 640">
                  <a:extLst>
                    <a:ext uri="{FF2B5EF4-FFF2-40B4-BE49-F238E27FC236}">
                      <a16:creationId xmlns:a16="http://schemas.microsoft.com/office/drawing/2014/main" id="{9227E197-9FA0-4FF6-B998-BCD32CACFCAF}"/>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2" name="Freeform: Shape 641">
                  <a:extLst>
                    <a:ext uri="{FF2B5EF4-FFF2-40B4-BE49-F238E27FC236}">
                      <a16:creationId xmlns:a16="http://schemas.microsoft.com/office/drawing/2014/main" id="{A62770A8-41DA-4AA6-8DB0-48B9FF5E7174}"/>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3" name="Freeform: Shape 642">
                  <a:extLst>
                    <a:ext uri="{FF2B5EF4-FFF2-40B4-BE49-F238E27FC236}">
                      <a16:creationId xmlns:a16="http://schemas.microsoft.com/office/drawing/2014/main" id="{99FD1C56-9940-44D5-B806-8F5641AED512}"/>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4" name="Freeform: Shape 643">
                  <a:extLst>
                    <a:ext uri="{FF2B5EF4-FFF2-40B4-BE49-F238E27FC236}">
                      <a16:creationId xmlns:a16="http://schemas.microsoft.com/office/drawing/2014/main" id="{F45FCD9E-03EF-4961-B467-A1363C31AA26}"/>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5" name="Freeform: Shape 644">
                  <a:extLst>
                    <a:ext uri="{FF2B5EF4-FFF2-40B4-BE49-F238E27FC236}">
                      <a16:creationId xmlns:a16="http://schemas.microsoft.com/office/drawing/2014/main" id="{D2678F5B-FFBA-44DD-829D-645CFC56D566}"/>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6" name="Freeform: Shape 645">
                  <a:extLst>
                    <a:ext uri="{FF2B5EF4-FFF2-40B4-BE49-F238E27FC236}">
                      <a16:creationId xmlns:a16="http://schemas.microsoft.com/office/drawing/2014/main" id="{46552C97-E191-4623-8588-29F039D488DC}"/>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7" name="Freeform: Shape 646">
                  <a:extLst>
                    <a:ext uri="{FF2B5EF4-FFF2-40B4-BE49-F238E27FC236}">
                      <a16:creationId xmlns:a16="http://schemas.microsoft.com/office/drawing/2014/main" id="{9C4EEF16-E9D3-42BB-B419-5978A70D805D}"/>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8" name="Freeform: Shape 647">
                  <a:extLst>
                    <a:ext uri="{FF2B5EF4-FFF2-40B4-BE49-F238E27FC236}">
                      <a16:creationId xmlns:a16="http://schemas.microsoft.com/office/drawing/2014/main" id="{D525B7EF-BF21-47F2-AC13-B8C9B1284233}"/>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860" name="Rectangle 859">
                <a:extLst>
                  <a:ext uri="{FF2B5EF4-FFF2-40B4-BE49-F238E27FC236}">
                    <a16:creationId xmlns:a16="http://schemas.microsoft.com/office/drawing/2014/main" id="{49F05559-D241-48B8-ADA8-3F58000635BC}"/>
                  </a:ext>
                </a:extLst>
              </p:cNvPr>
              <p:cNvSpPr/>
              <p:nvPr/>
            </p:nvSpPr>
            <p:spPr>
              <a:xfrm>
                <a:off x="7710446" y="1739620"/>
                <a:ext cx="363579" cy="124105"/>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grpSp>
          <p:nvGrpSpPr>
            <p:cNvPr id="797" name="Group 796">
              <a:extLst>
                <a:ext uri="{FF2B5EF4-FFF2-40B4-BE49-F238E27FC236}">
                  <a16:creationId xmlns:a16="http://schemas.microsoft.com/office/drawing/2014/main" id="{FEA3E8C3-F514-452F-874E-9F8AB70A629E}"/>
                </a:ext>
              </a:extLst>
            </p:cNvPr>
            <p:cNvGrpSpPr/>
            <p:nvPr/>
          </p:nvGrpSpPr>
          <p:grpSpPr>
            <a:xfrm>
              <a:off x="8177171" y="2098675"/>
              <a:ext cx="570891" cy="913689"/>
              <a:chOff x="8177171" y="2098675"/>
              <a:chExt cx="570891" cy="913689"/>
            </a:xfrm>
          </p:grpSpPr>
          <p:sp>
            <p:nvSpPr>
              <p:cNvPr id="827" name="Rectangle 826">
                <a:extLst>
                  <a:ext uri="{FF2B5EF4-FFF2-40B4-BE49-F238E27FC236}">
                    <a16:creationId xmlns:a16="http://schemas.microsoft.com/office/drawing/2014/main" id="{D35675EB-DAC8-44CA-A3E3-FF7673828F1F}"/>
                  </a:ext>
                </a:extLst>
              </p:cNvPr>
              <p:cNvSpPr/>
              <p:nvPr/>
            </p:nvSpPr>
            <p:spPr>
              <a:xfrm>
                <a:off x="8177171" y="2098675"/>
                <a:ext cx="570891" cy="913689"/>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828" name="Group 827">
                <a:extLst>
                  <a:ext uri="{FF2B5EF4-FFF2-40B4-BE49-F238E27FC236}">
                    <a16:creationId xmlns:a16="http://schemas.microsoft.com/office/drawing/2014/main" id="{E88663B7-7F40-4F03-BC22-E4F1ECE0F746}"/>
                  </a:ext>
                </a:extLst>
              </p:cNvPr>
              <p:cNvGrpSpPr/>
              <p:nvPr/>
            </p:nvGrpSpPr>
            <p:grpSpPr>
              <a:xfrm>
                <a:off x="8256195" y="2165667"/>
                <a:ext cx="386355" cy="212495"/>
                <a:chOff x="7681520" y="1918017"/>
                <a:chExt cx="386355" cy="212495"/>
              </a:xfrm>
            </p:grpSpPr>
            <p:sp>
              <p:nvSpPr>
                <p:cNvPr id="847" name="Freeform: Shape 670">
                  <a:extLst>
                    <a:ext uri="{FF2B5EF4-FFF2-40B4-BE49-F238E27FC236}">
                      <a16:creationId xmlns:a16="http://schemas.microsoft.com/office/drawing/2014/main" id="{A8137716-D672-4DC9-9B3E-259C52644D02}"/>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8" name="Freeform: Shape 671">
                  <a:extLst>
                    <a:ext uri="{FF2B5EF4-FFF2-40B4-BE49-F238E27FC236}">
                      <a16:creationId xmlns:a16="http://schemas.microsoft.com/office/drawing/2014/main" id="{4ED7132E-1AA7-4D65-93E4-5AF6FCB82695}"/>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9" name="Freeform: Shape 672">
                  <a:extLst>
                    <a:ext uri="{FF2B5EF4-FFF2-40B4-BE49-F238E27FC236}">
                      <a16:creationId xmlns:a16="http://schemas.microsoft.com/office/drawing/2014/main" id="{8DDFE472-0C23-4E92-8762-FE9269710FF3}"/>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0" name="Freeform: Shape 673">
                  <a:extLst>
                    <a:ext uri="{FF2B5EF4-FFF2-40B4-BE49-F238E27FC236}">
                      <a16:creationId xmlns:a16="http://schemas.microsoft.com/office/drawing/2014/main" id="{AF1C5192-1210-4FFB-81D5-35B4DE196F3C}"/>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1" name="Freeform: Shape 674">
                  <a:extLst>
                    <a:ext uri="{FF2B5EF4-FFF2-40B4-BE49-F238E27FC236}">
                      <a16:creationId xmlns:a16="http://schemas.microsoft.com/office/drawing/2014/main" id="{7FECE02D-BD9A-453F-90FC-782E497486DF}"/>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2" name="Freeform: Shape 675">
                  <a:extLst>
                    <a:ext uri="{FF2B5EF4-FFF2-40B4-BE49-F238E27FC236}">
                      <a16:creationId xmlns:a16="http://schemas.microsoft.com/office/drawing/2014/main" id="{2E87A703-6368-4475-B778-00D541B0C605}"/>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3" name="Freeform: Shape 676">
                  <a:extLst>
                    <a:ext uri="{FF2B5EF4-FFF2-40B4-BE49-F238E27FC236}">
                      <a16:creationId xmlns:a16="http://schemas.microsoft.com/office/drawing/2014/main" id="{2FF07726-6A9F-4C80-BACC-453BE1104DB5}"/>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4" name="Freeform: Shape 677">
                  <a:extLst>
                    <a:ext uri="{FF2B5EF4-FFF2-40B4-BE49-F238E27FC236}">
                      <a16:creationId xmlns:a16="http://schemas.microsoft.com/office/drawing/2014/main" id="{343B4E2C-23C4-471B-B287-CF1F22B8D71F}"/>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829" name="Group 828">
                <a:extLst>
                  <a:ext uri="{FF2B5EF4-FFF2-40B4-BE49-F238E27FC236}">
                    <a16:creationId xmlns:a16="http://schemas.microsoft.com/office/drawing/2014/main" id="{5EC42186-E0B0-4B42-A20D-A2E2F18DD4FD}"/>
                  </a:ext>
                </a:extLst>
              </p:cNvPr>
              <p:cNvGrpSpPr/>
              <p:nvPr/>
            </p:nvGrpSpPr>
            <p:grpSpPr>
              <a:xfrm>
                <a:off x="8256195" y="2429192"/>
                <a:ext cx="386355" cy="212495"/>
                <a:chOff x="7681520" y="1918017"/>
                <a:chExt cx="386355" cy="212495"/>
              </a:xfrm>
            </p:grpSpPr>
            <p:sp>
              <p:nvSpPr>
                <p:cNvPr id="839" name="Freeform: Shape 662">
                  <a:extLst>
                    <a:ext uri="{FF2B5EF4-FFF2-40B4-BE49-F238E27FC236}">
                      <a16:creationId xmlns:a16="http://schemas.microsoft.com/office/drawing/2014/main" id="{F5CD9D99-C5C7-43D6-A58F-C210C0D3148A}"/>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0" name="Freeform: Shape 663">
                  <a:extLst>
                    <a:ext uri="{FF2B5EF4-FFF2-40B4-BE49-F238E27FC236}">
                      <a16:creationId xmlns:a16="http://schemas.microsoft.com/office/drawing/2014/main" id="{5010DB45-97F6-43E3-BABD-611841BC84C1}"/>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1" name="Freeform: Shape 664">
                  <a:extLst>
                    <a:ext uri="{FF2B5EF4-FFF2-40B4-BE49-F238E27FC236}">
                      <a16:creationId xmlns:a16="http://schemas.microsoft.com/office/drawing/2014/main" id="{1A7A5710-8F56-4FE6-9D52-A395CE62612B}"/>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2" name="Freeform: Shape 665">
                  <a:extLst>
                    <a:ext uri="{FF2B5EF4-FFF2-40B4-BE49-F238E27FC236}">
                      <a16:creationId xmlns:a16="http://schemas.microsoft.com/office/drawing/2014/main" id="{59C8D57C-1648-447C-A166-D34CBDC404DC}"/>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3" name="Freeform: Shape 666">
                  <a:extLst>
                    <a:ext uri="{FF2B5EF4-FFF2-40B4-BE49-F238E27FC236}">
                      <a16:creationId xmlns:a16="http://schemas.microsoft.com/office/drawing/2014/main" id="{0348AE04-E05E-4E72-B18E-9CAC2E5699AE}"/>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4" name="Freeform: Shape 667">
                  <a:extLst>
                    <a:ext uri="{FF2B5EF4-FFF2-40B4-BE49-F238E27FC236}">
                      <a16:creationId xmlns:a16="http://schemas.microsoft.com/office/drawing/2014/main" id="{7531DB24-EFEE-462D-827D-C41060AACB53}"/>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5" name="Freeform: Shape 668">
                  <a:extLst>
                    <a:ext uri="{FF2B5EF4-FFF2-40B4-BE49-F238E27FC236}">
                      <a16:creationId xmlns:a16="http://schemas.microsoft.com/office/drawing/2014/main" id="{C2C381B5-CF91-45F4-BAE6-A514FBD82D30}"/>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6" name="Freeform: Shape 669">
                  <a:extLst>
                    <a:ext uri="{FF2B5EF4-FFF2-40B4-BE49-F238E27FC236}">
                      <a16:creationId xmlns:a16="http://schemas.microsoft.com/office/drawing/2014/main" id="{4AE38176-2FCA-48D8-917A-DF6F671DF3E2}"/>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830" name="Group 829">
                <a:extLst>
                  <a:ext uri="{FF2B5EF4-FFF2-40B4-BE49-F238E27FC236}">
                    <a16:creationId xmlns:a16="http://schemas.microsoft.com/office/drawing/2014/main" id="{72E74082-CEFB-4D10-91F2-8AE218698A18}"/>
                  </a:ext>
                </a:extLst>
              </p:cNvPr>
              <p:cNvGrpSpPr/>
              <p:nvPr/>
            </p:nvGrpSpPr>
            <p:grpSpPr>
              <a:xfrm>
                <a:off x="8256195" y="2692717"/>
                <a:ext cx="386355" cy="212495"/>
                <a:chOff x="7681520" y="1918017"/>
                <a:chExt cx="386355" cy="212495"/>
              </a:xfrm>
            </p:grpSpPr>
            <p:sp>
              <p:nvSpPr>
                <p:cNvPr id="831" name="Freeform: Shape 654">
                  <a:extLst>
                    <a:ext uri="{FF2B5EF4-FFF2-40B4-BE49-F238E27FC236}">
                      <a16:creationId xmlns:a16="http://schemas.microsoft.com/office/drawing/2014/main" id="{B463FEBF-3CF6-4BD2-A0D4-E2281CE33BA8}"/>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2" name="Freeform: Shape 655">
                  <a:extLst>
                    <a:ext uri="{FF2B5EF4-FFF2-40B4-BE49-F238E27FC236}">
                      <a16:creationId xmlns:a16="http://schemas.microsoft.com/office/drawing/2014/main" id="{113EAD5A-6DA8-430E-882D-497E4086B4BF}"/>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3" name="Freeform: Shape 656">
                  <a:extLst>
                    <a:ext uri="{FF2B5EF4-FFF2-40B4-BE49-F238E27FC236}">
                      <a16:creationId xmlns:a16="http://schemas.microsoft.com/office/drawing/2014/main" id="{67B2CE8D-1312-42F2-8504-18D9ECDEEE54}"/>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4" name="Freeform: Shape 657">
                  <a:extLst>
                    <a:ext uri="{FF2B5EF4-FFF2-40B4-BE49-F238E27FC236}">
                      <a16:creationId xmlns:a16="http://schemas.microsoft.com/office/drawing/2014/main" id="{6E533FA1-EEBC-46E2-8117-A2BC0013469A}"/>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5" name="Freeform: Shape 658">
                  <a:extLst>
                    <a:ext uri="{FF2B5EF4-FFF2-40B4-BE49-F238E27FC236}">
                      <a16:creationId xmlns:a16="http://schemas.microsoft.com/office/drawing/2014/main" id="{5A5F440A-58EE-4BE1-A601-BCB0285B4FC5}"/>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6" name="Freeform: Shape 659">
                  <a:extLst>
                    <a:ext uri="{FF2B5EF4-FFF2-40B4-BE49-F238E27FC236}">
                      <a16:creationId xmlns:a16="http://schemas.microsoft.com/office/drawing/2014/main" id="{CAA0817C-3CDF-45AD-A68D-39675EC5F38C}"/>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7" name="Freeform: Shape 660">
                  <a:extLst>
                    <a:ext uri="{FF2B5EF4-FFF2-40B4-BE49-F238E27FC236}">
                      <a16:creationId xmlns:a16="http://schemas.microsoft.com/office/drawing/2014/main" id="{929D3AED-C93D-427B-BC2D-FC5C304383D5}"/>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8" name="Freeform: Shape 661">
                  <a:extLst>
                    <a:ext uri="{FF2B5EF4-FFF2-40B4-BE49-F238E27FC236}">
                      <a16:creationId xmlns:a16="http://schemas.microsoft.com/office/drawing/2014/main" id="{3C12F8D7-4B06-4D42-9CC2-866EE1E6A617}"/>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nvGrpSpPr>
            <p:cNvPr id="798" name="Group 797">
              <a:extLst>
                <a:ext uri="{FF2B5EF4-FFF2-40B4-BE49-F238E27FC236}">
                  <a16:creationId xmlns:a16="http://schemas.microsoft.com/office/drawing/2014/main" id="{32724CEB-FDE7-4F9B-AFAF-D12123EE2027}"/>
                </a:ext>
              </a:extLst>
            </p:cNvPr>
            <p:cNvGrpSpPr/>
            <p:nvPr/>
          </p:nvGrpSpPr>
          <p:grpSpPr>
            <a:xfrm>
              <a:off x="7030996" y="2098675"/>
              <a:ext cx="570891" cy="913689"/>
              <a:chOff x="8177171" y="2098675"/>
              <a:chExt cx="570891" cy="913689"/>
            </a:xfrm>
          </p:grpSpPr>
          <p:sp>
            <p:nvSpPr>
              <p:cNvPr id="799" name="Rectangle 798">
                <a:extLst>
                  <a:ext uri="{FF2B5EF4-FFF2-40B4-BE49-F238E27FC236}">
                    <a16:creationId xmlns:a16="http://schemas.microsoft.com/office/drawing/2014/main" id="{3F2AE079-085F-4CCD-9DF8-846D273EA67E}"/>
                  </a:ext>
                </a:extLst>
              </p:cNvPr>
              <p:cNvSpPr/>
              <p:nvPr/>
            </p:nvSpPr>
            <p:spPr>
              <a:xfrm>
                <a:off x="8177171" y="2098675"/>
                <a:ext cx="570891" cy="913689"/>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800" name="Group 799">
                <a:extLst>
                  <a:ext uri="{FF2B5EF4-FFF2-40B4-BE49-F238E27FC236}">
                    <a16:creationId xmlns:a16="http://schemas.microsoft.com/office/drawing/2014/main" id="{82F2CD1B-8EF3-4FD5-B6BB-4ED9806F627E}"/>
                  </a:ext>
                </a:extLst>
              </p:cNvPr>
              <p:cNvGrpSpPr/>
              <p:nvPr/>
            </p:nvGrpSpPr>
            <p:grpSpPr>
              <a:xfrm>
                <a:off x="8256195" y="2165667"/>
                <a:ext cx="386355" cy="212495"/>
                <a:chOff x="7681520" y="1918017"/>
                <a:chExt cx="386355" cy="212495"/>
              </a:xfrm>
            </p:grpSpPr>
            <p:sp>
              <p:nvSpPr>
                <p:cNvPr id="819" name="Freeform: Shape 707">
                  <a:extLst>
                    <a:ext uri="{FF2B5EF4-FFF2-40B4-BE49-F238E27FC236}">
                      <a16:creationId xmlns:a16="http://schemas.microsoft.com/office/drawing/2014/main" id="{203F7D2B-F5CB-4B61-8987-8D1ED35D1AD4}"/>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0" name="Freeform: Shape 708">
                  <a:extLst>
                    <a:ext uri="{FF2B5EF4-FFF2-40B4-BE49-F238E27FC236}">
                      <a16:creationId xmlns:a16="http://schemas.microsoft.com/office/drawing/2014/main" id="{BEFB5D86-B84E-4C38-AC2F-D325429429DA}"/>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1" name="Freeform: Shape 709">
                  <a:extLst>
                    <a:ext uri="{FF2B5EF4-FFF2-40B4-BE49-F238E27FC236}">
                      <a16:creationId xmlns:a16="http://schemas.microsoft.com/office/drawing/2014/main" id="{AA87997F-85D3-476F-9D39-2E59D4F7D359}"/>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2" name="Freeform: Shape 710">
                  <a:extLst>
                    <a:ext uri="{FF2B5EF4-FFF2-40B4-BE49-F238E27FC236}">
                      <a16:creationId xmlns:a16="http://schemas.microsoft.com/office/drawing/2014/main" id="{3261E925-D374-430D-BE66-428624434C85}"/>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3" name="Freeform: Shape 711">
                  <a:extLst>
                    <a:ext uri="{FF2B5EF4-FFF2-40B4-BE49-F238E27FC236}">
                      <a16:creationId xmlns:a16="http://schemas.microsoft.com/office/drawing/2014/main" id="{0860838F-CFDC-41BC-B92A-163A0EE3F14F}"/>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4" name="Freeform: Shape 712">
                  <a:extLst>
                    <a:ext uri="{FF2B5EF4-FFF2-40B4-BE49-F238E27FC236}">
                      <a16:creationId xmlns:a16="http://schemas.microsoft.com/office/drawing/2014/main" id="{E55480F1-1893-484D-8FF9-85A0A94DD473}"/>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5" name="Freeform: Shape 713">
                  <a:extLst>
                    <a:ext uri="{FF2B5EF4-FFF2-40B4-BE49-F238E27FC236}">
                      <a16:creationId xmlns:a16="http://schemas.microsoft.com/office/drawing/2014/main" id="{1D41F713-F934-41C1-8730-4A748EF41DD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6" name="Freeform: Shape 714">
                  <a:extLst>
                    <a:ext uri="{FF2B5EF4-FFF2-40B4-BE49-F238E27FC236}">
                      <a16:creationId xmlns:a16="http://schemas.microsoft.com/office/drawing/2014/main" id="{3268174C-3044-42A4-AD12-A0903062DADB}"/>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801" name="Group 800">
                <a:extLst>
                  <a:ext uri="{FF2B5EF4-FFF2-40B4-BE49-F238E27FC236}">
                    <a16:creationId xmlns:a16="http://schemas.microsoft.com/office/drawing/2014/main" id="{82C37B37-BA84-47CF-B761-1B8DF16E95A3}"/>
                  </a:ext>
                </a:extLst>
              </p:cNvPr>
              <p:cNvGrpSpPr/>
              <p:nvPr/>
            </p:nvGrpSpPr>
            <p:grpSpPr>
              <a:xfrm>
                <a:off x="8256195" y="2429192"/>
                <a:ext cx="386355" cy="212495"/>
                <a:chOff x="7681520" y="1918017"/>
                <a:chExt cx="386355" cy="212495"/>
              </a:xfrm>
            </p:grpSpPr>
            <p:sp>
              <p:nvSpPr>
                <p:cNvPr id="811" name="Freeform: Shape 699">
                  <a:extLst>
                    <a:ext uri="{FF2B5EF4-FFF2-40B4-BE49-F238E27FC236}">
                      <a16:creationId xmlns:a16="http://schemas.microsoft.com/office/drawing/2014/main" id="{54015EB5-AFCF-441A-B529-7B008BA11323}"/>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2" name="Freeform: Shape 700">
                  <a:extLst>
                    <a:ext uri="{FF2B5EF4-FFF2-40B4-BE49-F238E27FC236}">
                      <a16:creationId xmlns:a16="http://schemas.microsoft.com/office/drawing/2014/main" id="{5C0325B9-FEC8-4CF2-A84F-E7EDF9734AF9}"/>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3" name="Freeform: Shape 701">
                  <a:extLst>
                    <a:ext uri="{FF2B5EF4-FFF2-40B4-BE49-F238E27FC236}">
                      <a16:creationId xmlns:a16="http://schemas.microsoft.com/office/drawing/2014/main" id="{715C2893-6A38-4995-AB07-EDB72A2B6020}"/>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4" name="Freeform: Shape 702">
                  <a:extLst>
                    <a:ext uri="{FF2B5EF4-FFF2-40B4-BE49-F238E27FC236}">
                      <a16:creationId xmlns:a16="http://schemas.microsoft.com/office/drawing/2014/main" id="{B2E524EA-7500-401B-AA51-ACDA7049C5D7}"/>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5" name="Freeform: Shape 703">
                  <a:extLst>
                    <a:ext uri="{FF2B5EF4-FFF2-40B4-BE49-F238E27FC236}">
                      <a16:creationId xmlns:a16="http://schemas.microsoft.com/office/drawing/2014/main" id="{4DEAB885-F959-44BC-9663-983D9EB5377A}"/>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6" name="Freeform: Shape 704">
                  <a:extLst>
                    <a:ext uri="{FF2B5EF4-FFF2-40B4-BE49-F238E27FC236}">
                      <a16:creationId xmlns:a16="http://schemas.microsoft.com/office/drawing/2014/main" id="{3FF6C649-EAFC-4D3E-B311-CF8D6A2E342C}"/>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7" name="Freeform: Shape 705">
                  <a:extLst>
                    <a:ext uri="{FF2B5EF4-FFF2-40B4-BE49-F238E27FC236}">
                      <a16:creationId xmlns:a16="http://schemas.microsoft.com/office/drawing/2014/main" id="{51CF9C68-DDD8-42E2-B73D-CBF745F6AD3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8" name="Freeform: Shape 706">
                  <a:extLst>
                    <a:ext uri="{FF2B5EF4-FFF2-40B4-BE49-F238E27FC236}">
                      <a16:creationId xmlns:a16="http://schemas.microsoft.com/office/drawing/2014/main" id="{620A3177-F1C6-4C99-9E55-F8621C372FBF}"/>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802" name="Group 801">
                <a:extLst>
                  <a:ext uri="{FF2B5EF4-FFF2-40B4-BE49-F238E27FC236}">
                    <a16:creationId xmlns:a16="http://schemas.microsoft.com/office/drawing/2014/main" id="{0CC9FADE-28F9-49BB-A344-BDF29A40C9C5}"/>
                  </a:ext>
                </a:extLst>
              </p:cNvPr>
              <p:cNvGrpSpPr/>
              <p:nvPr/>
            </p:nvGrpSpPr>
            <p:grpSpPr>
              <a:xfrm>
                <a:off x="8256195" y="2692717"/>
                <a:ext cx="386355" cy="212495"/>
                <a:chOff x="7681520" y="1918017"/>
                <a:chExt cx="386355" cy="212495"/>
              </a:xfrm>
            </p:grpSpPr>
            <p:sp>
              <p:nvSpPr>
                <p:cNvPr id="803" name="Freeform: Shape 691">
                  <a:extLst>
                    <a:ext uri="{FF2B5EF4-FFF2-40B4-BE49-F238E27FC236}">
                      <a16:creationId xmlns:a16="http://schemas.microsoft.com/office/drawing/2014/main" id="{E6D347EC-194B-4960-86DC-D0E0E8626DD5}"/>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4" name="Freeform: Shape 692">
                  <a:extLst>
                    <a:ext uri="{FF2B5EF4-FFF2-40B4-BE49-F238E27FC236}">
                      <a16:creationId xmlns:a16="http://schemas.microsoft.com/office/drawing/2014/main" id="{C5FE6987-2FA3-417F-B341-52792038C0DE}"/>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5" name="Freeform: Shape 693">
                  <a:extLst>
                    <a:ext uri="{FF2B5EF4-FFF2-40B4-BE49-F238E27FC236}">
                      <a16:creationId xmlns:a16="http://schemas.microsoft.com/office/drawing/2014/main" id="{9B352CD8-25B0-4EDE-9A03-873248250118}"/>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6" name="Freeform: Shape 694">
                  <a:extLst>
                    <a:ext uri="{FF2B5EF4-FFF2-40B4-BE49-F238E27FC236}">
                      <a16:creationId xmlns:a16="http://schemas.microsoft.com/office/drawing/2014/main" id="{D6DA0E0A-A52E-4E08-8F8B-9B7EA9ECD4C1}"/>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7" name="Freeform: Shape 695">
                  <a:extLst>
                    <a:ext uri="{FF2B5EF4-FFF2-40B4-BE49-F238E27FC236}">
                      <a16:creationId xmlns:a16="http://schemas.microsoft.com/office/drawing/2014/main" id="{D46D8B46-5EB2-4AFB-B842-E2D25BAA1B84}"/>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8" name="Freeform: Shape 696">
                  <a:extLst>
                    <a:ext uri="{FF2B5EF4-FFF2-40B4-BE49-F238E27FC236}">
                      <a16:creationId xmlns:a16="http://schemas.microsoft.com/office/drawing/2014/main" id="{063D1DC3-42EE-4D5E-9219-F2B3D5AA2BB0}"/>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9" name="Freeform: Shape 697">
                  <a:extLst>
                    <a:ext uri="{FF2B5EF4-FFF2-40B4-BE49-F238E27FC236}">
                      <a16:creationId xmlns:a16="http://schemas.microsoft.com/office/drawing/2014/main" id="{88BA0CC1-4D2D-46AD-925E-A89044247021}"/>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0" name="Freeform: Shape 698">
                  <a:extLst>
                    <a:ext uri="{FF2B5EF4-FFF2-40B4-BE49-F238E27FC236}">
                      <a16:creationId xmlns:a16="http://schemas.microsoft.com/office/drawing/2014/main" id="{FC9383D1-ED48-4DF1-B637-C22F7ABB820F}"/>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sp>
        <p:nvSpPr>
          <p:cNvPr id="916" name="Oval 915">
            <a:extLst>
              <a:ext uri="{FF2B5EF4-FFF2-40B4-BE49-F238E27FC236}">
                <a16:creationId xmlns:a16="http://schemas.microsoft.com/office/drawing/2014/main" id="{01AA6A3E-7117-478F-BC86-E043A4DB6E6C}"/>
              </a:ext>
            </a:extLst>
          </p:cNvPr>
          <p:cNvSpPr/>
          <p:nvPr/>
        </p:nvSpPr>
        <p:spPr bwMode="auto">
          <a:xfrm>
            <a:off x="1516726" y="3246925"/>
            <a:ext cx="561769" cy="561769"/>
          </a:xfrm>
          <a:prstGeom prst="ellipse">
            <a:avLst/>
          </a:prstGeom>
          <a:solidFill>
            <a:schemeClr val="tx1"/>
          </a:solidFill>
          <a:ln w="9525">
            <a:solidFill>
              <a:sysClr val="window" lastClr="FFFFFF"/>
            </a:solidFill>
            <a:miter lim="800000"/>
            <a:headEnd/>
            <a:tailEnd/>
          </a:ln>
          <a:effectLst/>
        </p:spPr>
        <p:txBody>
          <a:bodyPr lIns="108000" tIns="108000" rIns="108000" bIns="108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smtClean="0">
                <a:ln>
                  <a:noFill/>
                </a:ln>
                <a:solidFill>
                  <a:prstClr val="white"/>
                </a:solidFill>
                <a:effectLst/>
                <a:uLnTx/>
                <a:uFillTx/>
                <a:latin typeface="Arial" panose="020B0604020202020204"/>
                <a:ea typeface="Verdana" pitchFamily="34" charset="0"/>
                <a:cs typeface="Verdana" pitchFamily="34" charset="0"/>
              </a:rPr>
              <a:t>1</a:t>
            </a:r>
            <a:endParaRPr kumimoji="0" lang="en-US" b="1" i="0" u="none" strike="noStrike" kern="0" cap="none" spc="0" normalizeH="0" baseline="0" noProof="0" dirty="0">
              <a:ln>
                <a:noFill/>
              </a:ln>
              <a:solidFill>
                <a:prstClr val="white"/>
              </a:solidFill>
              <a:effectLst/>
              <a:uLnTx/>
              <a:uFillTx/>
              <a:latin typeface="Arial" panose="020B0604020202020204"/>
              <a:ea typeface="Verdana" pitchFamily="34" charset="0"/>
              <a:cs typeface="Verdana" pitchFamily="34" charset="0"/>
            </a:endParaRPr>
          </a:p>
        </p:txBody>
      </p:sp>
      <p:sp>
        <p:nvSpPr>
          <p:cNvPr id="917" name="Oval 916">
            <a:extLst>
              <a:ext uri="{FF2B5EF4-FFF2-40B4-BE49-F238E27FC236}">
                <a16:creationId xmlns:a16="http://schemas.microsoft.com/office/drawing/2014/main" id="{01AA6A3E-7117-478F-BC86-E043A4DB6E6C}"/>
              </a:ext>
            </a:extLst>
          </p:cNvPr>
          <p:cNvSpPr/>
          <p:nvPr/>
        </p:nvSpPr>
        <p:spPr bwMode="auto">
          <a:xfrm>
            <a:off x="5452665" y="3246924"/>
            <a:ext cx="561769" cy="561769"/>
          </a:xfrm>
          <a:prstGeom prst="ellipse">
            <a:avLst/>
          </a:prstGeom>
          <a:solidFill>
            <a:schemeClr val="tx1"/>
          </a:solidFill>
          <a:ln w="9525">
            <a:solidFill>
              <a:sysClr val="window" lastClr="FFFFFF"/>
            </a:solidFill>
            <a:miter lim="800000"/>
            <a:headEnd/>
            <a:tailEnd/>
          </a:ln>
          <a:effectLst/>
        </p:spPr>
        <p:txBody>
          <a:bodyPr lIns="108000" tIns="108000" rIns="108000" bIns="108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smtClean="0">
                <a:ln>
                  <a:noFill/>
                </a:ln>
                <a:solidFill>
                  <a:schemeClr val="bg1"/>
                </a:solidFill>
                <a:effectLst/>
                <a:uLnTx/>
                <a:uFillTx/>
                <a:latin typeface="Arial" panose="020B0604020202020204"/>
                <a:ea typeface="Verdana" pitchFamily="34" charset="0"/>
                <a:cs typeface="Verdana" pitchFamily="34" charset="0"/>
              </a:rPr>
              <a:t>2</a:t>
            </a:r>
            <a:endParaRPr kumimoji="0" lang="en-US" b="1" i="0" u="none" strike="noStrike" kern="0" cap="none" spc="0" normalizeH="0" baseline="0" noProof="0" dirty="0">
              <a:ln>
                <a:noFill/>
              </a:ln>
              <a:solidFill>
                <a:schemeClr val="bg1"/>
              </a:solidFill>
              <a:effectLst/>
              <a:uLnTx/>
              <a:uFillTx/>
              <a:latin typeface="Arial" panose="020B0604020202020204"/>
              <a:ea typeface="Verdana" pitchFamily="34" charset="0"/>
              <a:cs typeface="Verdana" pitchFamily="34" charset="0"/>
            </a:endParaRPr>
          </a:p>
        </p:txBody>
      </p:sp>
      <p:sp>
        <p:nvSpPr>
          <p:cNvPr id="918" name="Oval 917">
            <a:extLst>
              <a:ext uri="{FF2B5EF4-FFF2-40B4-BE49-F238E27FC236}">
                <a16:creationId xmlns:a16="http://schemas.microsoft.com/office/drawing/2014/main" id="{01AA6A3E-7117-478F-BC86-E043A4DB6E6C}"/>
              </a:ext>
            </a:extLst>
          </p:cNvPr>
          <p:cNvSpPr/>
          <p:nvPr/>
        </p:nvSpPr>
        <p:spPr bwMode="auto">
          <a:xfrm>
            <a:off x="9628244" y="3268750"/>
            <a:ext cx="561769" cy="561769"/>
          </a:xfrm>
          <a:prstGeom prst="ellipse">
            <a:avLst/>
          </a:prstGeom>
          <a:solidFill>
            <a:schemeClr val="tx1"/>
          </a:solidFill>
          <a:ln w="9525">
            <a:solidFill>
              <a:sysClr val="window" lastClr="FFFFFF"/>
            </a:solidFill>
            <a:miter lim="800000"/>
            <a:headEnd/>
            <a:tailEnd/>
          </a:ln>
          <a:effectLst/>
        </p:spPr>
        <p:txBody>
          <a:bodyPr lIns="108000" tIns="108000" rIns="108000" bIns="108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smtClean="0">
                <a:ln>
                  <a:noFill/>
                </a:ln>
                <a:solidFill>
                  <a:schemeClr val="bg1"/>
                </a:solidFill>
                <a:effectLst/>
                <a:uLnTx/>
                <a:uFillTx/>
                <a:latin typeface="Arial" panose="020B0604020202020204"/>
                <a:ea typeface="Verdana" pitchFamily="34" charset="0"/>
                <a:cs typeface="Verdana" pitchFamily="34" charset="0"/>
              </a:rPr>
              <a:t>3</a:t>
            </a:r>
            <a:endParaRPr kumimoji="0" lang="en-US" b="1" i="0" u="none" strike="noStrike" kern="0" cap="none" spc="0" normalizeH="0" baseline="0" noProof="0" dirty="0">
              <a:ln>
                <a:noFill/>
              </a:ln>
              <a:solidFill>
                <a:schemeClr val="bg1"/>
              </a:solidFill>
              <a:effectLst/>
              <a:uLnTx/>
              <a:uFillTx/>
              <a:latin typeface="Arial" panose="020B0604020202020204"/>
              <a:ea typeface="Verdana" pitchFamily="34" charset="0"/>
              <a:cs typeface="Verdana" pitchFamily="34" charset="0"/>
            </a:endParaRPr>
          </a:p>
        </p:txBody>
      </p:sp>
      <p:pic>
        <p:nvPicPr>
          <p:cNvPr id="915" name="Market Intelligence">
            <a:extLst>
              <a:ext uri="{FF2B5EF4-FFF2-40B4-BE49-F238E27FC236}">
                <a16:creationId xmlns:a16="http://schemas.microsoft.com/office/drawing/2014/main" id="{523ECEC0-A28B-4EF9-AF6C-D943549623D7}"/>
              </a:ext>
            </a:extLst>
          </p:cNvPr>
          <p:cNvPicPr>
            <a:picLocks noChangeAspect="1"/>
          </p:cNvPicPr>
          <p:nvPr/>
        </p:nvPicPr>
        <p:blipFill rotWithShape="1">
          <a:blip r:embed="rId6"/>
          <a:srcRect r="41273" b="42525"/>
          <a:stretch/>
        </p:blipFill>
        <p:spPr>
          <a:xfrm>
            <a:off x="8949404" y="694613"/>
            <a:ext cx="1961780" cy="692240"/>
          </a:xfrm>
          <a:prstGeom prst="rect">
            <a:avLst/>
          </a:prstGeom>
        </p:spPr>
      </p:pic>
      <p:pic>
        <p:nvPicPr>
          <p:cNvPr id="2" name="Audio 1">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1552238" y="6218238"/>
            <a:ext cx="487362" cy="487362"/>
          </a:xfrm>
          <a:prstGeom prst="rect">
            <a:avLst/>
          </a:prstGeom>
        </p:spPr>
      </p:pic>
    </p:spTree>
    <p:custDataLst>
      <p:tags r:id="rId1"/>
    </p:custDataLst>
    <p:extLst>
      <p:ext uri="{BB962C8B-B14F-4D97-AF65-F5344CB8AC3E}">
        <p14:creationId xmlns:p14="http://schemas.microsoft.com/office/powerpoint/2010/main" val="2440794309"/>
      </p:ext>
    </p:extLst>
  </p:cSld>
  <p:clrMapOvr>
    <a:masterClrMapping/>
  </p:clrMapOvr>
  <mc:AlternateContent xmlns:mc="http://schemas.openxmlformats.org/markup-compatibility/2006" xmlns:p14="http://schemas.microsoft.com/office/powerpoint/2010/main">
    <mc:Choice Requires="p14">
      <p:transition spd="slow" p14:dur="2000" advTm="10729"/>
    </mc:Choice>
    <mc:Fallback xmlns="">
      <p:transition spd="slow" advTm="1072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9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2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9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7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3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9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9"/>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915"/>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40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39" fill="hold" display="0">
                  <p:stCondLst>
                    <p:cond delay="indefinite"/>
                  </p:stCondLst>
                  <p:endCondLst>
                    <p:cond evt="onStopAudio" delay="0">
                      <p:tgtEl>
                        <p:sldTgt/>
                      </p:tgtEl>
                    </p:cond>
                  </p:endCondLst>
                </p:cTn>
                <p:tgtEl>
                  <p:spTgt spid="2"/>
                </p:tgtEl>
              </p:cMediaNode>
            </p:audio>
          </p:childTnLst>
        </p:cTn>
      </p:par>
    </p:tnLst>
    <p:bldLst>
      <p:bldP spid="6" grpId="0"/>
      <p:bldP spid="7" grpId="0"/>
      <p:bldP spid="19" grpId="0"/>
      <p:bldP spid="5" grpId="0" animBg="1"/>
      <p:bldP spid="398" grpId="0" animBg="1"/>
      <p:bldP spid="399" grpId="0" animBg="1"/>
      <p:bldP spid="400" grpId="0" animBg="1"/>
      <p:bldP spid="529" grpId="0" animBg="1"/>
      <p:bldP spid="530"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C63C8F31-85BB-3446-8845-A8E582F67F69}"/>
              </a:ext>
            </a:extLst>
          </p:cNvPr>
          <p:cNvGrpSpPr/>
          <p:nvPr/>
        </p:nvGrpSpPr>
        <p:grpSpPr>
          <a:xfrm>
            <a:off x="8514570" y="2374829"/>
            <a:ext cx="1327759" cy="1139869"/>
            <a:chOff x="5070789" y="1939282"/>
            <a:chExt cx="1327759" cy="1139869"/>
          </a:xfrm>
        </p:grpSpPr>
        <p:sp>
          <p:nvSpPr>
            <p:cNvPr id="16" name="Hexagon 15">
              <a:extLst>
                <a:ext uri="{FF2B5EF4-FFF2-40B4-BE49-F238E27FC236}">
                  <a16:creationId xmlns:a16="http://schemas.microsoft.com/office/drawing/2014/main" id="{2AFF78F1-47D2-1745-8795-EF255C8EA5A1}"/>
                </a:ext>
              </a:extLst>
            </p:cNvPr>
            <p:cNvSpPr/>
            <p:nvPr/>
          </p:nvSpPr>
          <p:spPr>
            <a:xfrm>
              <a:off x="5070789" y="1939282"/>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Oval 16">
              <a:extLst>
                <a:ext uri="{FF2B5EF4-FFF2-40B4-BE49-F238E27FC236}">
                  <a16:creationId xmlns:a16="http://schemas.microsoft.com/office/drawing/2014/main" id="{CDC8B414-8CF1-F046-A3F5-CBB83DAFDEE0}"/>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1" name="Group 10">
            <a:extLst>
              <a:ext uri="{FF2B5EF4-FFF2-40B4-BE49-F238E27FC236}">
                <a16:creationId xmlns:a16="http://schemas.microsoft.com/office/drawing/2014/main" id="{4621E9BC-85CC-B845-B9AC-A5381FA702EB}"/>
              </a:ext>
            </a:extLst>
          </p:cNvPr>
          <p:cNvGrpSpPr/>
          <p:nvPr/>
        </p:nvGrpSpPr>
        <p:grpSpPr>
          <a:xfrm>
            <a:off x="4929066" y="2442148"/>
            <a:ext cx="1327759" cy="1139869"/>
            <a:chOff x="5060515" y="1929008"/>
            <a:chExt cx="1327759" cy="1139869"/>
          </a:xfrm>
        </p:grpSpPr>
        <p:sp>
          <p:nvSpPr>
            <p:cNvPr id="9" name="Hexagon 8">
              <a:extLst>
                <a:ext uri="{FF2B5EF4-FFF2-40B4-BE49-F238E27FC236}">
                  <a16:creationId xmlns:a16="http://schemas.microsoft.com/office/drawing/2014/main" id="{54D738F2-39C0-3B48-B7C8-EBAC492968BA}"/>
                </a:ext>
              </a:extLst>
            </p:cNvPr>
            <p:cNvSpPr/>
            <p:nvPr/>
          </p:nvSpPr>
          <p:spPr>
            <a:xfrm>
              <a:off x="5060515" y="1929008"/>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Oval 9">
              <a:extLst>
                <a:ext uri="{FF2B5EF4-FFF2-40B4-BE49-F238E27FC236}">
                  <a16:creationId xmlns:a16="http://schemas.microsoft.com/office/drawing/2014/main" id="{86F49C9F-78E8-1D4C-8236-A50B12136739}"/>
                </a:ext>
              </a:extLst>
            </p:cNvPr>
            <p:cNvSpPr/>
            <p:nvPr/>
          </p:nvSpPr>
          <p:spPr>
            <a:xfrm>
              <a:off x="5262582" y="2010475"/>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8" name="Group 17">
            <a:extLst>
              <a:ext uri="{FF2B5EF4-FFF2-40B4-BE49-F238E27FC236}">
                <a16:creationId xmlns:a16="http://schemas.microsoft.com/office/drawing/2014/main" id="{26D3A469-AE19-1C47-851C-D17BEE7FAE43}"/>
              </a:ext>
            </a:extLst>
          </p:cNvPr>
          <p:cNvGrpSpPr/>
          <p:nvPr/>
        </p:nvGrpSpPr>
        <p:grpSpPr>
          <a:xfrm>
            <a:off x="7718706" y="4613914"/>
            <a:ext cx="1327759" cy="1139869"/>
            <a:chOff x="5060515" y="1939282"/>
            <a:chExt cx="1327759" cy="1139869"/>
          </a:xfrm>
        </p:grpSpPr>
        <p:sp>
          <p:nvSpPr>
            <p:cNvPr id="19" name="Hexagon 18">
              <a:extLst>
                <a:ext uri="{FF2B5EF4-FFF2-40B4-BE49-F238E27FC236}">
                  <a16:creationId xmlns:a16="http://schemas.microsoft.com/office/drawing/2014/main" id="{9B687A28-7D32-FE4B-9FEB-8481249DC8EC}"/>
                </a:ext>
              </a:extLst>
            </p:cNvPr>
            <p:cNvSpPr/>
            <p:nvPr/>
          </p:nvSpPr>
          <p:spPr>
            <a:xfrm>
              <a:off x="5060515" y="1939282"/>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Oval 19">
              <a:extLst>
                <a:ext uri="{FF2B5EF4-FFF2-40B4-BE49-F238E27FC236}">
                  <a16:creationId xmlns:a16="http://schemas.microsoft.com/office/drawing/2014/main" id="{B118CCAE-D1BC-0F4F-9387-22DDE9ECCC0D}"/>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1" name="Group 20">
            <a:extLst>
              <a:ext uri="{FF2B5EF4-FFF2-40B4-BE49-F238E27FC236}">
                <a16:creationId xmlns:a16="http://schemas.microsoft.com/office/drawing/2014/main" id="{86E49845-A2DA-9D49-8F9F-44A0F7359921}"/>
              </a:ext>
            </a:extLst>
          </p:cNvPr>
          <p:cNvGrpSpPr/>
          <p:nvPr/>
        </p:nvGrpSpPr>
        <p:grpSpPr>
          <a:xfrm>
            <a:off x="2969225" y="2443527"/>
            <a:ext cx="1327759" cy="1139869"/>
            <a:chOff x="5010366" y="1927787"/>
            <a:chExt cx="1327759" cy="1139869"/>
          </a:xfrm>
        </p:grpSpPr>
        <p:sp>
          <p:nvSpPr>
            <p:cNvPr id="22" name="Hexagon 21">
              <a:extLst>
                <a:ext uri="{FF2B5EF4-FFF2-40B4-BE49-F238E27FC236}">
                  <a16:creationId xmlns:a16="http://schemas.microsoft.com/office/drawing/2014/main" id="{195A3C94-A09A-9A43-A33D-EAF640E19FD8}"/>
                </a:ext>
              </a:extLst>
            </p:cNvPr>
            <p:cNvSpPr/>
            <p:nvPr/>
          </p:nvSpPr>
          <p:spPr>
            <a:xfrm>
              <a:off x="5010366" y="1927787"/>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 name="Oval 22">
              <a:extLst>
                <a:ext uri="{FF2B5EF4-FFF2-40B4-BE49-F238E27FC236}">
                  <a16:creationId xmlns:a16="http://schemas.microsoft.com/office/drawing/2014/main" id="{5AFFF815-69A3-F247-B5B7-EA3FFB6E2BB6}"/>
                </a:ext>
              </a:extLst>
            </p:cNvPr>
            <p:cNvSpPr/>
            <p:nvPr/>
          </p:nvSpPr>
          <p:spPr>
            <a:xfrm>
              <a:off x="5232362" y="2006415"/>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4" name="Group 23">
            <a:extLst>
              <a:ext uri="{FF2B5EF4-FFF2-40B4-BE49-F238E27FC236}">
                <a16:creationId xmlns:a16="http://schemas.microsoft.com/office/drawing/2014/main" id="{487AC486-5D27-AC43-82F2-C222EBCCC885}"/>
              </a:ext>
            </a:extLst>
          </p:cNvPr>
          <p:cNvGrpSpPr/>
          <p:nvPr/>
        </p:nvGrpSpPr>
        <p:grpSpPr>
          <a:xfrm>
            <a:off x="6698715" y="1640811"/>
            <a:ext cx="1327759" cy="1139869"/>
            <a:chOff x="5060515" y="1929008"/>
            <a:chExt cx="1327759" cy="1139869"/>
          </a:xfrm>
        </p:grpSpPr>
        <p:sp>
          <p:nvSpPr>
            <p:cNvPr id="25" name="Hexagon 24">
              <a:extLst>
                <a:ext uri="{FF2B5EF4-FFF2-40B4-BE49-F238E27FC236}">
                  <a16:creationId xmlns:a16="http://schemas.microsoft.com/office/drawing/2014/main" id="{1EC9AD10-8440-E94E-9B1A-51420D3844D0}"/>
                </a:ext>
              </a:extLst>
            </p:cNvPr>
            <p:cNvSpPr/>
            <p:nvPr/>
          </p:nvSpPr>
          <p:spPr>
            <a:xfrm>
              <a:off x="5060515" y="1929008"/>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Oval 25">
              <a:extLst>
                <a:ext uri="{FF2B5EF4-FFF2-40B4-BE49-F238E27FC236}">
                  <a16:creationId xmlns:a16="http://schemas.microsoft.com/office/drawing/2014/main" id="{E377C240-47AF-3048-886D-C98E62035EE2}"/>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8" name="Group 27">
            <a:extLst>
              <a:ext uri="{FF2B5EF4-FFF2-40B4-BE49-F238E27FC236}">
                <a16:creationId xmlns:a16="http://schemas.microsoft.com/office/drawing/2014/main" id="{B9050A09-0B2C-054B-BA71-73B459FDD087}"/>
              </a:ext>
            </a:extLst>
          </p:cNvPr>
          <p:cNvGrpSpPr/>
          <p:nvPr/>
        </p:nvGrpSpPr>
        <p:grpSpPr>
          <a:xfrm>
            <a:off x="3004812" y="4384902"/>
            <a:ext cx="1327759" cy="1139869"/>
            <a:chOff x="5060515" y="1929008"/>
            <a:chExt cx="1327759" cy="1139869"/>
          </a:xfrm>
        </p:grpSpPr>
        <p:sp>
          <p:nvSpPr>
            <p:cNvPr id="29" name="Hexagon 28">
              <a:extLst>
                <a:ext uri="{FF2B5EF4-FFF2-40B4-BE49-F238E27FC236}">
                  <a16:creationId xmlns:a16="http://schemas.microsoft.com/office/drawing/2014/main" id="{B4066B57-4C2B-2E4E-9388-2977853856D2}"/>
                </a:ext>
              </a:extLst>
            </p:cNvPr>
            <p:cNvSpPr/>
            <p:nvPr/>
          </p:nvSpPr>
          <p:spPr>
            <a:xfrm>
              <a:off x="5060515" y="1929008"/>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 name="Oval 29">
              <a:extLst>
                <a:ext uri="{FF2B5EF4-FFF2-40B4-BE49-F238E27FC236}">
                  <a16:creationId xmlns:a16="http://schemas.microsoft.com/office/drawing/2014/main" id="{DB6D6C69-3214-A446-B585-B62CF8DA7BDC}"/>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1" name="Group 30">
            <a:extLst>
              <a:ext uri="{FF2B5EF4-FFF2-40B4-BE49-F238E27FC236}">
                <a16:creationId xmlns:a16="http://schemas.microsoft.com/office/drawing/2014/main" id="{49875E6E-9082-2041-A25D-372D568E6156}"/>
              </a:ext>
            </a:extLst>
          </p:cNvPr>
          <p:cNvGrpSpPr/>
          <p:nvPr/>
        </p:nvGrpSpPr>
        <p:grpSpPr>
          <a:xfrm>
            <a:off x="9083712" y="4620482"/>
            <a:ext cx="1327759" cy="1139869"/>
            <a:chOff x="5060515" y="1929008"/>
            <a:chExt cx="1327759" cy="1139869"/>
          </a:xfrm>
        </p:grpSpPr>
        <p:sp>
          <p:nvSpPr>
            <p:cNvPr id="32" name="Hexagon 31">
              <a:extLst>
                <a:ext uri="{FF2B5EF4-FFF2-40B4-BE49-F238E27FC236}">
                  <a16:creationId xmlns:a16="http://schemas.microsoft.com/office/drawing/2014/main" id="{716FA66D-35FF-6244-8C11-7BE53FA919B5}"/>
                </a:ext>
              </a:extLst>
            </p:cNvPr>
            <p:cNvSpPr/>
            <p:nvPr/>
          </p:nvSpPr>
          <p:spPr>
            <a:xfrm>
              <a:off x="5060515" y="1929008"/>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Oval 32">
              <a:extLst>
                <a:ext uri="{FF2B5EF4-FFF2-40B4-BE49-F238E27FC236}">
                  <a16:creationId xmlns:a16="http://schemas.microsoft.com/office/drawing/2014/main" id="{76DFA617-DCA3-6248-B13B-7E32E5A9E82E}"/>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pic>
        <p:nvPicPr>
          <p:cNvPr id="40"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3288363" y="2596639"/>
            <a:ext cx="746044" cy="746044"/>
          </a:xfrm>
          <a:prstGeom prst="rect">
            <a:avLst/>
          </a:prstGeom>
        </p:spPr>
      </p:pic>
      <p:pic>
        <p:nvPicPr>
          <p:cNvPr id="58" name="Graphic 57" descr="Infinity">
            <a:extLst>
              <a:ext uri="{FF2B5EF4-FFF2-40B4-BE49-F238E27FC236}">
                <a16:creationId xmlns:a16="http://schemas.microsoft.com/office/drawing/2014/main" id="{C354EB3E-86C1-4146-B3E4-48A9530BAD6D}"/>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a:off x="5171196" y="2604939"/>
            <a:ext cx="802660" cy="802660"/>
          </a:xfrm>
          <a:prstGeom prst="rect">
            <a:avLst/>
          </a:prstGeom>
        </p:spPr>
      </p:pic>
      <p:pic>
        <p:nvPicPr>
          <p:cNvPr id="64" name="Graphic 63" descr="Business Growth">
            <a:extLst>
              <a:ext uri="{FF2B5EF4-FFF2-40B4-BE49-F238E27FC236}">
                <a16:creationId xmlns:a16="http://schemas.microsoft.com/office/drawing/2014/main" id="{55D64434-D27D-AC40-8C7D-FF18E87B5F18}"/>
              </a:ext>
            </a:extLst>
          </p:cNvPr>
          <p:cNvPicPr>
            <a:picLocks noChangeAspect="1"/>
          </p:cNvPicPr>
          <p:nvPr/>
        </p:nvPicPr>
        <p:blipFill>
          <a:blip r:embed="rId10">
            <a:extLst>
              <a:ext uri="{96DAC541-7B7A-43D3-8B79-37D633B846F1}">
                <asvg:svgBlip xmlns:asvg="http://schemas.microsoft.com/office/drawing/2016/SVG/main" xmlns="" r:embed="rId11"/>
              </a:ext>
            </a:extLst>
          </a:blip>
          <a:stretch>
            <a:fillRect/>
          </a:stretch>
        </p:blipFill>
        <p:spPr>
          <a:xfrm>
            <a:off x="8877054" y="2638919"/>
            <a:ext cx="737554" cy="737554"/>
          </a:xfrm>
          <a:prstGeom prst="rect">
            <a:avLst/>
          </a:prstGeom>
        </p:spPr>
      </p:pic>
      <p:pic>
        <p:nvPicPr>
          <p:cNvPr id="68" name="Graphic 67" descr="Classroom">
            <a:extLst>
              <a:ext uri="{FF2B5EF4-FFF2-40B4-BE49-F238E27FC236}">
                <a16:creationId xmlns:a16="http://schemas.microsoft.com/office/drawing/2014/main" id="{BF56240F-A3BE-DB47-AB75-30641CF911DD}"/>
              </a:ext>
            </a:extLst>
          </p:cNvPr>
          <p:cNvPicPr>
            <a:picLocks noChangeAspect="1"/>
          </p:cNvPicPr>
          <p:nvPr/>
        </p:nvPicPr>
        <p:blipFill>
          <a:blip r:embed="rId12">
            <a:extLst>
              <a:ext uri="{96DAC541-7B7A-43D3-8B79-37D633B846F1}">
                <asvg:svgBlip xmlns:asvg="http://schemas.microsoft.com/office/drawing/2016/SVG/main" xmlns="" r:embed="rId13"/>
              </a:ext>
            </a:extLst>
          </a:blip>
          <a:stretch>
            <a:fillRect/>
          </a:stretch>
        </p:blipFill>
        <p:spPr>
          <a:xfrm>
            <a:off x="3311104" y="4589053"/>
            <a:ext cx="746044" cy="746044"/>
          </a:xfrm>
          <a:prstGeom prst="rect">
            <a:avLst/>
          </a:prstGeom>
        </p:spPr>
      </p:pic>
      <p:pic>
        <p:nvPicPr>
          <p:cNvPr id="75" name="Graphic 74" descr="Marketing">
            <a:extLst>
              <a:ext uri="{FF2B5EF4-FFF2-40B4-BE49-F238E27FC236}">
                <a16:creationId xmlns:a16="http://schemas.microsoft.com/office/drawing/2014/main" id="{8D4D1845-43F3-A342-801E-C809DE65D241}"/>
              </a:ext>
            </a:extLst>
          </p:cNvPr>
          <p:cNvPicPr>
            <a:picLocks noChangeAspect="1"/>
          </p:cNvPicPr>
          <p:nvPr/>
        </p:nvPicPr>
        <p:blipFill>
          <a:blip r:embed="rId14">
            <a:extLst>
              <a:ext uri="{96DAC541-7B7A-43D3-8B79-37D633B846F1}">
                <asvg:svgBlip xmlns:asvg="http://schemas.microsoft.com/office/drawing/2016/SVG/main" xmlns="" r:embed="rId15"/>
              </a:ext>
            </a:extLst>
          </a:blip>
          <a:stretch>
            <a:fillRect/>
          </a:stretch>
        </p:blipFill>
        <p:spPr>
          <a:xfrm>
            <a:off x="8107603" y="4845620"/>
            <a:ext cx="676431" cy="676431"/>
          </a:xfrm>
          <a:prstGeom prst="rect">
            <a:avLst/>
          </a:prstGeom>
        </p:spPr>
      </p:pic>
      <p:sp>
        <p:nvSpPr>
          <p:cNvPr id="96" name="Title 1">
            <a:extLst>
              <a:ext uri="{FF2B5EF4-FFF2-40B4-BE49-F238E27FC236}">
                <a16:creationId xmlns:a16="http://schemas.microsoft.com/office/drawing/2014/main" id="{329AE9FC-EBF0-E24A-9A83-3F46B45EB9D6}"/>
              </a:ext>
            </a:extLst>
          </p:cNvPr>
          <p:cNvSpPr>
            <a:spLocks noGrp="1"/>
          </p:cNvSpPr>
          <p:nvPr>
            <p:ph type="title"/>
          </p:nvPr>
        </p:nvSpPr>
        <p:spPr>
          <a:xfrm>
            <a:off x="0" y="-149325"/>
            <a:ext cx="11824313" cy="1325563"/>
          </a:xfrm>
        </p:spPr>
        <p:txBody>
          <a:bodyPr>
            <a:normAutofit/>
          </a:bodyPr>
          <a:lstStyle/>
          <a:p>
            <a:r>
              <a:rPr lang="en-US" sz="2800" b="1" dirty="0" smtClean="0">
                <a:latin typeface="Arial" panose="020B0604020202020204" pitchFamily="34" charset="0"/>
                <a:ea typeface="Optimist" panose="020B0603020204030204" pitchFamily="34" charset="77"/>
                <a:cs typeface="Arial" panose="020B0604020202020204" pitchFamily="34" charset="0"/>
              </a:rPr>
              <a:t>The components work together to form a flywheel for driving to self-sufficient, YBYO teams…</a:t>
            </a:r>
            <a:endParaRPr lang="en-US" sz="2800" b="1" dirty="0">
              <a:latin typeface="Arial" panose="020B0604020202020204" pitchFamily="34" charset="0"/>
              <a:ea typeface="Optimist" panose="020B0603020204030204" pitchFamily="34" charset="77"/>
              <a:cs typeface="Arial" panose="020B0604020202020204" pitchFamily="34" charset="0"/>
            </a:endParaRPr>
          </a:p>
        </p:txBody>
      </p:sp>
      <p:pic>
        <p:nvPicPr>
          <p:cNvPr id="98" name="Graphic 97" descr="Group">
            <a:extLst>
              <a:ext uri="{FF2B5EF4-FFF2-40B4-BE49-F238E27FC236}">
                <a16:creationId xmlns:a16="http://schemas.microsoft.com/office/drawing/2014/main" id="{8A7059D7-B129-1E41-9897-43233F1C639E}"/>
              </a:ext>
            </a:extLst>
          </p:cNvPr>
          <p:cNvPicPr>
            <a:picLocks noChangeAspect="1"/>
          </p:cNvPicPr>
          <p:nvPr/>
        </p:nvPicPr>
        <p:blipFill>
          <a:blip r:embed="rId16">
            <a:extLst>
              <a:ext uri="{96DAC541-7B7A-43D3-8B79-37D633B846F1}">
                <asvg:svgBlip xmlns:asvg="http://schemas.microsoft.com/office/drawing/2016/SVG/main" xmlns="" r:embed="rId17"/>
              </a:ext>
            </a:extLst>
          </a:blip>
          <a:stretch>
            <a:fillRect/>
          </a:stretch>
        </p:blipFill>
        <p:spPr>
          <a:xfrm>
            <a:off x="9602319" y="5026614"/>
            <a:ext cx="589001" cy="589001"/>
          </a:xfrm>
          <a:prstGeom prst="rect">
            <a:avLst/>
          </a:prstGeom>
        </p:spPr>
      </p:pic>
      <p:pic>
        <p:nvPicPr>
          <p:cNvPr id="100" name="Graphic 99" descr="Deciduous tree">
            <a:extLst>
              <a:ext uri="{FF2B5EF4-FFF2-40B4-BE49-F238E27FC236}">
                <a16:creationId xmlns:a16="http://schemas.microsoft.com/office/drawing/2014/main" id="{9819F59A-89A2-CD4D-BAEB-BF00779C9851}"/>
              </a:ext>
            </a:extLst>
          </p:cNvPr>
          <p:cNvPicPr>
            <a:picLocks noChangeAspect="1"/>
          </p:cNvPicPr>
          <p:nvPr/>
        </p:nvPicPr>
        <p:blipFill>
          <a:blip r:embed="rId18">
            <a:extLst>
              <a:ext uri="{96DAC541-7B7A-43D3-8B79-37D633B846F1}">
                <asvg:svgBlip xmlns:asvg="http://schemas.microsoft.com/office/drawing/2016/SVG/main" xmlns="" r:embed="rId19"/>
              </a:ext>
            </a:extLst>
          </a:blip>
          <a:stretch>
            <a:fillRect/>
          </a:stretch>
        </p:blipFill>
        <p:spPr>
          <a:xfrm>
            <a:off x="9373607" y="4797446"/>
            <a:ext cx="523213" cy="523213"/>
          </a:xfrm>
          <a:prstGeom prst="rect">
            <a:avLst/>
          </a:prstGeom>
        </p:spPr>
      </p:pic>
      <p:pic>
        <p:nvPicPr>
          <p:cNvPr id="46" name="Graphic 45" descr="Drawing compass">
            <a:extLst>
              <a:ext uri="{FF2B5EF4-FFF2-40B4-BE49-F238E27FC236}">
                <a16:creationId xmlns:a16="http://schemas.microsoft.com/office/drawing/2014/main" id="{6055AD77-A1A0-DB4F-9814-E9621830733C}"/>
              </a:ext>
            </a:extLst>
          </p:cNvPr>
          <p:cNvPicPr>
            <a:picLocks noChangeAspect="1"/>
          </p:cNvPicPr>
          <p:nvPr/>
        </p:nvPicPr>
        <p:blipFill>
          <a:blip r:embed="rId20">
            <a:extLst>
              <a:ext uri="{96DAC541-7B7A-43D3-8B79-37D633B846F1}">
                <asvg:svgBlip xmlns:asvg="http://schemas.microsoft.com/office/drawing/2016/SVG/main" xmlns="" r:embed="rId21"/>
              </a:ext>
            </a:extLst>
          </a:blip>
          <a:stretch>
            <a:fillRect/>
          </a:stretch>
        </p:blipFill>
        <p:spPr>
          <a:xfrm>
            <a:off x="6981447" y="1842115"/>
            <a:ext cx="737259" cy="737259"/>
          </a:xfrm>
          <a:prstGeom prst="rect">
            <a:avLst/>
          </a:prstGeom>
        </p:spPr>
      </p:pic>
      <p:sp>
        <p:nvSpPr>
          <p:cNvPr id="2" name="TextBox 1"/>
          <p:cNvSpPr txBox="1"/>
          <p:nvPr/>
        </p:nvSpPr>
        <p:spPr>
          <a:xfrm>
            <a:off x="2396202" y="1606494"/>
            <a:ext cx="2085339" cy="830997"/>
          </a:xfrm>
          <a:prstGeom prst="rect">
            <a:avLst/>
          </a:prstGeom>
          <a:noFill/>
        </p:spPr>
        <p:txBody>
          <a:bodyPr wrap="square" rtlCol="0">
            <a:spAutoFit/>
          </a:bodyPr>
          <a:lstStyle/>
          <a:p>
            <a:pPr algn="ctr"/>
            <a:r>
              <a:rPr lang="en-US" sz="1600" dirty="0" smtClean="0"/>
              <a:t>Cross-functional </a:t>
            </a:r>
            <a:r>
              <a:rPr lang="en-US" sz="1600" dirty="0" smtClean="0"/>
              <a:t>DevOps Team is Formed</a:t>
            </a:r>
            <a:endParaRPr lang="en-US" sz="1600" dirty="0"/>
          </a:p>
        </p:txBody>
      </p:sp>
      <p:sp>
        <p:nvSpPr>
          <p:cNvPr id="53" name="TextBox 52"/>
          <p:cNvSpPr txBox="1"/>
          <p:nvPr/>
        </p:nvSpPr>
        <p:spPr>
          <a:xfrm>
            <a:off x="1524523" y="5641241"/>
            <a:ext cx="2287692" cy="830997"/>
          </a:xfrm>
          <a:prstGeom prst="rect">
            <a:avLst/>
          </a:prstGeom>
          <a:noFill/>
        </p:spPr>
        <p:txBody>
          <a:bodyPr wrap="square" rtlCol="0">
            <a:spAutoFit/>
          </a:bodyPr>
          <a:lstStyle/>
          <a:p>
            <a:pPr algn="ctr"/>
            <a:r>
              <a:rPr lang="en-US" sz="1600" dirty="0" smtClean="0"/>
              <a:t>Accesses Resources &amp; Get Support From Competency Center</a:t>
            </a:r>
            <a:endParaRPr lang="en-US" sz="1600" dirty="0"/>
          </a:p>
        </p:txBody>
      </p:sp>
      <p:sp>
        <p:nvSpPr>
          <p:cNvPr id="54" name="TextBox 53"/>
          <p:cNvSpPr txBox="1"/>
          <p:nvPr/>
        </p:nvSpPr>
        <p:spPr>
          <a:xfrm>
            <a:off x="6511921" y="2739698"/>
            <a:ext cx="1695012" cy="830997"/>
          </a:xfrm>
          <a:prstGeom prst="rect">
            <a:avLst/>
          </a:prstGeom>
          <a:noFill/>
        </p:spPr>
        <p:txBody>
          <a:bodyPr wrap="square" rtlCol="0">
            <a:spAutoFit/>
          </a:bodyPr>
          <a:lstStyle/>
          <a:p>
            <a:pPr algn="ctr"/>
            <a:r>
              <a:rPr lang="en-US" sz="1600" dirty="0" smtClean="0"/>
              <a:t>App is deployed to and operated on platform</a:t>
            </a:r>
            <a:endParaRPr lang="en-US" sz="1600" dirty="0"/>
          </a:p>
        </p:txBody>
      </p:sp>
      <p:sp>
        <p:nvSpPr>
          <p:cNvPr id="63" name="TextBox 62"/>
          <p:cNvSpPr txBox="1"/>
          <p:nvPr/>
        </p:nvSpPr>
        <p:spPr>
          <a:xfrm>
            <a:off x="4543817" y="3759592"/>
            <a:ext cx="1955452" cy="830997"/>
          </a:xfrm>
          <a:prstGeom prst="rect">
            <a:avLst/>
          </a:prstGeom>
          <a:noFill/>
        </p:spPr>
        <p:txBody>
          <a:bodyPr wrap="square" rtlCol="0">
            <a:spAutoFit/>
          </a:bodyPr>
          <a:lstStyle/>
          <a:p>
            <a:pPr algn="ctr"/>
            <a:r>
              <a:rPr lang="en-US" sz="1600" dirty="0" smtClean="0"/>
              <a:t>Develop using Agile, TDD, CI/CD,</a:t>
            </a:r>
          </a:p>
          <a:p>
            <a:pPr algn="ctr"/>
            <a:r>
              <a:rPr lang="en-US" sz="1600" dirty="0" smtClean="0"/>
              <a:t>practice</a:t>
            </a:r>
            <a:endParaRPr lang="en-US" sz="1600" dirty="0"/>
          </a:p>
        </p:txBody>
      </p:sp>
      <p:sp>
        <p:nvSpPr>
          <p:cNvPr id="65" name="TextBox 64"/>
          <p:cNvSpPr txBox="1"/>
          <p:nvPr/>
        </p:nvSpPr>
        <p:spPr>
          <a:xfrm>
            <a:off x="9333434" y="5714804"/>
            <a:ext cx="2625971" cy="830997"/>
          </a:xfrm>
          <a:prstGeom prst="rect">
            <a:avLst/>
          </a:prstGeom>
          <a:noFill/>
        </p:spPr>
        <p:txBody>
          <a:bodyPr wrap="square" rtlCol="0">
            <a:spAutoFit/>
          </a:bodyPr>
          <a:lstStyle/>
          <a:p>
            <a:pPr algn="ctr"/>
            <a:r>
              <a:rPr lang="en-US" sz="1600" dirty="0" smtClean="0"/>
              <a:t>Communicate, Demo &amp; Share Results &amp; Code</a:t>
            </a:r>
          </a:p>
          <a:p>
            <a:pPr algn="ctr"/>
            <a:r>
              <a:rPr lang="en-US" sz="1600" dirty="0" smtClean="0"/>
              <a:t>With Community</a:t>
            </a:r>
            <a:endParaRPr lang="en-US" sz="1600" dirty="0"/>
          </a:p>
        </p:txBody>
      </p:sp>
      <p:sp>
        <p:nvSpPr>
          <p:cNvPr id="66" name="TextBox 65"/>
          <p:cNvSpPr txBox="1"/>
          <p:nvPr/>
        </p:nvSpPr>
        <p:spPr>
          <a:xfrm>
            <a:off x="9463927" y="1848638"/>
            <a:ext cx="1546120" cy="830997"/>
          </a:xfrm>
          <a:prstGeom prst="rect">
            <a:avLst/>
          </a:prstGeom>
          <a:noFill/>
        </p:spPr>
        <p:txBody>
          <a:bodyPr wrap="square" rtlCol="0">
            <a:spAutoFit/>
          </a:bodyPr>
          <a:lstStyle/>
          <a:p>
            <a:pPr algn="ctr"/>
            <a:r>
              <a:rPr lang="en-US" sz="1600" dirty="0" smtClean="0"/>
              <a:t>Monitor &amp; Measure Results</a:t>
            </a:r>
          </a:p>
        </p:txBody>
      </p:sp>
      <p:sp>
        <p:nvSpPr>
          <p:cNvPr id="80" name="TextBox 79"/>
          <p:cNvSpPr txBox="1"/>
          <p:nvPr/>
        </p:nvSpPr>
        <p:spPr>
          <a:xfrm>
            <a:off x="1062098" y="3205476"/>
            <a:ext cx="2226265" cy="830997"/>
          </a:xfrm>
          <a:prstGeom prst="rect">
            <a:avLst/>
          </a:prstGeom>
          <a:noFill/>
        </p:spPr>
        <p:txBody>
          <a:bodyPr wrap="square" rtlCol="0">
            <a:spAutoFit/>
          </a:bodyPr>
          <a:lstStyle/>
          <a:p>
            <a:pPr algn="ctr"/>
            <a:r>
              <a:rPr lang="en-US" sz="1600" dirty="0" smtClean="0"/>
              <a:t>Self-service to on-demand codified resources &amp; references</a:t>
            </a:r>
            <a:endParaRPr lang="en-US" sz="1600" dirty="0"/>
          </a:p>
        </p:txBody>
      </p:sp>
      <p:cxnSp>
        <p:nvCxnSpPr>
          <p:cNvPr id="14" name="Straight Arrow Connector 13"/>
          <p:cNvCxnSpPr>
            <a:stCxn id="22" idx="0"/>
            <a:endCxn id="9" idx="3"/>
          </p:cNvCxnSpPr>
          <p:nvPr/>
        </p:nvCxnSpPr>
        <p:spPr>
          <a:xfrm flipV="1">
            <a:off x="4296984" y="3012083"/>
            <a:ext cx="632082" cy="137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2" name="Curved Connector 91"/>
          <p:cNvCxnSpPr>
            <a:stCxn id="16" idx="2"/>
            <a:endCxn id="9" idx="1"/>
          </p:cNvCxnSpPr>
          <p:nvPr/>
        </p:nvCxnSpPr>
        <p:spPr>
          <a:xfrm rot="5400000">
            <a:off x="7352039" y="2134518"/>
            <a:ext cx="67319" cy="2827679"/>
          </a:xfrm>
          <a:prstGeom prst="curvedConnector3">
            <a:avLst>
              <a:gd name="adj1" fmla="val 87617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Curved Connector 38"/>
          <p:cNvCxnSpPr>
            <a:stCxn id="9" idx="4"/>
          </p:cNvCxnSpPr>
          <p:nvPr/>
        </p:nvCxnSpPr>
        <p:spPr>
          <a:xfrm rot="5400000" flipH="1" flipV="1">
            <a:off x="5762829" y="1293320"/>
            <a:ext cx="600033" cy="1697625"/>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Curved Connector 42"/>
          <p:cNvCxnSpPr>
            <a:endCxn id="16" idx="5"/>
          </p:cNvCxnSpPr>
          <p:nvPr/>
        </p:nvCxnSpPr>
        <p:spPr>
          <a:xfrm>
            <a:off x="7860693" y="1795238"/>
            <a:ext cx="1696669" cy="579591"/>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Curved Connector 75"/>
          <p:cNvCxnSpPr>
            <a:stCxn id="16" idx="0"/>
            <a:endCxn id="32" idx="0"/>
          </p:cNvCxnSpPr>
          <p:nvPr/>
        </p:nvCxnSpPr>
        <p:spPr>
          <a:xfrm>
            <a:off x="9842329" y="2944764"/>
            <a:ext cx="569142" cy="2245653"/>
          </a:xfrm>
          <a:prstGeom prst="curvedConnector3">
            <a:avLst>
              <a:gd name="adj1" fmla="val 140166"/>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7" name="Curved Connector 66"/>
          <p:cNvCxnSpPr>
            <a:stCxn id="32" idx="3"/>
            <a:endCxn id="29" idx="1"/>
          </p:cNvCxnSpPr>
          <p:nvPr/>
        </p:nvCxnSpPr>
        <p:spPr>
          <a:xfrm rot="10800000" flipV="1">
            <a:off x="4047604" y="5190417"/>
            <a:ext cx="5036108" cy="334354"/>
          </a:xfrm>
          <a:prstGeom prst="curvedConnector4">
            <a:avLst>
              <a:gd name="adj1" fmla="val 50"/>
              <a:gd name="adj2" fmla="val 32022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a:off x="3705898" y="3582017"/>
            <a:ext cx="0" cy="802885"/>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a:endCxn id="9" idx="2"/>
          </p:cNvCxnSpPr>
          <p:nvPr/>
        </p:nvCxnSpPr>
        <p:spPr>
          <a:xfrm flipV="1">
            <a:off x="3812215" y="3582017"/>
            <a:ext cx="1401818" cy="7836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 name="Curved Connector 5"/>
          <p:cNvCxnSpPr>
            <a:endCxn id="16" idx="4"/>
          </p:cNvCxnSpPr>
          <p:nvPr/>
        </p:nvCxnSpPr>
        <p:spPr>
          <a:xfrm flipV="1">
            <a:off x="3812215" y="2374829"/>
            <a:ext cx="4987322" cy="77407"/>
          </a:xfrm>
          <a:prstGeom prst="curvedConnector4">
            <a:avLst>
              <a:gd name="adj1" fmla="val 19002"/>
              <a:gd name="adj2" fmla="val 1713970"/>
            </a:avLst>
          </a:prstGeom>
          <a:ln>
            <a:tailEnd type="triangle"/>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5560950" y="4126354"/>
            <a:ext cx="2046148" cy="584775"/>
          </a:xfrm>
          <a:prstGeom prst="rect">
            <a:avLst/>
          </a:prstGeom>
          <a:noFill/>
        </p:spPr>
        <p:txBody>
          <a:bodyPr wrap="square" rtlCol="0">
            <a:spAutoFit/>
          </a:bodyPr>
          <a:lstStyle/>
          <a:p>
            <a:pPr algn="ctr"/>
            <a:r>
              <a:rPr lang="en-US" sz="1600" dirty="0" smtClean="0"/>
              <a:t>Continuous Improvement</a:t>
            </a:r>
          </a:p>
        </p:txBody>
      </p:sp>
      <p:sp>
        <p:nvSpPr>
          <p:cNvPr id="57" name="TextBox 56"/>
          <p:cNvSpPr txBox="1"/>
          <p:nvPr/>
        </p:nvSpPr>
        <p:spPr>
          <a:xfrm>
            <a:off x="6172586" y="820457"/>
            <a:ext cx="1546120" cy="584775"/>
          </a:xfrm>
          <a:prstGeom prst="rect">
            <a:avLst/>
          </a:prstGeom>
          <a:noFill/>
        </p:spPr>
        <p:txBody>
          <a:bodyPr wrap="square" rtlCol="0">
            <a:spAutoFit/>
          </a:bodyPr>
          <a:lstStyle/>
          <a:p>
            <a:pPr algn="ctr"/>
            <a:r>
              <a:rPr lang="en-US" sz="1600" dirty="0" smtClean="0"/>
              <a:t>Improve Business Results</a:t>
            </a:r>
          </a:p>
        </p:txBody>
      </p:sp>
      <p:pic>
        <p:nvPicPr>
          <p:cNvPr id="3" name="Audio 2">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22"/>
          <a:stretch>
            <a:fillRect/>
          </a:stretch>
        </p:blipFill>
        <p:spPr>
          <a:xfrm>
            <a:off x="11552238" y="6218238"/>
            <a:ext cx="487362" cy="487362"/>
          </a:xfrm>
          <a:prstGeom prst="rect">
            <a:avLst/>
          </a:prstGeom>
        </p:spPr>
      </p:pic>
    </p:spTree>
    <p:custDataLst>
      <p:tags r:id="rId1"/>
    </p:custDataLst>
    <p:extLst>
      <p:ext uri="{BB962C8B-B14F-4D97-AF65-F5344CB8AC3E}">
        <p14:creationId xmlns:p14="http://schemas.microsoft.com/office/powerpoint/2010/main" val="1594025794"/>
      </p:ext>
    </p:extLst>
  </p:cSld>
  <p:clrMapOvr>
    <a:masterClrMapping/>
  </p:clrMapOvr>
  <mc:AlternateContent xmlns:mc="http://schemas.openxmlformats.org/markup-compatibility/2006" xmlns:p14="http://schemas.microsoft.com/office/powerpoint/2010/main">
    <mc:Choice Requires="p14">
      <p:transition spd="slow" p14:dur="2000" advTm="4430"/>
    </mc:Choice>
    <mc:Fallback xmlns="">
      <p:transition spd="slow" advTm="443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3"/>
                                        </p:tgtEl>
                                        <p:attrNameLst>
                                          <p:attrName>style.visibility</p:attrName>
                                        </p:attrNameLst>
                                      </p:cBhvr>
                                      <p:to>
                                        <p:strVal val="visible"/>
                                      </p:to>
                                    </p:set>
                                  </p:childTnLst>
                                </p:cTn>
                              </p:par>
                            </p:childTnLst>
                          </p:cTn>
                        </p:par>
                        <p:par>
                          <p:cTn id="15" fill="hold">
                            <p:stCondLst>
                              <p:cond delay="0"/>
                            </p:stCondLst>
                            <p:childTnLst>
                              <p:par>
                                <p:cTn id="16" presetID="1" presetClass="entr" presetSubtype="0" fill="hold" nodeType="afterEffect">
                                  <p:stCondLst>
                                    <p:cond delay="0"/>
                                  </p:stCondLst>
                                  <p:childTnLst>
                                    <p:set>
                                      <p:cBhvr>
                                        <p:cTn id="17" dur="1" fill="hold">
                                          <p:stCondLst>
                                            <p:cond delay="0"/>
                                          </p:stCondLst>
                                        </p:cTn>
                                        <p:tgtEl>
                                          <p:spTgt spid="77"/>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83"/>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63"/>
                                        </p:tgtEl>
                                        <p:attrNameLst>
                                          <p:attrName>style.visibility</p:attrName>
                                        </p:attrNameLst>
                                      </p:cBhvr>
                                      <p:to>
                                        <p:strVal val="visible"/>
                                      </p:to>
                                    </p:set>
                                  </p:childTnLst>
                                </p:cTn>
                              </p:par>
                              <p:par>
                                <p:cTn id="24" presetID="1" presetClass="entr" presetSubtype="0" fill="hold" nodeType="withEffect">
                                  <p:stCondLst>
                                    <p:cond delay="0"/>
                                  </p:stCondLst>
                                  <p:childTnLst>
                                    <p:set>
                                      <p:cBhvr>
                                        <p:cTn id="25" dur="1" fill="hold">
                                          <p:stCondLst>
                                            <p:cond delay="0"/>
                                          </p:stCondLst>
                                        </p:cTn>
                                        <p:tgtEl>
                                          <p:spTgt spid="14"/>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nodeType="clickEffect">
                                  <p:stCondLst>
                                    <p:cond delay="0"/>
                                  </p:stCondLst>
                                  <p:childTnLst>
                                    <p:set>
                                      <p:cBhvr>
                                        <p:cTn id="29" dur="1" fill="hold">
                                          <p:stCondLst>
                                            <p:cond delay="0"/>
                                          </p:stCondLst>
                                        </p:cTn>
                                        <p:tgtEl>
                                          <p:spTgt spid="39"/>
                                        </p:tgtEl>
                                        <p:attrNameLst>
                                          <p:attrName>style.visibility</p:attrName>
                                        </p:attrNameLst>
                                      </p:cBhvr>
                                      <p:to>
                                        <p:strVal val="visible"/>
                                      </p:to>
                                    </p:set>
                                  </p:childTnLst>
                                </p:cTn>
                              </p:par>
                              <p:par>
                                <p:cTn id="30" presetID="1" presetClass="entr" presetSubtype="0" fill="hold" grpId="0" nodeType="withEffect">
                                  <p:stCondLst>
                                    <p:cond delay="0"/>
                                  </p:stCondLst>
                                  <p:childTnLst>
                                    <p:set>
                                      <p:cBhvr>
                                        <p:cTn id="31" dur="1" fill="hold">
                                          <p:stCondLst>
                                            <p:cond delay="0"/>
                                          </p:stCondLst>
                                        </p:cTn>
                                        <p:tgtEl>
                                          <p:spTgt spid="54"/>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nodeType="clickEffect">
                                  <p:stCondLst>
                                    <p:cond delay="0"/>
                                  </p:stCondLst>
                                  <p:childTnLst>
                                    <p:set>
                                      <p:cBhvr>
                                        <p:cTn id="35" dur="1" fill="hold">
                                          <p:stCondLst>
                                            <p:cond delay="0"/>
                                          </p:stCondLst>
                                        </p:cTn>
                                        <p:tgtEl>
                                          <p:spTgt spid="43"/>
                                        </p:tgtEl>
                                        <p:attrNameLst>
                                          <p:attrName>style.visibility</p:attrName>
                                        </p:attrNameLst>
                                      </p:cBhvr>
                                      <p:to>
                                        <p:strVal val="visible"/>
                                      </p:to>
                                    </p:set>
                                  </p:childTnLst>
                                </p:cTn>
                              </p:par>
                              <p:par>
                                <p:cTn id="36" presetID="1" presetClass="entr" presetSubtype="0" fill="hold" grpId="0" nodeType="withEffect">
                                  <p:stCondLst>
                                    <p:cond delay="0"/>
                                  </p:stCondLst>
                                  <p:childTnLst>
                                    <p:set>
                                      <p:cBhvr>
                                        <p:cTn id="37" dur="1" fill="hold">
                                          <p:stCondLst>
                                            <p:cond delay="0"/>
                                          </p:stCondLst>
                                        </p:cTn>
                                        <p:tgtEl>
                                          <p:spTgt spid="66"/>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nodeType="clickEffect">
                                  <p:stCondLst>
                                    <p:cond delay="0"/>
                                  </p:stCondLst>
                                  <p:childTnLst>
                                    <p:set>
                                      <p:cBhvr>
                                        <p:cTn id="41" dur="1" fill="hold">
                                          <p:stCondLst>
                                            <p:cond delay="0"/>
                                          </p:stCondLst>
                                        </p:cTn>
                                        <p:tgtEl>
                                          <p:spTgt spid="92"/>
                                        </p:tgtEl>
                                        <p:attrNameLst>
                                          <p:attrName>style.visibility</p:attrName>
                                        </p:attrNameLst>
                                      </p:cBhvr>
                                      <p:to>
                                        <p:strVal val="visible"/>
                                      </p:to>
                                    </p:set>
                                  </p:childTnLst>
                                </p:cTn>
                              </p:par>
                              <p:par>
                                <p:cTn id="42" presetID="1" presetClass="entr" presetSubtype="0" fill="hold" grpId="0" nodeType="withEffect">
                                  <p:stCondLst>
                                    <p:cond delay="0"/>
                                  </p:stCondLst>
                                  <p:childTnLst>
                                    <p:set>
                                      <p:cBhvr>
                                        <p:cTn id="43" dur="1" fill="hold">
                                          <p:stCondLst>
                                            <p:cond delay="0"/>
                                          </p:stCondLst>
                                        </p:cTn>
                                        <p:tgtEl>
                                          <p:spTgt spid="56"/>
                                        </p:tgtEl>
                                        <p:attrNameLst>
                                          <p:attrName>style.visibility</p:attrName>
                                        </p:attrNameLst>
                                      </p:cBhvr>
                                      <p:to>
                                        <p:strVal val="visible"/>
                                      </p:to>
                                    </p:set>
                                  </p:childTnLst>
                                </p:cTn>
                              </p:par>
                            </p:childTnLst>
                          </p:cTn>
                        </p:par>
                      </p:childTnLst>
                    </p:cTn>
                  </p:par>
                  <p:par>
                    <p:cTn id="44" fill="hold">
                      <p:stCondLst>
                        <p:cond delay="indefinite"/>
                      </p:stCondLst>
                      <p:childTnLst>
                        <p:par>
                          <p:cTn id="45" fill="hold">
                            <p:stCondLst>
                              <p:cond delay="0"/>
                            </p:stCondLst>
                            <p:childTnLst>
                              <p:par>
                                <p:cTn id="46" presetID="1" presetClass="entr" presetSubtype="0" fill="hold" nodeType="clickEffect">
                                  <p:stCondLst>
                                    <p:cond delay="0"/>
                                  </p:stCondLst>
                                  <p:childTnLst>
                                    <p:set>
                                      <p:cBhvr>
                                        <p:cTn id="47" dur="1" fill="hold">
                                          <p:stCondLst>
                                            <p:cond delay="0"/>
                                          </p:stCondLst>
                                        </p:cTn>
                                        <p:tgtEl>
                                          <p:spTgt spid="76"/>
                                        </p:tgtEl>
                                        <p:attrNameLst>
                                          <p:attrName>style.visibility</p:attrName>
                                        </p:attrNameLst>
                                      </p:cBhvr>
                                      <p:to>
                                        <p:strVal val="visible"/>
                                      </p:to>
                                    </p:set>
                                  </p:childTnLst>
                                </p:cTn>
                              </p:par>
                              <p:par>
                                <p:cTn id="48" presetID="1" presetClass="entr" presetSubtype="0" fill="hold" grpId="0" nodeType="withEffect">
                                  <p:stCondLst>
                                    <p:cond delay="0"/>
                                  </p:stCondLst>
                                  <p:childTnLst>
                                    <p:set>
                                      <p:cBhvr>
                                        <p:cTn id="49" dur="1" fill="hold">
                                          <p:stCondLst>
                                            <p:cond delay="0"/>
                                          </p:stCondLst>
                                        </p:cTn>
                                        <p:tgtEl>
                                          <p:spTgt spid="65"/>
                                        </p:tgtEl>
                                        <p:attrNameLst>
                                          <p:attrName>style.visibility</p:attrName>
                                        </p:attrNameLst>
                                      </p:cBhvr>
                                      <p:to>
                                        <p:strVal val="visible"/>
                                      </p:to>
                                    </p:set>
                                  </p:childTnLst>
                                </p:cTn>
                              </p:par>
                            </p:childTnLst>
                          </p:cTn>
                        </p:par>
                      </p:childTnLst>
                    </p:cTn>
                  </p:par>
                  <p:par>
                    <p:cTn id="50" fill="hold">
                      <p:stCondLst>
                        <p:cond delay="indefinite"/>
                      </p:stCondLst>
                      <p:childTnLst>
                        <p:par>
                          <p:cTn id="51" fill="hold">
                            <p:stCondLst>
                              <p:cond delay="0"/>
                            </p:stCondLst>
                            <p:childTnLst>
                              <p:par>
                                <p:cTn id="52" presetID="1" presetClass="entr" presetSubtype="0" fill="hold" nodeType="clickEffect">
                                  <p:stCondLst>
                                    <p:cond delay="0"/>
                                  </p:stCondLst>
                                  <p:childTnLst>
                                    <p:set>
                                      <p:cBhvr>
                                        <p:cTn id="53" dur="1" fill="hold">
                                          <p:stCondLst>
                                            <p:cond delay="0"/>
                                          </p:stCondLst>
                                        </p:cTn>
                                        <p:tgtEl>
                                          <p:spTgt spid="67"/>
                                        </p:tgtEl>
                                        <p:attrNameLst>
                                          <p:attrName>style.visibility</p:attrName>
                                        </p:attrNameLst>
                                      </p:cBhvr>
                                      <p:to>
                                        <p:strVal val="visible"/>
                                      </p:to>
                                    </p:set>
                                  </p:childTnLst>
                                </p:cTn>
                              </p:par>
                              <p:par>
                                <p:cTn id="54" presetID="1" presetClass="entr" presetSubtype="0" fill="hold" grpId="0" nodeType="withEffect">
                                  <p:stCondLst>
                                    <p:cond delay="0"/>
                                  </p:stCondLst>
                                  <p:childTnLst>
                                    <p:set>
                                      <p:cBhvr>
                                        <p:cTn id="55" dur="1" fill="hold">
                                          <p:stCondLst>
                                            <p:cond delay="0"/>
                                          </p:stCondLst>
                                        </p:cTn>
                                        <p:tgtEl>
                                          <p:spTgt spid="80"/>
                                        </p:tgtEl>
                                        <p:attrNameLst>
                                          <p:attrName>style.visibility</p:attrName>
                                        </p:attrNameLst>
                                      </p:cBhvr>
                                      <p:to>
                                        <p:strVal val="visible"/>
                                      </p:to>
                                    </p:set>
                                  </p:childTnLst>
                                </p:cTn>
                              </p:par>
                            </p:childTnLst>
                          </p:cTn>
                        </p:par>
                      </p:childTnLst>
                    </p:cTn>
                  </p:par>
                  <p:par>
                    <p:cTn id="56" fill="hold">
                      <p:stCondLst>
                        <p:cond delay="indefinite"/>
                      </p:stCondLst>
                      <p:childTnLst>
                        <p:par>
                          <p:cTn id="57" fill="hold">
                            <p:stCondLst>
                              <p:cond delay="0"/>
                            </p:stCondLst>
                            <p:childTnLst>
                              <p:par>
                                <p:cTn id="58" presetID="1" presetClass="entr" presetSubtype="0" fill="hold" nodeType="clickEffect">
                                  <p:stCondLst>
                                    <p:cond delay="0"/>
                                  </p:stCondLst>
                                  <p:childTnLst>
                                    <p:set>
                                      <p:cBhvr>
                                        <p:cTn id="59" dur="1" fill="hold">
                                          <p:stCondLst>
                                            <p:cond delay="0"/>
                                          </p:stCondLst>
                                        </p:cTn>
                                        <p:tgtEl>
                                          <p:spTgt spid="6"/>
                                        </p:tgtEl>
                                        <p:attrNameLst>
                                          <p:attrName>style.visibility</p:attrName>
                                        </p:attrNameLst>
                                      </p:cBhvr>
                                      <p:to>
                                        <p:strVal val="visible"/>
                                      </p:to>
                                    </p:set>
                                  </p:childTnLst>
                                </p:cTn>
                              </p:par>
                              <p:par>
                                <p:cTn id="60" presetID="1" presetClass="entr" presetSubtype="0" fill="hold" grpId="0" nodeType="withEffect">
                                  <p:stCondLst>
                                    <p:cond delay="0"/>
                                  </p:stCondLst>
                                  <p:childTnLst>
                                    <p:set>
                                      <p:cBhvr>
                                        <p:cTn id="61"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62" fill="hold" display="0">
                  <p:stCondLst>
                    <p:cond delay="indefinite"/>
                  </p:stCondLst>
                  <p:endCondLst>
                    <p:cond evt="onStopAudio" delay="0">
                      <p:tgtEl>
                        <p:sldTgt/>
                      </p:tgtEl>
                    </p:cond>
                  </p:endCondLst>
                </p:cTn>
                <p:tgtEl>
                  <p:spTgt spid="3"/>
                </p:tgtEl>
              </p:cMediaNode>
            </p:audio>
          </p:childTnLst>
        </p:cTn>
      </p:par>
    </p:tnLst>
    <p:bldLst>
      <p:bldP spid="2" grpId="0"/>
      <p:bldP spid="53" grpId="0"/>
      <p:bldP spid="54" grpId="0"/>
      <p:bldP spid="63" grpId="0"/>
      <p:bldP spid="65" grpId="0"/>
      <p:bldP spid="66" grpId="0"/>
      <p:bldP spid="80" grpId="0"/>
      <p:bldP spid="56" grpId="0"/>
      <p:bldP spid="57"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9E88387-4EAF-C246-95F8-BFA7538A70AE}"/>
              </a:ext>
            </a:extLst>
          </p:cNvPr>
          <p:cNvSpPr/>
          <p:nvPr/>
        </p:nvSpPr>
        <p:spPr>
          <a:xfrm>
            <a:off x="0" y="2564530"/>
            <a:ext cx="12192000" cy="889000"/>
          </a:xfrm>
          <a:prstGeom prst="rect">
            <a:avLst/>
          </a:prstGeom>
          <a:solidFill>
            <a:schemeClr val="bg2">
              <a:lumMod val="75000"/>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u="sng" dirty="0" smtClean="0">
                <a:solidFill>
                  <a:schemeClr val="bg2">
                    <a:lumMod val="50000"/>
                  </a:schemeClr>
                </a:solidFill>
                <a:latin typeface="Arial" panose="020B0604020202020204" pitchFamily="34" charset="0"/>
                <a:ea typeface="Optimist" panose="020B0603020204030204" pitchFamily="34" charset="77"/>
                <a:cs typeface="Arial" panose="020B0604020202020204" pitchFamily="34" charset="0"/>
              </a:rPr>
              <a:t>Collective ownership </a:t>
            </a:r>
            <a:r>
              <a:rPr lang="en-US" sz="2000" dirty="0" smtClean="0">
                <a:solidFill>
                  <a:schemeClr val="bg2">
                    <a:lumMod val="50000"/>
                  </a:schemeClr>
                </a:solidFill>
                <a:latin typeface="Arial" panose="020B0604020202020204" pitchFamily="34" charset="0"/>
                <a:ea typeface="Optimist" panose="020B0603020204030204" pitchFamily="34" charset="77"/>
                <a:cs typeface="Arial" panose="020B0604020202020204" pitchFamily="34" charset="0"/>
              </a:rPr>
              <a:t>between Dev and Ops for for the quality, reliability, availability and performance of the software product for it’s full lifecycle</a:t>
            </a:r>
            <a:endParaRPr lang="en-US" sz="2000" u="sng" dirty="0">
              <a:solidFill>
                <a:schemeClr val="bg2">
                  <a:lumMod val="50000"/>
                </a:schemeClr>
              </a:solidFill>
              <a:latin typeface="Arial" panose="020B0604020202020204" pitchFamily="34" charset="0"/>
              <a:ea typeface="Optimist" panose="020B0603020204030204" pitchFamily="34" charset="77"/>
              <a:cs typeface="Arial" panose="020B0604020202020204" pitchFamily="34" charset="0"/>
            </a:endParaRPr>
          </a:p>
        </p:txBody>
      </p:sp>
      <p:sp>
        <p:nvSpPr>
          <p:cNvPr id="4" name="Title 1">
            <a:extLst>
              <a:ext uri="{FF2B5EF4-FFF2-40B4-BE49-F238E27FC236}">
                <a16:creationId xmlns:a16="http://schemas.microsoft.com/office/drawing/2014/main" id="{329AE9FC-EBF0-E24A-9A83-3F46B45EB9D6}"/>
              </a:ext>
            </a:extLst>
          </p:cNvPr>
          <p:cNvSpPr>
            <a:spLocks noGrp="1"/>
          </p:cNvSpPr>
          <p:nvPr>
            <p:ph type="title"/>
          </p:nvPr>
        </p:nvSpPr>
        <p:spPr>
          <a:xfrm>
            <a:off x="183843" y="-128990"/>
            <a:ext cx="11824313" cy="1325563"/>
          </a:xfrm>
        </p:spPr>
        <p:txBody>
          <a:bodyPr>
            <a:normAutofit/>
          </a:bodyPr>
          <a:lstStyle/>
          <a:p>
            <a:r>
              <a:rPr lang="en-US" sz="2800" b="1" dirty="0" smtClean="0">
                <a:latin typeface="Arial" panose="020B0604020202020204" pitchFamily="34" charset="0"/>
                <a:ea typeface="Optimist" panose="020B0603020204030204" pitchFamily="34" charset="77"/>
                <a:cs typeface="Arial" panose="020B0604020202020204" pitchFamily="34" charset="0"/>
              </a:rPr>
              <a:t>And the DevOps dream can be realized</a:t>
            </a:r>
            <a:endParaRPr lang="en-US" sz="2800" b="1" dirty="0">
              <a:latin typeface="Arial" panose="020B0604020202020204" pitchFamily="34" charset="0"/>
              <a:ea typeface="Optimist" panose="020B0603020204030204" pitchFamily="34" charset="77"/>
              <a:cs typeface="Arial" panose="020B0604020202020204" pitchFamily="34" charset="0"/>
            </a:endParaRPr>
          </a:p>
        </p:txBody>
      </p:sp>
      <p:sp>
        <p:nvSpPr>
          <p:cNvPr id="5" name="Title 1">
            <a:extLst>
              <a:ext uri="{FF2B5EF4-FFF2-40B4-BE49-F238E27FC236}">
                <a16:creationId xmlns:a16="http://schemas.microsoft.com/office/drawing/2014/main" id="{329AE9FC-EBF0-E24A-9A83-3F46B45EB9D6}"/>
              </a:ext>
            </a:extLst>
          </p:cNvPr>
          <p:cNvSpPr txBox="1">
            <a:spLocks/>
          </p:cNvSpPr>
          <p:nvPr/>
        </p:nvSpPr>
        <p:spPr>
          <a:xfrm>
            <a:off x="2034211" y="814905"/>
            <a:ext cx="787973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smtClean="0">
                <a:solidFill>
                  <a:schemeClr val="bg2">
                    <a:lumMod val="50000"/>
                  </a:schemeClr>
                </a:solidFill>
                <a:latin typeface="Arial" panose="020B0604020202020204" pitchFamily="34" charset="0"/>
                <a:ea typeface="Optimist" panose="020B0603020204030204" pitchFamily="34" charset="77"/>
                <a:cs typeface="Arial" panose="020B0604020202020204" pitchFamily="34" charset="0"/>
              </a:rPr>
              <a:t>My DevOps Success Criteria is when 100% of Customer Facing “Invest In” Products Have</a:t>
            </a:r>
            <a:endParaRPr lang="en-US" sz="2800" dirty="0">
              <a:solidFill>
                <a:schemeClr val="bg2">
                  <a:lumMod val="50000"/>
                </a:schemeClr>
              </a:solidFill>
              <a:latin typeface="Arial" panose="020B0604020202020204" pitchFamily="34" charset="0"/>
              <a:ea typeface="Optimist" panose="020B0603020204030204" pitchFamily="34" charset="77"/>
              <a:cs typeface="Arial" panose="020B0604020202020204" pitchFamily="34" charset="0"/>
            </a:endParaRPr>
          </a:p>
        </p:txBody>
      </p:sp>
      <p:sp>
        <p:nvSpPr>
          <p:cNvPr id="8" name="Rectangle 7">
            <a:extLst>
              <a:ext uri="{FF2B5EF4-FFF2-40B4-BE49-F238E27FC236}">
                <a16:creationId xmlns:a16="http://schemas.microsoft.com/office/drawing/2014/main" id="{89E88387-4EAF-C246-95F8-BFA7538A70AE}"/>
              </a:ext>
            </a:extLst>
          </p:cNvPr>
          <p:cNvSpPr/>
          <p:nvPr/>
        </p:nvSpPr>
        <p:spPr>
          <a:xfrm>
            <a:off x="0" y="4016461"/>
            <a:ext cx="12192000" cy="889000"/>
          </a:xfrm>
          <a:prstGeom prst="rect">
            <a:avLst/>
          </a:prstGeom>
          <a:solidFill>
            <a:schemeClr val="bg2">
              <a:lumMod val="75000"/>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solidFill>
                  <a:schemeClr val="bg2">
                    <a:lumMod val="50000"/>
                  </a:schemeClr>
                </a:solidFill>
                <a:latin typeface="Arial" panose="020B0604020202020204" pitchFamily="34" charset="0"/>
                <a:ea typeface="Optimist" panose="020B0603020204030204" pitchFamily="34" charset="77"/>
                <a:cs typeface="Arial" panose="020B0604020202020204" pitchFamily="34" charset="0"/>
              </a:rPr>
              <a:t>Rapid experimentation and releases of </a:t>
            </a:r>
            <a:r>
              <a:rPr lang="en-US" sz="2000" dirty="0">
                <a:solidFill>
                  <a:schemeClr val="bg2">
                    <a:lumMod val="50000"/>
                  </a:schemeClr>
                </a:solidFill>
                <a:latin typeface="Arial" panose="020B0604020202020204" pitchFamily="34" charset="0"/>
                <a:ea typeface="Optimist" panose="020B0603020204030204" pitchFamily="34" charset="77"/>
                <a:cs typeface="Arial" panose="020B0604020202020204" pitchFamily="34" charset="0"/>
              </a:rPr>
              <a:t>high </a:t>
            </a:r>
            <a:r>
              <a:rPr lang="en-US" sz="2000" dirty="0" smtClean="0">
                <a:solidFill>
                  <a:schemeClr val="bg2">
                    <a:lumMod val="50000"/>
                  </a:schemeClr>
                </a:solidFill>
                <a:latin typeface="Arial" panose="020B0604020202020204" pitchFamily="34" charset="0"/>
                <a:ea typeface="Optimist" panose="020B0603020204030204" pitchFamily="34" charset="77"/>
                <a:cs typeface="Arial" panose="020B0604020202020204" pitchFamily="34" charset="0"/>
              </a:rPr>
              <a:t>quality software </a:t>
            </a:r>
            <a:r>
              <a:rPr lang="en-US" sz="2000" u="sng" dirty="0">
                <a:solidFill>
                  <a:schemeClr val="bg2">
                    <a:lumMod val="50000"/>
                  </a:schemeClr>
                </a:solidFill>
                <a:latin typeface="Arial" panose="020B0604020202020204" pitchFamily="34" charset="0"/>
                <a:ea typeface="Optimist" panose="020B0603020204030204" pitchFamily="34" charset="77"/>
                <a:cs typeface="Arial" panose="020B0604020202020204" pitchFamily="34" charset="0"/>
              </a:rPr>
              <a:t>at any pace and any time</a:t>
            </a:r>
          </a:p>
          <a:p>
            <a:pPr algn="ctr"/>
            <a:r>
              <a:rPr lang="en-US" sz="2000" dirty="0">
                <a:solidFill>
                  <a:schemeClr val="bg2">
                    <a:lumMod val="50000"/>
                  </a:schemeClr>
                </a:solidFill>
                <a:latin typeface="Arial" panose="020B0604020202020204" pitchFamily="34" charset="0"/>
                <a:ea typeface="Optimist" panose="020B0603020204030204" pitchFamily="34" charset="77"/>
                <a:cs typeface="Arial" panose="020B0604020202020204" pitchFamily="34" charset="0"/>
              </a:rPr>
              <a:t>without disruption to the customer</a:t>
            </a:r>
            <a:endParaRPr lang="en-US" sz="2000" u="sng" dirty="0">
              <a:solidFill>
                <a:schemeClr val="bg2">
                  <a:lumMod val="50000"/>
                </a:schemeClr>
              </a:solidFill>
              <a:latin typeface="Arial" panose="020B0604020202020204" pitchFamily="34" charset="0"/>
              <a:ea typeface="Optimist" panose="020B0603020204030204" pitchFamily="34" charset="77"/>
              <a:cs typeface="Arial" panose="020B0604020202020204" pitchFamily="34" charset="0"/>
            </a:endParaRPr>
          </a:p>
        </p:txBody>
      </p:sp>
      <p:sp>
        <p:nvSpPr>
          <p:cNvPr id="9" name="Rectangle 8">
            <a:extLst>
              <a:ext uri="{FF2B5EF4-FFF2-40B4-BE49-F238E27FC236}">
                <a16:creationId xmlns:a16="http://schemas.microsoft.com/office/drawing/2014/main" id="{89E88387-4EAF-C246-95F8-BFA7538A70AE}"/>
              </a:ext>
            </a:extLst>
          </p:cNvPr>
          <p:cNvSpPr/>
          <p:nvPr/>
        </p:nvSpPr>
        <p:spPr>
          <a:xfrm>
            <a:off x="0" y="5359952"/>
            <a:ext cx="12192000" cy="889000"/>
          </a:xfrm>
          <a:prstGeom prst="rect">
            <a:avLst/>
          </a:prstGeom>
          <a:solidFill>
            <a:schemeClr val="bg2">
              <a:lumMod val="75000"/>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2">
                    <a:lumMod val="50000"/>
                  </a:schemeClr>
                </a:solidFill>
                <a:latin typeface="Arial" panose="020B0604020202020204" pitchFamily="34" charset="0"/>
                <a:ea typeface="Optimist" panose="020B0603020204030204" pitchFamily="34" charset="77"/>
                <a:cs typeface="Arial" panose="020B0604020202020204" pitchFamily="34" charset="0"/>
              </a:rPr>
              <a:t>Restore the entire application and its environment with a </a:t>
            </a:r>
            <a:r>
              <a:rPr lang="en-US" sz="2000" u="sng" dirty="0">
                <a:solidFill>
                  <a:schemeClr val="bg2">
                    <a:lumMod val="50000"/>
                  </a:schemeClr>
                </a:solidFill>
                <a:latin typeface="Arial" panose="020B0604020202020204" pitchFamily="34" charset="0"/>
                <a:ea typeface="Optimist" panose="020B0603020204030204" pitchFamily="34" charset="77"/>
                <a:cs typeface="Arial" panose="020B0604020202020204" pitchFamily="34" charset="0"/>
              </a:rPr>
              <a:t>single </a:t>
            </a:r>
            <a:r>
              <a:rPr lang="en-US" sz="2000" u="sng" dirty="0" smtClean="0">
                <a:solidFill>
                  <a:schemeClr val="bg2">
                    <a:lumMod val="50000"/>
                  </a:schemeClr>
                </a:solidFill>
                <a:latin typeface="Arial" panose="020B0604020202020204" pitchFamily="34" charset="0"/>
                <a:ea typeface="Optimist" panose="020B0603020204030204" pitchFamily="34" charset="77"/>
                <a:cs typeface="Arial" panose="020B0604020202020204" pitchFamily="34" charset="0"/>
              </a:rPr>
              <a:t>command</a:t>
            </a:r>
            <a:endParaRPr lang="en-US" sz="2000" u="sng" dirty="0">
              <a:solidFill>
                <a:schemeClr val="bg2">
                  <a:lumMod val="50000"/>
                </a:schemeClr>
              </a:solidFill>
              <a:latin typeface="Arial" panose="020B0604020202020204" pitchFamily="34" charset="0"/>
              <a:ea typeface="Optimist" panose="020B0603020204030204" pitchFamily="34" charset="77"/>
              <a:cs typeface="Arial" panose="020B0604020202020204" pitchFamily="34" charset="0"/>
            </a:endParaRPr>
          </a:p>
        </p:txBody>
      </p:sp>
      <p:sp>
        <p:nvSpPr>
          <p:cNvPr id="10" name="Oval 9">
            <a:extLst>
              <a:ext uri="{FF2B5EF4-FFF2-40B4-BE49-F238E27FC236}">
                <a16:creationId xmlns:a16="http://schemas.microsoft.com/office/drawing/2014/main" id="{01AA6A3E-7117-478F-BC86-E043A4DB6E6C}"/>
              </a:ext>
            </a:extLst>
          </p:cNvPr>
          <p:cNvSpPr/>
          <p:nvPr/>
        </p:nvSpPr>
        <p:spPr bwMode="auto">
          <a:xfrm>
            <a:off x="5534229" y="3522803"/>
            <a:ext cx="561769" cy="561769"/>
          </a:xfrm>
          <a:prstGeom prst="ellipse">
            <a:avLst/>
          </a:prstGeom>
          <a:solidFill>
            <a:schemeClr val="tx1"/>
          </a:solidFill>
          <a:ln w="9525">
            <a:solidFill>
              <a:sysClr val="window" lastClr="FFFFFF"/>
            </a:solidFill>
            <a:miter lim="800000"/>
            <a:headEnd/>
            <a:tailEnd/>
          </a:ln>
          <a:effectLst/>
        </p:spPr>
        <p:txBody>
          <a:bodyPr lIns="108000" tIns="108000" rIns="108000" bIns="108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chemeClr val="bg1"/>
                </a:solidFill>
                <a:effectLst/>
                <a:uLnTx/>
                <a:uFillTx/>
                <a:latin typeface="Arial" panose="020B0604020202020204"/>
                <a:ea typeface="Verdana" pitchFamily="34" charset="0"/>
                <a:cs typeface="Verdana" pitchFamily="34" charset="0"/>
              </a:rPr>
              <a:t>2</a:t>
            </a:r>
            <a:endParaRPr kumimoji="0" lang="en-US" sz="1400" b="1" i="0" u="none" strike="noStrike" kern="0" cap="none" spc="0" normalizeH="0" baseline="0" noProof="0" dirty="0">
              <a:ln>
                <a:noFill/>
              </a:ln>
              <a:solidFill>
                <a:schemeClr val="bg1"/>
              </a:solidFill>
              <a:effectLst/>
              <a:uLnTx/>
              <a:uFillTx/>
              <a:latin typeface="Arial" panose="020B0604020202020204"/>
              <a:ea typeface="Verdana" pitchFamily="34" charset="0"/>
              <a:cs typeface="Verdana" pitchFamily="34" charset="0"/>
            </a:endParaRPr>
          </a:p>
        </p:txBody>
      </p:sp>
      <p:sp>
        <p:nvSpPr>
          <p:cNvPr id="11" name="Oval 10">
            <a:extLst>
              <a:ext uri="{FF2B5EF4-FFF2-40B4-BE49-F238E27FC236}">
                <a16:creationId xmlns:a16="http://schemas.microsoft.com/office/drawing/2014/main" id="{01AA6A3E-7117-478F-BC86-E043A4DB6E6C}"/>
              </a:ext>
            </a:extLst>
          </p:cNvPr>
          <p:cNvSpPr/>
          <p:nvPr/>
        </p:nvSpPr>
        <p:spPr bwMode="auto">
          <a:xfrm>
            <a:off x="5534230" y="2140468"/>
            <a:ext cx="561769" cy="561769"/>
          </a:xfrm>
          <a:prstGeom prst="ellipse">
            <a:avLst/>
          </a:prstGeom>
          <a:solidFill>
            <a:schemeClr val="tx1"/>
          </a:solidFill>
          <a:ln w="9525">
            <a:solidFill>
              <a:sysClr val="window" lastClr="FFFFFF"/>
            </a:solidFill>
            <a:miter lim="800000"/>
            <a:headEnd/>
            <a:tailEnd/>
          </a:ln>
          <a:effectLst/>
        </p:spPr>
        <p:txBody>
          <a:bodyPr lIns="108000" tIns="108000" rIns="108000" bIns="108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smtClean="0">
                <a:ln>
                  <a:noFill/>
                </a:ln>
                <a:solidFill>
                  <a:prstClr val="white"/>
                </a:solidFill>
                <a:effectLst/>
                <a:uLnTx/>
                <a:uFillTx/>
                <a:latin typeface="Arial" panose="020B0604020202020204"/>
                <a:ea typeface="Verdana" pitchFamily="34" charset="0"/>
                <a:cs typeface="Verdana" pitchFamily="34" charset="0"/>
              </a:rPr>
              <a:t>1</a:t>
            </a:r>
            <a:endParaRPr kumimoji="0" lang="en-US" b="0" i="0" u="none" strike="noStrike" kern="0" cap="none" spc="0" normalizeH="0" baseline="0" noProof="0" dirty="0">
              <a:ln>
                <a:noFill/>
              </a:ln>
              <a:solidFill>
                <a:prstClr val="white"/>
              </a:solidFill>
              <a:effectLst/>
              <a:uLnTx/>
              <a:uFillTx/>
              <a:latin typeface="Arial" panose="020B0604020202020204"/>
              <a:ea typeface="Verdana" pitchFamily="34" charset="0"/>
              <a:cs typeface="Verdana" pitchFamily="34" charset="0"/>
            </a:endParaRPr>
          </a:p>
        </p:txBody>
      </p:sp>
      <p:sp>
        <p:nvSpPr>
          <p:cNvPr id="12" name="Oval 11">
            <a:extLst>
              <a:ext uri="{FF2B5EF4-FFF2-40B4-BE49-F238E27FC236}">
                <a16:creationId xmlns:a16="http://schemas.microsoft.com/office/drawing/2014/main" id="{01AA6A3E-7117-478F-BC86-E043A4DB6E6C}"/>
              </a:ext>
            </a:extLst>
          </p:cNvPr>
          <p:cNvSpPr/>
          <p:nvPr/>
        </p:nvSpPr>
        <p:spPr bwMode="auto">
          <a:xfrm>
            <a:off x="5534228" y="4949016"/>
            <a:ext cx="561769" cy="561769"/>
          </a:xfrm>
          <a:prstGeom prst="ellipse">
            <a:avLst/>
          </a:prstGeom>
          <a:solidFill>
            <a:schemeClr val="tx1"/>
          </a:solidFill>
          <a:ln w="9525">
            <a:solidFill>
              <a:sysClr val="window" lastClr="FFFFFF"/>
            </a:solidFill>
            <a:miter lim="800000"/>
            <a:headEnd/>
            <a:tailEnd/>
          </a:ln>
          <a:effectLst/>
        </p:spPr>
        <p:txBody>
          <a:bodyPr lIns="108000" tIns="108000" rIns="108000" bIns="108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chemeClr val="bg1"/>
                </a:solidFill>
                <a:effectLst/>
                <a:uLnTx/>
                <a:uFillTx/>
                <a:latin typeface="Arial" panose="020B0604020202020204"/>
                <a:ea typeface="Verdana" pitchFamily="34" charset="0"/>
                <a:cs typeface="Verdana" pitchFamily="34" charset="0"/>
              </a:rPr>
              <a:t>3</a:t>
            </a:r>
            <a:endParaRPr kumimoji="0" lang="en-US" sz="1400" b="1" i="0" u="none" strike="noStrike" kern="0" cap="none" spc="0" normalizeH="0" baseline="0" noProof="0" dirty="0">
              <a:ln>
                <a:noFill/>
              </a:ln>
              <a:solidFill>
                <a:schemeClr val="bg1"/>
              </a:solidFill>
              <a:effectLst/>
              <a:uLnTx/>
              <a:uFillTx/>
              <a:latin typeface="Arial" panose="020B0604020202020204"/>
              <a:ea typeface="Verdana" pitchFamily="34" charset="0"/>
              <a:cs typeface="Verdana" pitchFamily="34" charset="0"/>
            </a:endParaRPr>
          </a:p>
        </p:txBody>
      </p:sp>
      <p:pic>
        <p:nvPicPr>
          <p:cNvPr id="2" name="Audio 1">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4017338135"/>
      </p:ext>
    </p:extLst>
  </p:cSld>
  <p:clrMapOvr>
    <a:masterClrMapping/>
  </p:clrMapOvr>
  <mc:AlternateContent xmlns:mc="http://schemas.openxmlformats.org/markup-compatibility/2006" xmlns:p14="http://schemas.microsoft.com/office/powerpoint/2010/main">
    <mc:Choice Requires="p14">
      <p:transition spd="slow" p14:dur="2000" advTm="176"/>
    </mc:Choice>
    <mc:Fallback xmlns="">
      <p:transition spd="slow" advTm="17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a:xfrm>
            <a:off x="981772" y="783531"/>
            <a:ext cx="10702726" cy="763700"/>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Rounded Rectangle 86"/>
          <p:cNvSpPr/>
          <p:nvPr/>
        </p:nvSpPr>
        <p:spPr>
          <a:xfrm>
            <a:off x="981772" y="1637629"/>
            <a:ext cx="10702726" cy="763700"/>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ounded Rectangle 87"/>
          <p:cNvSpPr/>
          <p:nvPr/>
        </p:nvSpPr>
        <p:spPr>
          <a:xfrm>
            <a:off x="981772" y="2516155"/>
            <a:ext cx="10702726" cy="763700"/>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Rounded Rectangle 88"/>
          <p:cNvSpPr/>
          <p:nvPr/>
        </p:nvSpPr>
        <p:spPr>
          <a:xfrm>
            <a:off x="981772" y="3357711"/>
            <a:ext cx="10702726" cy="763700"/>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Rounded Rectangle 89"/>
          <p:cNvSpPr/>
          <p:nvPr/>
        </p:nvSpPr>
        <p:spPr>
          <a:xfrm>
            <a:off x="981773" y="4235779"/>
            <a:ext cx="10702726" cy="763700"/>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ounded Rectangle 90"/>
          <p:cNvSpPr/>
          <p:nvPr/>
        </p:nvSpPr>
        <p:spPr>
          <a:xfrm>
            <a:off x="981773" y="5091094"/>
            <a:ext cx="10702726" cy="763700"/>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ounded Rectangle 92"/>
          <p:cNvSpPr/>
          <p:nvPr/>
        </p:nvSpPr>
        <p:spPr>
          <a:xfrm>
            <a:off x="981772" y="5942684"/>
            <a:ext cx="10702726" cy="763700"/>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Title 1">
            <a:extLst>
              <a:ext uri="{FF2B5EF4-FFF2-40B4-BE49-F238E27FC236}">
                <a16:creationId xmlns:a16="http://schemas.microsoft.com/office/drawing/2014/main" id="{329AE9FC-EBF0-E24A-9A83-3F46B45EB9D6}"/>
              </a:ext>
            </a:extLst>
          </p:cNvPr>
          <p:cNvSpPr>
            <a:spLocks noGrp="1"/>
          </p:cNvSpPr>
          <p:nvPr>
            <p:ph type="title"/>
          </p:nvPr>
        </p:nvSpPr>
        <p:spPr>
          <a:xfrm>
            <a:off x="23552" y="-287648"/>
            <a:ext cx="12078586" cy="1325563"/>
          </a:xfrm>
        </p:spPr>
        <p:txBody>
          <a:bodyPr>
            <a:normAutofit/>
          </a:bodyPr>
          <a:lstStyle/>
          <a:p>
            <a:r>
              <a:rPr lang="en-US" sz="2800" b="1" dirty="0" smtClean="0">
                <a:latin typeface="Arial" panose="020B0604020202020204" pitchFamily="34" charset="0"/>
                <a:ea typeface="Optimist" panose="020B0603020204030204" pitchFamily="34" charset="77"/>
                <a:cs typeface="Arial" panose="020B0604020202020204" pitchFamily="34" charset="0"/>
              </a:rPr>
              <a:t>And support establishing work streams and a roadmap to execute on </a:t>
            </a:r>
            <a:endParaRPr lang="en-US" sz="2800" b="1" dirty="0">
              <a:latin typeface="Arial" panose="020B0604020202020204" pitchFamily="34" charset="0"/>
              <a:ea typeface="Optimist" panose="020B0603020204030204" pitchFamily="34" charset="77"/>
              <a:cs typeface="Arial" panose="020B0604020202020204" pitchFamily="34" charset="0"/>
            </a:endParaRPr>
          </a:p>
        </p:txBody>
      </p:sp>
      <p:grpSp>
        <p:nvGrpSpPr>
          <p:cNvPr id="18" name="Group 17">
            <a:extLst>
              <a:ext uri="{FF2B5EF4-FFF2-40B4-BE49-F238E27FC236}">
                <a16:creationId xmlns:a16="http://schemas.microsoft.com/office/drawing/2014/main" id="{26D3A469-AE19-1C47-851C-D17BEE7FAE43}"/>
              </a:ext>
            </a:extLst>
          </p:cNvPr>
          <p:cNvGrpSpPr/>
          <p:nvPr/>
        </p:nvGrpSpPr>
        <p:grpSpPr>
          <a:xfrm>
            <a:off x="462505" y="5880091"/>
            <a:ext cx="839680" cy="783043"/>
            <a:chOff x="5060515" y="1939282"/>
            <a:chExt cx="1327759" cy="1139869"/>
          </a:xfrm>
        </p:grpSpPr>
        <p:sp>
          <p:nvSpPr>
            <p:cNvPr id="19" name="Hexagon 18">
              <a:extLst>
                <a:ext uri="{FF2B5EF4-FFF2-40B4-BE49-F238E27FC236}">
                  <a16:creationId xmlns:a16="http://schemas.microsoft.com/office/drawing/2014/main" id="{9B687A28-7D32-FE4B-9FEB-8481249DC8EC}"/>
                </a:ext>
              </a:extLst>
            </p:cNvPr>
            <p:cNvSpPr/>
            <p:nvPr/>
          </p:nvSpPr>
          <p:spPr>
            <a:xfrm>
              <a:off x="5060515" y="1939282"/>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Oval 19">
              <a:extLst>
                <a:ext uri="{FF2B5EF4-FFF2-40B4-BE49-F238E27FC236}">
                  <a16:creationId xmlns:a16="http://schemas.microsoft.com/office/drawing/2014/main" id="{B118CCAE-D1BC-0F4F-9387-22DDE9ECCC0D}"/>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pic>
        <p:nvPicPr>
          <p:cNvPr id="75" name="Graphic 74" descr="Marketing">
            <a:extLst>
              <a:ext uri="{FF2B5EF4-FFF2-40B4-BE49-F238E27FC236}">
                <a16:creationId xmlns:a16="http://schemas.microsoft.com/office/drawing/2014/main" id="{8D4D1845-43F3-A342-801E-C809DE65D241}"/>
              </a:ext>
            </a:extLst>
          </p:cNvPr>
          <p:cNvPicPr>
            <a:picLocks noChangeAspect="1"/>
          </p:cNvPicPr>
          <p:nvPr/>
        </p:nvPicPr>
        <p:blipFill>
          <a:blip r:embed="rId5">
            <a:extLst>
              <a:ext uri="{96DAC541-7B7A-43D3-8B79-37D633B846F1}">
                <asvg:svgBlip xmlns:asvg="http://schemas.microsoft.com/office/drawing/2016/SVG/main" xmlns="" r:embed="rId12"/>
              </a:ext>
            </a:extLst>
          </a:blip>
          <a:stretch>
            <a:fillRect/>
          </a:stretch>
        </p:blipFill>
        <p:spPr>
          <a:xfrm>
            <a:off x="708445" y="6039263"/>
            <a:ext cx="427778" cy="464680"/>
          </a:xfrm>
          <a:prstGeom prst="rect">
            <a:avLst/>
          </a:prstGeom>
        </p:spPr>
      </p:pic>
      <p:grpSp>
        <p:nvGrpSpPr>
          <p:cNvPr id="15" name="Group 14">
            <a:extLst>
              <a:ext uri="{FF2B5EF4-FFF2-40B4-BE49-F238E27FC236}">
                <a16:creationId xmlns:a16="http://schemas.microsoft.com/office/drawing/2014/main" id="{C63C8F31-85BB-3446-8845-A8E582F67F69}"/>
              </a:ext>
            </a:extLst>
          </p:cNvPr>
          <p:cNvGrpSpPr/>
          <p:nvPr/>
        </p:nvGrpSpPr>
        <p:grpSpPr>
          <a:xfrm>
            <a:off x="462505" y="4205448"/>
            <a:ext cx="839680" cy="788646"/>
            <a:chOff x="5070789" y="1939282"/>
            <a:chExt cx="1327759" cy="1139869"/>
          </a:xfrm>
        </p:grpSpPr>
        <p:sp>
          <p:nvSpPr>
            <p:cNvPr id="16" name="Hexagon 15">
              <a:extLst>
                <a:ext uri="{FF2B5EF4-FFF2-40B4-BE49-F238E27FC236}">
                  <a16:creationId xmlns:a16="http://schemas.microsoft.com/office/drawing/2014/main" id="{2AFF78F1-47D2-1745-8795-EF255C8EA5A1}"/>
                </a:ext>
              </a:extLst>
            </p:cNvPr>
            <p:cNvSpPr/>
            <p:nvPr/>
          </p:nvSpPr>
          <p:spPr>
            <a:xfrm>
              <a:off x="5070789" y="1939282"/>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Oval 16">
              <a:extLst>
                <a:ext uri="{FF2B5EF4-FFF2-40B4-BE49-F238E27FC236}">
                  <a16:creationId xmlns:a16="http://schemas.microsoft.com/office/drawing/2014/main" id="{CDC8B414-8CF1-F046-A3F5-CBB83DAFDEE0}"/>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1" name="Group 20">
            <a:extLst>
              <a:ext uri="{FF2B5EF4-FFF2-40B4-BE49-F238E27FC236}">
                <a16:creationId xmlns:a16="http://schemas.microsoft.com/office/drawing/2014/main" id="{86E49845-A2DA-9D49-8F9F-44A0F7359921}"/>
              </a:ext>
            </a:extLst>
          </p:cNvPr>
          <p:cNvGrpSpPr/>
          <p:nvPr/>
        </p:nvGrpSpPr>
        <p:grpSpPr>
          <a:xfrm>
            <a:off x="484524" y="815598"/>
            <a:ext cx="774839" cy="751980"/>
            <a:chOff x="5010366" y="1927787"/>
            <a:chExt cx="1327759" cy="1139869"/>
          </a:xfrm>
        </p:grpSpPr>
        <p:sp>
          <p:nvSpPr>
            <p:cNvPr id="22" name="Hexagon 21">
              <a:extLst>
                <a:ext uri="{FF2B5EF4-FFF2-40B4-BE49-F238E27FC236}">
                  <a16:creationId xmlns:a16="http://schemas.microsoft.com/office/drawing/2014/main" id="{195A3C94-A09A-9A43-A33D-EAF640E19FD8}"/>
                </a:ext>
              </a:extLst>
            </p:cNvPr>
            <p:cNvSpPr/>
            <p:nvPr/>
          </p:nvSpPr>
          <p:spPr>
            <a:xfrm>
              <a:off x="5010366" y="1927787"/>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 name="Oval 22">
              <a:extLst>
                <a:ext uri="{FF2B5EF4-FFF2-40B4-BE49-F238E27FC236}">
                  <a16:creationId xmlns:a16="http://schemas.microsoft.com/office/drawing/2014/main" id="{5AFFF815-69A3-F247-B5B7-EA3FFB6E2BB6}"/>
                </a:ext>
              </a:extLst>
            </p:cNvPr>
            <p:cNvSpPr/>
            <p:nvPr/>
          </p:nvSpPr>
          <p:spPr>
            <a:xfrm>
              <a:off x="5232362" y="2006415"/>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1" name="Group 10">
            <a:extLst>
              <a:ext uri="{FF2B5EF4-FFF2-40B4-BE49-F238E27FC236}">
                <a16:creationId xmlns:a16="http://schemas.microsoft.com/office/drawing/2014/main" id="{4621E9BC-85CC-B845-B9AC-A5381FA702EB}"/>
              </a:ext>
            </a:extLst>
          </p:cNvPr>
          <p:cNvGrpSpPr/>
          <p:nvPr/>
        </p:nvGrpSpPr>
        <p:grpSpPr>
          <a:xfrm>
            <a:off x="481004" y="2509517"/>
            <a:ext cx="821181" cy="801861"/>
            <a:chOff x="5060515" y="1929008"/>
            <a:chExt cx="1327761" cy="1139869"/>
          </a:xfrm>
        </p:grpSpPr>
        <p:sp>
          <p:nvSpPr>
            <p:cNvPr id="9" name="Hexagon 8">
              <a:extLst>
                <a:ext uri="{FF2B5EF4-FFF2-40B4-BE49-F238E27FC236}">
                  <a16:creationId xmlns:a16="http://schemas.microsoft.com/office/drawing/2014/main" id="{54D738F2-39C0-3B48-B7C8-EBAC492968BA}"/>
                </a:ext>
              </a:extLst>
            </p:cNvPr>
            <p:cNvSpPr/>
            <p:nvPr/>
          </p:nvSpPr>
          <p:spPr>
            <a:xfrm>
              <a:off x="5060515" y="1929008"/>
              <a:ext cx="1327761"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Oval 9">
              <a:extLst>
                <a:ext uri="{FF2B5EF4-FFF2-40B4-BE49-F238E27FC236}">
                  <a16:creationId xmlns:a16="http://schemas.microsoft.com/office/drawing/2014/main" id="{86F49C9F-78E8-1D4C-8236-A50B12136739}"/>
                </a:ext>
              </a:extLst>
            </p:cNvPr>
            <p:cNvSpPr/>
            <p:nvPr/>
          </p:nvSpPr>
          <p:spPr>
            <a:xfrm>
              <a:off x="5262582" y="2010475"/>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pic>
        <p:nvPicPr>
          <p:cNvPr id="64" name="Graphic 63" descr="Business Growth">
            <a:extLst>
              <a:ext uri="{FF2B5EF4-FFF2-40B4-BE49-F238E27FC236}">
                <a16:creationId xmlns:a16="http://schemas.microsoft.com/office/drawing/2014/main" id="{55D64434-D27D-AC40-8C7D-FF18E87B5F18}"/>
              </a:ext>
            </a:extLst>
          </p:cNvPr>
          <p:cNvPicPr>
            <a:picLocks noChangeAspect="1"/>
          </p:cNvPicPr>
          <p:nvPr/>
        </p:nvPicPr>
        <p:blipFill>
          <a:blip r:embed="rId13">
            <a:extLst>
              <a:ext uri="{96DAC541-7B7A-43D3-8B79-37D633B846F1}">
                <asvg:svgBlip xmlns:asvg="http://schemas.microsoft.com/office/drawing/2016/SVG/main" xmlns="" r:embed="rId8"/>
              </a:ext>
            </a:extLst>
          </a:blip>
          <a:stretch>
            <a:fillRect/>
          </a:stretch>
        </p:blipFill>
        <p:spPr>
          <a:xfrm>
            <a:off x="680846" y="4360111"/>
            <a:ext cx="480177" cy="510294"/>
          </a:xfrm>
          <a:prstGeom prst="rect">
            <a:avLst/>
          </a:prstGeom>
        </p:spPr>
      </p:pic>
      <p:grpSp>
        <p:nvGrpSpPr>
          <p:cNvPr id="8" name="Group 7"/>
          <p:cNvGrpSpPr/>
          <p:nvPr/>
        </p:nvGrpSpPr>
        <p:grpSpPr>
          <a:xfrm>
            <a:off x="493209" y="5052044"/>
            <a:ext cx="797797" cy="774506"/>
            <a:chOff x="4450373" y="4613914"/>
            <a:chExt cx="1327759" cy="1139869"/>
          </a:xfrm>
        </p:grpSpPr>
        <p:grpSp>
          <p:nvGrpSpPr>
            <p:cNvPr id="31" name="Group 30">
              <a:extLst>
                <a:ext uri="{FF2B5EF4-FFF2-40B4-BE49-F238E27FC236}">
                  <a16:creationId xmlns:a16="http://schemas.microsoft.com/office/drawing/2014/main" id="{49875E6E-9082-2041-A25D-372D568E6156}"/>
                </a:ext>
              </a:extLst>
            </p:cNvPr>
            <p:cNvGrpSpPr/>
            <p:nvPr/>
          </p:nvGrpSpPr>
          <p:grpSpPr>
            <a:xfrm>
              <a:off x="4450373" y="4613914"/>
              <a:ext cx="1327759" cy="1139869"/>
              <a:chOff x="5060515" y="1929008"/>
              <a:chExt cx="1327759" cy="1139869"/>
            </a:xfrm>
          </p:grpSpPr>
          <p:sp>
            <p:nvSpPr>
              <p:cNvPr id="32" name="Hexagon 31">
                <a:extLst>
                  <a:ext uri="{FF2B5EF4-FFF2-40B4-BE49-F238E27FC236}">
                    <a16:creationId xmlns:a16="http://schemas.microsoft.com/office/drawing/2014/main" id="{716FA66D-35FF-6244-8C11-7BE53FA919B5}"/>
                  </a:ext>
                </a:extLst>
              </p:cNvPr>
              <p:cNvSpPr/>
              <p:nvPr/>
            </p:nvSpPr>
            <p:spPr>
              <a:xfrm>
                <a:off x="5060515" y="1929008"/>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Oval 32">
                <a:extLst>
                  <a:ext uri="{FF2B5EF4-FFF2-40B4-BE49-F238E27FC236}">
                    <a16:creationId xmlns:a16="http://schemas.microsoft.com/office/drawing/2014/main" id="{76DFA617-DCA3-6248-B13B-7E32E5A9E82E}"/>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pic>
          <p:nvPicPr>
            <p:cNvPr id="98" name="Graphic 97" descr="Group">
              <a:extLst>
                <a:ext uri="{FF2B5EF4-FFF2-40B4-BE49-F238E27FC236}">
                  <a16:creationId xmlns:a16="http://schemas.microsoft.com/office/drawing/2014/main" id="{8A7059D7-B129-1E41-9897-43233F1C639E}"/>
                </a:ext>
              </a:extLst>
            </p:cNvPr>
            <p:cNvPicPr>
              <a:picLocks noChangeAspect="1"/>
            </p:cNvPicPr>
            <p:nvPr/>
          </p:nvPicPr>
          <p:blipFill>
            <a:blip r:embed="rId14">
              <a:extLst>
                <a:ext uri="{96DAC541-7B7A-43D3-8B79-37D633B846F1}">
                  <asvg:svgBlip xmlns:asvg="http://schemas.microsoft.com/office/drawing/2016/SVG/main" xmlns="" r:embed="rId15"/>
                </a:ext>
              </a:extLst>
            </a:blip>
            <a:stretch>
              <a:fillRect/>
            </a:stretch>
          </p:blipFill>
          <p:spPr>
            <a:xfrm>
              <a:off x="4968980" y="5020046"/>
              <a:ext cx="589001" cy="589001"/>
            </a:xfrm>
            <a:prstGeom prst="rect">
              <a:avLst/>
            </a:prstGeom>
          </p:spPr>
        </p:pic>
        <p:pic>
          <p:nvPicPr>
            <p:cNvPr id="100" name="Graphic 99" descr="Deciduous tree">
              <a:extLst>
                <a:ext uri="{FF2B5EF4-FFF2-40B4-BE49-F238E27FC236}">
                  <a16:creationId xmlns:a16="http://schemas.microsoft.com/office/drawing/2014/main" id="{9819F59A-89A2-CD4D-BAEB-BF00779C9851}"/>
                </a:ext>
              </a:extLst>
            </p:cNvPr>
            <p:cNvPicPr>
              <a:picLocks noChangeAspect="1"/>
            </p:cNvPicPr>
            <p:nvPr/>
          </p:nvPicPr>
          <p:blipFill>
            <a:blip r:embed="rId16">
              <a:extLst>
                <a:ext uri="{96DAC541-7B7A-43D3-8B79-37D633B846F1}">
                  <asvg:svgBlip xmlns:asvg="http://schemas.microsoft.com/office/drawing/2016/SVG/main" xmlns="" r:embed="rId17"/>
                </a:ext>
              </a:extLst>
            </a:blip>
            <a:stretch>
              <a:fillRect/>
            </a:stretch>
          </p:blipFill>
          <p:spPr>
            <a:xfrm>
              <a:off x="4740268" y="4790878"/>
              <a:ext cx="523213" cy="523213"/>
            </a:xfrm>
            <a:prstGeom prst="rect">
              <a:avLst/>
            </a:prstGeom>
          </p:spPr>
        </p:pic>
      </p:grpSp>
      <p:grpSp>
        <p:nvGrpSpPr>
          <p:cNvPr id="24" name="Group 23">
            <a:extLst>
              <a:ext uri="{FF2B5EF4-FFF2-40B4-BE49-F238E27FC236}">
                <a16:creationId xmlns:a16="http://schemas.microsoft.com/office/drawing/2014/main" id="{487AC486-5D27-AC43-82F2-C222EBCCC885}"/>
              </a:ext>
            </a:extLst>
          </p:cNvPr>
          <p:cNvGrpSpPr/>
          <p:nvPr/>
        </p:nvGrpSpPr>
        <p:grpSpPr>
          <a:xfrm>
            <a:off x="477805" y="3376933"/>
            <a:ext cx="824380" cy="787388"/>
            <a:chOff x="5060515" y="1929008"/>
            <a:chExt cx="1327759" cy="1139869"/>
          </a:xfrm>
        </p:grpSpPr>
        <p:sp>
          <p:nvSpPr>
            <p:cNvPr id="25" name="Hexagon 24">
              <a:extLst>
                <a:ext uri="{FF2B5EF4-FFF2-40B4-BE49-F238E27FC236}">
                  <a16:creationId xmlns:a16="http://schemas.microsoft.com/office/drawing/2014/main" id="{1EC9AD10-8440-E94E-9B1A-51420D3844D0}"/>
                </a:ext>
              </a:extLst>
            </p:cNvPr>
            <p:cNvSpPr/>
            <p:nvPr/>
          </p:nvSpPr>
          <p:spPr>
            <a:xfrm>
              <a:off x="5060515" y="1929008"/>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Oval 25">
              <a:extLst>
                <a:ext uri="{FF2B5EF4-FFF2-40B4-BE49-F238E27FC236}">
                  <a16:creationId xmlns:a16="http://schemas.microsoft.com/office/drawing/2014/main" id="{E377C240-47AF-3048-886D-C98E62035EE2}"/>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pic>
        <p:nvPicPr>
          <p:cNvPr id="46" name="Graphic 45" descr="Drawing compass">
            <a:extLst>
              <a:ext uri="{FF2B5EF4-FFF2-40B4-BE49-F238E27FC236}">
                <a16:creationId xmlns:a16="http://schemas.microsoft.com/office/drawing/2014/main" id="{6055AD77-A1A0-DB4F-9814-E9621830733C}"/>
              </a:ext>
            </a:extLst>
          </p:cNvPr>
          <p:cNvPicPr>
            <a:picLocks noChangeAspect="1"/>
          </p:cNvPicPr>
          <p:nvPr/>
        </p:nvPicPr>
        <p:blipFill>
          <a:blip r:embed="rId18">
            <a:extLst>
              <a:ext uri="{96DAC541-7B7A-43D3-8B79-37D633B846F1}">
                <asvg:svgBlip xmlns:asvg="http://schemas.microsoft.com/office/drawing/2016/SVG/main" xmlns="" r:embed="rId19"/>
              </a:ext>
            </a:extLst>
          </a:blip>
          <a:stretch>
            <a:fillRect/>
          </a:stretch>
        </p:blipFill>
        <p:spPr>
          <a:xfrm>
            <a:off x="662824" y="898570"/>
            <a:ext cx="457750" cy="509277"/>
          </a:xfrm>
          <a:prstGeom prst="rect">
            <a:avLst/>
          </a:prstGeom>
        </p:spPr>
      </p:pic>
      <p:grpSp>
        <p:nvGrpSpPr>
          <p:cNvPr id="4" name="Group 3"/>
          <p:cNvGrpSpPr/>
          <p:nvPr/>
        </p:nvGrpSpPr>
        <p:grpSpPr>
          <a:xfrm>
            <a:off x="484524" y="1631170"/>
            <a:ext cx="806483" cy="806591"/>
            <a:chOff x="787186" y="3472730"/>
            <a:chExt cx="1327759" cy="1139869"/>
          </a:xfrm>
        </p:grpSpPr>
        <p:grpSp>
          <p:nvGrpSpPr>
            <p:cNvPr id="51" name="Group 50">
              <a:extLst>
                <a:ext uri="{FF2B5EF4-FFF2-40B4-BE49-F238E27FC236}">
                  <a16:creationId xmlns:a16="http://schemas.microsoft.com/office/drawing/2014/main" id="{B9050A09-0B2C-054B-BA71-73B459FDD087}"/>
                </a:ext>
              </a:extLst>
            </p:cNvPr>
            <p:cNvGrpSpPr/>
            <p:nvPr/>
          </p:nvGrpSpPr>
          <p:grpSpPr>
            <a:xfrm>
              <a:off x="787186" y="3472730"/>
              <a:ext cx="1327759" cy="1139869"/>
              <a:chOff x="5060515" y="1929008"/>
              <a:chExt cx="1327759" cy="1139869"/>
            </a:xfrm>
          </p:grpSpPr>
          <p:sp>
            <p:nvSpPr>
              <p:cNvPr id="52" name="Hexagon 51">
                <a:extLst>
                  <a:ext uri="{FF2B5EF4-FFF2-40B4-BE49-F238E27FC236}">
                    <a16:creationId xmlns:a16="http://schemas.microsoft.com/office/drawing/2014/main" id="{B4066B57-4C2B-2E4E-9388-2977853856D2}"/>
                  </a:ext>
                </a:extLst>
              </p:cNvPr>
              <p:cNvSpPr/>
              <p:nvPr/>
            </p:nvSpPr>
            <p:spPr>
              <a:xfrm>
                <a:off x="5060515" y="1929008"/>
                <a:ext cx="1327759" cy="1139869"/>
              </a:xfrm>
              <a:prstGeom prst="hexagon">
                <a:avLst/>
              </a:prstGeom>
              <a:solidFill>
                <a:schemeClr val="tx1">
                  <a:lumMod val="50000"/>
                  <a:lumOff val="50000"/>
                </a:schemeClr>
              </a:solid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5" name="Oval 54">
                <a:extLst>
                  <a:ext uri="{FF2B5EF4-FFF2-40B4-BE49-F238E27FC236}">
                    <a16:creationId xmlns:a16="http://schemas.microsoft.com/office/drawing/2014/main" id="{DB6D6C69-3214-A446-B585-B62CF8DA7BDC}"/>
                  </a:ext>
                </a:extLst>
              </p:cNvPr>
              <p:cNvSpPr/>
              <p:nvPr/>
            </p:nvSpPr>
            <p:spPr>
              <a:xfrm>
                <a:off x="5273458" y="2016689"/>
                <a:ext cx="901874" cy="97703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pic>
          <p:nvPicPr>
            <p:cNvPr id="59" name="Graphic 67" descr="Classroom">
              <a:extLst>
                <a:ext uri="{FF2B5EF4-FFF2-40B4-BE49-F238E27FC236}">
                  <a16:creationId xmlns:a16="http://schemas.microsoft.com/office/drawing/2014/main" id="{BF56240F-A3BE-DB47-AB75-30641CF911DD}"/>
                </a:ext>
              </a:extLst>
            </p:cNvPr>
            <p:cNvPicPr>
              <a:picLocks noChangeAspect="1"/>
            </p:cNvPicPr>
            <p:nvPr/>
          </p:nvPicPr>
          <p:blipFill>
            <a:blip r:embed="rId20">
              <a:extLst>
                <a:ext uri="{96DAC541-7B7A-43D3-8B79-37D633B846F1}">
                  <asvg:svgBlip xmlns:asvg="http://schemas.microsoft.com/office/drawing/2016/SVG/main" xmlns="" r:embed="rId10"/>
                </a:ext>
              </a:extLst>
            </a:blip>
            <a:stretch>
              <a:fillRect/>
            </a:stretch>
          </p:blipFill>
          <p:spPr>
            <a:xfrm>
              <a:off x="1093478" y="3676881"/>
              <a:ext cx="746044" cy="746044"/>
            </a:xfrm>
            <a:prstGeom prst="rect">
              <a:avLst/>
            </a:prstGeom>
          </p:spPr>
        </p:pic>
      </p:grpSp>
      <p:cxnSp>
        <p:nvCxnSpPr>
          <p:cNvPr id="72" name="Straight Connector 71"/>
          <p:cNvCxnSpPr/>
          <p:nvPr/>
        </p:nvCxnSpPr>
        <p:spPr>
          <a:xfrm>
            <a:off x="3830840" y="739342"/>
            <a:ext cx="0" cy="5996591"/>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5773824" y="768481"/>
            <a:ext cx="0" cy="5937903"/>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7807417" y="768481"/>
            <a:ext cx="0" cy="5937903"/>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9744709" y="768481"/>
            <a:ext cx="0" cy="5937903"/>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a:off x="9678431" y="744016"/>
            <a:ext cx="2047805" cy="830997"/>
          </a:xfrm>
          <a:prstGeom prst="rect">
            <a:avLst/>
          </a:prstGeom>
          <a:noFill/>
        </p:spPr>
        <p:txBody>
          <a:bodyPr wrap="none" rtlCol="0">
            <a:spAutoFit/>
          </a:bodyPr>
          <a:lstStyle/>
          <a:p>
            <a:pPr algn="ctr"/>
            <a:r>
              <a:rPr lang="en-US" sz="1600" dirty="0" err="1" smtClean="0"/>
              <a:t>Serverless</a:t>
            </a:r>
            <a:r>
              <a:rPr lang="en-US" sz="1600" dirty="0" smtClean="0"/>
              <a:t>, </a:t>
            </a:r>
            <a:r>
              <a:rPr lang="en-US" sz="1600" dirty="0" err="1" smtClean="0"/>
              <a:t>FaaS</a:t>
            </a:r>
            <a:r>
              <a:rPr lang="en-US" sz="1600" dirty="0" smtClean="0"/>
              <a:t>,</a:t>
            </a:r>
          </a:p>
          <a:p>
            <a:pPr algn="ctr"/>
            <a:r>
              <a:rPr lang="en-US" sz="1600" dirty="0" smtClean="0"/>
              <a:t>Predictive Monitoring,</a:t>
            </a:r>
          </a:p>
          <a:p>
            <a:pPr algn="ctr"/>
            <a:r>
              <a:rPr lang="en-US" sz="1600" dirty="0" smtClean="0"/>
              <a:t>Auto Failure Testing</a:t>
            </a:r>
            <a:endParaRPr lang="en-US" sz="1600" dirty="0"/>
          </a:p>
        </p:txBody>
      </p:sp>
      <p:sp>
        <p:nvSpPr>
          <p:cNvPr id="94" name="TextBox 93"/>
          <p:cNvSpPr txBox="1"/>
          <p:nvPr/>
        </p:nvSpPr>
        <p:spPr>
          <a:xfrm>
            <a:off x="1695798" y="1719012"/>
            <a:ext cx="1698607" cy="584775"/>
          </a:xfrm>
          <a:prstGeom prst="rect">
            <a:avLst/>
          </a:prstGeom>
          <a:noFill/>
        </p:spPr>
        <p:txBody>
          <a:bodyPr wrap="none" rtlCol="0">
            <a:spAutoFit/>
          </a:bodyPr>
          <a:lstStyle/>
          <a:p>
            <a:pPr algn="ctr"/>
            <a:r>
              <a:rPr lang="en-US" sz="1600" dirty="0" smtClean="0"/>
              <a:t>Agile Coaches</a:t>
            </a:r>
          </a:p>
          <a:p>
            <a:pPr algn="ctr"/>
            <a:r>
              <a:rPr lang="en-US" sz="1600" dirty="0" smtClean="0"/>
              <a:t>Individual Training</a:t>
            </a:r>
            <a:endParaRPr lang="en-US" sz="1600" dirty="0"/>
          </a:p>
        </p:txBody>
      </p:sp>
      <p:pic>
        <p:nvPicPr>
          <p:cNvPr id="58" name="Graphic 57" descr="Infinity">
            <a:extLst>
              <a:ext uri="{FF2B5EF4-FFF2-40B4-BE49-F238E27FC236}">
                <a16:creationId xmlns:a16="http://schemas.microsoft.com/office/drawing/2014/main" id="{C354EB3E-86C1-4146-B3E4-48A9530BAD6D}"/>
              </a:ext>
            </a:extLst>
          </p:cNvPr>
          <p:cNvPicPr>
            <a:picLocks noChangeAspect="1"/>
          </p:cNvPicPr>
          <p:nvPr/>
        </p:nvPicPr>
        <p:blipFill>
          <a:blip r:embed="rId21">
            <a:extLst>
              <a:ext uri="{96DAC541-7B7A-43D3-8B79-37D633B846F1}">
                <asvg:svgBlip xmlns:asvg="http://schemas.microsoft.com/office/drawing/2016/SVG/main" xmlns="" r:embed="rId6"/>
              </a:ext>
            </a:extLst>
          </a:blip>
          <a:stretch>
            <a:fillRect/>
          </a:stretch>
        </p:blipFill>
        <p:spPr>
          <a:xfrm>
            <a:off x="627292" y="3488304"/>
            <a:ext cx="496422" cy="564645"/>
          </a:xfrm>
          <a:prstGeom prst="rect">
            <a:avLst/>
          </a:prstGeom>
        </p:spPr>
      </p:pic>
      <p:pic>
        <p:nvPicPr>
          <p:cNvPr id="40"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22">
            <a:extLst>
              <a:ext uri="{96DAC541-7B7A-43D3-8B79-37D633B846F1}">
                <asvg:svgBlip xmlns:asvg="http://schemas.microsoft.com/office/drawing/2016/SVG/main" xmlns="" r:embed="rId23"/>
              </a:ext>
            </a:extLst>
          </a:blip>
          <a:stretch>
            <a:fillRect/>
          </a:stretch>
        </p:blipFill>
        <p:spPr>
          <a:xfrm>
            <a:off x="674143" y="2619845"/>
            <a:ext cx="435368" cy="492170"/>
          </a:xfrm>
          <a:prstGeom prst="rect">
            <a:avLst/>
          </a:prstGeom>
        </p:spPr>
      </p:pic>
      <p:sp>
        <p:nvSpPr>
          <p:cNvPr id="97" name="TextBox 96"/>
          <p:cNvSpPr txBox="1"/>
          <p:nvPr/>
        </p:nvSpPr>
        <p:spPr>
          <a:xfrm>
            <a:off x="7886833" y="766613"/>
            <a:ext cx="1774053" cy="830997"/>
          </a:xfrm>
          <a:prstGeom prst="rect">
            <a:avLst/>
          </a:prstGeom>
          <a:noFill/>
        </p:spPr>
        <p:txBody>
          <a:bodyPr wrap="square" rtlCol="0">
            <a:spAutoFit/>
          </a:bodyPr>
          <a:lstStyle/>
          <a:p>
            <a:pPr algn="ctr"/>
            <a:r>
              <a:rPr lang="en-US" sz="1600" dirty="0" smtClean="0"/>
              <a:t>Microservices &amp; Service Mesh, Cloud Native</a:t>
            </a:r>
            <a:endParaRPr lang="en-US" sz="1600" dirty="0"/>
          </a:p>
        </p:txBody>
      </p:sp>
      <p:sp>
        <p:nvSpPr>
          <p:cNvPr id="99" name="TextBox 98"/>
          <p:cNvSpPr txBox="1"/>
          <p:nvPr/>
        </p:nvSpPr>
        <p:spPr>
          <a:xfrm>
            <a:off x="5815563" y="751839"/>
            <a:ext cx="2083664" cy="830997"/>
          </a:xfrm>
          <a:prstGeom prst="rect">
            <a:avLst/>
          </a:prstGeom>
          <a:noFill/>
        </p:spPr>
        <p:txBody>
          <a:bodyPr wrap="square" rtlCol="0">
            <a:spAutoFit/>
          </a:bodyPr>
          <a:lstStyle/>
          <a:p>
            <a:pPr algn="ctr"/>
            <a:r>
              <a:rPr lang="en-US" sz="1600" dirty="0" smtClean="0"/>
              <a:t>Containers &amp;</a:t>
            </a:r>
          </a:p>
          <a:p>
            <a:pPr algn="ctr"/>
            <a:r>
              <a:rPr lang="en-US" sz="1600" dirty="0" smtClean="0"/>
              <a:t>Orchestration, App Monitoring</a:t>
            </a:r>
            <a:endParaRPr lang="en-US" sz="1600" dirty="0"/>
          </a:p>
        </p:txBody>
      </p:sp>
      <p:sp>
        <p:nvSpPr>
          <p:cNvPr id="101" name="TextBox 100"/>
          <p:cNvSpPr txBox="1"/>
          <p:nvPr/>
        </p:nvSpPr>
        <p:spPr>
          <a:xfrm>
            <a:off x="1947018" y="853249"/>
            <a:ext cx="1056700" cy="338554"/>
          </a:xfrm>
          <a:prstGeom prst="rect">
            <a:avLst/>
          </a:prstGeom>
          <a:noFill/>
        </p:spPr>
        <p:txBody>
          <a:bodyPr wrap="none" rtlCol="0">
            <a:spAutoFit/>
          </a:bodyPr>
          <a:lstStyle/>
          <a:p>
            <a:r>
              <a:rPr lang="en-US" sz="1600" dirty="0" smtClean="0"/>
              <a:t>CI Pipeline</a:t>
            </a:r>
            <a:endParaRPr lang="en-US" sz="1600" dirty="0"/>
          </a:p>
        </p:txBody>
      </p:sp>
      <p:sp>
        <p:nvSpPr>
          <p:cNvPr id="102" name="TextBox 101"/>
          <p:cNvSpPr txBox="1"/>
          <p:nvPr/>
        </p:nvSpPr>
        <p:spPr>
          <a:xfrm>
            <a:off x="1756611" y="1140916"/>
            <a:ext cx="1523430" cy="338554"/>
          </a:xfrm>
          <a:prstGeom prst="rect">
            <a:avLst/>
          </a:prstGeom>
          <a:noFill/>
        </p:spPr>
        <p:txBody>
          <a:bodyPr wrap="none" rtlCol="0">
            <a:spAutoFit/>
          </a:bodyPr>
          <a:lstStyle/>
          <a:p>
            <a:r>
              <a:rPr lang="en-US" sz="1600" dirty="0" smtClean="0"/>
              <a:t>Cloud Migration</a:t>
            </a:r>
            <a:endParaRPr lang="en-US" sz="1600" dirty="0"/>
          </a:p>
        </p:txBody>
      </p:sp>
      <p:sp>
        <p:nvSpPr>
          <p:cNvPr id="103" name="TextBox 102"/>
          <p:cNvSpPr txBox="1"/>
          <p:nvPr/>
        </p:nvSpPr>
        <p:spPr>
          <a:xfrm>
            <a:off x="3945286" y="763722"/>
            <a:ext cx="1733039" cy="830997"/>
          </a:xfrm>
          <a:prstGeom prst="rect">
            <a:avLst/>
          </a:prstGeom>
          <a:noFill/>
        </p:spPr>
        <p:txBody>
          <a:bodyPr wrap="none" rtlCol="0">
            <a:spAutoFit/>
          </a:bodyPr>
          <a:lstStyle/>
          <a:p>
            <a:pPr algn="ctr"/>
            <a:r>
              <a:rPr lang="en-US" sz="1600" dirty="0" smtClean="0"/>
              <a:t>CD Pipeline,</a:t>
            </a:r>
          </a:p>
          <a:p>
            <a:pPr algn="ctr"/>
            <a:r>
              <a:rPr lang="en-US" sz="1600" dirty="0" err="1" smtClean="0"/>
              <a:t>Infr</a:t>
            </a:r>
            <a:r>
              <a:rPr lang="en-US" sz="1600" dirty="0" smtClean="0"/>
              <a:t>. Automation &amp;</a:t>
            </a:r>
          </a:p>
          <a:p>
            <a:pPr algn="ctr"/>
            <a:r>
              <a:rPr lang="en-US" sz="1600" dirty="0" smtClean="0"/>
              <a:t>Basic Monitoring</a:t>
            </a:r>
            <a:endParaRPr lang="en-US" sz="1600" dirty="0"/>
          </a:p>
        </p:txBody>
      </p:sp>
      <p:sp>
        <p:nvSpPr>
          <p:cNvPr id="104" name="TextBox 103"/>
          <p:cNvSpPr txBox="1"/>
          <p:nvPr/>
        </p:nvSpPr>
        <p:spPr>
          <a:xfrm>
            <a:off x="1489343" y="3435667"/>
            <a:ext cx="2099293" cy="584775"/>
          </a:xfrm>
          <a:prstGeom prst="rect">
            <a:avLst/>
          </a:prstGeom>
          <a:noFill/>
        </p:spPr>
        <p:txBody>
          <a:bodyPr wrap="none" rtlCol="0">
            <a:spAutoFit/>
          </a:bodyPr>
          <a:lstStyle/>
          <a:p>
            <a:pPr algn="ctr"/>
            <a:r>
              <a:rPr lang="en-US" sz="1600" dirty="0" smtClean="0"/>
              <a:t>Agile Development</a:t>
            </a:r>
          </a:p>
          <a:p>
            <a:pPr algn="ctr"/>
            <a:r>
              <a:rPr lang="en-US" sz="1600" dirty="0" smtClean="0"/>
              <a:t>Continuous Integration</a:t>
            </a:r>
            <a:endParaRPr lang="en-US" sz="1600" dirty="0"/>
          </a:p>
        </p:txBody>
      </p:sp>
      <p:sp>
        <p:nvSpPr>
          <p:cNvPr id="105" name="TextBox 104"/>
          <p:cNvSpPr txBox="1"/>
          <p:nvPr/>
        </p:nvSpPr>
        <p:spPr>
          <a:xfrm>
            <a:off x="3650719" y="3331104"/>
            <a:ext cx="2257061" cy="830997"/>
          </a:xfrm>
          <a:prstGeom prst="rect">
            <a:avLst/>
          </a:prstGeom>
          <a:noFill/>
        </p:spPr>
        <p:txBody>
          <a:bodyPr wrap="square" rtlCol="0">
            <a:spAutoFit/>
          </a:bodyPr>
          <a:lstStyle/>
          <a:p>
            <a:pPr algn="ctr"/>
            <a:r>
              <a:rPr lang="en-US" sz="1600" dirty="0" smtClean="0"/>
              <a:t>TDD and </a:t>
            </a:r>
          </a:p>
          <a:p>
            <a:pPr algn="ctr"/>
            <a:r>
              <a:rPr lang="en-US" sz="1600" dirty="0" smtClean="0"/>
              <a:t>Continuous Improvement</a:t>
            </a:r>
            <a:endParaRPr lang="en-US" sz="1600" dirty="0"/>
          </a:p>
        </p:txBody>
      </p:sp>
      <p:sp>
        <p:nvSpPr>
          <p:cNvPr id="106" name="TextBox 105"/>
          <p:cNvSpPr txBox="1"/>
          <p:nvPr/>
        </p:nvSpPr>
        <p:spPr>
          <a:xfrm>
            <a:off x="1378655" y="2574839"/>
            <a:ext cx="2402645" cy="584775"/>
          </a:xfrm>
          <a:prstGeom prst="rect">
            <a:avLst/>
          </a:prstGeom>
          <a:noFill/>
        </p:spPr>
        <p:txBody>
          <a:bodyPr wrap="none" rtlCol="0">
            <a:spAutoFit/>
          </a:bodyPr>
          <a:lstStyle/>
          <a:p>
            <a:pPr algn="ctr"/>
            <a:r>
              <a:rPr lang="en-US" sz="1600" dirty="0" smtClean="0"/>
              <a:t>Value Stream w/ Full-Stack</a:t>
            </a:r>
          </a:p>
          <a:p>
            <a:pPr algn="ctr"/>
            <a:r>
              <a:rPr lang="en-US" sz="1600" dirty="0" smtClean="0"/>
              <a:t>Product Teams Pilot</a:t>
            </a:r>
          </a:p>
        </p:txBody>
      </p:sp>
      <p:sp>
        <p:nvSpPr>
          <p:cNvPr id="107" name="TextBox 106"/>
          <p:cNvSpPr txBox="1"/>
          <p:nvPr/>
        </p:nvSpPr>
        <p:spPr>
          <a:xfrm>
            <a:off x="3867637" y="1649512"/>
            <a:ext cx="1768696" cy="830997"/>
          </a:xfrm>
          <a:prstGeom prst="rect">
            <a:avLst/>
          </a:prstGeom>
          <a:noFill/>
        </p:spPr>
        <p:txBody>
          <a:bodyPr wrap="square" rtlCol="0">
            <a:spAutoFit/>
          </a:bodyPr>
          <a:lstStyle/>
          <a:p>
            <a:pPr algn="ctr"/>
            <a:r>
              <a:rPr lang="en-US" sz="1600" dirty="0" smtClean="0"/>
              <a:t>Technical Coaches, Team-based Training</a:t>
            </a:r>
          </a:p>
        </p:txBody>
      </p:sp>
      <p:sp>
        <p:nvSpPr>
          <p:cNvPr id="108" name="TextBox 107"/>
          <p:cNvSpPr txBox="1"/>
          <p:nvPr/>
        </p:nvSpPr>
        <p:spPr>
          <a:xfrm>
            <a:off x="1841146" y="4427718"/>
            <a:ext cx="1279517" cy="338554"/>
          </a:xfrm>
          <a:prstGeom prst="rect">
            <a:avLst/>
          </a:prstGeom>
          <a:noFill/>
        </p:spPr>
        <p:txBody>
          <a:bodyPr wrap="none" rtlCol="0">
            <a:spAutoFit/>
          </a:bodyPr>
          <a:lstStyle/>
          <a:p>
            <a:pPr algn="ctr"/>
            <a:r>
              <a:rPr lang="en-US" sz="1600" dirty="0" smtClean="0"/>
              <a:t>Capture Data</a:t>
            </a:r>
            <a:endParaRPr lang="en-US" sz="1600" dirty="0"/>
          </a:p>
        </p:txBody>
      </p:sp>
      <p:sp>
        <p:nvSpPr>
          <p:cNvPr id="109" name="TextBox 108"/>
          <p:cNvSpPr txBox="1"/>
          <p:nvPr/>
        </p:nvSpPr>
        <p:spPr>
          <a:xfrm>
            <a:off x="1483086" y="5270020"/>
            <a:ext cx="2079993" cy="338554"/>
          </a:xfrm>
          <a:prstGeom prst="rect">
            <a:avLst/>
          </a:prstGeom>
          <a:noFill/>
        </p:spPr>
        <p:txBody>
          <a:bodyPr wrap="none" rtlCol="0">
            <a:spAutoFit/>
          </a:bodyPr>
          <a:lstStyle/>
          <a:p>
            <a:pPr algn="ctr"/>
            <a:r>
              <a:rPr lang="en-US" sz="1600" dirty="0" smtClean="0"/>
              <a:t>Community of Practice</a:t>
            </a:r>
            <a:endParaRPr lang="en-US" sz="1600" dirty="0"/>
          </a:p>
        </p:txBody>
      </p:sp>
      <p:sp>
        <p:nvSpPr>
          <p:cNvPr id="110" name="TextBox 109"/>
          <p:cNvSpPr txBox="1"/>
          <p:nvPr/>
        </p:nvSpPr>
        <p:spPr>
          <a:xfrm>
            <a:off x="7658883" y="1818894"/>
            <a:ext cx="2254622" cy="338554"/>
          </a:xfrm>
          <a:prstGeom prst="rect">
            <a:avLst/>
          </a:prstGeom>
          <a:noFill/>
        </p:spPr>
        <p:txBody>
          <a:bodyPr wrap="square" rtlCol="0">
            <a:spAutoFit/>
          </a:bodyPr>
          <a:lstStyle/>
          <a:p>
            <a:pPr algn="ctr"/>
            <a:r>
              <a:rPr lang="en-US" sz="1600" dirty="0" smtClean="0"/>
              <a:t>Dojo &amp; Accelerators</a:t>
            </a:r>
            <a:endParaRPr lang="en-US" sz="1600" dirty="0"/>
          </a:p>
        </p:txBody>
      </p:sp>
      <p:sp>
        <p:nvSpPr>
          <p:cNvPr id="111" name="TextBox 110"/>
          <p:cNvSpPr txBox="1"/>
          <p:nvPr/>
        </p:nvSpPr>
        <p:spPr>
          <a:xfrm>
            <a:off x="5651922" y="1598185"/>
            <a:ext cx="2254622" cy="830997"/>
          </a:xfrm>
          <a:prstGeom prst="rect">
            <a:avLst/>
          </a:prstGeom>
          <a:noFill/>
        </p:spPr>
        <p:txBody>
          <a:bodyPr wrap="square" rtlCol="0">
            <a:spAutoFit/>
          </a:bodyPr>
          <a:lstStyle/>
          <a:p>
            <a:pPr algn="ctr"/>
            <a:r>
              <a:rPr lang="en-US" sz="1600" dirty="0" smtClean="0"/>
              <a:t>Immersions, Code Library, Refactoring Support</a:t>
            </a:r>
            <a:endParaRPr lang="en-US" sz="1600" dirty="0"/>
          </a:p>
        </p:txBody>
      </p:sp>
      <p:sp>
        <p:nvSpPr>
          <p:cNvPr id="112" name="TextBox 111"/>
          <p:cNvSpPr txBox="1"/>
          <p:nvPr/>
        </p:nvSpPr>
        <p:spPr>
          <a:xfrm>
            <a:off x="9543941" y="1844160"/>
            <a:ext cx="2254622" cy="338554"/>
          </a:xfrm>
          <a:prstGeom prst="rect">
            <a:avLst/>
          </a:prstGeom>
          <a:noFill/>
        </p:spPr>
        <p:txBody>
          <a:bodyPr wrap="square" rtlCol="0">
            <a:spAutoFit/>
          </a:bodyPr>
          <a:lstStyle/>
          <a:p>
            <a:pPr algn="ctr"/>
            <a:r>
              <a:rPr lang="en-US" sz="1600" dirty="0" smtClean="0"/>
              <a:t>Self-Service</a:t>
            </a:r>
          </a:p>
        </p:txBody>
      </p:sp>
      <p:sp>
        <p:nvSpPr>
          <p:cNvPr id="113" name="TextBox 112"/>
          <p:cNvSpPr txBox="1"/>
          <p:nvPr/>
        </p:nvSpPr>
        <p:spPr>
          <a:xfrm>
            <a:off x="7780391" y="2625512"/>
            <a:ext cx="1863934" cy="584775"/>
          </a:xfrm>
          <a:prstGeom prst="rect">
            <a:avLst/>
          </a:prstGeom>
          <a:noFill/>
        </p:spPr>
        <p:txBody>
          <a:bodyPr wrap="square" rtlCol="0">
            <a:spAutoFit/>
          </a:bodyPr>
          <a:lstStyle/>
          <a:p>
            <a:pPr algn="ctr"/>
            <a:r>
              <a:rPr lang="en-US" sz="1600" dirty="0" smtClean="0"/>
              <a:t>YBYO, Rotating Support</a:t>
            </a:r>
            <a:endParaRPr lang="en-US" sz="1600" dirty="0"/>
          </a:p>
        </p:txBody>
      </p:sp>
      <p:sp>
        <p:nvSpPr>
          <p:cNvPr id="114" name="TextBox 113"/>
          <p:cNvSpPr txBox="1"/>
          <p:nvPr/>
        </p:nvSpPr>
        <p:spPr>
          <a:xfrm>
            <a:off x="4339066" y="4444228"/>
            <a:ext cx="880369" cy="338554"/>
          </a:xfrm>
          <a:prstGeom prst="rect">
            <a:avLst/>
          </a:prstGeom>
          <a:noFill/>
        </p:spPr>
        <p:txBody>
          <a:bodyPr wrap="none" rtlCol="0">
            <a:spAutoFit/>
          </a:bodyPr>
          <a:lstStyle/>
          <a:p>
            <a:pPr algn="ctr"/>
            <a:r>
              <a:rPr lang="en-US" sz="1600" dirty="0" smtClean="0"/>
              <a:t>Baseline</a:t>
            </a:r>
            <a:endParaRPr lang="en-US" sz="1600" dirty="0"/>
          </a:p>
        </p:txBody>
      </p:sp>
      <p:sp>
        <p:nvSpPr>
          <p:cNvPr id="115" name="TextBox 114"/>
          <p:cNvSpPr txBox="1"/>
          <p:nvPr/>
        </p:nvSpPr>
        <p:spPr>
          <a:xfrm>
            <a:off x="6144860" y="4427351"/>
            <a:ext cx="1127232" cy="338554"/>
          </a:xfrm>
          <a:prstGeom prst="rect">
            <a:avLst/>
          </a:prstGeom>
          <a:noFill/>
        </p:spPr>
        <p:txBody>
          <a:bodyPr wrap="none" rtlCol="0">
            <a:spAutoFit/>
          </a:bodyPr>
          <a:lstStyle/>
          <a:p>
            <a:pPr algn="ctr"/>
            <a:r>
              <a:rPr lang="en-US" sz="1600" dirty="0" smtClean="0"/>
              <a:t>Benchmark</a:t>
            </a:r>
            <a:endParaRPr lang="en-US" sz="1600" dirty="0"/>
          </a:p>
        </p:txBody>
      </p:sp>
      <p:sp>
        <p:nvSpPr>
          <p:cNvPr id="116" name="TextBox 115"/>
          <p:cNvSpPr txBox="1"/>
          <p:nvPr/>
        </p:nvSpPr>
        <p:spPr>
          <a:xfrm>
            <a:off x="5454672" y="3338813"/>
            <a:ext cx="2560460" cy="830997"/>
          </a:xfrm>
          <a:prstGeom prst="rect">
            <a:avLst/>
          </a:prstGeom>
          <a:noFill/>
        </p:spPr>
        <p:txBody>
          <a:bodyPr wrap="square" rtlCol="0">
            <a:spAutoFit/>
          </a:bodyPr>
          <a:lstStyle/>
          <a:p>
            <a:pPr algn="ctr"/>
            <a:r>
              <a:rPr lang="en-US" sz="1600" dirty="0" err="1" smtClean="0"/>
              <a:t>Trunkbased</a:t>
            </a:r>
            <a:r>
              <a:rPr lang="en-US" sz="1600" dirty="0" smtClean="0"/>
              <a:t> Dev,</a:t>
            </a:r>
          </a:p>
          <a:p>
            <a:pPr algn="ctr"/>
            <a:r>
              <a:rPr lang="en-US" sz="1600" dirty="0" smtClean="0"/>
              <a:t>Continuous Delivery,</a:t>
            </a:r>
          </a:p>
          <a:p>
            <a:pPr algn="ctr"/>
            <a:r>
              <a:rPr lang="en-US" sz="1600" dirty="0" smtClean="0"/>
              <a:t>Blue-Green</a:t>
            </a:r>
            <a:endParaRPr lang="en-US" sz="1600" dirty="0"/>
          </a:p>
        </p:txBody>
      </p:sp>
      <p:sp>
        <p:nvSpPr>
          <p:cNvPr id="117" name="TextBox 116"/>
          <p:cNvSpPr txBox="1"/>
          <p:nvPr/>
        </p:nvSpPr>
        <p:spPr>
          <a:xfrm>
            <a:off x="9842003" y="2607860"/>
            <a:ext cx="1701959" cy="584775"/>
          </a:xfrm>
          <a:prstGeom prst="rect">
            <a:avLst/>
          </a:prstGeom>
          <a:noFill/>
        </p:spPr>
        <p:txBody>
          <a:bodyPr wrap="square" rtlCol="0">
            <a:spAutoFit/>
          </a:bodyPr>
          <a:lstStyle/>
          <a:p>
            <a:pPr algn="ctr"/>
            <a:r>
              <a:rPr lang="en-US" sz="1600" dirty="0" smtClean="0"/>
              <a:t>Autonomous, Rapid Innovation</a:t>
            </a:r>
          </a:p>
        </p:txBody>
      </p:sp>
      <p:sp>
        <p:nvSpPr>
          <p:cNvPr id="118" name="TextBox 117"/>
          <p:cNvSpPr txBox="1"/>
          <p:nvPr/>
        </p:nvSpPr>
        <p:spPr>
          <a:xfrm>
            <a:off x="3671277" y="2457197"/>
            <a:ext cx="2196351" cy="830997"/>
          </a:xfrm>
          <a:prstGeom prst="rect">
            <a:avLst/>
          </a:prstGeom>
          <a:noFill/>
        </p:spPr>
        <p:txBody>
          <a:bodyPr wrap="square" rtlCol="0">
            <a:spAutoFit/>
          </a:bodyPr>
          <a:lstStyle/>
          <a:p>
            <a:pPr algn="ctr"/>
            <a:r>
              <a:rPr lang="en-US" sz="1600" dirty="0" smtClean="0"/>
              <a:t>Value Streams &amp; Product Teams</a:t>
            </a:r>
          </a:p>
          <a:p>
            <a:pPr algn="ctr"/>
            <a:r>
              <a:rPr lang="en-US" sz="1600" dirty="0" smtClean="0"/>
              <a:t>Fully Operational</a:t>
            </a:r>
          </a:p>
        </p:txBody>
      </p:sp>
      <p:sp>
        <p:nvSpPr>
          <p:cNvPr id="119" name="TextBox 118"/>
          <p:cNvSpPr txBox="1"/>
          <p:nvPr/>
        </p:nvSpPr>
        <p:spPr>
          <a:xfrm>
            <a:off x="5798999" y="2672839"/>
            <a:ext cx="1878470" cy="338554"/>
          </a:xfrm>
          <a:prstGeom prst="rect">
            <a:avLst/>
          </a:prstGeom>
          <a:noFill/>
        </p:spPr>
        <p:txBody>
          <a:bodyPr wrap="square" rtlCol="0">
            <a:spAutoFit/>
          </a:bodyPr>
          <a:lstStyle/>
          <a:p>
            <a:pPr algn="ctr"/>
            <a:r>
              <a:rPr lang="en-US" sz="1600" dirty="0" smtClean="0"/>
              <a:t>Cross-Skilling</a:t>
            </a:r>
          </a:p>
        </p:txBody>
      </p:sp>
      <p:sp>
        <p:nvSpPr>
          <p:cNvPr id="120" name="TextBox 119"/>
          <p:cNvSpPr txBox="1"/>
          <p:nvPr/>
        </p:nvSpPr>
        <p:spPr>
          <a:xfrm>
            <a:off x="7788846" y="3338813"/>
            <a:ext cx="1955863" cy="830997"/>
          </a:xfrm>
          <a:prstGeom prst="rect">
            <a:avLst/>
          </a:prstGeom>
          <a:noFill/>
        </p:spPr>
        <p:txBody>
          <a:bodyPr wrap="square" rtlCol="0">
            <a:spAutoFit/>
          </a:bodyPr>
          <a:lstStyle/>
          <a:p>
            <a:pPr algn="ctr"/>
            <a:r>
              <a:rPr lang="en-US" sz="1600" dirty="0" smtClean="0"/>
              <a:t>Continuous Deployment, Canary Releases</a:t>
            </a:r>
            <a:endParaRPr lang="en-US" sz="1600" dirty="0"/>
          </a:p>
        </p:txBody>
      </p:sp>
      <p:sp>
        <p:nvSpPr>
          <p:cNvPr id="121" name="TextBox 120"/>
          <p:cNvSpPr txBox="1"/>
          <p:nvPr/>
        </p:nvSpPr>
        <p:spPr>
          <a:xfrm>
            <a:off x="9693233" y="3338813"/>
            <a:ext cx="1955863" cy="830997"/>
          </a:xfrm>
          <a:prstGeom prst="rect">
            <a:avLst/>
          </a:prstGeom>
          <a:noFill/>
        </p:spPr>
        <p:txBody>
          <a:bodyPr wrap="square" rtlCol="0">
            <a:spAutoFit/>
          </a:bodyPr>
          <a:lstStyle/>
          <a:p>
            <a:pPr algn="ctr"/>
            <a:r>
              <a:rPr lang="en-US" sz="1600" dirty="0" smtClean="0"/>
              <a:t>Continuous Operations, A/B Testing</a:t>
            </a:r>
            <a:endParaRPr lang="en-US" sz="1600" dirty="0"/>
          </a:p>
        </p:txBody>
      </p:sp>
      <p:sp>
        <p:nvSpPr>
          <p:cNvPr id="122" name="TextBox 121"/>
          <p:cNvSpPr txBox="1"/>
          <p:nvPr/>
        </p:nvSpPr>
        <p:spPr>
          <a:xfrm>
            <a:off x="3827991" y="5180556"/>
            <a:ext cx="1799023" cy="584775"/>
          </a:xfrm>
          <a:prstGeom prst="rect">
            <a:avLst/>
          </a:prstGeom>
          <a:noFill/>
        </p:spPr>
        <p:txBody>
          <a:bodyPr wrap="square" rtlCol="0">
            <a:spAutoFit/>
          </a:bodyPr>
          <a:lstStyle/>
          <a:p>
            <a:pPr algn="ctr"/>
            <a:r>
              <a:rPr lang="en-US" sz="1600" dirty="0" smtClean="0"/>
              <a:t>Hack-a-thon &amp; Webinars</a:t>
            </a:r>
            <a:endParaRPr lang="en-US" sz="1600" dirty="0"/>
          </a:p>
        </p:txBody>
      </p:sp>
      <p:sp>
        <p:nvSpPr>
          <p:cNvPr id="123" name="TextBox 122"/>
          <p:cNvSpPr txBox="1"/>
          <p:nvPr/>
        </p:nvSpPr>
        <p:spPr>
          <a:xfrm>
            <a:off x="8198907" y="4430714"/>
            <a:ext cx="1065933" cy="338554"/>
          </a:xfrm>
          <a:prstGeom prst="rect">
            <a:avLst/>
          </a:prstGeom>
          <a:noFill/>
        </p:spPr>
        <p:txBody>
          <a:bodyPr wrap="none" rtlCol="0">
            <a:spAutoFit/>
          </a:bodyPr>
          <a:lstStyle/>
          <a:p>
            <a:pPr algn="ctr"/>
            <a:r>
              <a:rPr lang="en-US" sz="1600" dirty="0" smtClean="0"/>
              <a:t>Correlated</a:t>
            </a:r>
            <a:endParaRPr lang="en-US" sz="1600" dirty="0"/>
          </a:p>
        </p:txBody>
      </p:sp>
      <p:sp>
        <p:nvSpPr>
          <p:cNvPr id="126" name="TextBox 125"/>
          <p:cNvSpPr txBox="1"/>
          <p:nvPr/>
        </p:nvSpPr>
        <p:spPr>
          <a:xfrm>
            <a:off x="5860962" y="5293530"/>
            <a:ext cx="1799023" cy="338554"/>
          </a:xfrm>
          <a:prstGeom prst="rect">
            <a:avLst/>
          </a:prstGeom>
          <a:noFill/>
        </p:spPr>
        <p:txBody>
          <a:bodyPr wrap="square" rtlCol="0">
            <a:spAutoFit/>
          </a:bodyPr>
          <a:lstStyle/>
          <a:p>
            <a:pPr algn="ctr"/>
            <a:r>
              <a:rPr lang="en-US" sz="1600" dirty="0" smtClean="0"/>
              <a:t>Gamification</a:t>
            </a:r>
            <a:endParaRPr lang="en-US" sz="1600" dirty="0"/>
          </a:p>
        </p:txBody>
      </p:sp>
      <p:sp>
        <p:nvSpPr>
          <p:cNvPr id="127" name="TextBox 126"/>
          <p:cNvSpPr txBox="1"/>
          <p:nvPr/>
        </p:nvSpPr>
        <p:spPr>
          <a:xfrm>
            <a:off x="7852816" y="5180556"/>
            <a:ext cx="1799023" cy="584775"/>
          </a:xfrm>
          <a:prstGeom prst="rect">
            <a:avLst/>
          </a:prstGeom>
          <a:noFill/>
        </p:spPr>
        <p:txBody>
          <a:bodyPr wrap="square" rtlCol="0">
            <a:spAutoFit/>
          </a:bodyPr>
          <a:lstStyle/>
          <a:p>
            <a:pPr algn="ctr"/>
            <a:r>
              <a:rPr lang="en-US" sz="1600" dirty="0" smtClean="0"/>
              <a:t>Host Internal Conference</a:t>
            </a:r>
            <a:endParaRPr lang="en-US" sz="1600" dirty="0"/>
          </a:p>
        </p:txBody>
      </p:sp>
      <p:sp>
        <p:nvSpPr>
          <p:cNvPr id="128" name="TextBox 127"/>
          <p:cNvSpPr txBox="1"/>
          <p:nvPr/>
        </p:nvSpPr>
        <p:spPr>
          <a:xfrm>
            <a:off x="9752223" y="5180556"/>
            <a:ext cx="1799023" cy="584775"/>
          </a:xfrm>
          <a:prstGeom prst="rect">
            <a:avLst/>
          </a:prstGeom>
          <a:noFill/>
        </p:spPr>
        <p:txBody>
          <a:bodyPr wrap="square" rtlCol="0">
            <a:spAutoFit/>
          </a:bodyPr>
          <a:lstStyle/>
          <a:p>
            <a:pPr algn="ctr"/>
            <a:r>
              <a:rPr lang="en-US" sz="1600" dirty="0" smtClean="0"/>
              <a:t>Host External Conference</a:t>
            </a:r>
            <a:endParaRPr lang="en-US" sz="1600" dirty="0"/>
          </a:p>
        </p:txBody>
      </p:sp>
      <p:sp>
        <p:nvSpPr>
          <p:cNvPr id="129" name="TextBox 128"/>
          <p:cNvSpPr txBox="1"/>
          <p:nvPr/>
        </p:nvSpPr>
        <p:spPr>
          <a:xfrm>
            <a:off x="10089291" y="4350212"/>
            <a:ext cx="1207382" cy="584775"/>
          </a:xfrm>
          <a:prstGeom prst="rect">
            <a:avLst/>
          </a:prstGeom>
          <a:noFill/>
        </p:spPr>
        <p:txBody>
          <a:bodyPr wrap="none" rtlCol="0">
            <a:spAutoFit/>
          </a:bodyPr>
          <a:lstStyle/>
          <a:p>
            <a:pPr algn="ctr"/>
            <a:r>
              <a:rPr lang="en-US" sz="1600" dirty="0" smtClean="0"/>
              <a:t>Data-driven </a:t>
            </a:r>
          </a:p>
          <a:p>
            <a:pPr algn="ctr"/>
            <a:r>
              <a:rPr lang="en-US" sz="1600" dirty="0" smtClean="0"/>
              <a:t>Decisions</a:t>
            </a:r>
            <a:endParaRPr lang="en-US" sz="1600" dirty="0"/>
          </a:p>
        </p:txBody>
      </p:sp>
      <p:sp>
        <p:nvSpPr>
          <p:cNvPr id="130" name="TextBox 129"/>
          <p:cNvSpPr txBox="1"/>
          <p:nvPr/>
        </p:nvSpPr>
        <p:spPr>
          <a:xfrm>
            <a:off x="9777426" y="6004260"/>
            <a:ext cx="1799023" cy="584775"/>
          </a:xfrm>
          <a:prstGeom prst="rect">
            <a:avLst/>
          </a:prstGeom>
          <a:noFill/>
        </p:spPr>
        <p:txBody>
          <a:bodyPr wrap="square" rtlCol="0">
            <a:spAutoFit/>
          </a:bodyPr>
          <a:lstStyle/>
          <a:p>
            <a:pPr algn="ctr"/>
            <a:r>
              <a:rPr lang="en-US" sz="1600" dirty="0" smtClean="0"/>
              <a:t>Others tell our story</a:t>
            </a:r>
            <a:endParaRPr lang="en-US" sz="1600" dirty="0"/>
          </a:p>
        </p:txBody>
      </p:sp>
      <p:sp>
        <p:nvSpPr>
          <p:cNvPr id="131" name="TextBox 130"/>
          <p:cNvSpPr txBox="1"/>
          <p:nvPr/>
        </p:nvSpPr>
        <p:spPr>
          <a:xfrm>
            <a:off x="7941433" y="6039263"/>
            <a:ext cx="1799023" cy="584775"/>
          </a:xfrm>
          <a:prstGeom prst="rect">
            <a:avLst/>
          </a:prstGeom>
          <a:noFill/>
        </p:spPr>
        <p:txBody>
          <a:bodyPr wrap="square" rtlCol="0">
            <a:spAutoFit/>
          </a:bodyPr>
          <a:lstStyle/>
          <a:p>
            <a:pPr algn="ctr"/>
            <a:r>
              <a:rPr lang="en-US" sz="1600" dirty="0" smtClean="0"/>
              <a:t>Tell others our Story</a:t>
            </a:r>
            <a:endParaRPr lang="en-US" sz="1600" dirty="0"/>
          </a:p>
        </p:txBody>
      </p:sp>
      <p:sp>
        <p:nvSpPr>
          <p:cNvPr id="132" name="TextBox 131"/>
          <p:cNvSpPr txBox="1"/>
          <p:nvPr/>
        </p:nvSpPr>
        <p:spPr>
          <a:xfrm>
            <a:off x="3830840" y="6039263"/>
            <a:ext cx="1799023" cy="584775"/>
          </a:xfrm>
          <a:prstGeom prst="rect">
            <a:avLst/>
          </a:prstGeom>
          <a:noFill/>
        </p:spPr>
        <p:txBody>
          <a:bodyPr wrap="square" rtlCol="0">
            <a:spAutoFit/>
          </a:bodyPr>
          <a:lstStyle/>
          <a:p>
            <a:pPr algn="ctr"/>
            <a:r>
              <a:rPr lang="en-US" sz="1600" dirty="0" smtClean="0"/>
              <a:t>Share a Success Story</a:t>
            </a:r>
            <a:endParaRPr lang="en-US" sz="1600" dirty="0"/>
          </a:p>
        </p:txBody>
      </p:sp>
      <p:sp>
        <p:nvSpPr>
          <p:cNvPr id="133" name="TextBox 132"/>
          <p:cNvSpPr txBox="1"/>
          <p:nvPr/>
        </p:nvSpPr>
        <p:spPr>
          <a:xfrm>
            <a:off x="5864433" y="6019000"/>
            <a:ext cx="1799023" cy="584775"/>
          </a:xfrm>
          <a:prstGeom prst="rect">
            <a:avLst/>
          </a:prstGeom>
          <a:noFill/>
        </p:spPr>
        <p:txBody>
          <a:bodyPr wrap="square" rtlCol="0">
            <a:spAutoFit/>
          </a:bodyPr>
          <a:lstStyle/>
          <a:p>
            <a:pPr algn="ctr"/>
            <a:r>
              <a:rPr lang="en-US" sz="1600" dirty="0" smtClean="0"/>
              <a:t>Rewards &amp; Recognition</a:t>
            </a:r>
            <a:endParaRPr lang="en-US" sz="1600" dirty="0"/>
          </a:p>
        </p:txBody>
      </p:sp>
      <p:sp>
        <p:nvSpPr>
          <p:cNvPr id="134" name="TextBox 133"/>
          <p:cNvSpPr txBox="1"/>
          <p:nvPr/>
        </p:nvSpPr>
        <p:spPr>
          <a:xfrm>
            <a:off x="1581387" y="6142110"/>
            <a:ext cx="1799023" cy="338554"/>
          </a:xfrm>
          <a:prstGeom prst="rect">
            <a:avLst/>
          </a:prstGeom>
          <a:noFill/>
        </p:spPr>
        <p:txBody>
          <a:bodyPr wrap="square" rtlCol="0">
            <a:spAutoFit/>
          </a:bodyPr>
          <a:lstStyle/>
          <a:p>
            <a:pPr algn="ctr"/>
            <a:r>
              <a:rPr lang="en-US" sz="1600" dirty="0" smtClean="0"/>
              <a:t>Declare Journey</a:t>
            </a:r>
            <a:endParaRPr lang="en-US" sz="1600" dirty="0"/>
          </a:p>
        </p:txBody>
      </p:sp>
      <p:pic>
        <p:nvPicPr>
          <p:cNvPr id="2" name="Audio 1">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24"/>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3997187565"/>
      </p:ext>
    </p:extLst>
  </p:cSld>
  <p:clrMapOvr>
    <a:masterClrMapping/>
  </p:clrMapOvr>
  <mc:AlternateContent xmlns:mc="http://schemas.openxmlformats.org/markup-compatibility/2006" xmlns:p14="http://schemas.microsoft.com/office/powerpoint/2010/main">
    <mc:Choice Requires="p14">
      <p:transition spd="slow" p14:dur="2000" advTm="156"/>
    </mc:Choice>
    <mc:Fallback xmlns="">
      <p:transition spd="slow" advTm="15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329AE9FC-EBF0-E24A-9A83-3F46B45EB9D6}"/>
              </a:ext>
            </a:extLst>
          </p:cNvPr>
          <p:cNvSpPr>
            <a:spLocks noGrp="1"/>
          </p:cNvSpPr>
          <p:nvPr>
            <p:ph type="title"/>
          </p:nvPr>
        </p:nvSpPr>
        <p:spPr>
          <a:xfrm>
            <a:off x="30649" y="-135527"/>
            <a:ext cx="11824313" cy="1325563"/>
          </a:xfrm>
        </p:spPr>
        <p:txBody>
          <a:bodyPr>
            <a:normAutofit/>
          </a:bodyPr>
          <a:lstStyle/>
          <a:p>
            <a:r>
              <a:rPr lang="en-US" sz="2800" b="1" dirty="0" smtClean="0">
                <a:latin typeface="Arial" panose="020B0604020202020204" pitchFamily="34" charset="0"/>
                <a:ea typeface="Optimist" panose="020B0603020204030204" pitchFamily="34" charset="77"/>
                <a:cs typeface="Arial" panose="020B0604020202020204" pitchFamily="34" charset="0"/>
              </a:rPr>
              <a:t>Over time, as the virtuous cycle of continuous improvement and competency perpetuates, the lines fade between Dev and Ops</a:t>
            </a:r>
            <a:endParaRPr lang="en-US" sz="2800" b="1" dirty="0">
              <a:latin typeface="Arial" panose="020B0604020202020204" pitchFamily="34" charset="0"/>
              <a:ea typeface="Optimist" panose="020B0603020204030204" pitchFamily="34" charset="77"/>
              <a:cs typeface="Arial" panose="020B0604020202020204" pitchFamily="34" charset="0"/>
            </a:endParaRPr>
          </a:p>
        </p:txBody>
      </p:sp>
      <p:cxnSp>
        <p:nvCxnSpPr>
          <p:cNvPr id="3" name="Straight Connector 2"/>
          <p:cNvCxnSpPr/>
          <p:nvPr/>
        </p:nvCxnSpPr>
        <p:spPr>
          <a:xfrm>
            <a:off x="5969108" y="2535484"/>
            <a:ext cx="0" cy="3274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9569999" y="2613722"/>
            <a:ext cx="0" cy="3274828"/>
          </a:xfrm>
          <a:prstGeom prst="line">
            <a:avLst/>
          </a:prstGeom>
        </p:spPr>
        <p:style>
          <a:lnRef idx="1">
            <a:schemeClr val="accent1"/>
          </a:lnRef>
          <a:fillRef idx="0">
            <a:schemeClr val="accent1"/>
          </a:fillRef>
          <a:effectRef idx="0">
            <a:schemeClr val="accent1"/>
          </a:effectRef>
          <a:fontRef idx="minor">
            <a:schemeClr val="tx1"/>
          </a:fontRef>
        </p:style>
      </p:cxnSp>
      <p:sp>
        <p:nvSpPr>
          <p:cNvPr id="9" name="Oval 8"/>
          <p:cNvSpPr/>
          <p:nvPr/>
        </p:nvSpPr>
        <p:spPr>
          <a:xfrm>
            <a:off x="4041188" y="1611809"/>
            <a:ext cx="1116418" cy="1073887"/>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Ops</a:t>
            </a:r>
            <a:endParaRPr lang="en-US" dirty="0"/>
          </a:p>
        </p:txBody>
      </p:sp>
      <p:sp>
        <p:nvSpPr>
          <p:cNvPr id="20" name="Oval 19"/>
          <p:cNvSpPr/>
          <p:nvPr/>
        </p:nvSpPr>
        <p:spPr>
          <a:xfrm>
            <a:off x="7184944" y="1870351"/>
            <a:ext cx="878958" cy="598967"/>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Ops</a:t>
            </a:r>
            <a:endParaRPr lang="en-US" dirty="0"/>
          </a:p>
        </p:txBody>
      </p:sp>
      <p:sp>
        <p:nvSpPr>
          <p:cNvPr id="21" name="Oval 20"/>
          <p:cNvSpPr/>
          <p:nvPr/>
        </p:nvSpPr>
        <p:spPr>
          <a:xfrm>
            <a:off x="10395569" y="1785515"/>
            <a:ext cx="878958" cy="598967"/>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Ops</a:t>
            </a:r>
            <a:endParaRPr lang="en-US" dirty="0"/>
          </a:p>
        </p:txBody>
      </p:sp>
      <p:sp>
        <p:nvSpPr>
          <p:cNvPr id="22" name="Oval 21"/>
          <p:cNvSpPr/>
          <p:nvPr/>
        </p:nvSpPr>
        <p:spPr>
          <a:xfrm>
            <a:off x="2835209" y="4022213"/>
            <a:ext cx="868326" cy="875413"/>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Ops</a:t>
            </a:r>
            <a:endParaRPr lang="en-US" dirty="0"/>
          </a:p>
        </p:txBody>
      </p:sp>
      <p:pic>
        <p:nvPicPr>
          <p:cNvPr id="24"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920393" y="3416002"/>
            <a:ext cx="518525" cy="518525"/>
          </a:xfrm>
          <a:prstGeom prst="rect">
            <a:avLst/>
          </a:prstGeom>
        </p:spPr>
      </p:pic>
      <p:pic>
        <p:nvPicPr>
          <p:cNvPr id="25"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4599397" y="3416002"/>
            <a:ext cx="518525" cy="518525"/>
          </a:xfrm>
          <a:prstGeom prst="rect">
            <a:avLst/>
          </a:prstGeom>
        </p:spPr>
      </p:pic>
      <p:pic>
        <p:nvPicPr>
          <p:cNvPr id="26"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5260470" y="3411920"/>
            <a:ext cx="518525" cy="518525"/>
          </a:xfrm>
          <a:prstGeom prst="rect">
            <a:avLst/>
          </a:prstGeom>
        </p:spPr>
      </p:pic>
      <p:pic>
        <p:nvPicPr>
          <p:cNvPr id="27"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920393" y="3934527"/>
            <a:ext cx="518525" cy="518525"/>
          </a:xfrm>
          <a:prstGeom prst="rect">
            <a:avLst/>
          </a:prstGeom>
        </p:spPr>
      </p:pic>
      <p:pic>
        <p:nvPicPr>
          <p:cNvPr id="28"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4599397" y="3934527"/>
            <a:ext cx="518525" cy="518525"/>
          </a:xfrm>
          <a:prstGeom prst="rect">
            <a:avLst/>
          </a:prstGeom>
        </p:spPr>
      </p:pic>
      <p:pic>
        <p:nvPicPr>
          <p:cNvPr id="29"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5260470" y="3930445"/>
            <a:ext cx="518525" cy="518525"/>
          </a:xfrm>
          <a:prstGeom prst="rect">
            <a:avLst/>
          </a:prstGeom>
        </p:spPr>
      </p:pic>
      <p:pic>
        <p:nvPicPr>
          <p:cNvPr id="30"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920393" y="4444888"/>
            <a:ext cx="518525" cy="518525"/>
          </a:xfrm>
          <a:prstGeom prst="rect">
            <a:avLst/>
          </a:prstGeom>
        </p:spPr>
      </p:pic>
      <p:pic>
        <p:nvPicPr>
          <p:cNvPr id="31"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4599397" y="4444888"/>
            <a:ext cx="518525" cy="518525"/>
          </a:xfrm>
          <a:prstGeom prst="rect">
            <a:avLst/>
          </a:prstGeom>
        </p:spPr>
      </p:pic>
      <p:pic>
        <p:nvPicPr>
          <p:cNvPr id="32"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5260470" y="4440806"/>
            <a:ext cx="518525" cy="518525"/>
          </a:xfrm>
          <a:prstGeom prst="rect">
            <a:avLst/>
          </a:prstGeom>
        </p:spPr>
      </p:pic>
      <p:pic>
        <p:nvPicPr>
          <p:cNvPr id="33"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920393" y="4963413"/>
            <a:ext cx="518525" cy="518525"/>
          </a:xfrm>
          <a:prstGeom prst="rect">
            <a:avLst/>
          </a:prstGeom>
        </p:spPr>
      </p:pic>
      <p:pic>
        <p:nvPicPr>
          <p:cNvPr id="34"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4599397" y="4963413"/>
            <a:ext cx="518525" cy="518525"/>
          </a:xfrm>
          <a:prstGeom prst="rect">
            <a:avLst/>
          </a:prstGeom>
        </p:spPr>
      </p:pic>
      <p:pic>
        <p:nvPicPr>
          <p:cNvPr id="35"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5260470" y="4959331"/>
            <a:ext cx="518525" cy="518525"/>
          </a:xfrm>
          <a:prstGeom prst="rect">
            <a:avLst/>
          </a:prstGeom>
        </p:spPr>
      </p:pic>
      <p:sp>
        <p:nvSpPr>
          <p:cNvPr id="36" name="Oval 35"/>
          <p:cNvSpPr/>
          <p:nvPr/>
        </p:nvSpPr>
        <p:spPr>
          <a:xfrm>
            <a:off x="6259744" y="3350206"/>
            <a:ext cx="679005" cy="437013"/>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Ops</a:t>
            </a:r>
            <a:endParaRPr lang="en-US" sz="1400" dirty="0"/>
          </a:p>
        </p:txBody>
      </p:sp>
      <p:pic>
        <p:nvPicPr>
          <p:cNvPr id="37"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7299134" y="3264612"/>
            <a:ext cx="518525" cy="518525"/>
          </a:xfrm>
          <a:prstGeom prst="rect">
            <a:avLst/>
          </a:prstGeom>
        </p:spPr>
      </p:pic>
      <p:pic>
        <p:nvPicPr>
          <p:cNvPr id="38"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7978138" y="3264612"/>
            <a:ext cx="518525" cy="518525"/>
          </a:xfrm>
          <a:prstGeom prst="rect">
            <a:avLst/>
          </a:prstGeom>
        </p:spPr>
      </p:pic>
      <p:pic>
        <p:nvPicPr>
          <p:cNvPr id="39"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8639211" y="3260530"/>
            <a:ext cx="518525" cy="518525"/>
          </a:xfrm>
          <a:prstGeom prst="rect">
            <a:avLst/>
          </a:prstGeom>
        </p:spPr>
      </p:pic>
      <p:pic>
        <p:nvPicPr>
          <p:cNvPr id="40"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7299134" y="3783137"/>
            <a:ext cx="518525" cy="518525"/>
          </a:xfrm>
          <a:prstGeom prst="rect">
            <a:avLst/>
          </a:prstGeom>
        </p:spPr>
      </p:pic>
      <p:pic>
        <p:nvPicPr>
          <p:cNvPr id="41"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7978138" y="3783137"/>
            <a:ext cx="518525" cy="518525"/>
          </a:xfrm>
          <a:prstGeom prst="rect">
            <a:avLst/>
          </a:prstGeom>
        </p:spPr>
      </p:pic>
      <p:pic>
        <p:nvPicPr>
          <p:cNvPr id="42"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8639211" y="3779055"/>
            <a:ext cx="518525" cy="518525"/>
          </a:xfrm>
          <a:prstGeom prst="rect">
            <a:avLst/>
          </a:prstGeom>
        </p:spPr>
      </p:pic>
      <p:pic>
        <p:nvPicPr>
          <p:cNvPr id="43"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7319847" y="4379101"/>
            <a:ext cx="518525" cy="518525"/>
          </a:xfrm>
          <a:prstGeom prst="rect">
            <a:avLst/>
          </a:prstGeom>
        </p:spPr>
      </p:pic>
      <p:pic>
        <p:nvPicPr>
          <p:cNvPr id="44"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7998851" y="4379101"/>
            <a:ext cx="518525" cy="518525"/>
          </a:xfrm>
          <a:prstGeom prst="rect">
            <a:avLst/>
          </a:prstGeom>
        </p:spPr>
      </p:pic>
      <p:pic>
        <p:nvPicPr>
          <p:cNvPr id="45"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8659924" y="4375019"/>
            <a:ext cx="518525" cy="518525"/>
          </a:xfrm>
          <a:prstGeom prst="rect">
            <a:avLst/>
          </a:prstGeom>
        </p:spPr>
      </p:pic>
      <p:pic>
        <p:nvPicPr>
          <p:cNvPr id="46"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7299134" y="4941554"/>
            <a:ext cx="518525" cy="518525"/>
          </a:xfrm>
          <a:prstGeom prst="rect">
            <a:avLst/>
          </a:prstGeom>
        </p:spPr>
      </p:pic>
      <p:pic>
        <p:nvPicPr>
          <p:cNvPr id="47"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7978138" y="4941554"/>
            <a:ext cx="518525" cy="518525"/>
          </a:xfrm>
          <a:prstGeom prst="rect">
            <a:avLst/>
          </a:prstGeom>
        </p:spPr>
      </p:pic>
      <p:pic>
        <p:nvPicPr>
          <p:cNvPr id="48"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8639211" y="4937472"/>
            <a:ext cx="518525" cy="518525"/>
          </a:xfrm>
          <a:prstGeom prst="rect">
            <a:avLst/>
          </a:prstGeom>
        </p:spPr>
      </p:pic>
      <p:sp>
        <p:nvSpPr>
          <p:cNvPr id="49" name="Oval 48"/>
          <p:cNvSpPr/>
          <p:nvPr/>
        </p:nvSpPr>
        <p:spPr>
          <a:xfrm>
            <a:off x="6259744" y="3938006"/>
            <a:ext cx="679005" cy="437013"/>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Ops</a:t>
            </a:r>
            <a:endParaRPr lang="en-US" sz="1400" dirty="0"/>
          </a:p>
        </p:txBody>
      </p:sp>
      <p:sp>
        <p:nvSpPr>
          <p:cNvPr id="50" name="Oval 49"/>
          <p:cNvSpPr/>
          <p:nvPr/>
        </p:nvSpPr>
        <p:spPr>
          <a:xfrm>
            <a:off x="6259744" y="4500459"/>
            <a:ext cx="679005" cy="437013"/>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Ops</a:t>
            </a:r>
            <a:endParaRPr lang="en-US" sz="1400" dirty="0"/>
          </a:p>
        </p:txBody>
      </p:sp>
      <p:sp>
        <p:nvSpPr>
          <p:cNvPr id="51" name="Oval 50"/>
          <p:cNvSpPr/>
          <p:nvPr/>
        </p:nvSpPr>
        <p:spPr>
          <a:xfrm>
            <a:off x="6259744" y="5062912"/>
            <a:ext cx="679005" cy="437013"/>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Ops</a:t>
            </a:r>
            <a:endParaRPr lang="en-US" sz="1400" dirty="0"/>
          </a:p>
        </p:txBody>
      </p:sp>
      <p:pic>
        <p:nvPicPr>
          <p:cNvPr id="52"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9934450" y="3139930"/>
            <a:ext cx="518525" cy="518525"/>
          </a:xfrm>
          <a:prstGeom prst="rect">
            <a:avLst/>
          </a:prstGeom>
        </p:spPr>
      </p:pic>
      <p:pic>
        <p:nvPicPr>
          <p:cNvPr id="53"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10613454" y="3139930"/>
            <a:ext cx="518525" cy="518525"/>
          </a:xfrm>
          <a:prstGeom prst="rect">
            <a:avLst/>
          </a:prstGeom>
        </p:spPr>
      </p:pic>
      <p:pic>
        <p:nvPicPr>
          <p:cNvPr id="54"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11274527" y="3135848"/>
            <a:ext cx="518525" cy="518525"/>
          </a:xfrm>
          <a:prstGeom prst="rect">
            <a:avLst/>
          </a:prstGeom>
        </p:spPr>
      </p:pic>
      <p:pic>
        <p:nvPicPr>
          <p:cNvPr id="55"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9934450" y="3658455"/>
            <a:ext cx="518525" cy="518525"/>
          </a:xfrm>
          <a:prstGeom prst="rect">
            <a:avLst/>
          </a:prstGeom>
        </p:spPr>
      </p:pic>
      <p:pic>
        <p:nvPicPr>
          <p:cNvPr id="56"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10613454" y="3658455"/>
            <a:ext cx="518525" cy="518525"/>
          </a:xfrm>
          <a:prstGeom prst="rect">
            <a:avLst/>
          </a:prstGeom>
        </p:spPr>
      </p:pic>
      <p:pic>
        <p:nvPicPr>
          <p:cNvPr id="57"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11274527" y="3654373"/>
            <a:ext cx="518525" cy="518525"/>
          </a:xfrm>
          <a:prstGeom prst="rect">
            <a:avLst/>
          </a:prstGeom>
        </p:spPr>
      </p:pic>
      <p:pic>
        <p:nvPicPr>
          <p:cNvPr id="58"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9955163" y="4254419"/>
            <a:ext cx="518525" cy="518525"/>
          </a:xfrm>
          <a:prstGeom prst="rect">
            <a:avLst/>
          </a:prstGeom>
        </p:spPr>
      </p:pic>
      <p:pic>
        <p:nvPicPr>
          <p:cNvPr id="59"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10634167" y="4254419"/>
            <a:ext cx="518525" cy="518525"/>
          </a:xfrm>
          <a:prstGeom prst="rect">
            <a:avLst/>
          </a:prstGeom>
        </p:spPr>
      </p:pic>
      <p:pic>
        <p:nvPicPr>
          <p:cNvPr id="60"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11295240" y="4250337"/>
            <a:ext cx="518525" cy="518525"/>
          </a:xfrm>
          <a:prstGeom prst="rect">
            <a:avLst/>
          </a:prstGeom>
        </p:spPr>
      </p:pic>
      <p:pic>
        <p:nvPicPr>
          <p:cNvPr id="61"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9934450" y="4816872"/>
            <a:ext cx="518525" cy="518525"/>
          </a:xfrm>
          <a:prstGeom prst="rect">
            <a:avLst/>
          </a:prstGeom>
        </p:spPr>
      </p:pic>
      <p:pic>
        <p:nvPicPr>
          <p:cNvPr id="62"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10613454" y="4816872"/>
            <a:ext cx="518525" cy="518525"/>
          </a:xfrm>
          <a:prstGeom prst="rect">
            <a:avLst/>
          </a:prstGeom>
        </p:spPr>
      </p:pic>
      <p:pic>
        <p:nvPicPr>
          <p:cNvPr id="63"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11274527" y="4812790"/>
            <a:ext cx="518525" cy="518525"/>
          </a:xfrm>
          <a:prstGeom prst="rect">
            <a:avLst/>
          </a:prstGeom>
        </p:spPr>
      </p:pic>
      <p:sp>
        <p:nvSpPr>
          <p:cNvPr id="64" name="Oval 63"/>
          <p:cNvSpPr/>
          <p:nvPr/>
        </p:nvSpPr>
        <p:spPr>
          <a:xfrm>
            <a:off x="9914211" y="3439045"/>
            <a:ext cx="587778" cy="236593"/>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Ops</a:t>
            </a:r>
            <a:endParaRPr lang="en-US" sz="1000" dirty="0"/>
          </a:p>
        </p:txBody>
      </p:sp>
      <p:sp>
        <p:nvSpPr>
          <p:cNvPr id="65" name="Oval 64"/>
          <p:cNvSpPr/>
          <p:nvPr/>
        </p:nvSpPr>
        <p:spPr>
          <a:xfrm>
            <a:off x="10564914" y="3430874"/>
            <a:ext cx="587778" cy="236593"/>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Ops</a:t>
            </a:r>
            <a:endParaRPr lang="en-US" sz="1000" dirty="0"/>
          </a:p>
        </p:txBody>
      </p:sp>
      <p:sp>
        <p:nvSpPr>
          <p:cNvPr id="66" name="Oval 65"/>
          <p:cNvSpPr/>
          <p:nvPr/>
        </p:nvSpPr>
        <p:spPr>
          <a:xfrm>
            <a:off x="11225512" y="3421862"/>
            <a:ext cx="587778" cy="236593"/>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Ops</a:t>
            </a:r>
            <a:endParaRPr lang="en-US" sz="1000" dirty="0"/>
          </a:p>
        </p:txBody>
      </p:sp>
      <p:sp>
        <p:nvSpPr>
          <p:cNvPr id="67" name="Oval 66"/>
          <p:cNvSpPr/>
          <p:nvPr/>
        </p:nvSpPr>
        <p:spPr>
          <a:xfrm>
            <a:off x="9917253" y="3961652"/>
            <a:ext cx="587778" cy="236593"/>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Ops</a:t>
            </a:r>
            <a:endParaRPr lang="en-US" sz="1000" dirty="0"/>
          </a:p>
        </p:txBody>
      </p:sp>
      <p:sp>
        <p:nvSpPr>
          <p:cNvPr id="68" name="Oval 67"/>
          <p:cNvSpPr/>
          <p:nvPr/>
        </p:nvSpPr>
        <p:spPr>
          <a:xfrm>
            <a:off x="10567956" y="3953481"/>
            <a:ext cx="587778" cy="236593"/>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Ops</a:t>
            </a:r>
            <a:endParaRPr lang="en-US" sz="1000" dirty="0"/>
          </a:p>
        </p:txBody>
      </p:sp>
      <p:sp>
        <p:nvSpPr>
          <p:cNvPr id="69" name="Oval 68"/>
          <p:cNvSpPr/>
          <p:nvPr/>
        </p:nvSpPr>
        <p:spPr>
          <a:xfrm>
            <a:off x="11228554" y="3944469"/>
            <a:ext cx="587778" cy="236593"/>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Ops</a:t>
            </a:r>
            <a:endParaRPr lang="en-US" sz="1000" dirty="0"/>
          </a:p>
        </p:txBody>
      </p:sp>
      <p:sp>
        <p:nvSpPr>
          <p:cNvPr id="70" name="Oval 69"/>
          <p:cNvSpPr/>
          <p:nvPr/>
        </p:nvSpPr>
        <p:spPr>
          <a:xfrm>
            <a:off x="9930452" y="4549452"/>
            <a:ext cx="587778" cy="236593"/>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Ops</a:t>
            </a:r>
            <a:endParaRPr lang="en-US" sz="1000" dirty="0"/>
          </a:p>
        </p:txBody>
      </p:sp>
      <p:sp>
        <p:nvSpPr>
          <p:cNvPr id="71" name="Oval 70"/>
          <p:cNvSpPr/>
          <p:nvPr/>
        </p:nvSpPr>
        <p:spPr>
          <a:xfrm>
            <a:off x="10581155" y="4541281"/>
            <a:ext cx="587778" cy="236593"/>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Ops</a:t>
            </a:r>
            <a:endParaRPr lang="en-US" sz="1000" dirty="0"/>
          </a:p>
        </p:txBody>
      </p:sp>
      <p:sp>
        <p:nvSpPr>
          <p:cNvPr id="72" name="Oval 71"/>
          <p:cNvSpPr/>
          <p:nvPr/>
        </p:nvSpPr>
        <p:spPr>
          <a:xfrm>
            <a:off x="11241753" y="4532269"/>
            <a:ext cx="587778" cy="236593"/>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Ops</a:t>
            </a:r>
            <a:endParaRPr lang="en-US" sz="1000" dirty="0"/>
          </a:p>
        </p:txBody>
      </p:sp>
      <p:sp>
        <p:nvSpPr>
          <p:cNvPr id="73" name="Oval 72"/>
          <p:cNvSpPr/>
          <p:nvPr/>
        </p:nvSpPr>
        <p:spPr>
          <a:xfrm>
            <a:off x="9917253" y="5130429"/>
            <a:ext cx="587778" cy="236593"/>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Ops</a:t>
            </a:r>
            <a:endParaRPr lang="en-US" sz="1000" dirty="0"/>
          </a:p>
        </p:txBody>
      </p:sp>
      <p:sp>
        <p:nvSpPr>
          <p:cNvPr id="74" name="Oval 73"/>
          <p:cNvSpPr/>
          <p:nvPr/>
        </p:nvSpPr>
        <p:spPr>
          <a:xfrm>
            <a:off x="10567956" y="5122258"/>
            <a:ext cx="587778" cy="236593"/>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Ops</a:t>
            </a:r>
            <a:endParaRPr lang="en-US" sz="1000" dirty="0"/>
          </a:p>
        </p:txBody>
      </p:sp>
      <p:sp>
        <p:nvSpPr>
          <p:cNvPr id="75" name="Oval 74"/>
          <p:cNvSpPr/>
          <p:nvPr/>
        </p:nvSpPr>
        <p:spPr>
          <a:xfrm>
            <a:off x="11228554" y="5113246"/>
            <a:ext cx="587778" cy="236593"/>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Ops</a:t>
            </a:r>
            <a:endParaRPr lang="en-US" sz="1000" dirty="0"/>
          </a:p>
        </p:txBody>
      </p:sp>
      <p:sp>
        <p:nvSpPr>
          <p:cNvPr id="76" name="Oval 75"/>
          <p:cNvSpPr/>
          <p:nvPr/>
        </p:nvSpPr>
        <p:spPr>
          <a:xfrm>
            <a:off x="546361" y="1379706"/>
            <a:ext cx="1819119" cy="173220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Ops</a:t>
            </a:r>
            <a:endParaRPr lang="en-US" dirty="0"/>
          </a:p>
        </p:txBody>
      </p:sp>
      <p:cxnSp>
        <p:nvCxnSpPr>
          <p:cNvPr id="77" name="Straight Connector 76"/>
          <p:cNvCxnSpPr/>
          <p:nvPr/>
        </p:nvCxnSpPr>
        <p:spPr>
          <a:xfrm>
            <a:off x="2708456" y="2603696"/>
            <a:ext cx="0" cy="3274828"/>
          </a:xfrm>
          <a:prstGeom prst="line">
            <a:avLst/>
          </a:prstGeom>
        </p:spPr>
        <p:style>
          <a:lnRef idx="1">
            <a:schemeClr val="accent1"/>
          </a:lnRef>
          <a:fillRef idx="0">
            <a:schemeClr val="accent1"/>
          </a:fillRef>
          <a:effectRef idx="0">
            <a:schemeClr val="accent1"/>
          </a:effectRef>
          <a:fontRef idx="minor">
            <a:schemeClr val="tx1"/>
          </a:fontRef>
        </p:style>
      </p:cxnSp>
      <p:pic>
        <p:nvPicPr>
          <p:cNvPr id="78"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555663" y="3446508"/>
            <a:ext cx="518525" cy="518525"/>
          </a:xfrm>
          <a:prstGeom prst="rect">
            <a:avLst/>
          </a:prstGeom>
        </p:spPr>
      </p:pic>
      <p:pic>
        <p:nvPicPr>
          <p:cNvPr id="79"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1234667" y="3446508"/>
            <a:ext cx="518525" cy="518525"/>
          </a:xfrm>
          <a:prstGeom prst="rect">
            <a:avLst/>
          </a:prstGeom>
        </p:spPr>
      </p:pic>
      <p:pic>
        <p:nvPicPr>
          <p:cNvPr id="80"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1895740" y="3442426"/>
            <a:ext cx="518525" cy="518525"/>
          </a:xfrm>
          <a:prstGeom prst="rect">
            <a:avLst/>
          </a:prstGeom>
        </p:spPr>
      </p:pic>
      <p:pic>
        <p:nvPicPr>
          <p:cNvPr id="81"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555663" y="3965033"/>
            <a:ext cx="518525" cy="518525"/>
          </a:xfrm>
          <a:prstGeom prst="rect">
            <a:avLst/>
          </a:prstGeom>
        </p:spPr>
      </p:pic>
      <p:pic>
        <p:nvPicPr>
          <p:cNvPr id="82"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1234667" y="3965033"/>
            <a:ext cx="518525" cy="518525"/>
          </a:xfrm>
          <a:prstGeom prst="rect">
            <a:avLst/>
          </a:prstGeom>
        </p:spPr>
      </p:pic>
      <p:pic>
        <p:nvPicPr>
          <p:cNvPr id="83"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1895740" y="3960951"/>
            <a:ext cx="518525" cy="518525"/>
          </a:xfrm>
          <a:prstGeom prst="rect">
            <a:avLst/>
          </a:prstGeom>
        </p:spPr>
      </p:pic>
      <p:pic>
        <p:nvPicPr>
          <p:cNvPr id="84"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555663" y="4475394"/>
            <a:ext cx="518525" cy="518525"/>
          </a:xfrm>
          <a:prstGeom prst="rect">
            <a:avLst/>
          </a:prstGeom>
        </p:spPr>
      </p:pic>
      <p:pic>
        <p:nvPicPr>
          <p:cNvPr id="85"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1234667" y="4475394"/>
            <a:ext cx="518525" cy="518525"/>
          </a:xfrm>
          <a:prstGeom prst="rect">
            <a:avLst/>
          </a:prstGeom>
        </p:spPr>
      </p:pic>
      <p:pic>
        <p:nvPicPr>
          <p:cNvPr id="86"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1895740" y="4471312"/>
            <a:ext cx="518525" cy="518525"/>
          </a:xfrm>
          <a:prstGeom prst="rect">
            <a:avLst/>
          </a:prstGeom>
        </p:spPr>
      </p:pic>
      <p:pic>
        <p:nvPicPr>
          <p:cNvPr id="87"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555663" y="4993919"/>
            <a:ext cx="518525" cy="518525"/>
          </a:xfrm>
          <a:prstGeom prst="rect">
            <a:avLst/>
          </a:prstGeom>
        </p:spPr>
      </p:pic>
      <p:pic>
        <p:nvPicPr>
          <p:cNvPr id="88"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1234667" y="4993919"/>
            <a:ext cx="518525" cy="518525"/>
          </a:xfrm>
          <a:prstGeom prst="rect">
            <a:avLst/>
          </a:prstGeom>
        </p:spPr>
      </p:pic>
      <p:pic>
        <p:nvPicPr>
          <p:cNvPr id="89"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1895740" y="4989837"/>
            <a:ext cx="518525" cy="518525"/>
          </a:xfrm>
          <a:prstGeom prst="rect">
            <a:avLst/>
          </a:prstGeom>
        </p:spPr>
      </p:pic>
      <p:sp>
        <p:nvSpPr>
          <p:cNvPr id="11" name="TextBox 10"/>
          <p:cNvSpPr txBox="1"/>
          <p:nvPr/>
        </p:nvSpPr>
        <p:spPr>
          <a:xfrm>
            <a:off x="1120903" y="5918422"/>
            <a:ext cx="632289" cy="369332"/>
          </a:xfrm>
          <a:prstGeom prst="rect">
            <a:avLst/>
          </a:prstGeom>
          <a:noFill/>
        </p:spPr>
        <p:txBody>
          <a:bodyPr wrap="none" rtlCol="0">
            <a:spAutoFit/>
          </a:bodyPr>
          <a:lstStyle/>
          <a:p>
            <a:r>
              <a:rPr lang="en-US" dirty="0" smtClean="0"/>
              <a:t>Start</a:t>
            </a:r>
            <a:endParaRPr lang="en-US" dirty="0"/>
          </a:p>
        </p:txBody>
      </p:sp>
      <p:sp>
        <p:nvSpPr>
          <p:cNvPr id="90" name="TextBox 89"/>
          <p:cNvSpPr txBox="1"/>
          <p:nvPr/>
        </p:nvSpPr>
        <p:spPr>
          <a:xfrm>
            <a:off x="4283252" y="5888550"/>
            <a:ext cx="851515" cy="369332"/>
          </a:xfrm>
          <a:prstGeom prst="rect">
            <a:avLst/>
          </a:prstGeom>
          <a:noFill/>
        </p:spPr>
        <p:txBody>
          <a:bodyPr wrap="none" rtlCol="0">
            <a:spAutoFit/>
          </a:bodyPr>
          <a:lstStyle/>
          <a:p>
            <a:r>
              <a:rPr lang="en-US" dirty="0" smtClean="0"/>
              <a:t>Phase I</a:t>
            </a:r>
            <a:endParaRPr lang="en-US" dirty="0"/>
          </a:p>
        </p:txBody>
      </p:sp>
      <p:sp>
        <p:nvSpPr>
          <p:cNvPr id="91" name="TextBox 90"/>
          <p:cNvSpPr txBox="1"/>
          <p:nvPr/>
        </p:nvSpPr>
        <p:spPr>
          <a:xfrm>
            <a:off x="7552380" y="5878524"/>
            <a:ext cx="909223" cy="369332"/>
          </a:xfrm>
          <a:prstGeom prst="rect">
            <a:avLst/>
          </a:prstGeom>
          <a:noFill/>
        </p:spPr>
        <p:txBody>
          <a:bodyPr wrap="none" rtlCol="0">
            <a:spAutoFit/>
          </a:bodyPr>
          <a:lstStyle/>
          <a:p>
            <a:r>
              <a:rPr lang="en-US" dirty="0" smtClean="0"/>
              <a:t>Phase II</a:t>
            </a:r>
            <a:endParaRPr lang="en-US" dirty="0"/>
          </a:p>
        </p:txBody>
      </p:sp>
      <p:sp>
        <p:nvSpPr>
          <p:cNvPr id="92" name="TextBox 91"/>
          <p:cNvSpPr txBox="1"/>
          <p:nvPr/>
        </p:nvSpPr>
        <p:spPr>
          <a:xfrm>
            <a:off x="10395569" y="5840608"/>
            <a:ext cx="966931" cy="369332"/>
          </a:xfrm>
          <a:prstGeom prst="rect">
            <a:avLst/>
          </a:prstGeom>
          <a:noFill/>
        </p:spPr>
        <p:txBody>
          <a:bodyPr wrap="none" rtlCol="0">
            <a:spAutoFit/>
          </a:bodyPr>
          <a:lstStyle/>
          <a:p>
            <a:r>
              <a:rPr lang="en-US" dirty="0" smtClean="0"/>
              <a:t>Phase III</a:t>
            </a:r>
            <a:endParaRPr lang="en-US" dirty="0"/>
          </a:p>
        </p:txBody>
      </p:sp>
      <p:pic>
        <p:nvPicPr>
          <p:cNvPr id="2" name="Audio 1">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3370054930"/>
      </p:ext>
    </p:extLst>
  </p:cSld>
  <p:clrMapOvr>
    <a:masterClrMapping/>
  </p:clrMapOvr>
  <mc:AlternateContent xmlns:mc="http://schemas.openxmlformats.org/markup-compatibility/2006" xmlns:p14="http://schemas.microsoft.com/office/powerpoint/2010/main">
    <mc:Choice Requires="p14">
      <p:transition spd="slow" p14:dur="2000" advTm="208"/>
    </mc:Choice>
    <mc:Fallback xmlns="">
      <p:transition spd="slow" advTm="20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392535978"/>
              </p:ext>
            </p:extLst>
          </p:nvPr>
        </p:nvGraphicFramePr>
        <p:xfrm>
          <a:off x="838200" y="2455545"/>
          <a:ext cx="10515600" cy="3962400"/>
        </p:xfrm>
        <a:graphic>
          <a:graphicData uri="http://schemas.openxmlformats.org/drawingml/2006/table">
            <a:tbl>
              <a:tblPr firstRow="1" bandRow="1">
                <a:tableStyleId>{073A0DAA-6AF3-43AB-8588-CEC1D06C72B9}</a:tableStyleId>
              </a:tblPr>
              <a:tblGrid>
                <a:gridCol w="2992120">
                  <a:extLst>
                    <a:ext uri="{9D8B030D-6E8A-4147-A177-3AD203B41FA5}">
                      <a16:colId xmlns:a16="http://schemas.microsoft.com/office/drawing/2014/main" val="1384559815"/>
                    </a:ext>
                  </a:extLst>
                </a:gridCol>
                <a:gridCol w="2651760">
                  <a:extLst>
                    <a:ext uri="{9D8B030D-6E8A-4147-A177-3AD203B41FA5}">
                      <a16:colId xmlns:a16="http://schemas.microsoft.com/office/drawing/2014/main" val="1504912187"/>
                    </a:ext>
                  </a:extLst>
                </a:gridCol>
                <a:gridCol w="2499360">
                  <a:extLst>
                    <a:ext uri="{9D8B030D-6E8A-4147-A177-3AD203B41FA5}">
                      <a16:colId xmlns:a16="http://schemas.microsoft.com/office/drawing/2014/main" val="1671424480"/>
                    </a:ext>
                  </a:extLst>
                </a:gridCol>
                <a:gridCol w="2372360">
                  <a:extLst>
                    <a:ext uri="{9D8B030D-6E8A-4147-A177-3AD203B41FA5}">
                      <a16:colId xmlns:a16="http://schemas.microsoft.com/office/drawing/2014/main" val="3705449969"/>
                    </a:ext>
                  </a:extLst>
                </a:gridCol>
              </a:tblGrid>
              <a:tr h="370840">
                <a:tc>
                  <a:txBody>
                    <a:bodyPr/>
                    <a:lstStyle/>
                    <a:p>
                      <a:r>
                        <a:rPr lang="en-US" dirty="0" smtClean="0"/>
                        <a:t>Changeability</a:t>
                      </a:r>
                      <a:r>
                        <a:rPr lang="en-US" baseline="0" dirty="0" smtClean="0"/>
                        <a:t> Factor</a:t>
                      </a:r>
                      <a:endParaRPr lang="en-US" dirty="0"/>
                    </a:p>
                  </a:txBody>
                  <a:tcPr/>
                </a:tc>
                <a:tc>
                  <a:txBody>
                    <a:bodyPr/>
                    <a:lstStyle/>
                    <a:p>
                      <a:pPr algn="ctr"/>
                      <a:r>
                        <a:rPr lang="en-US" dirty="0" smtClean="0"/>
                        <a:t>1</a:t>
                      </a:r>
                      <a:endParaRPr lang="en-US" dirty="0"/>
                    </a:p>
                  </a:txBody>
                  <a:tcPr/>
                </a:tc>
                <a:tc>
                  <a:txBody>
                    <a:bodyPr/>
                    <a:lstStyle/>
                    <a:p>
                      <a:pPr algn="ctr"/>
                      <a:r>
                        <a:rPr lang="en-US" dirty="0" smtClean="0"/>
                        <a:t>2</a:t>
                      </a:r>
                      <a:endParaRPr lang="en-US" dirty="0"/>
                    </a:p>
                  </a:txBody>
                  <a:tcPr/>
                </a:tc>
                <a:tc>
                  <a:txBody>
                    <a:bodyPr/>
                    <a:lstStyle/>
                    <a:p>
                      <a:pPr algn="ctr"/>
                      <a:r>
                        <a:rPr lang="en-US" dirty="0" smtClean="0"/>
                        <a:t>3</a:t>
                      </a:r>
                      <a:endParaRPr lang="en-US" dirty="0"/>
                    </a:p>
                  </a:txBody>
                  <a:tcPr/>
                </a:tc>
                <a:extLst>
                  <a:ext uri="{0D108BD9-81ED-4DB2-BD59-A6C34878D82A}">
                    <a16:rowId xmlns:a16="http://schemas.microsoft.com/office/drawing/2014/main" val="564780319"/>
                  </a:ext>
                </a:extLst>
              </a:tr>
              <a:tr h="370840">
                <a:tc>
                  <a:txBody>
                    <a:bodyPr/>
                    <a:lstStyle/>
                    <a:p>
                      <a:r>
                        <a:rPr lang="en-US" sz="1600" dirty="0" smtClean="0"/>
                        <a:t>Competitive Environment, Disruption Factor</a:t>
                      </a:r>
                      <a:endParaRPr lang="en-US" sz="1600" dirty="0"/>
                    </a:p>
                  </a:txBody>
                  <a:tcPr/>
                </a:tc>
                <a:tc>
                  <a:txBody>
                    <a:bodyPr/>
                    <a:lstStyle/>
                    <a:p>
                      <a:pPr algn="ctr"/>
                      <a:r>
                        <a:rPr lang="en-US" sz="1600" dirty="0" smtClean="0"/>
                        <a:t>Low</a:t>
                      </a:r>
                      <a:endParaRPr lang="en-US" sz="1600" dirty="0"/>
                    </a:p>
                  </a:txBody>
                  <a:tcPr/>
                </a:tc>
                <a:tc>
                  <a:txBody>
                    <a:bodyPr/>
                    <a:lstStyle/>
                    <a:p>
                      <a:pPr algn="ctr"/>
                      <a:r>
                        <a:rPr lang="en-US" sz="1600" dirty="0" smtClean="0"/>
                        <a:t>High</a:t>
                      </a:r>
                      <a:endParaRPr lang="en-US" sz="1600" dirty="0"/>
                    </a:p>
                  </a:txBody>
                  <a:tcPr/>
                </a:tc>
                <a:tc>
                  <a:txBody>
                    <a:bodyPr/>
                    <a:lstStyle/>
                    <a:p>
                      <a:pPr algn="ctr"/>
                      <a:r>
                        <a:rPr lang="en-US" sz="1600" dirty="0" smtClean="0"/>
                        <a:t>Medium</a:t>
                      </a:r>
                      <a:endParaRPr lang="en-US" sz="1600" dirty="0"/>
                    </a:p>
                  </a:txBody>
                  <a:tcPr/>
                </a:tc>
                <a:extLst>
                  <a:ext uri="{0D108BD9-81ED-4DB2-BD59-A6C34878D82A}">
                    <a16:rowId xmlns:a16="http://schemas.microsoft.com/office/drawing/2014/main" val="2615993412"/>
                  </a:ext>
                </a:extLst>
              </a:tr>
              <a:tr h="370840">
                <a:tc>
                  <a:txBody>
                    <a:bodyPr/>
                    <a:lstStyle/>
                    <a:p>
                      <a:r>
                        <a:rPr lang="en-US" sz="1600" dirty="0" smtClean="0"/>
                        <a:t>Tolerance for Risk</a:t>
                      </a:r>
                      <a:endParaRPr lang="en-US" sz="1600" dirty="0"/>
                    </a:p>
                  </a:txBody>
                  <a:tcPr/>
                </a:tc>
                <a:tc>
                  <a:txBody>
                    <a:bodyPr/>
                    <a:lstStyle/>
                    <a:p>
                      <a:pPr algn="ctr"/>
                      <a:r>
                        <a:rPr lang="en-US" sz="1600" dirty="0" smtClean="0"/>
                        <a:t>Low</a:t>
                      </a:r>
                      <a:endParaRPr lang="en-US" sz="1600" dirty="0"/>
                    </a:p>
                  </a:txBody>
                  <a:tcPr/>
                </a:tc>
                <a:tc>
                  <a:txBody>
                    <a:bodyPr/>
                    <a:lstStyle/>
                    <a:p>
                      <a:pPr algn="ctr"/>
                      <a:r>
                        <a:rPr lang="en-US" sz="1600" dirty="0" smtClean="0"/>
                        <a:t>High</a:t>
                      </a:r>
                      <a:endParaRPr lang="en-US" sz="1600" dirty="0"/>
                    </a:p>
                  </a:txBody>
                  <a:tcPr/>
                </a:tc>
                <a:tc>
                  <a:txBody>
                    <a:bodyPr/>
                    <a:lstStyle/>
                    <a:p>
                      <a:pPr algn="ctr"/>
                      <a:r>
                        <a:rPr lang="en-US" sz="1600" dirty="0" smtClean="0"/>
                        <a:t>Medium</a:t>
                      </a:r>
                      <a:endParaRPr lang="en-US" sz="1600" dirty="0"/>
                    </a:p>
                  </a:txBody>
                  <a:tcPr/>
                </a:tc>
                <a:extLst>
                  <a:ext uri="{0D108BD9-81ED-4DB2-BD59-A6C34878D82A}">
                    <a16:rowId xmlns:a16="http://schemas.microsoft.com/office/drawing/2014/main" val="228999552"/>
                  </a:ext>
                </a:extLst>
              </a:tr>
              <a:tr h="370840">
                <a:tc>
                  <a:txBody>
                    <a:bodyPr/>
                    <a:lstStyle/>
                    <a:p>
                      <a:r>
                        <a:rPr lang="en-US" sz="1600" dirty="0" smtClean="0"/>
                        <a:t>System</a:t>
                      </a:r>
                      <a:r>
                        <a:rPr lang="en-US" sz="1600" baseline="0" dirty="0" smtClean="0"/>
                        <a:t> Complexity, Legacy</a:t>
                      </a:r>
                      <a:endParaRPr lang="en-US" sz="1600" dirty="0"/>
                    </a:p>
                  </a:txBody>
                  <a:tcPr/>
                </a:tc>
                <a:tc>
                  <a:txBody>
                    <a:bodyPr/>
                    <a:lstStyle/>
                    <a:p>
                      <a:pPr algn="ctr"/>
                      <a:r>
                        <a:rPr lang="en-US" sz="1600" dirty="0" smtClean="0"/>
                        <a:t>Medium</a:t>
                      </a:r>
                      <a:endParaRPr lang="en-US" sz="1600" dirty="0"/>
                    </a:p>
                  </a:txBody>
                  <a:tcPr/>
                </a:tc>
                <a:tc>
                  <a:txBody>
                    <a:bodyPr/>
                    <a:lstStyle/>
                    <a:p>
                      <a:pPr algn="ctr"/>
                      <a:r>
                        <a:rPr lang="en-US" sz="1600" dirty="0" smtClean="0"/>
                        <a:t>Medium</a:t>
                      </a:r>
                      <a:endParaRPr lang="en-US" sz="1600" dirty="0"/>
                    </a:p>
                  </a:txBody>
                  <a:tcPr/>
                </a:tc>
                <a:tc>
                  <a:txBody>
                    <a:bodyPr/>
                    <a:lstStyle/>
                    <a:p>
                      <a:pPr algn="ctr"/>
                      <a:r>
                        <a:rPr lang="en-US" sz="1600" dirty="0" smtClean="0"/>
                        <a:t>High</a:t>
                      </a:r>
                      <a:endParaRPr lang="en-US" sz="1600" dirty="0"/>
                    </a:p>
                  </a:txBody>
                  <a:tcPr/>
                </a:tc>
                <a:extLst>
                  <a:ext uri="{0D108BD9-81ED-4DB2-BD59-A6C34878D82A}">
                    <a16:rowId xmlns:a16="http://schemas.microsoft.com/office/drawing/2014/main" val="2844594115"/>
                  </a:ext>
                </a:extLst>
              </a:tr>
              <a:tr h="370840">
                <a:tc>
                  <a:txBody>
                    <a:bodyPr/>
                    <a:lstStyle/>
                    <a:p>
                      <a:r>
                        <a:rPr lang="en-US" sz="1600" dirty="0" smtClean="0"/>
                        <a:t>Organization Size</a:t>
                      </a:r>
                      <a:endParaRPr lang="en-US" sz="1600" dirty="0"/>
                    </a:p>
                  </a:txBody>
                  <a:tcPr/>
                </a:tc>
                <a:tc>
                  <a:txBody>
                    <a:bodyPr/>
                    <a:lstStyle/>
                    <a:p>
                      <a:pPr algn="ctr"/>
                      <a:r>
                        <a:rPr lang="en-US" sz="1600" dirty="0" smtClean="0"/>
                        <a:t>Low</a:t>
                      </a:r>
                      <a:endParaRPr lang="en-US" sz="1600" dirty="0"/>
                    </a:p>
                  </a:txBody>
                  <a:tcPr/>
                </a:tc>
                <a:tc>
                  <a:txBody>
                    <a:bodyPr/>
                    <a:lstStyle/>
                    <a:p>
                      <a:pPr algn="ctr"/>
                      <a:r>
                        <a:rPr lang="en-US" sz="1600" dirty="0" smtClean="0"/>
                        <a:t>High</a:t>
                      </a:r>
                      <a:endParaRPr lang="en-US" sz="1600" dirty="0"/>
                    </a:p>
                  </a:txBody>
                  <a:tcPr/>
                </a:tc>
                <a:tc>
                  <a:txBody>
                    <a:bodyPr/>
                    <a:lstStyle/>
                    <a:p>
                      <a:pPr algn="ctr"/>
                      <a:r>
                        <a:rPr lang="en-US" sz="1600" dirty="0" smtClean="0"/>
                        <a:t>Medium</a:t>
                      </a:r>
                      <a:endParaRPr lang="en-US" sz="1600" dirty="0"/>
                    </a:p>
                  </a:txBody>
                  <a:tcPr/>
                </a:tc>
                <a:extLst>
                  <a:ext uri="{0D108BD9-81ED-4DB2-BD59-A6C34878D82A}">
                    <a16:rowId xmlns:a16="http://schemas.microsoft.com/office/drawing/2014/main" val="3064922653"/>
                  </a:ext>
                </a:extLst>
              </a:tr>
              <a:tr h="370840">
                <a:tc>
                  <a:txBody>
                    <a:bodyPr/>
                    <a:lstStyle/>
                    <a:p>
                      <a:r>
                        <a:rPr lang="en-US" sz="1600" dirty="0" smtClean="0"/>
                        <a:t>Geographically</a:t>
                      </a:r>
                      <a:r>
                        <a:rPr lang="en-US" sz="1600" baseline="0" dirty="0" smtClean="0"/>
                        <a:t> Distributed</a:t>
                      </a:r>
                      <a:endParaRPr lang="en-US" sz="1600" dirty="0"/>
                    </a:p>
                  </a:txBody>
                  <a:tcPr/>
                </a:tc>
                <a:tc>
                  <a:txBody>
                    <a:bodyPr/>
                    <a:lstStyle/>
                    <a:p>
                      <a:pPr algn="ctr"/>
                      <a:r>
                        <a:rPr lang="en-US" sz="1600" dirty="0" smtClean="0"/>
                        <a:t>Low</a:t>
                      </a:r>
                      <a:endParaRPr lang="en-US" sz="1600" dirty="0"/>
                    </a:p>
                  </a:txBody>
                  <a:tcPr/>
                </a:tc>
                <a:tc>
                  <a:txBody>
                    <a:bodyPr/>
                    <a:lstStyle/>
                    <a:p>
                      <a:pPr algn="ctr"/>
                      <a:r>
                        <a:rPr lang="en-US" sz="1600" dirty="0" smtClean="0"/>
                        <a:t>Medium</a:t>
                      </a:r>
                      <a:endParaRPr lang="en-US" sz="1600" dirty="0"/>
                    </a:p>
                  </a:txBody>
                  <a:tcPr/>
                </a:tc>
                <a:tc>
                  <a:txBody>
                    <a:bodyPr/>
                    <a:lstStyle/>
                    <a:p>
                      <a:pPr algn="ctr"/>
                      <a:r>
                        <a:rPr lang="en-US" sz="1600" dirty="0" smtClean="0"/>
                        <a:t>High</a:t>
                      </a:r>
                      <a:endParaRPr lang="en-US" sz="1600" dirty="0"/>
                    </a:p>
                  </a:txBody>
                  <a:tcPr/>
                </a:tc>
                <a:extLst>
                  <a:ext uri="{0D108BD9-81ED-4DB2-BD59-A6C34878D82A}">
                    <a16:rowId xmlns:a16="http://schemas.microsoft.com/office/drawing/2014/main" val="525886376"/>
                  </a:ext>
                </a:extLst>
              </a:tr>
              <a:tr h="370840">
                <a:tc>
                  <a:txBody>
                    <a:bodyPr/>
                    <a:lstStyle/>
                    <a:p>
                      <a:r>
                        <a:rPr lang="en-US" sz="1600" dirty="0" smtClean="0"/>
                        <a:t>Organizational Stability, Change Frequency</a:t>
                      </a:r>
                      <a:endParaRPr lang="en-US" sz="1600" dirty="0"/>
                    </a:p>
                  </a:txBody>
                  <a:tcPr/>
                </a:tc>
                <a:tc>
                  <a:txBody>
                    <a:bodyPr/>
                    <a:lstStyle/>
                    <a:p>
                      <a:pPr algn="ctr"/>
                      <a:r>
                        <a:rPr lang="en-US" sz="1600" dirty="0" smtClean="0"/>
                        <a:t>Low</a:t>
                      </a:r>
                      <a:endParaRPr lang="en-US" sz="1600" dirty="0"/>
                    </a:p>
                  </a:txBody>
                  <a:tcPr/>
                </a:tc>
                <a:tc>
                  <a:txBody>
                    <a:bodyPr/>
                    <a:lstStyle/>
                    <a:p>
                      <a:pPr algn="ctr"/>
                      <a:r>
                        <a:rPr lang="en-US" sz="1600" dirty="0" smtClean="0"/>
                        <a:t>Low</a:t>
                      </a:r>
                      <a:endParaRPr lang="en-US" sz="1600" dirty="0"/>
                    </a:p>
                  </a:txBody>
                  <a:tcPr/>
                </a:tc>
                <a:tc>
                  <a:txBody>
                    <a:bodyPr/>
                    <a:lstStyle/>
                    <a:p>
                      <a:pPr algn="ctr"/>
                      <a:r>
                        <a:rPr lang="en-US" sz="1600" dirty="0" smtClean="0"/>
                        <a:t>Medium</a:t>
                      </a:r>
                      <a:endParaRPr lang="en-US" sz="1600" dirty="0"/>
                    </a:p>
                  </a:txBody>
                  <a:tcPr/>
                </a:tc>
                <a:extLst>
                  <a:ext uri="{0D108BD9-81ED-4DB2-BD59-A6C34878D82A}">
                    <a16:rowId xmlns:a16="http://schemas.microsoft.com/office/drawing/2014/main" val="199574821"/>
                  </a:ext>
                </a:extLst>
              </a:tr>
              <a:tr h="370840">
                <a:tc>
                  <a:txBody>
                    <a:bodyPr/>
                    <a:lstStyle/>
                    <a:p>
                      <a:r>
                        <a:rPr lang="en-US" sz="1600" dirty="0" smtClean="0"/>
                        <a:t>Exec</a:t>
                      </a:r>
                      <a:r>
                        <a:rPr lang="en-US" sz="1600" baseline="0" dirty="0" smtClean="0"/>
                        <a:t> Leadership Stability &amp; Support</a:t>
                      </a:r>
                      <a:endParaRPr lang="en-US" sz="1600" dirty="0"/>
                    </a:p>
                  </a:txBody>
                  <a:tcPr/>
                </a:tc>
                <a:tc>
                  <a:txBody>
                    <a:bodyPr/>
                    <a:lstStyle/>
                    <a:p>
                      <a:pPr algn="ctr"/>
                      <a:r>
                        <a:rPr lang="en-US" sz="1600" dirty="0" smtClean="0"/>
                        <a:t>High</a:t>
                      </a:r>
                      <a:endParaRPr lang="en-US" sz="1600" dirty="0"/>
                    </a:p>
                  </a:txBody>
                  <a:tcPr/>
                </a:tc>
                <a:tc>
                  <a:txBody>
                    <a:bodyPr/>
                    <a:lstStyle/>
                    <a:p>
                      <a:pPr algn="ctr"/>
                      <a:r>
                        <a:rPr lang="en-US" sz="1600" dirty="0" smtClean="0"/>
                        <a:t>High</a:t>
                      </a:r>
                      <a:endParaRPr lang="en-US" sz="1600" dirty="0"/>
                    </a:p>
                  </a:txBody>
                  <a:tcPr/>
                </a:tc>
                <a:tc>
                  <a:txBody>
                    <a:bodyPr/>
                    <a:lstStyle/>
                    <a:p>
                      <a:pPr algn="ctr"/>
                      <a:r>
                        <a:rPr lang="en-US" sz="1600" dirty="0" smtClean="0"/>
                        <a:t>Low</a:t>
                      </a:r>
                      <a:endParaRPr lang="en-US" sz="1600" dirty="0"/>
                    </a:p>
                  </a:txBody>
                  <a:tcPr/>
                </a:tc>
                <a:extLst>
                  <a:ext uri="{0D108BD9-81ED-4DB2-BD59-A6C34878D82A}">
                    <a16:rowId xmlns:a16="http://schemas.microsoft.com/office/drawing/2014/main" val="3738861399"/>
                  </a:ext>
                </a:extLst>
              </a:tr>
              <a:tr h="370840">
                <a:tc>
                  <a:txBody>
                    <a:bodyPr/>
                    <a:lstStyle/>
                    <a:p>
                      <a:endParaRPr lang="en-US" sz="1600" dirty="0"/>
                    </a:p>
                  </a:txBody>
                  <a:tcPr/>
                </a:tc>
                <a:tc>
                  <a:txBody>
                    <a:bodyPr/>
                    <a:lstStyle/>
                    <a:p>
                      <a:pPr algn="ctr"/>
                      <a:r>
                        <a:rPr lang="en-US" sz="1600" b="1" dirty="0" smtClean="0"/>
                        <a:t>&gt;10 years</a:t>
                      </a:r>
                      <a:endParaRPr lang="en-US" sz="1600" b="1" dirty="0"/>
                    </a:p>
                  </a:txBody>
                  <a:tcPr/>
                </a:tc>
                <a:tc>
                  <a:txBody>
                    <a:bodyPr/>
                    <a:lstStyle/>
                    <a:p>
                      <a:pPr algn="ctr"/>
                      <a:r>
                        <a:rPr lang="en-US" sz="1600" b="1" dirty="0" smtClean="0"/>
                        <a:t>3-5 years</a:t>
                      </a:r>
                      <a:endParaRPr lang="en-US" sz="1600" b="1" dirty="0"/>
                    </a:p>
                  </a:txBody>
                  <a:tcPr/>
                </a:tc>
                <a:tc>
                  <a:txBody>
                    <a:bodyPr/>
                    <a:lstStyle/>
                    <a:p>
                      <a:pPr algn="ctr"/>
                      <a:r>
                        <a:rPr lang="en-US" sz="1600" b="1" dirty="0" smtClean="0"/>
                        <a:t>3-5 years</a:t>
                      </a:r>
                      <a:endParaRPr lang="en-US" sz="1600" b="1" dirty="0"/>
                    </a:p>
                  </a:txBody>
                  <a:tcPr/>
                </a:tc>
                <a:extLst>
                  <a:ext uri="{0D108BD9-81ED-4DB2-BD59-A6C34878D82A}">
                    <a16:rowId xmlns:a16="http://schemas.microsoft.com/office/drawing/2014/main" val="762838160"/>
                  </a:ext>
                </a:extLst>
              </a:tr>
            </a:tbl>
          </a:graphicData>
        </a:graphic>
      </p:graphicFrame>
      <p:grpSp>
        <p:nvGrpSpPr>
          <p:cNvPr id="585" name="Group 584">
            <a:extLst>
              <a:ext uri="{FF2B5EF4-FFF2-40B4-BE49-F238E27FC236}">
                <a16:creationId xmlns:a16="http://schemas.microsoft.com/office/drawing/2014/main" id="{E80F6F4E-8D26-4AA5-90D5-21EC266C4918}"/>
              </a:ext>
            </a:extLst>
          </p:cNvPr>
          <p:cNvGrpSpPr/>
          <p:nvPr/>
        </p:nvGrpSpPr>
        <p:grpSpPr>
          <a:xfrm>
            <a:off x="4715802" y="1530645"/>
            <a:ext cx="832485" cy="830534"/>
            <a:chOff x="7030996" y="1739620"/>
            <a:chExt cx="1142391" cy="1272744"/>
          </a:xfrm>
        </p:grpSpPr>
        <p:grpSp>
          <p:nvGrpSpPr>
            <p:cNvPr id="586" name="Group 585">
              <a:extLst>
                <a:ext uri="{FF2B5EF4-FFF2-40B4-BE49-F238E27FC236}">
                  <a16:creationId xmlns:a16="http://schemas.microsoft.com/office/drawing/2014/main" id="{8619C4E9-DEE1-44AB-9CAF-7CBD4EEBBF30}"/>
                </a:ext>
              </a:extLst>
            </p:cNvPr>
            <p:cNvGrpSpPr/>
            <p:nvPr/>
          </p:nvGrpSpPr>
          <p:grpSpPr>
            <a:xfrm>
              <a:off x="7602496" y="1739620"/>
              <a:ext cx="570891" cy="1272744"/>
              <a:chOff x="7602496" y="1739620"/>
              <a:chExt cx="570891" cy="1272744"/>
            </a:xfrm>
          </p:grpSpPr>
          <p:sp>
            <p:nvSpPr>
              <p:cNvPr id="616" name="Rectangle 615">
                <a:extLst>
                  <a:ext uri="{FF2B5EF4-FFF2-40B4-BE49-F238E27FC236}">
                    <a16:creationId xmlns:a16="http://schemas.microsoft.com/office/drawing/2014/main" id="{6F025070-A94E-4FD2-A480-A14146E83AE7}"/>
                  </a:ext>
                </a:extLst>
              </p:cNvPr>
              <p:cNvSpPr/>
              <p:nvPr/>
            </p:nvSpPr>
            <p:spPr>
              <a:xfrm>
                <a:off x="7602496" y="1863445"/>
                <a:ext cx="570891" cy="1148919"/>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617" name="Group 616">
                <a:extLst>
                  <a:ext uri="{FF2B5EF4-FFF2-40B4-BE49-F238E27FC236}">
                    <a16:creationId xmlns:a16="http://schemas.microsoft.com/office/drawing/2014/main" id="{0743A971-F4D0-4F49-A5B4-23D41CF3C6F5}"/>
                  </a:ext>
                </a:extLst>
              </p:cNvPr>
              <p:cNvGrpSpPr/>
              <p:nvPr/>
            </p:nvGrpSpPr>
            <p:grpSpPr>
              <a:xfrm>
                <a:off x="7681520" y="1918017"/>
                <a:ext cx="386355" cy="212495"/>
                <a:chOff x="7681520" y="1918017"/>
                <a:chExt cx="386355" cy="212495"/>
              </a:xfrm>
            </p:grpSpPr>
            <p:sp>
              <p:nvSpPr>
                <p:cNvPr id="646" name="Freeform: Shape 613">
                  <a:extLst>
                    <a:ext uri="{FF2B5EF4-FFF2-40B4-BE49-F238E27FC236}">
                      <a16:creationId xmlns:a16="http://schemas.microsoft.com/office/drawing/2014/main" id="{31D3003D-69D0-43AB-8F47-3B90954BB0A0}"/>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7" name="Freeform: Shape 614">
                  <a:extLst>
                    <a:ext uri="{FF2B5EF4-FFF2-40B4-BE49-F238E27FC236}">
                      <a16:creationId xmlns:a16="http://schemas.microsoft.com/office/drawing/2014/main" id="{0ACDB22F-2041-487F-96F0-4D53C955592E}"/>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8" name="Freeform: Shape 615">
                  <a:extLst>
                    <a:ext uri="{FF2B5EF4-FFF2-40B4-BE49-F238E27FC236}">
                      <a16:creationId xmlns:a16="http://schemas.microsoft.com/office/drawing/2014/main" id="{1D0F5495-80E2-4276-AD8A-E2CCB8379B87}"/>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9" name="Freeform: Shape 616">
                  <a:extLst>
                    <a:ext uri="{FF2B5EF4-FFF2-40B4-BE49-F238E27FC236}">
                      <a16:creationId xmlns:a16="http://schemas.microsoft.com/office/drawing/2014/main" id="{75F5C856-CA0C-4DF8-ADE5-E9A692CC3F35}"/>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0" name="Freeform: Shape 617">
                  <a:extLst>
                    <a:ext uri="{FF2B5EF4-FFF2-40B4-BE49-F238E27FC236}">
                      <a16:creationId xmlns:a16="http://schemas.microsoft.com/office/drawing/2014/main" id="{03C41B6B-DF1C-413C-BF10-948DC90FEFF2}"/>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1" name="Freeform: Shape 618">
                  <a:extLst>
                    <a:ext uri="{FF2B5EF4-FFF2-40B4-BE49-F238E27FC236}">
                      <a16:creationId xmlns:a16="http://schemas.microsoft.com/office/drawing/2014/main" id="{B0871FBF-7C12-46A8-9D48-5E361F25A0E7}"/>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2" name="Freeform: Shape 619">
                  <a:extLst>
                    <a:ext uri="{FF2B5EF4-FFF2-40B4-BE49-F238E27FC236}">
                      <a16:creationId xmlns:a16="http://schemas.microsoft.com/office/drawing/2014/main" id="{23776C9E-D53A-47EB-914D-03DB163B75DA}"/>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3" name="Freeform: Shape 620">
                  <a:extLst>
                    <a:ext uri="{FF2B5EF4-FFF2-40B4-BE49-F238E27FC236}">
                      <a16:creationId xmlns:a16="http://schemas.microsoft.com/office/drawing/2014/main" id="{6FCE1129-6EEA-4818-9C22-5C96A9E1CB3E}"/>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618" name="Group 617">
                <a:extLst>
                  <a:ext uri="{FF2B5EF4-FFF2-40B4-BE49-F238E27FC236}">
                    <a16:creationId xmlns:a16="http://schemas.microsoft.com/office/drawing/2014/main" id="{623D1DE8-FB9E-431A-B1E6-25FADC13CD77}"/>
                  </a:ext>
                </a:extLst>
              </p:cNvPr>
              <p:cNvGrpSpPr/>
              <p:nvPr/>
            </p:nvGrpSpPr>
            <p:grpSpPr>
              <a:xfrm>
                <a:off x="7681520" y="2165667"/>
                <a:ext cx="386355" cy="212495"/>
                <a:chOff x="7681520" y="1918017"/>
                <a:chExt cx="386355" cy="212495"/>
              </a:xfrm>
            </p:grpSpPr>
            <p:sp>
              <p:nvSpPr>
                <p:cNvPr id="638" name="Freeform: Shape 622">
                  <a:extLst>
                    <a:ext uri="{FF2B5EF4-FFF2-40B4-BE49-F238E27FC236}">
                      <a16:creationId xmlns:a16="http://schemas.microsoft.com/office/drawing/2014/main" id="{5CFEA125-032F-43B6-A7B5-3B3E13B65B5A}"/>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9" name="Freeform: Shape 623">
                  <a:extLst>
                    <a:ext uri="{FF2B5EF4-FFF2-40B4-BE49-F238E27FC236}">
                      <a16:creationId xmlns:a16="http://schemas.microsoft.com/office/drawing/2014/main" id="{1F95517B-8B68-4881-8DC1-4963D259D046}"/>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0" name="Freeform: Shape 624">
                  <a:extLst>
                    <a:ext uri="{FF2B5EF4-FFF2-40B4-BE49-F238E27FC236}">
                      <a16:creationId xmlns:a16="http://schemas.microsoft.com/office/drawing/2014/main" id="{31A338DE-2041-42A7-852A-B440F865B845}"/>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1" name="Freeform: Shape 625">
                  <a:extLst>
                    <a:ext uri="{FF2B5EF4-FFF2-40B4-BE49-F238E27FC236}">
                      <a16:creationId xmlns:a16="http://schemas.microsoft.com/office/drawing/2014/main" id="{2FA7AE4D-85F2-4C1B-970B-4BD418277FDC}"/>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2" name="Freeform: Shape 626">
                  <a:extLst>
                    <a:ext uri="{FF2B5EF4-FFF2-40B4-BE49-F238E27FC236}">
                      <a16:creationId xmlns:a16="http://schemas.microsoft.com/office/drawing/2014/main" id="{2BB500AE-A26E-4651-B142-FEBDDFC045ED}"/>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3" name="Freeform: Shape 627">
                  <a:extLst>
                    <a:ext uri="{FF2B5EF4-FFF2-40B4-BE49-F238E27FC236}">
                      <a16:creationId xmlns:a16="http://schemas.microsoft.com/office/drawing/2014/main" id="{9E3F810C-862D-4C6A-A7D8-A313D39B6BB2}"/>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4" name="Freeform: Shape 628">
                  <a:extLst>
                    <a:ext uri="{FF2B5EF4-FFF2-40B4-BE49-F238E27FC236}">
                      <a16:creationId xmlns:a16="http://schemas.microsoft.com/office/drawing/2014/main" id="{D50613AF-9DAC-49B5-956A-94E8465E204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5" name="Freeform: Shape 629">
                  <a:extLst>
                    <a:ext uri="{FF2B5EF4-FFF2-40B4-BE49-F238E27FC236}">
                      <a16:creationId xmlns:a16="http://schemas.microsoft.com/office/drawing/2014/main" id="{4B9269CF-6878-4C31-B7A6-D3A91E055EC4}"/>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619" name="Group 618">
                <a:extLst>
                  <a:ext uri="{FF2B5EF4-FFF2-40B4-BE49-F238E27FC236}">
                    <a16:creationId xmlns:a16="http://schemas.microsoft.com/office/drawing/2014/main" id="{83398368-FF21-4690-9F47-3C01B401F17E}"/>
                  </a:ext>
                </a:extLst>
              </p:cNvPr>
              <p:cNvGrpSpPr/>
              <p:nvPr/>
            </p:nvGrpSpPr>
            <p:grpSpPr>
              <a:xfrm>
                <a:off x="7681520" y="2429192"/>
                <a:ext cx="386355" cy="212495"/>
                <a:chOff x="7681520" y="1918017"/>
                <a:chExt cx="386355" cy="212495"/>
              </a:xfrm>
            </p:grpSpPr>
            <p:sp>
              <p:nvSpPr>
                <p:cNvPr id="630" name="Freeform: Shape 631">
                  <a:extLst>
                    <a:ext uri="{FF2B5EF4-FFF2-40B4-BE49-F238E27FC236}">
                      <a16:creationId xmlns:a16="http://schemas.microsoft.com/office/drawing/2014/main" id="{FADF1AD1-FBC6-4AFA-B95A-C3E1A6ABAE76}"/>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1" name="Freeform: Shape 632">
                  <a:extLst>
                    <a:ext uri="{FF2B5EF4-FFF2-40B4-BE49-F238E27FC236}">
                      <a16:creationId xmlns:a16="http://schemas.microsoft.com/office/drawing/2014/main" id="{ECC23EDB-DDBE-4FD3-986F-B514BBCDA4EC}"/>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2" name="Freeform: Shape 633">
                  <a:extLst>
                    <a:ext uri="{FF2B5EF4-FFF2-40B4-BE49-F238E27FC236}">
                      <a16:creationId xmlns:a16="http://schemas.microsoft.com/office/drawing/2014/main" id="{9F2142F2-3069-4C1D-8EF2-F90C79FA3AB8}"/>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3" name="Freeform: Shape 634">
                  <a:extLst>
                    <a:ext uri="{FF2B5EF4-FFF2-40B4-BE49-F238E27FC236}">
                      <a16:creationId xmlns:a16="http://schemas.microsoft.com/office/drawing/2014/main" id="{B1EA25BE-5F9F-43FA-AEE5-154AD3736A64}"/>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4" name="Freeform: Shape 635">
                  <a:extLst>
                    <a:ext uri="{FF2B5EF4-FFF2-40B4-BE49-F238E27FC236}">
                      <a16:creationId xmlns:a16="http://schemas.microsoft.com/office/drawing/2014/main" id="{613BC104-4FCD-4B68-A3F0-1D79B4254772}"/>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5" name="Freeform: Shape 636">
                  <a:extLst>
                    <a:ext uri="{FF2B5EF4-FFF2-40B4-BE49-F238E27FC236}">
                      <a16:creationId xmlns:a16="http://schemas.microsoft.com/office/drawing/2014/main" id="{FD79181F-63B5-44AE-81D3-92203C35C660}"/>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6" name="Freeform: Shape 637">
                  <a:extLst>
                    <a:ext uri="{FF2B5EF4-FFF2-40B4-BE49-F238E27FC236}">
                      <a16:creationId xmlns:a16="http://schemas.microsoft.com/office/drawing/2014/main" id="{5F5F1658-98D3-480F-87EE-7864866DCD00}"/>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7" name="Freeform: Shape 638">
                  <a:extLst>
                    <a:ext uri="{FF2B5EF4-FFF2-40B4-BE49-F238E27FC236}">
                      <a16:creationId xmlns:a16="http://schemas.microsoft.com/office/drawing/2014/main" id="{0168CFCA-B35F-41A5-94B1-6202B4643E0A}"/>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620" name="Group 619">
                <a:extLst>
                  <a:ext uri="{FF2B5EF4-FFF2-40B4-BE49-F238E27FC236}">
                    <a16:creationId xmlns:a16="http://schemas.microsoft.com/office/drawing/2014/main" id="{1371FD26-6207-45DE-8FFF-F63928D3219E}"/>
                  </a:ext>
                </a:extLst>
              </p:cNvPr>
              <p:cNvGrpSpPr/>
              <p:nvPr/>
            </p:nvGrpSpPr>
            <p:grpSpPr>
              <a:xfrm>
                <a:off x="7681520" y="2692717"/>
                <a:ext cx="386355" cy="212495"/>
                <a:chOff x="7681520" y="1918017"/>
                <a:chExt cx="386355" cy="212495"/>
              </a:xfrm>
            </p:grpSpPr>
            <p:sp>
              <p:nvSpPr>
                <p:cNvPr id="622" name="Freeform: Shape 640">
                  <a:extLst>
                    <a:ext uri="{FF2B5EF4-FFF2-40B4-BE49-F238E27FC236}">
                      <a16:creationId xmlns:a16="http://schemas.microsoft.com/office/drawing/2014/main" id="{9227E197-9FA0-4FF6-B998-BCD32CACFCAF}"/>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3" name="Freeform: Shape 641">
                  <a:extLst>
                    <a:ext uri="{FF2B5EF4-FFF2-40B4-BE49-F238E27FC236}">
                      <a16:creationId xmlns:a16="http://schemas.microsoft.com/office/drawing/2014/main" id="{A62770A8-41DA-4AA6-8DB0-48B9FF5E7174}"/>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4" name="Freeform: Shape 642">
                  <a:extLst>
                    <a:ext uri="{FF2B5EF4-FFF2-40B4-BE49-F238E27FC236}">
                      <a16:creationId xmlns:a16="http://schemas.microsoft.com/office/drawing/2014/main" id="{99FD1C56-9940-44D5-B806-8F5641AED512}"/>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5" name="Freeform: Shape 643">
                  <a:extLst>
                    <a:ext uri="{FF2B5EF4-FFF2-40B4-BE49-F238E27FC236}">
                      <a16:creationId xmlns:a16="http://schemas.microsoft.com/office/drawing/2014/main" id="{F45FCD9E-03EF-4961-B467-A1363C31AA26}"/>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6" name="Freeform: Shape 644">
                  <a:extLst>
                    <a:ext uri="{FF2B5EF4-FFF2-40B4-BE49-F238E27FC236}">
                      <a16:creationId xmlns:a16="http://schemas.microsoft.com/office/drawing/2014/main" id="{D2678F5B-FFBA-44DD-829D-645CFC56D566}"/>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7" name="Freeform: Shape 645">
                  <a:extLst>
                    <a:ext uri="{FF2B5EF4-FFF2-40B4-BE49-F238E27FC236}">
                      <a16:creationId xmlns:a16="http://schemas.microsoft.com/office/drawing/2014/main" id="{46552C97-E191-4623-8588-29F039D488DC}"/>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8" name="Freeform: Shape 646">
                  <a:extLst>
                    <a:ext uri="{FF2B5EF4-FFF2-40B4-BE49-F238E27FC236}">
                      <a16:creationId xmlns:a16="http://schemas.microsoft.com/office/drawing/2014/main" id="{9C4EEF16-E9D3-42BB-B419-5978A70D805D}"/>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9" name="Freeform: Shape 647">
                  <a:extLst>
                    <a:ext uri="{FF2B5EF4-FFF2-40B4-BE49-F238E27FC236}">
                      <a16:creationId xmlns:a16="http://schemas.microsoft.com/office/drawing/2014/main" id="{D525B7EF-BF21-47F2-AC13-B8C9B1284233}"/>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621" name="Rectangle 620">
                <a:extLst>
                  <a:ext uri="{FF2B5EF4-FFF2-40B4-BE49-F238E27FC236}">
                    <a16:creationId xmlns:a16="http://schemas.microsoft.com/office/drawing/2014/main" id="{49F05559-D241-48B8-ADA8-3F58000635BC}"/>
                  </a:ext>
                </a:extLst>
              </p:cNvPr>
              <p:cNvSpPr/>
              <p:nvPr/>
            </p:nvSpPr>
            <p:spPr>
              <a:xfrm>
                <a:off x="7710446" y="1739620"/>
                <a:ext cx="363579" cy="124105"/>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grpSp>
          <p:nvGrpSpPr>
            <p:cNvPr id="587" name="Group 586">
              <a:extLst>
                <a:ext uri="{FF2B5EF4-FFF2-40B4-BE49-F238E27FC236}">
                  <a16:creationId xmlns:a16="http://schemas.microsoft.com/office/drawing/2014/main" id="{32724CEB-FDE7-4F9B-AFAF-D12123EE2027}"/>
                </a:ext>
              </a:extLst>
            </p:cNvPr>
            <p:cNvGrpSpPr/>
            <p:nvPr/>
          </p:nvGrpSpPr>
          <p:grpSpPr>
            <a:xfrm>
              <a:off x="7030996" y="2098675"/>
              <a:ext cx="570891" cy="913689"/>
              <a:chOff x="8177171" y="2098675"/>
              <a:chExt cx="570891" cy="913689"/>
            </a:xfrm>
          </p:grpSpPr>
          <p:sp>
            <p:nvSpPr>
              <p:cNvPr id="588" name="Rectangle 587">
                <a:extLst>
                  <a:ext uri="{FF2B5EF4-FFF2-40B4-BE49-F238E27FC236}">
                    <a16:creationId xmlns:a16="http://schemas.microsoft.com/office/drawing/2014/main" id="{3F2AE079-085F-4CCD-9DF8-846D273EA67E}"/>
                  </a:ext>
                </a:extLst>
              </p:cNvPr>
              <p:cNvSpPr/>
              <p:nvPr/>
            </p:nvSpPr>
            <p:spPr>
              <a:xfrm>
                <a:off x="8177171" y="2098675"/>
                <a:ext cx="570891" cy="913689"/>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589" name="Group 588">
                <a:extLst>
                  <a:ext uri="{FF2B5EF4-FFF2-40B4-BE49-F238E27FC236}">
                    <a16:creationId xmlns:a16="http://schemas.microsoft.com/office/drawing/2014/main" id="{82F2CD1B-8EF3-4FD5-B6BB-4ED9806F627E}"/>
                  </a:ext>
                </a:extLst>
              </p:cNvPr>
              <p:cNvGrpSpPr/>
              <p:nvPr/>
            </p:nvGrpSpPr>
            <p:grpSpPr>
              <a:xfrm>
                <a:off x="8256195" y="2165667"/>
                <a:ext cx="386355" cy="212495"/>
                <a:chOff x="7681520" y="1918017"/>
                <a:chExt cx="386355" cy="212495"/>
              </a:xfrm>
            </p:grpSpPr>
            <p:sp>
              <p:nvSpPr>
                <p:cNvPr id="608" name="Freeform: Shape 707">
                  <a:extLst>
                    <a:ext uri="{FF2B5EF4-FFF2-40B4-BE49-F238E27FC236}">
                      <a16:creationId xmlns:a16="http://schemas.microsoft.com/office/drawing/2014/main" id="{203F7D2B-F5CB-4B61-8987-8D1ED35D1AD4}"/>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9" name="Freeform: Shape 708">
                  <a:extLst>
                    <a:ext uri="{FF2B5EF4-FFF2-40B4-BE49-F238E27FC236}">
                      <a16:creationId xmlns:a16="http://schemas.microsoft.com/office/drawing/2014/main" id="{BEFB5D86-B84E-4C38-AC2F-D325429429DA}"/>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0" name="Freeform: Shape 709">
                  <a:extLst>
                    <a:ext uri="{FF2B5EF4-FFF2-40B4-BE49-F238E27FC236}">
                      <a16:creationId xmlns:a16="http://schemas.microsoft.com/office/drawing/2014/main" id="{AA87997F-85D3-476F-9D39-2E59D4F7D359}"/>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1" name="Freeform: Shape 710">
                  <a:extLst>
                    <a:ext uri="{FF2B5EF4-FFF2-40B4-BE49-F238E27FC236}">
                      <a16:creationId xmlns:a16="http://schemas.microsoft.com/office/drawing/2014/main" id="{3261E925-D374-430D-BE66-428624434C85}"/>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2" name="Freeform: Shape 711">
                  <a:extLst>
                    <a:ext uri="{FF2B5EF4-FFF2-40B4-BE49-F238E27FC236}">
                      <a16:creationId xmlns:a16="http://schemas.microsoft.com/office/drawing/2014/main" id="{0860838F-CFDC-41BC-B92A-163A0EE3F14F}"/>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3" name="Freeform: Shape 712">
                  <a:extLst>
                    <a:ext uri="{FF2B5EF4-FFF2-40B4-BE49-F238E27FC236}">
                      <a16:creationId xmlns:a16="http://schemas.microsoft.com/office/drawing/2014/main" id="{E55480F1-1893-484D-8FF9-85A0A94DD473}"/>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4" name="Freeform: Shape 713">
                  <a:extLst>
                    <a:ext uri="{FF2B5EF4-FFF2-40B4-BE49-F238E27FC236}">
                      <a16:creationId xmlns:a16="http://schemas.microsoft.com/office/drawing/2014/main" id="{1D41F713-F934-41C1-8730-4A748EF41DD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5" name="Freeform: Shape 714">
                  <a:extLst>
                    <a:ext uri="{FF2B5EF4-FFF2-40B4-BE49-F238E27FC236}">
                      <a16:creationId xmlns:a16="http://schemas.microsoft.com/office/drawing/2014/main" id="{3268174C-3044-42A4-AD12-A0903062DADB}"/>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590" name="Group 589">
                <a:extLst>
                  <a:ext uri="{FF2B5EF4-FFF2-40B4-BE49-F238E27FC236}">
                    <a16:creationId xmlns:a16="http://schemas.microsoft.com/office/drawing/2014/main" id="{82C37B37-BA84-47CF-B761-1B8DF16E95A3}"/>
                  </a:ext>
                </a:extLst>
              </p:cNvPr>
              <p:cNvGrpSpPr/>
              <p:nvPr/>
            </p:nvGrpSpPr>
            <p:grpSpPr>
              <a:xfrm>
                <a:off x="8256195" y="2429192"/>
                <a:ext cx="386355" cy="212495"/>
                <a:chOff x="7681520" y="1918017"/>
                <a:chExt cx="386355" cy="212495"/>
              </a:xfrm>
            </p:grpSpPr>
            <p:sp>
              <p:nvSpPr>
                <p:cNvPr id="600" name="Freeform: Shape 699">
                  <a:extLst>
                    <a:ext uri="{FF2B5EF4-FFF2-40B4-BE49-F238E27FC236}">
                      <a16:creationId xmlns:a16="http://schemas.microsoft.com/office/drawing/2014/main" id="{54015EB5-AFCF-441A-B529-7B008BA11323}"/>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1" name="Freeform: Shape 700">
                  <a:extLst>
                    <a:ext uri="{FF2B5EF4-FFF2-40B4-BE49-F238E27FC236}">
                      <a16:creationId xmlns:a16="http://schemas.microsoft.com/office/drawing/2014/main" id="{5C0325B9-FEC8-4CF2-A84F-E7EDF9734AF9}"/>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2" name="Freeform: Shape 701">
                  <a:extLst>
                    <a:ext uri="{FF2B5EF4-FFF2-40B4-BE49-F238E27FC236}">
                      <a16:creationId xmlns:a16="http://schemas.microsoft.com/office/drawing/2014/main" id="{715C2893-6A38-4995-AB07-EDB72A2B6020}"/>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3" name="Freeform: Shape 702">
                  <a:extLst>
                    <a:ext uri="{FF2B5EF4-FFF2-40B4-BE49-F238E27FC236}">
                      <a16:creationId xmlns:a16="http://schemas.microsoft.com/office/drawing/2014/main" id="{B2E524EA-7500-401B-AA51-ACDA7049C5D7}"/>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4" name="Freeform: Shape 703">
                  <a:extLst>
                    <a:ext uri="{FF2B5EF4-FFF2-40B4-BE49-F238E27FC236}">
                      <a16:creationId xmlns:a16="http://schemas.microsoft.com/office/drawing/2014/main" id="{4DEAB885-F959-44BC-9663-983D9EB5377A}"/>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5" name="Freeform: Shape 704">
                  <a:extLst>
                    <a:ext uri="{FF2B5EF4-FFF2-40B4-BE49-F238E27FC236}">
                      <a16:creationId xmlns:a16="http://schemas.microsoft.com/office/drawing/2014/main" id="{3FF6C649-EAFC-4D3E-B311-CF8D6A2E342C}"/>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6" name="Freeform: Shape 705">
                  <a:extLst>
                    <a:ext uri="{FF2B5EF4-FFF2-40B4-BE49-F238E27FC236}">
                      <a16:creationId xmlns:a16="http://schemas.microsoft.com/office/drawing/2014/main" id="{51CF9C68-DDD8-42E2-B73D-CBF745F6AD3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7" name="Freeform: Shape 706">
                  <a:extLst>
                    <a:ext uri="{FF2B5EF4-FFF2-40B4-BE49-F238E27FC236}">
                      <a16:creationId xmlns:a16="http://schemas.microsoft.com/office/drawing/2014/main" id="{620A3177-F1C6-4C99-9E55-F8621C372FBF}"/>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591" name="Group 590">
                <a:extLst>
                  <a:ext uri="{FF2B5EF4-FFF2-40B4-BE49-F238E27FC236}">
                    <a16:creationId xmlns:a16="http://schemas.microsoft.com/office/drawing/2014/main" id="{0CC9FADE-28F9-49BB-A344-BDF29A40C9C5}"/>
                  </a:ext>
                </a:extLst>
              </p:cNvPr>
              <p:cNvGrpSpPr/>
              <p:nvPr/>
            </p:nvGrpSpPr>
            <p:grpSpPr>
              <a:xfrm>
                <a:off x="8256195" y="2692717"/>
                <a:ext cx="386355" cy="212495"/>
                <a:chOff x="7681520" y="1918017"/>
                <a:chExt cx="386355" cy="212495"/>
              </a:xfrm>
            </p:grpSpPr>
            <p:sp>
              <p:nvSpPr>
                <p:cNvPr id="592" name="Freeform: Shape 691">
                  <a:extLst>
                    <a:ext uri="{FF2B5EF4-FFF2-40B4-BE49-F238E27FC236}">
                      <a16:creationId xmlns:a16="http://schemas.microsoft.com/office/drawing/2014/main" id="{E6D347EC-194B-4960-86DC-D0E0E8626DD5}"/>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3" name="Freeform: Shape 692">
                  <a:extLst>
                    <a:ext uri="{FF2B5EF4-FFF2-40B4-BE49-F238E27FC236}">
                      <a16:creationId xmlns:a16="http://schemas.microsoft.com/office/drawing/2014/main" id="{C5FE6987-2FA3-417F-B341-52792038C0DE}"/>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4" name="Freeform: Shape 693">
                  <a:extLst>
                    <a:ext uri="{FF2B5EF4-FFF2-40B4-BE49-F238E27FC236}">
                      <a16:creationId xmlns:a16="http://schemas.microsoft.com/office/drawing/2014/main" id="{9B352CD8-25B0-4EDE-9A03-873248250118}"/>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5" name="Freeform: Shape 694">
                  <a:extLst>
                    <a:ext uri="{FF2B5EF4-FFF2-40B4-BE49-F238E27FC236}">
                      <a16:creationId xmlns:a16="http://schemas.microsoft.com/office/drawing/2014/main" id="{D6DA0E0A-A52E-4E08-8F8B-9B7EA9ECD4C1}"/>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6" name="Freeform: Shape 695">
                  <a:extLst>
                    <a:ext uri="{FF2B5EF4-FFF2-40B4-BE49-F238E27FC236}">
                      <a16:creationId xmlns:a16="http://schemas.microsoft.com/office/drawing/2014/main" id="{D46D8B46-5EB2-4AFB-B842-E2D25BAA1B84}"/>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7" name="Freeform: Shape 696">
                  <a:extLst>
                    <a:ext uri="{FF2B5EF4-FFF2-40B4-BE49-F238E27FC236}">
                      <a16:creationId xmlns:a16="http://schemas.microsoft.com/office/drawing/2014/main" id="{063D1DC3-42EE-4D5E-9219-F2B3D5AA2BB0}"/>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8" name="Freeform: Shape 697">
                  <a:extLst>
                    <a:ext uri="{FF2B5EF4-FFF2-40B4-BE49-F238E27FC236}">
                      <a16:creationId xmlns:a16="http://schemas.microsoft.com/office/drawing/2014/main" id="{88BA0CC1-4D2D-46AD-925E-A89044247021}"/>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9" name="Freeform: Shape 698">
                  <a:extLst>
                    <a:ext uri="{FF2B5EF4-FFF2-40B4-BE49-F238E27FC236}">
                      <a16:creationId xmlns:a16="http://schemas.microsoft.com/office/drawing/2014/main" id="{FC9383D1-ED48-4DF1-B637-C22F7ABB820F}"/>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grpSp>
        <p:nvGrpSpPr>
          <p:cNvPr id="654" name="Group 653">
            <a:extLst>
              <a:ext uri="{FF2B5EF4-FFF2-40B4-BE49-F238E27FC236}">
                <a16:creationId xmlns:a16="http://schemas.microsoft.com/office/drawing/2014/main" id="{E80F6F4E-8D26-4AA5-90D5-21EC266C4918}"/>
              </a:ext>
            </a:extLst>
          </p:cNvPr>
          <p:cNvGrpSpPr/>
          <p:nvPr/>
        </p:nvGrpSpPr>
        <p:grpSpPr>
          <a:xfrm>
            <a:off x="9164279" y="1353628"/>
            <a:ext cx="2029674" cy="968638"/>
            <a:chOff x="6486211" y="1739620"/>
            <a:chExt cx="2801675" cy="1283916"/>
          </a:xfrm>
        </p:grpSpPr>
        <p:grpSp>
          <p:nvGrpSpPr>
            <p:cNvPr id="655" name="Group 654">
              <a:extLst>
                <a:ext uri="{FF2B5EF4-FFF2-40B4-BE49-F238E27FC236}">
                  <a16:creationId xmlns:a16="http://schemas.microsoft.com/office/drawing/2014/main" id="{6E4EAD5C-7924-4B1F-9DFF-D1AD8232C318}"/>
                </a:ext>
              </a:extLst>
            </p:cNvPr>
            <p:cNvGrpSpPr/>
            <p:nvPr/>
          </p:nvGrpSpPr>
          <p:grpSpPr>
            <a:xfrm>
              <a:off x="6486211" y="2427446"/>
              <a:ext cx="596090" cy="596090"/>
              <a:chOff x="6340161" y="2433796"/>
              <a:chExt cx="596090" cy="596090"/>
            </a:xfrm>
          </p:grpSpPr>
          <p:sp>
            <p:nvSpPr>
              <p:cNvPr id="765" name="Freeform: Shape 498">
                <a:extLst>
                  <a:ext uri="{FF2B5EF4-FFF2-40B4-BE49-F238E27FC236}">
                    <a16:creationId xmlns:a16="http://schemas.microsoft.com/office/drawing/2014/main" id="{52517459-A55E-400A-8290-6C0D2E0D05B7}"/>
                  </a:ext>
                </a:extLst>
              </p:cNvPr>
              <p:cNvSpPr/>
              <p:nvPr/>
            </p:nvSpPr>
            <p:spPr>
              <a:xfrm>
                <a:off x="6340161" y="2433796"/>
                <a:ext cx="596090" cy="596090"/>
              </a:xfrm>
              <a:custGeom>
                <a:avLst/>
                <a:gdLst>
                  <a:gd name="connsiteX0" fmla="*/ 16669 w 771525"/>
                  <a:gd name="connsiteY0" fmla="*/ 769144 h 771525"/>
                  <a:gd name="connsiteX1" fmla="*/ 759619 w 771525"/>
                  <a:gd name="connsiteY1" fmla="*/ 769144 h 771525"/>
                  <a:gd name="connsiteX2" fmla="*/ 769144 w 771525"/>
                  <a:gd name="connsiteY2" fmla="*/ 759619 h 771525"/>
                  <a:gd name="connsiteX3" fmla="*/ 769144 w 771525"/>
                  <a:gd name="connsiteY3" fmla="*/ 693344 h 771525"/>
                  <a:gd name="connsiteX4" fmla="*/ 759619 w 771525"/>
                  <a:gd name="connsiteY4" fmla="*/ 683819 h 771525"/>
                  <a:gd name="connsiteX5" fmla="*/ 718547 w 771525"/>
                  <a:gd name="connsiteY5" fmla="*/ 683819 h 771525"/>
                  <a:gd name="connsiteX6" fmla="*/ 718547 w 771525"/>
                  <a:gd name="connsiteY6" fmla="*/ 92469 h 771525"/>
                  <a:gd name="connsiteX7" fmla="*/ 732596 w 771525"/>
                  <a:gd name="connsiteY7" fmla="*/ 92469 h 771525"/>
                  <a:gd name="connsiteX8" fmla="*/ 742121 w 771525"/>
                  <a:gd name="connsiteY8" fmla="*/ 82944 h 771525"/>
                  <a:gd name="connsiteX9" fmla="*/ 742121 w 771525"/>
                  <a:gd name="connsiteY9" fmla="*/ 16669 h 771525"/>
                  <a:gd name="connsiteX10" fmla="*/ 732596 w 771525"/>
                  <a:gd name="connsiteY10" fmla="*/ 7144 h 771525"/>
                  <a:gd name="connsiteX11" fmla="*/ 43691 w 771525"/>
                  <a:gd name="connsiteY11" fmla="*/ 7144 h 771525"/>
                  <a:gd name="connsiteX12" fmla="*/ 34166 w 771525"/>
                  <a:gd name="connsiteY12" fmla="*/ 16669 h 771525"/>
                  <a:gd name="connsiteX13" fmla="*/ 34166 w 771525"/>
                  <a:gd name="connsiteY13" fmla="*/ 82944 h 771525"/>
                  <a:gd name="connsiteX14" fmla="*/ 43691 w 771525"/>
                  <a:gd name="connsiteY14" fmla="*/ 92469 h 771525"/>
                  <a:gd name="connsiteX15" fmla="*/ 57741 w 771525"/>
                  <a:gd name="connsiteY15" fmla="*/ 92469 h 771525"/>
                  <a:gd name="connsiteX16" fmla="*/ 57741 w 771525"/>
                  <a:gd name="connsiteY16" fmla="*/ 683819 h 771525"/>
                  <a:gd name="connsiteX17" fmla="*/ 16669 w 771525"/>
                  <a:gd name="connsiteY17" fmla="*/ 683819 h 771525"/>
                  <a:gd name="connsiteX18" fmla="*/ 7144 w 771525"/>
                  <a:gd name="connsiteY18" fmla="*/ 693344 h 771525"/>
                  <a:gd name="connsiteX19" fmla="*/ 7144 w 771525"/>
                  <a:gd name="connsiteY19" fmla="*/ 759619 h 771525"/>
                  <a:gd name="connsiteX20" fmla="*/ 16669 w 771525"/>
                  <a:gd name="connsiteY20" fmla="*/ 769144 h 771525"/>
                  <a:gd name="connsiteX21" fmla="*/ 53216 w 771525"/>
                  <a:gd name="connsiteY21" fmla="*/ 26194 h 771525"/>
                  <a:gd name="connsiteX22" fmla="*/ 723062 w 771525"/>
                  <a:gd name="connsiteY22" fmla="*/ 26194 h 771525"/>
                  <a:gd name="connsiteX23" fmla="*/ 723062 w 771525"/>
                  <a:gd name="connsiteY23" fmla="*/ 73419 h 771525"/>
                  <a:gd name="connsiteX24" fmla="*/ 53216 w 771525"/>
                  <a:gd name="connsiteY24" fmla="*/ 73419 h 771525"/>
                  <a:gd name="connsiteX25" fmla="*/ 53216 w 771525"/>
                  <a:gd name="connsiteY25" fmla="*/ 26194 h 771525"/>
                  <a:gd name="connsiteX26" fmla="*/ 76791 w 771525"/>
                  <a:gd name="connsiteY26" fmla="*/ 92469 h 771525"/>
                  <a:gd name="connsiteX27" fmla="*/ 699487 w 771525"/>
                  <a:gd name="connsiteY27" fmla="*/ 92469 h 771525"/>
                  <a:gd name="connsiteX28" fmla="*/ 699487 w 771525"/>
                  <a:gd name="connsiteY28" fmla="*/ 683819 h 771525"/>
                  <a:gd name="connsiteX29" fmla="*/ 496491 w 771525"/>
                  <a:gd name="connsiteY29" fmla="*/ 683819 h 771525"/>
                  <a:gd name="connsiteX30" fmla="*/ 496491 w 771525"/>
                  <a:gd name="connsiteY30" fmla="*/ 470402 h 771525"/>
                  <a:gd name="connsiteX31" fmla="*/ 486966 w 771525"/>
                  <a:gd name="connsiteY31" fmla="*/ 460877 h 771525"/>
                  <a:gd name="connsiteX32" fmla="*/ 289322 w 771525"/>
                  <a:gd name="connsiteY32" fmla="*/ 460877 h 771525"/>
                  <a:gd name="connsiteX33" fmla="*/ 279797 w 771525"/>
                  <a:gd name="connsiteY33" fmla="*/ 470402 h 771525"/>
                  <a:gd name="connsiteX34" fmla="*/ 279797 w 771525"/>
                  <a:gd name="connsiteY34" fmla="*/ 683819 h 771525"/>
                  <a:gd name="connsiteX35" fmla="*/ 76791 w 771525"/>
                  <a:gd name="connsiteY35" fmla="*/ 683819 h 771525"/>
                  <a:gd name="connsiteX36" fmla="*/ 76791 w 771525"/>
                  <a:gd name="connsiteY36" fmla="*/ 92469 h 771525"/>
                  <a:gd name="connsiteX37" fmla="*/ 298847 w 771525"/>
                  <a:gd name="connsiteY37" fmla="*/ 683819 h 771525"/>
                  <a:gd name="connsiteX38" fmla="*/ 298847 w 771525"/>
                  <a:gd name="connsiteY38" fmla="*/ 479927 h 771525"/>
                  <a:gd name="connsiteX39" fmla="*/ 378619 w 771525"/>
                  <a:gd name="connsiteY39" fmla="*/ 479927 h 771525"/>
                  <a:gd name="connsiteX40" fmla="*/ 378619 w 771525"/>
                  <a:gd name="connsiteY40" fmla="*/ 683819 h 771525"/>
                  <a:gd name="connsiteX41" fmla="*/ 298847 w 771525"/>
                  <a:gd name="connsiteY41" fmla="*/ 683819 h 771525"/>
                  <a:gd name="connsiteX42" fmla="*/ 397669 w 771525"/>
                  <a:gd name="connsiteY42" fmla="*/ 479927 h 771525"/>
                  <a:gd name="connsiteX43" fmla="*/ 477441 w 771525"/>
                  <a:gd name="connsiteY43" fmla="*/ 479927 h 771525"/>
                  <a:gd name="connsiteX44" fmla="*/ 477441 w 771525"/>
                  <a:gd name="connsiteY44" fmla="*/ 683819 h 771525"/>
                  <a:gd name="connsiteX45" fmla="*/ 397669 w 771525"/>
                  <a:gd name="connsiteY45" fmla="*/ 683819 h 771525"/>
                  <a:gd name="connsiteX46" fmla="*/ 397669 w 771525"/>
                  <a:gd name="connsiteY46" fmla="*/ 479927 h 771525"/>
                  <a:gd name="connsiteX47" fmla="*/ 26194 w 771525"/>
                  <a:gd name="connsiteY47" fmla="*/ 702869 h 771525"/>
                  <a:gd name="connsiteX48" fmla="*/ 750094 w 771525"/>
                  <a:gd name="connsiteY48" fmla="*/ 702869 h 771525"/>
                  <a:gd name="connsiteX49" fmla="*/ 750094 w 771525"/>
                  <a:gd name="connsiteY49" fmla="*/ 750094 h 771525"/>
                  <a:gd name="connsiteX50" fmla="*/ 26194 w 771525"/>
                  <a:gd name="connsiteY50" fmla="*/ 750094 h 771525"/>
                  <a:gd name="connsiteX51" fmla="*/ 26194 w 771525"/>
                  <a:gd name="connsiteY51" fmla="*/ 702869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771525" h="771525">
                    <a:moveTo>
                      <a:pt x="16669" y="769144"/>
                    </a:moveTo>
                    <a:lnTo>
                      <a:pt x="759619" y="769144"/>
                    </a:lnTo>
                    <a:cubicBezTo>
                      <a:pt x="764877" y="769144"/>
                      <a:pt x="769144" y="764886"/>
                      <a:pt x="769144" y="759619"/>
                    </a:cubicBezTo>
                    <a:lnTo>
                      <a:pt x="769144" y="693344"/>
                    </a:lnTo>
                    <a:cubicBezTo>
                      <a:pt x="769144" y="688076"/>
                      <a:pt x="764877" y="683819"/>
                      <a:pt x="759619" y="683819"/>
                    </a:cubicBezTo>
                    <a:lnTo>
                      <a:pt x="718547" y="683819"/>
                    </a:lnTo>
                    <a:lnTo>
                      <a:pt x="718547" y="92469"/>
                    </a:lnTo>
                    <a:lnTo>
                      <a:pt x="732596" y="92469"/>
                    </a:lnTo>
                    <a:cubicBezTo>
                      <a:pt x="737854" y="92469"/>
                      <a:pt x="742121" y="88211"/>
                      <a:pt x="742121" y="82944"/>
                    </a:cubicBezTo>
                    <a:lnTo>
                      <a:pt x="742121" y="16669"/>
                    </a:lnTo>
                    <a:cubicBezTo>
                      <a:pt x="742121" y="11401"/>
                      <a:pt x="737854" y="7144"/>
                      <a:pt x="732596" y="7144"/>
                    </a:cubicBezTo>
                    <a:lnTo>
                      <a:pt x="43691" y="7144"/>
                    </a:lnTo>
                    <a:cubicBezTo>
                      <a:pt x="38433" y="7144"/>
                      <a:pt x="34166" y="11401"/>
                      <a:pt x="34166" y="16669"/>
                    </a:cubicBezTo>
                    <a:lnTo>
                      <a:pt x="34166" y="82944"/>
                    </a:lnTo>
                    <a:cubicBezTo>
                      <a:pt x="34166" y="88211"/>
                      <a:pt x="38433" y="92469"/>
                      <a:pt x="43691" y="92469"/>
                    </a:cubicBezTo>
                    <a:lnTo>
                      <a:pt x="57741" y="92469"/>
                    </a:lnTo>
                    <a:lnTo>
                      <a:pt x="57741" y="683819"/>
                    </a:lnTo>
                    <a:lnTo>
                      <a:pt x="16669" y="683819"/>
                    </a:lnTo>
                    <a:cubicBezTo>
                      <a:pt x="11411" y="683819"/>
                      <a:pt x="7144" y="688076"/>
                      <a:pt x="7144" y="693344"/>
                    </a:cubicBezTo>
                    <a:lnTo>
                      <a:pt x="7144" y="759619"/>
                    </a:lnTo>
                    <a:cubicBezTo>
                      <a:pt x="7144" y="764886"/>
                      <a:pt x="11411" y="769144"/>
                      <a:pt x="16669" y="769144"/>
                    </a:cubicBezTo>
                    <a:close/>
                    <a:moveTo>
                      <a:pt x="53216" y="26194"/>
                    </a:moveTo>
                    <a:lnTo>
                      <a:pt x="723062" y="26194"/>
                    </a:lnTo>
                    <a:lnTo>
                      <a:pt x="723062" y="73419"/>
                    </a:lnTo>
                    <a:lnTo>
                      <a:pt x="53216" y="73419"/>
                    </a:lnTo>
                    <a:lnTo>
                      <a:pt x="53216" y="26194"/>
                    </a:lnTo>
                    <a:close/>
                    <a:moveTo>
                      <a:pt x="76791" y="92469"/>
                    </a:moveTo>
                    <a:lnTo>
                      <a:pt x="699487" y="92469"/>
                    </a:lnTo>
                    <a:lnTo>
                      <a:pt x="699487" y="683819"/>
                    </a:lnTo>
                    <a:lnTo>
                      <a:pt x="496491" y="683819"/>
                    </a:lnTo>
                    <a:lnTo>
                      <a:pt x="496491" y="470402"/>
                    </a:lnTo>
                    <a:cubicBezTo>
                      <a:pt x="496491" y="465134"/>
                      <a:pt x="492223" y="460877"/>
                      <a:pt x="486966" y="460877"/>
                    </a:cubicBezTo>
                    <a:lnTo>
                      <a:pt x="289322" y="460877"/>
                    </a:lnTo>
                    <a:cubicBezTo>
                      <a:pt x="284064" y="460877"/>
                      <a:pt x="279797" y="465134"/>
                      <a:pt x="279797" y="470402"/>
                    </a:cubicBezTo>
                    <a:lnTo>
                      <a:pt x="279797" y="683819"/>
                    </a:lnTo>
                    <a:lnTo>
                      <a:pt x="76791" y="683819"/>
                    </a:lnTo>
                    <a:lnTo>
                      <a:pt x="76791" y="92469"/>
                    </a:lnTo>
                    <a:close/>
                    <a:moveTo>
                      <a:pt x="298847" y="683819"/>
                    </a:moveTo>
                    <a:lnTo>
                      <a:pt x="298847" y="479927"/>
                    </a:lnTo>
                    <a:lnTo>
                      <a:pt x="378619" y="479927"/>
                    </a:lnTo>
                    <a:lnTo>
                      <a:pt x="378619" y="683819"/>
                    </a:lnTo>
                    <a:lnTo>
                      <a:pt x="298847" y="683819"/>
                    </a:lnTo>
                    <a:close/>
                    <a:moveTo>
                      <a:pt x="397669" y="479927"/>
                    </a:moveTo>
                    <a:lnTo>
                      <a:pt x="477441" y="479927"/>
                    </a:lnTo>
                    <a:lnTo>
                      <a:pt x="477441" y="683819"/>
                    </a:lnTo>
                    <a:lnTo>
                      <a:pt x="397669" y="683819"/>
                    </a:lnTo>
                    <a:lnTo>
                      <a:pt x="397669" y="479927"/>
                    </a:lnTo>
                    <a:close/>
                    <a:moveTo>
                      <a:pt x="26194" y="702869"/>
                    </a:moveTo>
                    <a:lnTo>
                      <a:pt x="750094" y="702869"/>
                    </a:lnTo>
                    <a:lnTo>
                      <a:pt x="750094" y="750094"/>
                    </a:lnTo>
                    <a:lnTo>
                      <a:pt x="26194" y="750094"/>
                    </a:lnTo>
                    <a:lnTo>
                      <a:pt x="26194" y="702869"/>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6" name="Freeform: Shape 499">
                <a:extLst>
                  <a:ext uri="{FF2B5EF4-FFF2-40B4-BE49-F238E27FC236}">
                    <a16:creationId xmlns:a16="http://schemas.microsoft.com/office/drawing/2014/main" id="{C234E4DC-8BF4-4232-B4C7-D48E7F3CC541}"/>
                  </a:ext>
                </a:extLst>
              </p:cNvPr>
              <p:cNvSpPr/>
              <p:nvPr/>
            </p:nvSpPr>
            <p:spPr>
              <a:xfrm>
                <a:off x="6763393" y="2783495"/>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7" name="Freeform: Shape 500">
                <a:extLst>
                  <a:ext uri="{FF2B5EF4-FFF2-40B4-BE49-F238E27FC236}">
                    <a16:creationId xmlns:a16="http://schemas.microsoft.com/office/drawing/2014/main" id="{244FF703-73B5-400C-AF9D-E63E9295D613}"/>
                  </a:ext>
                </a:extLst>
              </p:cNvPr>
              <p:cNvSpPr/>
              <p:nvPr/>
            </p:nvSpPr>
            <p:spPr>
              <a:xfrm>
                <a:off x="6443270" y="2783495"/>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8" name="Freeform: Shape 501">
                <a:extLst>
                  <a:ext uri="{FF2B5EF4-FFF2-40B4-BE49-F238E27FC236}">
                    <a16:creationId xmlns:a16="http://schemas.microsoft.com/office/drawing/2014/main" id="{5A7F3558-AB63-49D2-85F8-78BD0CF39CA9}"/>
                  </a:ext>
                </a:extLst>
              </p:cNvPr>
              <p:cNvSpPr/>
              <p:nvPr/>
            </p:nvSpPr>
            <p:spPr>
              <a:xfrm>
                <a:off x="6763393" y="2666668"/>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9" name="Freeform: Shape 502">
                <a:extLst>
                  <a:ext uri="{FF2B5EF4-FFF2-40B4-BE49-F238E27FC236}">
                    <a16:creationId xmlns:a16="http://schemas.microsoft.com/office/drawing/2014/main" id="{E491DDF7-1F22-4026-B037-0EE1E8E2CA8B}"/>
                  </a:ext>
                </a:extLst>
              </p:cNvPr>
              <p:cNvSpPr/>
              <p:nvPr/>
            </p:nvSpPr>
            <p:spPr>
              <a:xfrm>
                <a:off x="6656766" y="2666668"/>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0" name="Freeform: Shape 503">
                <a:extLst>
                  <a:ext uri="{FF2B5EF4-FFF2-40B4-BE49-F238E27FC236}">
                    <a16:creationId xmlns:a16="http://schemas.microsoft.com/office/drawing/2014/main" id="{E90C71D2-FD0E-4DEB-9168-156B709B7248}"/>
                  </a:ext>
                </a:extLst>
              </p:cNvPr>
              <p:cNvSpPr/>
              <p:nvPr/>
            </p:nvSpPr>
            <p:spPr>
              <a:xfrm>
                <a:off x="6550817" y="2666668"/>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1" name="Freeform: Shape 504">
                <a:extLst>
                  <a:ext uri="{FF2B5EF4-FFF2-40B4-BE49-F238E27FC236}">
                    <a16:creationId xmlns:a16="http://schemas.microsoft.com/office/drawing/2014/main" id="{468FE0E6-2E10-4571-BEF4-B972DC8A5716}"/>
                  </a:ext>
                </a:extLst>
              </p:cNvPr>
              <p:cNvSpPr/>
              <p:nvPr/>
            </p:nvSpPr>
            <p:spPr>
              <a:xfrm>
                <a:off x="6656766" y="2549842"/>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2" name="Freeform: Shape 505">
                <a:extLst>
                  <a:ext uri="{FF2B5EF4-FFF2-40B4-BE49-F238E27FC236}">
                    <a16:creationId xmlns:a16="http://schemas.microsoft.com/office/drawing/2014/main" id="{F0A130AE-D6CA-496A-B0ED-AA509C171A77}"/>
                  </a:ext>
                </a:extLst>
              </p:cNvPr>
              <p:cNvSpPr/>
              <p:nvPr/>
            </p:nvSpPr>
            <p:spPr>
              <a:xfrm>
                <a:off x="6550817" y="2549842"/>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3" name="Freeform: Shape 506">
                <a:extLst>
                  <a:ext uri="{FF2B5EF4-FFF2-40B4-BE49-F238E27FC236}">
                    <a16:creationId xmlns:a16="http://schemas.microsoft.com/office/drawing/2014/main" id="{38D846A2-5C49-4B78-9042-3EC8C7F82DBC}"/>
                  </a:ext>
                </a:extLst>
              </p:cNvPr>
              <p:cNvSpPr/>
              <p:nvPr/>
            </p:nvSpPr>
            <p:spPr>
              <a:xfrm>
                <a:off x="6443270" y="2666668"/>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4" name="Freeform: Shape 507">
                <a:extLst>
                  <a:ext uri="{FF2B5EF4-FFF2-40B4-BE49-F238E27FC236}">
                    <a16:creationId xmlns:a16="http://schemas.microsoft.com/office/drawing/2014/main" id="{0D4ADF69-2385-428D-8373-8B0535DBF489}"/>
                  </a:ext>
                </a:extLst>
              </p:cNvPr>
              <p:cNvSpPr/>
              <p:nvPr/>
            </p:nvSpPr>
            <p:spPr>
              <a:xfrm>
                <a:off x="6763393" y="2549842"/>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5" name="Freeform: Shape 508">
                <a:extLst>
                  <a:ext uri="{FF2B5EF4-FFF2-40B4-BE49-F238E27FC236}">
                    <a16:creationId xmlns:a16="http://schemas.microsoft.com/office/drawing/2014/main" id="{13EEFAC8-E33D-459A-A23D-4545B64E5E74}"/>
                  </a:ext>
                </a:extLst>
              </p:cNvPr>
              <p:cNvSpPr/>
              <p:nvPr/>
            </p:nvSpPr>
            <p:spPr>
              <a:xfrm>
                <a:off x="6443270" y="2549842"/>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656" name="Group 655">
              <a:extLst>
                <a:ext uri="{FF2B5EF4-FFF2-40B4-BE49-F238E27FC236}">
                  <a16:creationId xmlns:a16="http://schemas.microsoft.com/office/drawing/2014/main" id="{414C381E-3EF6-49FD-8548-F64955F2A892}"/>
                </a:ext>
              </a:extLst>
            </p:cNvPr>
            <p:cNvGrpSpPr/>
            <p:nvPr/>
          </p:nvGrpSpPr>
          <p:grpSpPr>
            <a:xfrm>
              <a:off x="8710808" y="2446457"/>
              <a:ext cx="577078" cy="577079"/>
              <a:chOff x="5709056" y="2921793"/>
              <a:chExt cx="771525" cy="771525"/>
            </a:xfrm>
            <a:solidFill>
              <a:srgbClr val="999999"/>
            </a:solidFill>
          </p:grpSpPr>
          <p:sp>
            <p:nvSpPr>
              <p:cNvPr id="754" name="Freeform: Shape 447">
                <a:extLst>
                  <a:ext uri="{FF2B5EF4-FFF2-40B4-BE49-F238E27FC236}">
                    <a16:creationId xmlns:a16="http://schemas.microsoft.com/office/drawing/2014/main" id="{2019140F-7B51-422A-B271-1EB6183FC1B7}"/>
                  </a:ext>
                </a:extLst>
              </p:cNvPr>
              <p:cNvSpPr/>
              <p:nvPr/>
            </p:nvSpPr>
            <p:spPr>
              <a:xfrm>
                <a:off x="5709056" y="2921793"/>
                <a:ext cx="771525" cy="771525"/>
              </a:xfrm>
              <a:custGeom>
                <a:avLst/>
                <a:gdLst>
                  <a:gd name="connsiteX0" fmla="*/ 16669 w 771525"/>
                  <a:gd name="connsiteY0" fmla="*/ 769144 h 771525"/>
                  <a:gd name="connsiteX1" fmla="*/ 759619 w 771525"/>
                  <a:gd name="connsiteY1" fmla="*/ 769144 h 771525"/>
                  <a:gd name="connsiteX2" fmla="*/ 769144 w 771525"/>
                  <a:gd name="connsiteY2" fmla="*/ 759619 h 771525"/>
                  <a:gd name="connsiteX3" fmla="*/ 769144 w 771525"/>
                  <a:gd name="connsiteY3" fmla="*/ 693344 h 771525"/>
                  <a:gd name="connsiteX4" fmla="*/ 759619 w 771525"/>
                  <a:gd name="connsiteY4" fmla="*/ 683819 h 771525"/>
                  <a:gd name="connsiteX5" fmla="*/ 718547 w 771525"/>
                  <a:gd name="connsiteY5" fmla="*/ 683819 h 771525"/>
                  <a:gd name="connsiteX6" fmla="*/ 718547 w 771525"/>
                  <a:gd name="connsiteY6" fmla="*/ 92469 h 771525"/>
                  <a:gd name="connsiteX7" fmla="*/ 732596 w 771525"/>
                  <a:gd name="connsiteY7" fmla="*/ 92469 h 771525"/>
                  <a:gd name="connsiteX8" fmla="*/ 742121 w 771525"/>
                  <a:gd name="connsiteY8" fmla="*/ 82944 h 771525"/>
                  <a:gd name="connsiteX9" fmla="*/ 742121 w 771525"/>
                  <a:gd name="connsiteY9" fmla="*/ 16669 h 771525"/>
                  <a:gd name="connsiteX10" fmla="*/ 732596 w 771525"/>
                  <a:gd name="connsiteY10" fmla="*/ 7144 h 771525"/>
                  <a:gd name="connsiteX11" fmla="*/ 43691 w 771525"/>
                  <a:gd name="connsiteY11" fmla="*/ 7144 h 771525"/>
                  <a:gd name="connsiteX12" fmla="*/ 34166 w 771525"/>
                  <a:gd name="connsiteY12" fmla="*/ 16669 h 771525"/>
                  <a:gd name="connsiteX13" fmla="*/ 34166 w 771525"/>
                  <a:gd name="connsiteY13" fmla="*/ 82944 h 771525"/>
                  <a:gd name="connsiteX14" fmla="*/ 43691 w 771525"/>
                  <a:gd name="connsiteY14" fmla="*/ 92469 h 771525"/>
                  <a:gd name="connsiteX15" fmla="*/ 57741 w 771525"/>
                  <a:gd name="connsiteY15" fmla="*/ 92469 h 771525"/>
                  <a:gd name="connsiteX16" fmla="*/ 57741 w 771525"/>
                  <a:gd name="connsiteY16" fmla="*/ 683819 h 771525"/>
                  <a:gd name="connsiteX17" fmla="*/ 16669 w 771525"/>
                  <a:gd name="connsiteY17" fmla="*/ 683819 h 771525"/>
                  <a:gd name="connsiteX18" fmla="*/ 7144 w 771525"/>
                  <a:gd name="connsiteY18" fmla="*/ 693344 h 771525"/>
                  <a:gd name="connsiteX19" fmla="*/ 7144 w 771525"/>
                  <a:gd name="connsiteY19" fmla="*/ 759619 h 771525"/>
                  <a:gd name="connsiteX20" fmla="*/ 16669 w 771525"/>
                  <a:gd name="connsiteY20" fmla="*/ 769144 h 771525"/>
                  <a:gd name="connsiteX21" fmla="*/ 53216 w 771525"/>
                  <a:gd name="connsiteY21" fmla="*/ 26194 h 771525"/>
                  <a:gd name="connsiteX22" fmla="*/ 723062 w 771525"/>
                  <a:gd name="connsiteY22" fmla="*/ 26194 h 771525"/>
                  <a:gd name="connsiteX23" fmla="*/ 723062 w 771525"/>
                  <a:gd name="connsiteY23" fmla="*/ 73419 h 771525"/>
                  <a:gd name="connsiteX24" fmla="*/ 53216 w 771525"/>
                  <a:gd name="connsiteY24" fmla="*/ 73419 h 771525"/>
                  <a:gd name="connsiteX25" fmla="*/ 53216 w 771525"/>
                  <a:gd name="connsiteY25" fmla="*/ 26194 h 771525"/>
                  <a:gd name="connsiteX26" fmla="*/ 76791 w 771525"/>
                  <a:gd name="connsiteY26" fmla="*/ 92469 h 771525"/>
                  <a:gd name="connsiteX27" fmla="*/ 699487 w 771525"/>
                  <a:gd name="connsiteY27" fmla="*/ 92469 h 771525"/>
                  <a:gd name="connsiteX28" fmla="*/ 699487 w 771525"/>
                  <a:gd name="connsiteY28" fmla="*/ 683819 h 771525"/>
                  <a:gd name="connsiteX29" fmla="*/ 496491 w 771525"/>
                  <a:gd name="connsiteY29" fmla="*/ 683819 h 771525"/>
                  <a:gd name="connsiteX30" fmla="*/ 496491 w 771525"/>
                  <a:gd name="connsiteY30" fmla="*/ 470402 h 771525"/>
                  <a:gd name="connsiteX31" fmla="*/ 486966 w 771525"/>
                  <a:gd name="connsiteY31" fmla="*/ 460877 h 771525"/>
                  <a:gd name="connsiteX32" fmla="*/ 289322 w 771525"/>
                  <a:gd name="connsiteY32" fmla="*/ 460877 h 771525"/>
                  <a:gd name="connsiteX33" fmla="*/ 279797 w 771525"/>
                  <a:gd name="connsiteY33" fmla="*/ 470402 h 771525"/>
                  <a:gd name="connsiteX34" fmla="*/ 279797 w 771525"/>
                  <a:gd name="connsiteY34" fmla="*/ 683819 h 771525"/>
                  <a:gd name="connsiteX35" fmla="*/ 76791 w 771525"/>
                  <a:gd name="connsiteY35" fmla="*/ 683819 h 771525"/>
                  <a:gd name="connsiteX36" fmla="*/ 76791 w 771525"/>
                  <a:gd name="connsiteY36" fmla="*/ 92469 h 771525"/>
                  <a:gd name="connsiteX37" fmla="*/ 298847 w 771525"/>
                  <a:gd name="connsiteY37" fmla="*/ 683819 h 771525"/>
                  <a:gd name="connsiteX38" fmla="*/ 298847 w 771525"/>
                  <a:gd name="connsiteY38" fmla="*/ 479927 h 771525"/>
                  <a:gd name="connsiteX39" fmla="*/ 378619 w 771525"/>
                  <a:gd name="connsiteY39" fmla="*/ 479927 h 771525"/>
                  <a:gd name="connsiteX40" fmla="*/ 378619 w 771525"/>
                  <a:gd name="connsiteY40" fmla="*/ 683819 h 771525"/>
                  <a:gd name="connsiteX41" fmla="*/ 298847 w 771525"/>
                  <a:gd name="connsiteY41" fmla="*/ 683819 h 771525"/>
                  <a:gd name="connsiteX42" fmla="*/ 397669 w 771525"/>
                  <a:gd name="connsiteY42" fmla="*/ 479927 h 771525"/>
                  <a:gd name="connsiteX43" fmla="*/ 477441 w 771525"/>
                  <a:gd name="connsiteY43" fmla="*/ 479927 h 771525"/>
                  <a:gd name="connsiteX44" fmla="*/ 477441 w 771525"/>
                  <a:gd name="connsiteY44" fmla="*/ 683819 h 771525"/>
                  <a:gd name="connsiteX45" fmla="*/ 397669 w 771525"/>
                  <a:gd name="connsiteY45" fmla="*/ 683819 h 771525"/>
                  <a:gd name="connsiteX46" fmla="*/ 397669 w 771525"/>
                  <a:gd name="connsiteY46" fmla="*/ 479927 h 771525"/>
                  <a:gd name="connsiteX47" fmla="*/ 26194 w 771525"/>
                  <a:gd name="connsiteY47" fmla="*/ 702869 h 771525"/>
                  <a:gd name="connsiteX48" fmla="*/ 750094 w 771525"/>
                  <a:gd name="connsiteY48" fmla="*/ 702869 h 771525"/>
                  <a:gd name="connsiteX49" fmla="*/ 750094 w 771525"/>
                  <a:gd name="connsiteY49" fmla="*/ 750094 h 771525"/>
                  <a:gd name="connsiteX50" fmla="*/ 26194 w 771525"/>
                  <a:gd name="connsiteY50" fmla="*/ 750094 h 771525"/>
                  <a:gd name="connsiteX51" fmla="*/ 26194 w 771525"/>
                  <a:gd name="connsiteY51" fmla="*/ 702869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771525" h="771525">
                    <a:moveTo>
                      <a:pt x="16669" y="769144"/>
                    </a:moveTo>
                    <a:lnTo>
                      <a:pt x="759619" y="769144"/>
                    </a:lnTo>
                    <a:cubicBezTo>
                      <a:pt x="764877" y="769144"/>
                      <a:pt x="769144" y="764886"/>
                      <a:pt x="769144" y="759619"/>
                    </a:cubicBezTo>
                    <a:lnTo>
                      <a:pt x="769144" y="693344"/>
                    </a:lnTo>
                    <a:cubicBezTo>
                      <a:pt x="769144" y="688076"/>
                      <a:pt x="764877" y="683819"/>
                      <a:pt x="759619" y="683819"/>
                    </a:cubicBezTo>
                    <a:lnTo>
                      <a:pt x="718547" y="683819"/>
                    </a:lnTo>
                    <a:lnTo>
                      <a:pt x="718547" y="92469"/>
                    </a:lnTo>
                    <a:lnTo>
                      <a:pt x="732596" y="92469"/>
                    </a:lnTo>
                    <a:cubicBezTo>
                      <a:pt x="737854" y="92469"/>
                      <a:pt x="742121" y="88211"/>
                      <a:pt x="742121" y="82944"/>
                    </a:cubicBezTo>
                    <a:lnTo>
                      <a:pt x="742121" y="16669"/>
                    </a:lnTo>
                    <a:cubicBezTo>
                      <a:pt x="742121" y="11401"/>
                      <a:pt x="737854" y="7144"/>
                      <a:pt x="732596" y="7144"/>
                    </a:cubicBezTo>
                    <a:lnTo>
                      <a:pt x="43691" y="7144"/>
                    </a:lnTo>
                    <a:cubicBezTo>
                      <a:pt x="38433" y="7144"/>
                      <a:pt x="34166" y="11401"/>
                      <a:pt x="34166" y="16669"/>
                    </a:cubicBezTo>
                    <a:lnTo>
                      <a:pt x="34166" y="82944"/>
                    </a:lnTo>
                    <a:cubicBezTo>
                      <a:pt x="34166" y="88211"/>
                      <a:pt x="38433" y="92469"/>
                      <a:pt x="43691" y="92469"/>
                    </a:cubicBezTo>
                    <a:lnTo>
                      <a:pt x="57741" y="92469"/>
                    </a:lnTo>
                    <a:lnTo>
                      <a:pt x="57741" y="683819"/>
                    </a:lnTo>
                    <a:lnTo>
                      <a:pt x="16669" y="683819"/>
                    </a:lnTo>
                    <a:cubicBezTo>
                      <a:pt x="11411" y="683819"/>
                      <a:pt x="7144" y="688076"/>
                      <a:pt x="7144" y="693344"/>
                    </a:cubicBezTo>
                    <a:lnTo>
                      <a:pt x="7144" y="759619"/>
                    </a:lnTo>
                    <a:cubicBezTo>
                      <a:pt x="7144" y="764886"/>
                      <a:pt x="11411" y="769144"/>
                      <a:pt x="16669" y="769144"/>
                    </a:cubicBezTo>
                    <a:close/>
                    <a:moveTo>
                      <a:pt x="53216" y="26194"/>
                    </a:moveTo>
                    <a:lnTo>
                      <a:pt x="723062" y="26194"/>
                    </a:lnTo>
                    <a:lnTo>
                      <a:pt x="723062" y="73419"/>
                    </a:lnTo>
                    <a:lnTo>
                      <a:pt x="53216" y="73419"/>
                    </a:lnTo>
                    <a:lnTo>
                      <a:pt x="53216" y="26194"/>
                    </a:lnTo>
                    <a:close/>
                    <a:moveTo>
                      <a:pt x="76791" y="92469"/>
                    </a:moveTo>
                    <a:lnTo>
                      <a:pt x="699487" y="92469"/>
                    </a:lnTo>
                    <a:lnTo>
                      <a:pt x="699487" y="683819"/>
                    </a:lnTo>
                    <a:lnTo>
                      <a:pt x="496491" y="683819"/>
                    </a:lnTo>
                    <a:lnTo>
                      <a:pt x="496491" y="470402"/>
                    </a:lnTo>
                    <a:cubicBezTo>
                      <a:pt x="496491" y="465134"/>
                      <a:pt x="492223" y="460877"/>
                      <a:pt x="486966" y="460877"/>
                    </a:cubicBezTo>
                    <a:lnTo>
                      <a:pt x="289322" y="460877"/>
                    </a:lnTo>
                    <a:cubicBezTo>
                      <a:pt x="284064" y="460877"/>
                      <a:pt x="279797" y="465134"/>
                      <a:pt x="279797" y="470402"/>
                    </a:cubicBezTo>
                    <a:lnTo>
                      <a:pt x="279797" y="683819"/>
                    </a:lnTo>
                    <a:lnTo>
                      <a:pt x="76791" y="683819"/>
                    </a:lnTo>
                    <a:lnTo>
                      <a:pt x="76791" y="92469"/>
                    </a:lnTo>
                    <a:close/>
                    <a:moveTo>
                      <a:pt x="298847" y="683819"/>
                    </a:moveTo>
                    <a:lnTo>
                      <a:pt x="298847" y="479927"/>
                    </a:lnTo>
                    <a:lnTo>
                      <a:pt x="378619" y="479927"/>
                    </a:lnTo>
                    <a:lnTo>
                      <a:pt x="378619" y="683819"/>
                    </a:lnTo>
                    <a:lnTo>
                      <a:pt x="298847" y="683819"/>
                    </a:lnTo>
                    <a:close/>
                    <a:moveTo>
                      <a:pt x="397669" y="479927"/>
                    </a:moveTo>
                    <a:lnTo>
                      <a:pt x="477441" y="479927"/>
                    </a:lnTo>
                    <a:lnTo>
                      <a:pt x="477441" y="683819"/>
                    </a:lnTo>
                    <a:lnTo>
                      <a:pt x="397669" y="683819"/>
                    </a:lnTo>
                    <a:lnTo>
                      <a:pt x="397669" y="479927"/>
                    </a:lnTo>
                    <a:close/>
                    <a:moveTo>
                      <a:pt x="26194" y="702869"/>
                    </a:moveTo>
                    <a:lnTo>
                      <a:pt x="750094" y="702869"/>
                    </a:lnTo>
                    <a:lnTo>
                      <a:pt x="750094" y="750094"/>
                    </a:lnTo>
                    <a:lnTo>
                      <a:pt x="26194" y="750094"/>
                    </a:lnTo>
                    <a:lnTo>
                      <a:pt x="26194" y="70286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5" name="Freeform: Shape 448">
                <a:extLst>
                  <a:ext uri="{FF2B5EF4-FFF2-40B4-BE49-F238E27FC236}">
                    <a16:creationId xmlns:a16="http://schemas.microsoft.com/office/drawing/2014/main" id="{F454034B-6763-4A0A-B0FE-D1DB9F72670E}"/>
                  </a:ext>
                </a:extLst>
              </p:cNvPr>
              <p:cNvSpPr/>
              <p:nvPr/>
            </p:nvSpPr>
            <p:spPr>
              <a:xfrm>
                <a:off x="6256849" y="337441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6" name="Freeform: Shape 449">
                <a:extLst>
                  <a:ext uri="{FF2B5EF4-FFF2-40B4-BE49-F238E27FC236}">
                    <a16:creationId xmlns:a16="http://schemas.microsoft.com/office/drawing/2014/main" id="{24EF349C-A899-4CF6-B22D-E0DCD32D8C30}"/>
                  </a:ext>
                </a:extLst>
              </p:cNvPr>
              <p:cNvSpPr/>
              <p:nvPr/>
            </p:nvSpPr>
            <p:spPr>
              <a:xfrm>
                <a:off x="5842511" y="3374412"/>
                <a:ext cx="85725" cy="123825"/>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7" name="Freeform: Shape 450">
                <a:extLst>
                  <a:ext uri="{FF2B5EF4-FFF2-40B4-BE49-F238E27FC236}">
                    <a16:creationId xmlns:a16="http://schemas.microsoft.com/office/drawing/2014/main" id="{7F3FE53C-CBF1-48F9-BA17-9AC14B5F8DAF}"/>
                  </a:ext>
                </a:extLst>
              </p:cNvPr>
              <p:cNvSpPr/>
              <p:nvPr/>
            </p:nvSpPr>
            <p:spPr>
              <a:xfrm>
                <a:off x="6256849" y="322320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8" name="Freeform: Shape 451">
                <a:extLst>
                  <a:ext uri="{FF2B5EF4-FFF2-40B4-BE49-F238E27FC236}">
                    <a16:creationId xmlns:a16="http://schemas.microsoft.com/office/drawing/2014/main" id="{A8683496-7CDF-4C07-B477-B23572014B8D}"/>
                  </a:ext>
                </a:extLst>
              </p:cNvPr>
              <p:cNvSpPr/>
              <p:nvPr/>
            </p:nvSpPr>
            <p:spPr>
              <a:xfrm>
                <a:off x="6118841" y="322320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9" name="Freeform: Shape 452">
                <a:extLst>
                  <a:ext uri="{FF2B5EF4-FFF2-40B4-BE49-F238E27FC236}">
                    <a16:creationId xmlns:a16="http://schemas.microsoft.com/office/drawing/2014/main" id="{E2309ABB-96AB-40B1-9E0A-EDF4B55385B7}"/>
                  </a:ext>
                </a:extLst>
              </p:cNvPr>
              <p:cNvSpPr/>
              <p:nvPr/>
            </p:nvSpPr>
            <p:spPr>
              <a:xfrm>
                <a:off x="5981710" y="322320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0" name="Freeform: Shape 453">
                <a:extLst>
                  <a:ext uri="{FF2B5EF4-FFF2-40B4-BE49-F238E27FC236}">
                    <a16:creationId xmlns:a16="http://schemas.microsoft.com/office/drawing/2014/main" id="{F9BD3954-FCD8-4AE4-845C-21F5BEA83024}"/>
                  </a:ext>
                </a:extLst>
              </p:cNvPr>
              <p:cNvSpPr/>
              <p:nvPr/>
            </p:nvSpPr>
            <p:spPr>
              <a:xfrm>
                <a:off x="6118841" y="3071993"/>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1" name="Freeform: Shape 454">
                <a:extLst>
                  <a:ext uri="{FF2B5EF4-FFF2-40B4-BE49-F238E27FC236}">
                    <a16:creationId xmlns:a16="http://schemas.microsoft.com/office/drawing/2014/main" id="{76CA987B-3DC7-4A24-9F8E-6D6C6CD1AAFB}"/>
                  </a:ext>
                </a:extLst>
              </p:cNvPr>
              <p:cNvSpPr/>
              <p:nvPr/>
            </p:nvSpPr>
            <p:spPr>
              <a:xfrm>
                <a:off x="5981710" y="3071993"/>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2" name="Freeform: Shape 455">
                <a:extLst>
                  <a:ext uri="{FF2B5EF4-FFF2-40B4-BE49-F238E27FC236}">
                    <a16:creationId xmlns:a16="http://schemas.microsoft.com/office/drawing/2014/main" id="{D84E9FFA-61A1-4597-A96A-AF267E0FA218}"/>
                  </a:ext>
                </a:extLst>
              </p:cNvPr>
              <p:cNvSpPr/>
              <p:nvPr/>
            </p:nvSpPr>
            <p:spPr>
              <a:xfrm>
                <a:off x="5842511" y="3223202"/>
                <a:ext cx="85725" cy="123825"/>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3" name="Freeform: Shape 456">
                <a:extLst>
                  <a:ext uri="{FF2B5EF4-FFF2-40B4-BE49-F238E27FC236}">
                    <a16:creationId xmlns:a16="http://schemas.microsoft.com/office/drawing/2014/main" id="{5B51065B-697D-458C-A1D3-CB303B7688C9}"/>
                  </a:ext>
                </a:extLst>
              </p:cNvPr>
              <p:cNvSpPr/>
              <p:nvPr/>
            </p:nvSpPr>
            <p:spPr>
              <a:xfrm>
                <a:off x="6256849" y="3071993"/>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4" name="Freeform: Shape 457">
                <a:extLst>
                  <a:ext uri="{FF2B5EF4-FFF2-40B4-BE49-F238E27FC236}">
                    <a16:creationId xmlns:a16="http://schemas.microsoft.com/office/drawing/2014/main" id="{F3140EAF-9D64-4078-BBA5-6E461F2BA9B2}"/>
                  </a:ext>
                </a:extLst>
              </p:cNvPr>
              <p:cNvSpPr/>
              <p:nvPr/>
            </p:nvSpPr>
            <p:spPr>
              <a:xfrm>
                <a:off x="5842511" y="3071993"/>
                <a:ext cx="85725" cy="123825"/>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657" name="Group 656">
              <a:extLst>
                <a:ext uri="{FF2B5EF4-FFF2-40B4-BE49-F238E27FC236}">
                  <a16:creationId xmlns:a16="http://schemas.microsoft.com/office/drawing/2014/main" id="{8619C4E9-DEE1-44AB-9CAF-7CBD4EEBBF30}"/>
                </a:ext>
              </a:extLst>
            </p:cNvPr>
            <p:cNvGrpSpPr/>
            <p:nvPr/>
          </p:nvGrpSpPr>
          <p:grpSpPr>
            <a:xfrm>
              <a:off x="7602496" y="1739620"/>
              <a:ext cx="570891" cy="1272744"/>
              <a:chOff x="7602496" y="1739620"/>
              <a:chExt cx="570891" cy="1272744"/>
            </a:xfrm>
          </p:grpSpPr>
          <p:sp>
            <p:nvSpPr>
              <p:cNvPr id="716" name="Rectangle 715">
                <a:extLst>
                  <a:ext uri="{FF2B5EF4-FFF2-40B4-BE49-F238E27FC236}">
                    <a16:creationId xmlns:a16="http://schemas.microsoft.com/office/drawing/2014/main" id="{6F025070-A94E-4FD2-A480-A14146E83AE7}"/>
                  </a:ext>
                </a:extLst>
              </p:cNvPr>
              <p:cNvSpPr/>
              <p:nvPr/>
            </p:nvSpPr>
            <p:spPr>
              <a:xfrm>
                <a:off x="7602496" y="1863445"/>
                <a:ext cx="570891" cy="1148919"/>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717" name="Group 716">
                <a:extLst>
                  <a:ext uri="{FF2B5EF4-FFF2-40B4-BE49-F238E27FC236}">
                    <a16:creationId xmlns:a16="http://schemas.microsoft.com/office/drawing/2014/main" id="{0743A971-F4D0-4F49-A5B4-23D41CF3C6F5}"/>
                  </a:ext>
                </a:extLst>
              </p:cNvPr>
              <p:cNvGrpSpPr/>
              <p:nvPr/>
            </p:nvGrpSpPr>
            <p:grpSpPr>
              <a:xfrm>
                <a:off x="7681520" y="1918017"/>
                <a:ext cx="386355" cy="212495"/>
                <a:chOff x="7681520" y="1918017"/>
                <a:chExt cx="386355" cy="212495"/>
              </a:xfrm>
            </p:grpSpPr>
            <p:sp>
              <p:nvSpPr>
                <p:cNvPr id="746" name="Freeform: Shape 613">
                  <a:extLst>
                    <a:ext uri="{FF2B5EF4-FFF2-40B4-BE49-F238E27FC236}">
                      <a16:creationId xmlns:a16="http://schemas.microsoft.com/office/drawing/2014/main" id="{31D3003D-69D0-43AB-8F47-3B90954BB0A0}"/>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7" name="Freeform: Shape 614">
                  <a:extLst>
                    <a:ext uri="{FF2B5EF4-FFF2-40B4-BE49-F238E27FC236}">
                      <a16:creationId xmlns:a16="http://schemas.microsoft.com/office/drawing/2014/main" id="{0ACDB22F-2041-487F-96F0-4D53C955592E}"/>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8" name="Freeform: Shape 615">
                  <a:extLst>
                    <a:ext uri="{FF2B5EF4-FFF2-40B4-BE49-F238E27FC236}">
                      <a16:creationId xmlns:a16="http://schemas.microsoft.com/office/drawing/2014/main" id="{1D0F5495-80E2-4276-AD8A-E2CCB8379B87}"/>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9" name="Freeform: Shape 616">
                  <a:extLst>
                    <a:ext uri="{FF2B5EF4-FFF2-40B4-BE49-F238E27FC236}">
                      <a16:creationId xmlns:a16="http://schemas.microsoft.com/office/drawing/2014/main" id="{75F5C856-CA0C-4DF8-ADE5-E9A692CC3F35}"/>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0" name="Freeform: Shape 617">
                  <a:extLst>
                    <a:ext uri="{FF2B5EF4-FFF2-40B4-BE49-F238E27FC236}">
                      <a16:creationId xmlns:a16="http://schemas.microsoft.com/office/drawing/2014/main" id="{03C41B6B-DF1C-413C-BF10-948DC90FEFF2}"/>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1" name="Freeform: Shape 618">
                  <a:extLst>
                    <a:ext uri="{FF2B5EF4-FFF2-40B4-BE49-F238E27FC236}">
                      <a16:creationId xmlns:a16="http://schemas.microsoft.com/office/drawing/2014/main" id="{B0871FBF-7C12-46A8-9D48-5E361F25A0E7}"/>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2" name="Freeform: Shape 619">
                  <a:extLst>
                    <a:ext uri="{FF2B5EF4-FFF2-40B4-BE49-F238E27FC236}">
                      <a16:creationId xmlns:a16="http://schemas.microsoft.com/office/drawing/2014/main" id="{23776C9E-D53A-47EB-914D-03DB163B75DA}"/>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3" name="Freeform: Shape 620">
                  <a:extLst>
                    <a:ext uri="{FF2B5EF4-FFF2-40B4-BE49-F238E27FC236}">
                      <a16:creationId xmlns:a16="http://schemas.microsoft.com/office/drawing/2014/main" id="{6FCE1129-6EEA-4818-9C22-5C96A9E1CB3E}"/>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718" name="Group 717">
                <a:extLst>
                  <a:ext uri="{FF2B5EF4-FFF2-40B4-BE49-F238E27FC236}">
                    <a16:creationId xmlns:a16="http://schemas.microsoft.com/office/drawing/2014/main" id="{623D1DE8-FB9E-431A-B1E6-25FADC13CD77}"/>
                  </a:ext>
                </a:extLst>
              </p:cNvPr>
              <p:cNvGrpSpPr/>
              <p:nvPr/>
            </p:nvGrpSpPr>
            <p:grpSpPr>
              <a:xfrm>
                <a:off x="7681520" y="2165667"/>
                <a:ext cx="386355" cy="212495"/>
                <a:chOff x="7681520" y="1918017"/>
                <a:chExt cx="386355" cy="212495"/>
              </a:xfrm>
            </p:grpSpPr>
            <p:sp>
              <p:nvSpPr>
                <p:cNvPr id="738" name="Freeform: Shape 622">
                  <a:extLst>
                    <a:ext uri="{FF2B5EF4-FFF2-40B4-BE49-F238E27FC236}">
                      <a16:creationId xmlns:a16="http://schemas.microsoft.com/office/drawing/2014/main" id="{5CFEA125-032F-43B6-A7B5-3B3E13B65B5A}"/>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9" name="Freeform: Shape 623">
                  <a:extLst>
                    <a:ext uri="{FF2B5EF4-FFF2-40B4-BE49-F238E27FC236}">
                      <a16:creationId xmlns:a16="http://schemas.microsoft.com/office/drawing/2014/main" id="{1F95517B-8B68-4881-8DC1-4963D259D046}"/>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0" name="Freeform: Shape 624">
                  <a:extLst>
                    <a:ext uri="{FF2B5EF4-FFF2-40B4-BE49-F238E27FC236}">
                      <a16:creationId xmlns:a16="http://schemas.microsoft.com/office/drawing/2014/main" id="{31A338DE-2041-42A7-852A-B440F865B845}"/>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1" name="Freeform: Shape 625">
                  <a:extLst>
                    <a:ext uri="{FF2B5EF4-FFF2-40B4-BE49-F238E27FC236}">
                      <a16:creationId xmlns:a16="http://schemas.microsoft.com/office/drawing/2014/main" id="{2FA7AE4D-85F2-4C1B-970B-4BD418277FDC}"/>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2" name="Freeform: Shape 626">
                  <a:extLst>
                    <a:ext uri="{FF2B5EF4-FFF2-40B4-BE49-F238E27FC236}">
                      <a16:creationId xmlns:a16="http://schemas.microsoft.com/office/drawing/2014/main" id="{2BB500AE-A26E-4651-B142-FEBDDFC045ED}"/>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3" name="Freeform: Shape 627">
                  <a:extLst>
                    <a:ext uri="{FF2B5EF4-FFF2-40B4-BE49-F238E27FC236}">
                      <a16:creationId xmlns:a16="http://schemas.microsoft.com/office/drawing/2014/main" id="{9E3F810C-862D-4C6A-A7D8-A313D39B6BB2}"/>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4" name="Freeform: Shape 628">
                  <a:extLst>
                    <a:ext uri="{FF2B5EF4-FFF2-40B4-BE49-F238E27FC236}">
                      <a16:creationId xmlns:a16="http://schemas.microsoft.com/office/drawing/2014/main" id="{D50613AF-9DAC-49B5-956A-94E8465E204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5" name="Freeform: Shape 629">
                  <a:extLst>
                    <a:ext uri="{FF2B5EF4-FFF2-40B4-BE49-F238E27FC236}">
                      <a16:creationId xmlns:a16="http://schemas.microsoft.com/office/drawing/2014/main" id="{4B9269CF-6878-4C31-B7A6-D3A91E055EC4}"/>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719" name="Group 718">
                <a:extLst>
                  <a:ext uri="{FF2B5EF4-FFF2-40B4-BE49-F238E27FC236}">
                    <a16:creationId xmlns:a16="http://schemas.microsoft.com/office/drawing/2014/main" id="{83398368-FF21-4690-9F47-3C01B401F17E}"/>
                  </a:ext>
                </a:extLst>
              </p:cNvPr>
              <p:cNvGrpSpPr/>
              <p:nvPr/>
            </p:nvGrpSpPr>
            <p:grpSpPr>
              <a:xfrm>
                <a:off x="7681520" y="2429192"/>
                <a:ext cx="386355" cy="212495"/>
                <a:chOff x="7681520" y="1918017"/>
                <a:chExt cx="386355" cy="212495"/>
              </a:xfrm>
            </p:grpSpPr>
            <p:sp>
              <p:nvSpPr>
                <p:cNvPr id="730" name="Freeform: Shape 631">
                  <a:extLst>
                    <a:ext uri="{FF2B5EF4-FFF2-40B4-BE49-F238E27FC236}">
                      <a16:creationId xmlns:a16="http://schemas.microsoft.com/office/drawing/2014/main" id="{FADF1AD1-FBC6-4AFA-B95A-C3E1A6ABAE76}"/>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1" name="Freeform: Shape 632">
                  <a:extLst>
                    <a:ext uri="{FF2B5EF4-FFF2-40B4-BE49-F238E27FC236}">
                      <a16:creationId xmlns:a16="http://schemas.microsoft.com/office/drawing/2014/main" id="{ECC23EDB-DDBE-4FD3-986F-B514BBCDA4EC}"/>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2" name="Freeform: Shape 633">
                  <a:extLst>
                    <a:ext uri="{FF2B5EF4-FFF2-40B4-BE49-F238E27FC236}">
                      <a16:creationId xmlns:a16="http://schemas.microsoft.com/office/drawing/2014/main" id="{9F2142F2-3069-4C1D-8EF2-F90C79FA3AB8}"/>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3" name="Freeform: Shape 634">
                  <a:extLst>
                    <a:ext uri="{FF2B5EF4-FFF2-40B4-BE49-F238E27FC236}">
                      <a16:creationId xmlns:a16="http://schemas.microsoft.com/office/drawing/2014/main" id="{B1EA25BE-5F9F-43FA-AEE5-154AD3736A64}"/>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4" name="Freeform: Shape 635">
                  <a:extLst>
                    <a:ext uri="{FF2B5EF4-FFF2-40B4-BE49-F238E27FC236}">
                      <a16:creationId xmlns:a16="http://schemas.microsoft.com/office/drawing/2014/main" id="{613BC104-4FCD-4B68-A3F0-1D79B4254772}"/>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5" name="Freeform: Shape 636">
                  <a:extLst>
                    <a:ext uri="{FF2B5EF4-FFF2-40B4-BE49-F238E27FC236}">
                      <a16:creationId xmlns:a16="http://schemas.microsoft.com/office/drawing/2014/main" id="{FD79181F-63B5-44AE-81D3-92203C35C660}"/>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6" name="Freeform: Shape 637">
                  <a:extLst>
                    <a:ext uri="{FF2B5EF4-FFF2-40B4-BE49-F238E27FC236}">
                      <a16:creationId xmlns:a16="http://schemas.microsoft.com/office/drawing/2014/main" id="{5F5F1658-98D3-480F-87EE-7864866DCD00}"/>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7" name="Freeform: Shape 638">
                  <a:extLst>
                    <a:ext uri="{FF2B5EF4-FFF2-40B4-BE49-F238E27FC236}">
                      <a16:creationId xmlns:a16="http://schemas.microsoft.com/office/drawing/2014/main" id="{0168CFCA-B35F-41A5-94B1-6202B4643E0A}"/>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720" name="Group 719">
                <a:extLst>
                  <a:ext uri="{FF2B5EF4-FFF2-40B4-BE49-F238E27FC236}">
                    <a16:creationId xmlns:a16="http://schemas.microsoft.com/office/drawing/2014/main" id="{1371FD26-6207-45DE-8FFF-F63928D3219E}"/>
                  </a:ext>
                </a:extLst>
              </p:cNvPr>
              <p:cNvGrpSpPr/>
              <p:nvPr/>
            </p:nvGrpSpPr>
            <p:grpSpPr>
              <a:xfrm>
                <a:off x="7681520" y="2692717"/>
                <a:ext cx="386355" cy="212495"/>
                <a:chOff x="7681520" y="1918017"/>
                <a:chExt cx="386355" cy="212495"/>
              </a:xfrm>
            </p:grpSpPr>
            <p:sp>
              <p:nvSpPr>
                <p:cNvPr id="722" name="Freeform: Shape 640">
                  <a:extLst>
                    <a:ext uri="{FF2B5EF4-FFF2-40B4-BE49-F238E27FC236}">
                      <a16:creationId xmlns:a16="http://schemas.microsoft.com/office/drawing/2014/main" id="{9227E197-9FA0-4FF6-B998-BCD32CACFCAF}"/>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3" name="Freeform: Shape 641">
                  <a:extLst>
                    <a:ext uri="{FF2B5EF4-FFF2-40B4-BE49-F238E27FC236}">
                      <a16:creationId xmlns:a16="http://schemas.microsoft.com/office/drawing/2014/main" id="{A62770A8-41DA-4AA6-8DB0-48B9FF5E7174}"/>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4" name="Freeform: Shape 642">
                  <a:extLst>
                    <a:ext uri="{FF2B5EF4-FFF2-40B4-BE49-F238E27FC236}">
                      <a16:creationId xmlns:a16="http://schemas.microsoft.com/office/drawing/2014/main" id="{99FD1C56-9940-44D5-B806-8F5641AED512}"/>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5" name="Freeform: Shape 643">
                  <a:extLst>
                    <a:ext uri="{FF2B5EF4-FFF2-40B4-BE49-F238E27FC236}">
                      <a16:creationId xmlns:a16="http://schemas.microsoft.com/office/drawing/2014/main" id="{F45FCD9E-03EF-4961-B467-A1363C31AA26}"/>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6" name="Freeform: Shape 644">
                  <a:extLst>
                    <a:ext uri="{FF2B5EF4-FFF2-40B4-BE49-F238E27FC236}">
                      <a16:creationId xmlns:a16="http://schemas.microsoft.com/office/drawing/2014/main" id="{D2678F5B-FFBA-44DD-829D-645CFC56D566}"/>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7" name="Freeform: Shape 645">
                  <a:extLst>
                    <a:ext uri="{FF2B5EF4-FFF2-40B4-BE49-F238E27FC236}">
                      <a16:creationId xmlns:a16="http://schemas.microsoft.com/office/drawing/2014/main" id="{46552C97-E191-4623-8588-29F039D488DC}"/>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8" name="Freeform: Shape 646">
                  <a:extLst>
                    <a:ext uri="{FF2B5EF4-FFF2-40B4-BE49-F238E27FC236}">
                      <a16:creationId xmlns:a16="http://schemas.microsoft.com/office/drawing/2014/main" id="{9C4EEF16-E9D3-42BB-B419-5978A70D805D}"/>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9" name="Freeform: Shape 647">
                  <a:extLst>
                    <a:ext uri="{FF2B5EF4-FFF2-40B4-BE49-F238E27FC236}">
                      <a16:creationId xmlns:a16="http://schemas.microsoft.com/office/drawing/2014/main" id="{D525B7EF-BF21-47F2-AC13-B8C9B1284233}"/>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721" name="Rectangle 720">
                <a:extLst>
                  <a:ext uri="{FF2B5EF4-FFF2-40B4-BE49-F238E27FC236}">
                    <a16:creationId xmlns:a16="http://schemas.microsoft.com/office/drawing/2014/main" id="{49F05559-D241-48B8-ADA8-3F58000635BC}"/>
                  </a:ext>
                </a:extLst>
              </p:cNvPr>
              <p:cNvSpPr/>
              <p:nvPr/>
            </p:nvSpPr>
            <p:spPr>
              <a:xfrm>
                <a:off x="7710446" y="1739620"/>
                <a:ext cx="363579" cy="124105"/>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grpSp>
          <p:nvGrpSpPr>
            <p:cNvPr id="658" name="Group 657">
              <a:extLst>
                <a:ext uri="{FF2B5EF4-FFF2-40B4-BE49-F238E27FC236}">
                  <a16:creationId xmlns:a16="http://schemas.microsoft.com/office/drawing/2014/main" id="{FEA3E8C3-F514-452F-874E-9F8AB70A629E}"/>
                </a:ext>
              </a:extLst>
            </p:cNvPr>
            <p:cNvGrpSpPr/>
            <p:nvPr/>
          </p:nvGrpSpPr>
          <p:grpSpPr>
            <a:xfrm>
              <a:off x="8177171" y="2098675"/>
              <a:ext cx="570891" cy="913689"/>
              <a:chOff x="8177171" y="2098675"/>
              <a:chExt cx="570891" cy="913689"/>
            </a:xfrm>
          </p:grpSpPr>
          <p:sp>
            <p:nvSpPr>
              <p:cNvPr id="688" name="Rectangle 687">
                <a:extLst>
                  <a:ext uri="{FF2B5EF4-FFF2-40B4-BE49-F238E27FC236}">
                    <a16:creationId xmlns:a16="http://schemas.microsoft.com/office/drawing/2014/main" id="{D35675EB-DAC8-44CA-A3E3-FF7673828F1F}"/>
                  </a:ext>
                </a:extLst>
              </p:cNvPr>
              <p:cNvSpPr/>
              <p:nvPr/>
            </p:nvSpPr>
            <p:spPr>
              <a:xfrm>
                <a:off x="8177171" y="2098675"/>
                <a:ext cx="570891" cy="913689"/>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689" name="Group 688">
                <a:extLst>
                  <a:ext uri="{FF2B5EF4-FFF2-40B4-BE49-F238E27FC236}">
                    <a16:creationId xmlns:a16="http://schemas.microsoft.com/office/drawing/2014/main" id="{E88663B7-7F40-4F03-BC22-E4F1ECE0F746}"/>
                  </a:ext>
                </a:extLst>
              </p:cNvPr>
              <p:cNvGrpSpPr/>
              <p:nvPr/>
            </p:nvGrpSpPr>
            <p:grpSpPr>
              <a:xfrm>
                <a:off x="8256195" y="2165667"/>
                <a:ext cx="386355" cy="212495"/>
                <a:chOff x="7681520" y="1918017"/>
                <a:chExt cx="386355" cy="212495"/>
              </a:xfrm>
            </p:grpSpPr>
            <p:sp>
              <p:nvSpPr>
                <p:cNvPr id="708" name="Freeform: Shape 670">
                  <a:extLst>
                    <a:ext uri="{FF2B5EF4-FFF2-40B4-BE49-F238E27FC236}">
                      <a16:creationId xmlns:a16="http://schemas.microsoft.com/office/drawing/2014/main" id="{A8137716-D672-4DC9-9B3E-259C52644D02}"/>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9" name="Freeform: Shape 671">
                  <a:extLst>
                    <a:ext uri="{FF2B5EF4-FFF2-40B4-BE49-F238E27FC236}">
                      <a16:creationId xmlns:a16="http://schemas.microsoft.com/office/drawing/2014/main" id="{4ED7132E-1AA7-4D65-93E4-5AF6FCB82695}"/>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0" name="Freeform: Shape 672">
                  <a:extLst>
                    <a:ext uri="{FF2B5EF4-FFF2-40B4-BE49-F238E27FC236}">
                      <a16:creationId xmlns:a16="http://schemas.microsoft.com/office/drawing/2014/main" id="{8DDFE472-0C23-4E92-8762-FE9269710FF3}"/>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1" name="Freeform: Shape 673">
                  <a:extLst>
                    <a:ext uri="{FF2B5EF4-FFF2-40B4-BE49-F238E27FC236}">
                      <a16:creationId xmlns:a16="http://schemas.microsoft.com/office/drawing/2014/main" id="{AF1C5192-1210-4FFB-81D5-35B4DE196F3C}"/>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2" name="Freeform: Shape 674">
                  <a:extLst>
                    <a:ext uri="{FF2B5EF4-FFF2-40B4-BE49-F238E27FC236}">
                      <a16:creationId xmlns:a16="http://schemas.microsoft.com/office/drawing/2014/main" id="{7FECE02D-BD9A-453F-90FC-782E497486DF}"/>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3" name="Freeform: Shape 675">
                  <a:extLst>
                    <a:ext uri="{FF2B5EF4-FFF2-40B4-BE49-F238E27FC236}">
                      <a16:creationId xmlns:a16="http://schemas.microsoft.com/office/drawing/2014/main" id="{2E87A703-6368-4475-B778-00D541B0C605}"/>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4" name="Freeform: Shape 676">
                  <a:extLst>
                    <a:ext uri="{FF2B5EF4-FFF2-40B4-BE49-F238E27FC236}">
                      <a16:creationId xmlns:a16="http://schemas.microsoft.com/office/drawing/2014/main" id="{2FF07726-6A9F-4C80-BACC-453BE1104DB5}"/>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5" name="Freeform: Shape 677">
                  <a:extLst>
                    <a:ext uri="{FF2B5EF4-FFF2-40B4-BE49-F238E27FC236}">
                      <a16:creationId xmlns:a16="http://schemas.microsoft.com/office/drawing/2014/main" id="{343B4E2C-23C4-471B-B287-CF1F22B8D71F}"/>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690" name="Group 689">
                <a:extLst>
                  <a:ext uri="{FF2B5EF4-FFF2-40B4-BE49-F238E27FC236}">
                    <a16:creationId xmlns:a16="http://schemas.microsoft.com/office/drawing/2014/main" id="{5EC42186-E0B0-4B42-A20D-A2E2F18DD4FD}"/>
                  </a:ext>
                </a:extLst>
              </p:cNvPr>
              <p:cNvGrpSpPr/>
              <p:nvPr/>
            </p:nvGrpSpPr>
            <p:grpSpPr>
              <a:xfrm>
                <a:off x="8256195" y="2429192"/>
                <a:ext cx="386355" cy="212495"/>
                <a:chOff x="7681520" y="1918017"/>
                <a:chExt cx="386355" cy="212495"/>
              </a:xfrm>
            </p:grpSpPr>
            <p:sp>
              <p:nvSpPr>
                <p:cNvPr id="700" name="Freeform: Shape 662">
                  <a:extLst>
                    <a:ext uri="{FF2B5EF4-FFF2-40B4-BE49-F238E27FC236}">
                      <a16:creationId xmlns:a16="http://schemas.microsoft.com/office/drawing/2014/main" id="{F5CD9D99-C5C7-43D6-A58F-C210C0D3148A}"/>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1" name="Freeform: Shape 663">
                  <a:extLst>
                    <a:ext uri="{FF2B5EF4-FFF2-40B4-BE49-F238E27FC236}">
                      <a16:creationId xmlns:a16="http://schemas.microsoft.com/office/drawing/2014/main" id="{5010DB45-97F6-43E3-BABD-611841BC84C1}"/>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2" name="Freeform: Shape 664">
                  <a:extLst>
                    <a:ext uri="{FF2B5EF4-FFF2-40B4-BE49-F238E27FC236}">
                      <a16:creationId xmlns:a16="http://schemas.microsoft.com/office/drawing/2014/main" id="{1A7A5710-8F56-4FE6-9D52-A395CE62612B}"/>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3" name="Freeform: Shape 665">
                  <a:extLst>
                    <a:ext uri="{FF2B5EF4-FFF2-40B4-BE49-F238E27FC236}">
                      <a16:creationId xmlns:a16="http://schemas.microsoft.com/office/drawing/2014/main" id="{59C8D57C-1648-447C-A166-D34CBDC404DC}"/>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4" name="Freeform: Shape 666">
                  <a:extLst>
                    <a:ext uri="{FF2B5EF4-FFF2-40B4-BE49-F238E27FC236}">
                      <a16:creationId xmlns:a16="http://schemas.microsoft.com/office/drawing/2014/main" id="{0348AE04-E05E-4E72-B18E-9CAC2E5699AE}"/>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5" name="Freeform: Shape 667">
                  <a:extLst>
                    <a:ext uri="{FF2B5EF4-FFF2-40B4-BE49-F238E27FC236}">
                      <a16:creationId xmlns:a16="http://schemas.microsoft.com/office/drawing/2014/main" id="{7531DB24-EFEE-462D-827D-C41060AACB53}"/>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6" name="Freeform: Shape 668">
                  <a:extLst>
                    <a:ext uri="{FF2B5EF4-FFF2-40B4-BE49-F238E27FC236}">
                      <a16:creationId xmlns:a16="http://schemas.microsoft.com/office/drawing/2014/main" id="{C2C381B5-CF91-45F4-BAE6-A514FBD82D30}"/>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7" name="Freeform: Shape 669">
                  <a:extLst>
                    <a:ext uri="{FF2B5EF4-FFF2-40B4-BE49-F238E27FC236}">
                      <a16:creationId xmlns:a16="http://schemas.microsoft.com/office/drawing/2014/main" id="{4AE38176-2FCA-48D8-917A-DF6F671DF3E2}"/>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691" name="Group 690">
                <a:extLst>
                  <a:ext uri="{FF2B5EF4-FFF2-40B4-BE49-F238E27FC236}">
                    <a16:creationId xmlns:a16="http://schemas.microsoft.com/office/drawing/2014/main" id="{72E74082-CEFB-4D10-91F2-8AE218698A18}"/>
                  </a:ext>
                </a:extLst>
              </p:cNvPr>
              <p:cNvGrpSpPr/>
              <p:nvPr/>
            </p:nvGrpSpPr>
            <p:grpSpPr>
              <a:xfrm>
                <a:off x="8256195" y="2692717"/>
                <a:ext cx="386355" cy="212495"/>
                <a:chOff x="7681520" y="1918017"/>
                <a:chExt cx="386355" cy="212495"/>
              </a:xfrm>
            </p:grpSpPr>
            <p:sp>
              <p:nvSpPr>
                <p:cNvPr id="692" name="Freeform: Shape 654">
                  <a:extLst>
                    <a:ext uri="{FF2B5EF4-FFF2-40B4-BE49-F238E27FC236}">
                      <a16:creationId xmlns:a16="http://schemas.microsoft.com/office/drawing/2014/main" id="{B463FEBF-3CF6-4BD2-A0D4-E2281CE33BA8}"/>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3" name="Freeform: Shape 655">
                  <a:extLst>
                    <a:ext uri="{FF2B5EF4-FFF2-40B4-BE49-F238E27FC236}">
                      <a16:creationId xmlns:a16="http://schemas.microsoft.com/office/drawing/2014/main" id="{113EAD5A-6DA8-430E-882D-497E4086B4BF}"/>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4" name="Freeform: Shape 656">
                  <a:extLst>
                    <a:ext uri="{FF2B5EF4-FFF2-40B4-BE49-F238E27FC236}">
                      <a16:creationId xmlns:a16="http://schemas.microsoft.com/office/drawing/2014/main" id="{67B2CE8D-1312-42F2-8504-18D9ECDEEE54}"/>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5" name="Freeform: Shape 657">
                  <a:extLst>
                    <a:ext uri="{FF2B5EF4-FFF2-40B4-BE49-F238E27FC236}">
                      <a16:creationId xmlns:a16="http://schemas.microsoft.com/office/drawing/2014/main" id="{6E533FA1-EEBC-46E2-8117-A2BC0013469A}"/>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6" name="Freeform: Shape 658">
                  <a:extLst>
                    <a:ext uri="{FF2B5EF4-FFF2-40B4-BE49-F238E27FC236}">
                      <a16:creationId xmlns:a16="http://schemas.microsoft.com/office/drawing/2014/main" id="{5A5F440A-58EE-4BE1-A601-BCB0285B4FC5}"/>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7" name="Freeform: Shape 659">
                  <a:extLst>
                    <a:ext uri="{FF2B5EF4-FFF2-40B4-BE49-F238E27FC236}">
                      <a16:creationId xmlns:a16="http://schemas.microsoft.com/office/drawing/2014/main" id="{CAA0817C-3CDF-45AD-A68D-39675EC5F38C}"/>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8" name="Freeform: Shape 660">
                  <a:extLst>
                    <a:ext uri="{FF2B5EF4-FFF2-40B4-BE49-F238E27FC236}">
                      <a16:creationId xmlns:a16="http://schemas.microsoft.com/office/drawing/2014/main" id="{929D3AED-C93D-427B-BC2D-FC5C304383D5}"/>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9" name="Freeform: Shape 661">
                  <a:extLst>
                    <a:ext uri="{FF2B5EF4-FFF2-40B4-BE49-F238E27FC236}">
                      <a16:creationId xmlns:a16="http://schemas.microsoft.com/office/drawing/2014/main" id="{3C12F8D7-4B06-4D42-9CC2-866EE1E6A617}"/>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nvGrpSpPr>
            <p:cNvPr id="659" name="Group 658">
              <a:extLst>
                <a:ext uri="{FF2B5EF4-FFF2-40B4-BE49-F238E27FC236}">
                  <a16:creationId xmlns:a16="http://schemas.microsoft.com/office/drawing/2014/main" id="{32724CEB-FDE7-4F9B-AFAF-D12123EE2027}"/>
                </a:ext>
              </a:extLst>
            </p:cNvPr>
            <p:cNvGrpSpPr/>
            <p:nvPr/>
          </p:nvGrpSpPr>
          <p:grpSpPr>
            <a:xfrm>
              <a:off x="7030996" y="2098675"/>
              <a:ext cx="570891" cy="913689"/>
              <a:chOff x="8177171" y="2098675"/>
              <a:chExt cx="570891" cy="913689"/>
            </a:xfrm>
          </p:grpSpPr>
          <p:sp>
            <p:nvSpPr>
              <p:cNvPr id="660" name="Rectangle 659">
                <a:extLst>
                  <a:ext uri="{FF2B5EF4-FFF2-40B4-BE49-F238E27FC236}">
                    <a16:creationId xmlns:a16="http://schemas.microsoft.com/office/drawing/2014/main" id="{3F2AE079-085F-4CCD-9DF8-846D273EA67E}"/>
                  </a:ext>
                </a:extLst>
              </p:cNvPr>
              <p:cNvSpPr/>
              <p:nvPr/>
            </p:nvSpPr>
            <p:spPr>
              <a:xfrm>
                <a:off x="8177171" y="2098675"/>
                <a:ext cx="570891" cy="913689"/>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661" name="Group 660">
                <a:extLst>
                  <a:ext uri="{FF2B5EF4-FFF2-40B4-BE49-F238E27FC236}">
                    <a16:creationId xmlns:a16="http://schemas.microsoft.com/office/drawing/2014/main" id="{82F2CD1B-8EF3-4FD5-B6BB-4ED9806F627E}"/>
                  </a:ext>
                </a:extLst>
              </p:cNvPr>
              <p:cNvGrpSpPr/>
              <p:nvPr/>
            </p:nvGrpSpPr>
            <p:grpSpPr>
              <a:xfrm>
                <a:off x="8256195" y="2165667"/>
                <a:ext cx="386355" cy="212495"/>
                <a:chOff x="7681520" y="1918017"/>
                <a:chExt cx="386355" cy="212495"/>
              </a:xfrm>
            </p:grpSpPr>
            <p:sp>
              <p:nvSpPr>
                <p:cNvPr id="680" name="Freeform: Shape 707">
                  <a:extLst>
                    <a:ext uri="{FF2B5EF4-FFF2-40B4-BE49-F238E27FC236}">
                      <a16:creationId xmlns:a16="http://schemas.microsoft.com/office/drawing/2014/main" id="{203F7D2B-F5CB-4B61-8987-8D1ED35D1AD4}"/>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1" name="Freeform: Shape 708">
                  <a:extLst>
                    <a:ext uri="{FF2B5EF4-FFF2-40B4-BE49-F238E27FC236}">
                      <a16:creationId xmlns:a16="http://schemas.microsoft.com/office/drawing/2014/main" id="{BEFB5D86-B84E-4C38-AC2F-D325429429DA}"/>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2" name="Freeform: Shape 709">
                  <a:extLst>
                    <a:ext uri="{FF2B5EF4-FFF2-40B4-BE49-F238E27FC236}">
                      <a16:creationId xmlns:a16="http://schemas.microsoft.com/office/drawing/2014/main" id="{AA87997F-85D3-476F-9D39-2E59D4F7D359}"/>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3" name="Freeform: Shape 710">
                  <a:extLst>
                    <a:ext uri="{FF2B5EF4-FFF2-40B4-BE49-F238E27FC236}">
                      <a16:creationId xmlns:a16="http://schemas.microsoft.com/office/drawing/2014/main" id="{3261E925-D374-430D-BE66-428624434C85}"/>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4" name="Freeform: Shape 711">
                  <a:extLst>
                    <a:ext uri="{FF2B5EF4-FFF2-40B4-BE49-F238E27FC236}">
                      <a16:creationId xmlns:a16="http://schemas.microsoft.com/office/drawing/2014/main" id="{0860838F-CFDC-41BC-B92A-163A0EE3F14F}"/>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5" name="Freeform: Shape 712">
                  <a:extLst>
                    <a:ext uri="{FF2B5EF4-FFF2-40B4-BE49-F238E27FC236}">
                      <a16:creationId xmlns:a16="http://schemas.microsoft.com/office/drawing/2014/main" id="{E55480F1-1893-484D-8FF9-85A0A94DD473}"/>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6" name="Freeform: Shape 713">
                  <a:extLst>
                    <a:ext uri="{FF2B5EF4-FFF2-40B4-BE49-F238E27FC236}">
                      <a16:creationId xmlns:a16="http://schemas.microsoft.com/office/drawing/2014/main" id="{1D41F713-F934-41C1-8730-4A748EF41DD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7" name="Freeform: Shape 714">
                  <a:extLst>
                    <a:ext uri="{FF2B5EF4-FFF2-40B4-BE49-F238E27FC236}">
                      <a16:creationId xmlns:a16="http://schemas.microsoft.com/office/drawing/2014/main" id="{3268174C-3044-42A4-AD12-A0903062DADB}"/>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662" name="Group 661">
                <a:extLst>
                  <a:ext uri="{FF2B5EF4-FFF2-40B4-BE49-F238E27FC236}">
                    <a16:creationId xmlns:a16="http://schemas.microsoft.com/office/drawing/2014/main" id="{82C37B37-BA84-47CF-B761-1B8DF16E95A3}"/>
                  </a:ext>
                </a:extLst>
              </p:cNvPr>
              <p:cNvGrpSpPr/>
              <p:nvPr/>
            </p:nvGrpSpPr>
            <p:grpSpPr>
              <a:xfrm>
                <a:off x="8256195" y="2429192"/>
                <a:ext cx="386355" cy="212495"/>
                <a:chOff x="7681520" y="1918017"/>
                <a:chExt cx="386355" cy="212495"/>
              </a:xfrm>
            </p:grpSpPr>
            <p:sp>
              <p:nvSpPr>
                <p:cNvPr id="672" name="Freeform: Shape 699">
                  <a:extLst>
                    <a:ext uri="{FF2B5EF4-FFF2-40B4-BE49-F238E27FC236}">
                      <a16:creationId xmlns:a16="http://schemas.microsoft.com/office/drawing/2014/main" id="{54015EB5-AFCF-441A-B529-7B008BA11323}"/>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3" name="Freeform: Shape 700">
                  <a:extLst>
                    <a:ext uri="{FF2B5EF4-FFF2-40B4-BE49-F238E27FC236}">
                      <a16:creationId xmlns:a16="http://schemas.microsoft.com/office/drawing/2014/main" id="{5C0325B9-FEC8-4CF2-A84F-E7EDF9734AF9}"/>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4" name="Freeform: Shape 701">
                  <a:extLst>
                    <a:ext uri="{FF2B5EF4-FFF2-40B4-BE49-F238E27FC236}">
                      <a16:creationId xmlns:a16="http://schemas.microsoft.com/office/drawing/2014/main" id="{715C2893-6A38-4995-AB07-EDB72A2B6020}"/>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5" name="Freeform: Shape 702">
                  <a:extLst>
                    <a:ext uri="{FF2B5EF4-FFF2-40B4-BE49-F238E27FC236}">
                      <a16:creationId xmlns:a16="http://schemas.microsoft.com/office/drawing/2014/main" id="{B2E524EA-7500-401B-AA51-ACDA7049C5D7}"/>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6" name="Freeform: Shape 703">
                  <a:extLst>
                    <a:ext uri="{FF2B5EF4-FFF2-40B4-BE49-F238E27FC236}">
                      <a16:creationId xmlns:a16="http://schemas.microsoft.com/office/drawing/2014/main" id="{4DEAB885-F959-44BC-9663-983D9EB5377A}"/>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7" name="Freeform: Shape 704">
                  <a:extLst>
                    <a:ext uri="{FF2B5EF4-FFF2-40B4-BE49-F238E27FC236}">
                      <a16:creationId xmlns:a16="http://schemas.microsoft.com/office/drawing/2014/main" id="{3FF6C649-EAFC-4D3E-B311-CF8D6A2E342C}"/>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8" name="Freeform: Shape 705">
                  <a:extLst>
                    <a:ext uri="{FF2B5EF4-FFF2-40B4-BE49-F238E27FC236}">
                      <a16:creationId xmlns:a16="http://schemas.microsoft.com/office/drawing/2014/main" id="{51CF9C68-DDD8-42E2-B73D-CBF745F6AD3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9" name="Freeform: Shape 706">
                  <a:extLst>
                    <a:ext uri="{FF2B5EF4-FFF2-40B4-BE49-F238E27FC236}">
                      <a16:creationId xmlns:a16="http://schemas.microsoft.com/office/drawing/2014/main" id="{620A3177-F1C6-4C99-9E55-F8621C372FBF}"/>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663" name="Group 662">
                <a:extLst>
                  <a:ext uri="{FF2B5EF4-FFF2-40B4-BE49-F238E27FC236}">
                    <a16:creationId xmlns:a16="http://schemas.microsoft.com/office/drawing/2014/main" id="{0CC9FADE-28F9-49BB-A344-BDF29A40C9C5}"/>
                  </a:ext>
                </a:extLst>
              </p:cNvPr>
              <p:cNvGrpSpPr/>
              <p:nvPr/>
            </p:nvGrpSpPr>
            <p:grpSpPr>
              <a:xfrm>
                <a:off x="8256195" y="2692717"/>
                <a:ext cx="386355" cy="212495"/>
                <a:chOff x="7681520" y="1918017"/>
                <a:chExt cx="386355" cy="212495"/>
              </a:xfrm>
            </p:grpSpPr>
            <p:sp>
              <p:nvSpPr>
                <p:cNvPr id="664" name="Freeform: Shape 691">
                  <a:extLst>
                    <a:ext uri="{FF2B5EF4-FFF2-40B4-BE49-F238E27FC236}">
                      <a16:creationId xmlns:a16="http://schemas.microsoft.com/office/drawing/2014/main" id="{E6D347EC-194B-4960-86DC-D0E0E8626DD5}"/>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5" name="Freeform: Shape 692">
                  <a:extLst>
                    <a:ext uri="{FF2B5EF4-FFF2-40B4-BE49-F238E27FC236}">
                      <a16:creationId xmlns:a16="http://schemas.microsoft.com/office/drawing/2014/main" id="{C5FE6987-2FA3-417F-B341-52792038C0DE}"/>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6" name="Freeform: Shape 693">
                  <a:extLst>
                    <a:ext uri="{FF2B5EF4-FFF2-40B4-BE49-F238E27FC236}">
                      <a16:creationId xmlns:a16="http://schemas.microsoft.com/office/drawing/2014/main" id="{9B352CD8-25B0-4EDE-9A03-873248250118}"/>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7" name="Freeform: Shape 694">
                  <a:extLst>
                    <a:ext uri="{FF2B5EF4-FFF2-40B4-BE49-F238E27FC236}">
                      <a16:creationId xmlns:a16="http://schemas.microsoft.com/office/drawing/2014/main" id="{D6DA0E0A-A52E-4E08-8F8B-9B7EA9ECD4C1}"/>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8" name="Freeform: Shape 695">
                  <a:extLst>
                    <a:ext uri="{FF2B5EF4-FFF2-40B4-BE49-F238E27FC236}">
                      <a16:creationId xmlns:a16="http://schemas.microsoft.com/office/drawing/2014/main" id="{D46D8B46-5EB2-4AFB-B842-E2D25BAA1B84}"/>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9" name="Freeform: Shape 696">
                  <a:extLst>
                    <a:ext uri="{FF2B5EF4-FFF2-40B4-BE49-F238E27FC236}">
                      <a16:creationId xmlns:a16="http://schemas.microsoft.com/office/drawing/2014/main" id="{063D1DC3-42EE-4D5E-9219-F2B3D5AA2BB0}"/>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0" name="Freeform: Shape 697">
                  <a:extLst>
                    <a:ext uri="{FF2B5EF4-FFF2-40B4-BE49-F238E27FC236}">
                      <a16:creationId xmlns:a16="http://schemas.microsoft.com/office/drawing/2014/main" id="{88BA0CC1-4D2D-46AD-925E-A89044247021}"/>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1" name="Freeform: Shape 698">
                  <a:extLst>
                    <a:ext uri="{FF2B5EF4-FFF2-40B4-BE49-F238E27FC236}">
                      <a16:creationId xmlns:a16="http://schemas.microsoft.com/office/drawing/2014/main" id="{FC9383D1-ED48-4DF1-B637-C22F7ABB820F}"/>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grpSp>
        <p:nvGrpSpPr>
          <p:cNvPr id="796" name="Group 795">
            <a:extLst>
              <a:ext uri="{FF2B5EF4-FFF2-40B4-BE49-F238E27FC236}">
                <a16:creationId xmlns:a16="http://schemas.microsoft.com/office/drawing/2014/main" id="{E80F6F4E-8D26-4AA5-90D5-21EC266C4918}"/>
              </a:ext>
            </a:extLst>
          </p:cNvPr>
          <p:cNvGrpSpPr/>
          <p:nvPr/>
        </p:nvGrpSpPr>
        <p:grpSpPr>
          <a:xfrm>
            <a:off x="6631079" y="1519626"/>
            <a:ext cx="2236031" cy="772898"/>
            <a:chOff x="6486211" y="1739620"/>
            <a:chExt cx="2801675" cy="1283916"/>
          </a:xfrm>
        </p:grpSpPr>
        <p:grpSp>
          <p:nvGrpSpPr>
            <p:cNvPr id="797" name="Group 796">
              <a:extLst>
                <a:ext uri="{FF2B5EF4-FFF2-40B4-BE49-F238E27FC236}">
                  <a16:creationId xmlns:a16="http://schemas.microsoft.com/office/drawing/2014/main" id="{6E4EAD5C-7924-4B1F-9DFF-D1AD8232C318}"/>
                </a:ext>
              </a:extLst>
            </p:cNvPr>
            <p:cNvGrpSpPr/>
            <p:nvPr/>
          </p:nvGrpSpPr>
          <p:grpSpPr>
            <a:xfrm>
              <a:off x="6486211" y="2427446"/>
              <a:ext cx="596090" cy="596090"/>
              <a:chOff x="6340161" y="2433796"/>
              <a:chExt cx="596090" cy="596090"/>
            </a:xfrm>
          </p:grpSpPr>
          <p:sp>
            <p:nvSpPr>
              <p:cNvPr id="907" name="Freeform: Shape 498">
                <a:extLst>
                  <a:ext uri="{FF2B5EF4-FFF2-40B4-BE49-F238E27FC236}">
                    <a16:creationId xmlns:a16="http://schemas.microsoft.com/office/drawing/2014/main" id="{52517459-A55E-400A-8290-6C0D2E0D05B7}"/>
                  </a:ext>
                </a:extLst>
              </p:cNvPr>
              <p:cNvSpPr/>
              <p:nvPr/>
            </p:nvSpPr>
            <p:spPr>
              <a:xfrm>
                <a:off x="6340161" y="2433796"/>
                <a:ext cx="596090" cy="596090"/>
              </a:xfrm>
              <a:custGeom>
                <a:avLst/>
                <a:gdLst>
                  <a:gd name="connsiteX0" fmla="*/ 16669 w 771525"/>
                  <a:gd name="connsiteY0" fmla="*/ 769144 h 771525"/>
                  <a:gd name="connsiteX1" fmla="*/ 759619 w 771525"/>
                  <a:gd name="connsiteY1" fmla="*/ 769144 h 771525"/>
                  <a:gd name="connsiteX2" fmla="*/ 769144 w 771525"/>
                  <a:gd name="connsiteY2" fmla="*/ 759619 h 771525"/>
                  <a:gd name="connsiteX3" fmla="*/ 769144 w 771525"/>
                  <a:gd name="connsiteY3" fmla="*/ 693344 h 771525"/>
                  <a:gd name="connsiteX4" fmla="*/ 759619 w 771525"/>
                  <a:gd name="connsiteY4" fmla="*/ 683819 h 771525"/>
                  <a:gd name="connsiteX5" fmla="*/ 718547 w 771525"/>
                  <a:gd name="connsiteY5" fmla="*/ 683819 h 771525"/>
                  <a:gd name="connsiteX6" fmla="*/ 718547 w 771525"/>
                  <a:gd name="connsiteY6" fmla="*/ 92469 h 771525"/>
                  <a:gd name="connsiteX7" fmla="*/ 732596 w 771525"/>
                  <a:gd name="connsiteY7" fmla="*/ 92469 h 771525"/>
                  <a:gd name="connsiteX8" fmla="*/ 742121 w 771525"/>
                  <a:gd name="connsiteY8" fmla="*/ 82944 h 771525"/>
                  <a:gd name="connsiteX9" fmla="*/ 742121 w 771525"/>
                  <a:gd name="connsiteY9" fmla="*/ 16669 h 771525"/>
                  <a:gd name="connsiteX10" fmla="*/ 732596 w 771525"/>
                  <a:gd name="connsiteY10" fmla="*/ 7144 h 771525"/>
                  <a:gd name="connsiteX11" fmla="*/ 43691 w 771525"/>
                  <a:gd name="connsiteY11" fmla="*/ 7144 h 771525"/>
                  <a:gd name="connsiteX12" fmla="*/ 34166 w 771525"/>
                  <a:gd name="connsiteY12" fmla="*/ 16669 h 771525"/>
                  <a:gd name="connsiteX13" fmla="*/ 34166 w 771525"/>
                  <a:gd name="connsiteY13" fmla="*/ 82944 h 771525"/>
                  <a:gd name="connsiteX14" fmla="*/ 43691 w 771525"/>
                  <a:gd name="connsiteY14" fmla="*/ 92469 h 771525"/>
                  <a:gd name="connsiteX15" fmla="*/ 57741 w 771525"/>
                  <a:gd name="connsiteY15" fmla="*/ 92469 h 771525"/>
                  <a:gd name="connsiteX16" fmla="*/ 57741 w 771525"/>
                  <a:gd name="connsiteY16" fmla="*/ 683819 h 771525"/>
                  <a:gd name="connsiteX17" fmla="*/ 16669 w 771525"/>
                  <a:gd name="connsiteY17" fmla="*/ 683819 h 771525"/>
                  <a:gd name="connsiteX18" fmla="*/ 7144 w 771525"/>
                  <a:gd name="connsiteY18" fmla="*/ 693344 h 771525"/>
                  <a:gd name="connsiteX19" fmla="*/ 7144 w 771525"/>
                  <a:gd name="connsiteY19" fmla="*/ 759619 h 771525"/>
                  <a:gd name="connsiteX20" fmla="*/ 16669 w 771525"/>
                  <a:gd name="connsiteY20" fmla="*/ 769144 h 771525"/>
                  <a:gd name="connsiteX21" fmla="*/ 53216 w 771525"/>
                  <a:gd name="connsiteY21" fmla="*/ 26194 h 771525"/>
                  <a:gd name="connsiteX22" fmla="*/ 723062 w 771525"/>
                  <a:gd name="connsiteY22" fmla="*/ 26194 h 771525"/>
                  <a:gd name="connsiteX23" fmla="*/ 723062 w 771525"/>
                  <a:gd name="connsiteY23" fmla="*/ 73419 h 771525"/>
                  <a:gd name="connsiteX24" fmla="*/ 53216 w 771525"/>
                  <a:gd name="connsiteY24" fmla="*/ 73419 h 771525"/>
                  <a:gd name="connsiteX25" fmla="*/ 53216 w 771525"/>
                  <a:gd name="connsiteY25" fmla="*/ 26194 h 771525"/>
                  <a:gd name="connsiteX26" fmla="*/ 76791 w 771525"/>
                  <a:gd name="connsiteY26" fmla="*/ 92469 h 771525"/>
                  <a:gd name="connsiteX27" fmla="*/ 699487 w 771525"/>
                  <a:gd name="connsiteY27" fmla="*/ 92469 h 771525"/>
                  <a:gd name="connsiteX28" fmla="*/ 699487 w 771525"/>
                  <a:gd name="connsiteY28" fmla="*/ 683819 h 771525"/>
                  <a:gd name="connsiteX29" fmla="*/ 496491 w 771525"/>
                  <a:gd name="connsiteY29" fmla="*/ 683819 h 771525"/>
                  <a:gd name="connsiteX30" fmla="*/ 496491 w 771525"/>
                  <a:gd name="connsiteY30" fmla="*/ 470402 h 771525"/>
                  <a:gd name="connsiteX31" fmla="*/ 486966 w 771525"/>
                  <a:gd name="connsiteY31" fmla="*/ 460877 h 771525"/>
                  <a:gd name="connsiteX32" fmla="*/ 289322 w 771525"/>
                  <a:gd name="connsiteY32" fmla="*/ 460877 h 771525"/>
                  <a:gd name="connsiteX33" fmla="*/ 279797 w 771525"/>
                  <a:gd name="connsiteY33" fmla="*/ 470402 h 771525"/>
                  <a:gd name="connsiteX34" fmla="*/ 279797 w 771525"/>
                  <a:gd name="connsiteY34" fmla="*/ 683819 h 771525"/>
                  <a:gd name="connsiteX35" fmla="*/ 76791 w 771525"/>
                  <a:gd name="connsiteY35" fmla="*/ 683819 h 771525"/>
                  <a:gd name="connsiteX36" fmla="*/ 76791 w 771525"/>
                  <a:gd name="connsiteY36" fmla="*/ 92469 h 771525"/>
                  <a:gd name="connsiteX37" fmla="*/ 298847 w 771525"/>
                  <a:gd name="connsiteY37" fmla="*/ 683819 h 771525"/>
                  <a:gd name="connsiteX38" fmla="*/ 298847 w 771525"/>
                  <a:gd name="connsiteY38" fmla="*/ 479927 h 771525"/>
                  <a:gd name="connsiteX39" fmla="*/ 378619 w 771525"/>
                  <a:gd name="connsiteY39" fmla="*/ 479927 h 771525"/>
                  <a:gd name="connsiteX40" fmla="*/ 378619 w 771525"/>
                  <a:gd name="connsiteY40" fmla="*/ 683819 h 771525"/>
                  <a:gd name="connsiteX41" fmla="*/ 298847 w 771525"/>
                  <a:gd name="connsiteY41" fmla="*/ 683819 h 771525"/>
                  <a:gd name="connsiteX42" fmla="*/ 397669 w 771525"/>
                  <a:gd name="connsiteY42" fmla="*/ 479927 h 771525"/>
                  <a:gd name="connsiteX43" fmla="*/ 477441 w 771525"/>
                  <a:gd name="connsiteY43" fmla="*/ 479927 h 771525"/>
                  <a:gd name="connsiteX44" fmla="*/ 477441 w 771525"/>
                  <a:gd name="connsiteY44" fmla="*/ 683819 h 771525"/>
                  <a:gd name="connsiteX45" fmla="*/ 397669 w 771525"/>
                  <a:gd name="connsiteY45" fmla="*/ 683819 h 771525"/>
                  <a:gd name="connsiteX46" fmla="*/ 397669 w 771525"/>
                  <a:gd name="connsiteY46" fmla="*/ 479927 h 771525"/>
                  <a:gd name="connsiteX47" fmla="*/ 26194 w 771525"/>
                  <a:gd name="connsiteY47" fmla="*/ 702869 h 771525"/>
                  <a:gd name="connsiteX48" fmla="*/ 750094 w 771525"/>
                  <a:gd name="connsiteY48" fmla="*/ 702869 h 771525"/>
                  <a:gd name="connsiteX49" fmla="*/ 750094 w 771525"/>
                  <a:gd name="connsiteY49" fmla="*/ 750094 h 771525"/>
                  <a:gd name="connsiteX50" fmla="*/ 26194 w 771525"/>
                  <a:gd name="connsiteY50" fmla="*/ 750094 h 771525"/>
                  <a:gd name="connsiteX51" fmla="*/ 26194 w 771525"/>
                  <a:gd name="connsiteY51" fmla="*/ 702869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771525" h="771525">
                    <a:moveTo>
                      <a:pt x="16669" y="769144"/>
                    </a:moveTo>
                    <a:lnTo>
                      <a:pt x="759619" y="769144"/>
                    </a:lnTo>
                    <a:cubicBezTo>
                      <a:pt x="764877" y="769144"/>
                      <a:pt x="769144" y="764886"/>
                      <a:pt x="769144" y="759619"/>
                    </a:cubicBezTo>
                    <a:lnTo>
                      <a:pt x="769144" y="693344"/>
                    </a:lnTo>
                    <a:cubicBezTo>
                      <a:pt x="769144" y="688076"/>
                      <a:pt x="764877" y="683819"/>
                      <a:pt x="759619" y="683819"/>
                    </a:cubicBezTo>
                    <a:lnTo>
                      <a:pt x="718547" y="683819"/>
                    </a:lnTo>
                    <a:lnTo>
                      <a:pt x="718547" y="92469"/>
                    </a:lnTo>
                    <a:lnTo>
                      <a:pt x="732596" y="92469"/>
                    </a:lnTo>
                    <a:cubicBezTo>
                      <a:pt x="737854" y="92469"/>
                      <a:pt x="742121" y="88211"/>
                      <a:pt x="742121" y="82944"/>
                    </a:cubicBezTo>
                    <a:lnTo>
                      <a:pt x="742121" y="16669"/>
                    </a:lnTo>
                    <a:cubicBezTo>
                      <a:pt x="742121" y="11401"/>
                      <a:pt x="737854" y="7144"/>
                      <a:pt x="732596" y="7144"/>
                    </a:cubicBezTo>
                    <a:lnTo>
                      <a:pt x="43691" y="7144"/>
                    </a:lnTo>
                    <a:cubicBezTo>
                      <a:pt x="38433" y="7144"/>
                      <a:pt x="34166" y="11401"/>
                      <a:pt x="34166" y="16669"/>
                    </a:cubicBezTo>
                    <a:lnTo>
                      <a:pt x="34166" y="82944"/>
                    </a:lnTo>
                    <a:cubicBezTo>
                      <a:pt x="34166" y="88211"/>
                      <a:pt x="38433" y="92469"/>
                      <a:pt x="43691" y="92469"/>
                    </a:cubicBezTo>
                    <a:lnTo>
                      <a:pt x="57741" y="92469"/>
                    </a:lnTo>
                    <a:lnTo>
                      <a:pt x="57741" y="683819"/>
                    </a:lnTo>
                    <a:lnTo>
                      <a:pt x="16669" y="683819"/>
                    </a:lnTo>
                    <a:cubicBezTo>
                      <a:pt x="11411" y="683819"/>
                      <a:pt x="7144" y="688076"/>
                      <a:pt x="7144" y="693344"/>
                    </a:cubicBezTo>
                    <a:lnTo>
                      <a:pt x="7144" y="759619"/>
                    </a:lnTo>
                    <a:cubicBezTo>
                      <a:pt x="7144" y="764886"/>
                      <a:pt x="11411" y="769144"/>
                      <a:pt x="16669" y="769144"/>
                    </a:cubicBezTo>
                    <a:close/>
                    <a:moveTo>
                      <a:pt x="53216" y="26194"/>
                    </a:moveTo>
                    <a:lnTo>
                      <a:pt x="723062" y="26194"/>
                    </a:lnTo>
                    <a:lnTo>
                      <a:pt x="723062" y="73419"/>
                    </a:lnTo>
                    <a:lnTo>
                      <a:pt x="53216" y="73419"/>
                    </a:lnTo>
                    <a:lnTo>
                      <a:pt x="53216" y="26194"/>
                    </a:lnTo>
                    <a:close/>
                    <a:moveTo>
                      <a:pt x="76791" y="92469"/>
                    </a:moveTo>
                    <a:lnTo>
                      <a:pt x="699487" y="92469"/>
                    </a:lnTo>
                    <a:lnTo>
                      <a:pt x="699487" y="683819"/>
                    </a:lnTo>
                    <a:lnTo>
                      <a:pt x="496491" y="683819"/>
                    </a:lnTo>
                    <a:lnTo>
                      <a:pt x="496491" y="470402"/>
                    </a:lnTo>
                    <a:cubicBezTo>
                      <a:pt x="496491" y="465134"/>
                      <a:pt x="492223" y="460877"/>
                      <a:pt x="486966" y="460877"/>
                    </a:cubicBezTo>
                    <a:lnTo>
                      <a:pt x="289322" y="460877"/>
                    </a:lnTo>
                    <a:cubicBezTo>
                      <a:pt x="284064" y="460877"/>
                      <a:pt x="279797" y="465134"/>
                      <a:pt x="279797" y="470402"/>
                    </a:cubicBezTo>
                    <a:lnTo>
                      <a:pt x="279797" y="683819"/>
                    </a:lnTo>
                    <a:lnTo>
                      <a:pt x="76791" y="683819"/>
                    </a:lnTo>
                    <a:lnTo>
                      <a:pt x="76791" y="92469"/>
                    </a:lnTo>
                    <a:close/>
                    <a:moveTo>
                      <a:pt x="298847" y="683819"/>
                    </a:moveTo>
                    <a:lnTo>
                      <a:pt x="298847" y="479927"/>
                    </a:lnTo>
                    <a:lnTo>
                      <a:pt x="378619" y="479927"/>
                    </a:lnTo>
                    <a:lnTo>
                      <a:pt x="378619" y="683819"/>
                    </a:lnTo>
                    <a:lnTo>
                      <a:pt x="298847" y="683819"/>
                    </a:lnTo>
                    <a:close/>
                    <a:moveTo>
                      <a:pt x="397669" y="479927"/>
                    </a:moveTo>
                    <a:lnTo>
                      <a:pt x="477441" y="479927"/>
                    </a:lnTo>
                    <a:lnTo>
                      <a:pt x="477441" y="683819"/>
                    </a:lnTo>
                    <a:lnTo>
                      <a:pt x="397669" y="683819"/>
                    </a:lnTo>
                    <a:lnTo>
                      <a:pt x="397669" y="479927"/>
                    </a:lnTo>
                    <a:close/>
                    <a:moveTo>
                      <a:pt x="26194" y="702869"/>
                    </a:moveTo>
                    <a:lnTo>
                      <a:pt x="750094" y="702869"/>
                    </a:lnTo>
                    <a:lnTo>
                      <a:pt x="750094" y="750094"/>
                    </a:lnTo>
                    <a:lnTo>
                      <a:pt x="26194" y="750094"/>
                    </a:lnTo>
                    <a:lnTo>
                      <a:pt x="26194" y="702869"/>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8" name="Freeform: Shape 499">
                <a:extLst>
                  <a:ext uri="{FF2B5EF4-FFF2-40B4-BE49-F238E27FC236}">
                    <a16:creationId xmlns:a16="http://schemas.microsoft.com/office/drawing/2014/main" id="{C234E4DC-8BF4-4232-B4C7-D48E7F3CC541}"/>
                  </a:ext>
                </a:extLst>
              </p:cNvPr>
              <p:cNvSpPr/>
              <p:nvPr/>
            </p:nvSpPr>
            <p:spPr>
              <a:xfrm>
                <a:off x="6763393" y="2783495"/>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9" name="Freeform: Shape 500">
                <a:extLst>
                  <a:ext uri="{FF2B5EF4-FFF2-40B4-BE49-F238E27FC236}">
                    <a16:creationId xmlns:a16="http://schemas.microsoft.com/office/drawing/2014/main" id="{244FF703-73B5-400C-AF9D-E63E9295D613}"/>
                  </a:ext>
                </a:extLst>
              </p:cNvPr>
              <p:cNvSpPr/>
              <p:nvPr/>
            </p:nvSpPr>
            <p:spPr>
              <a:xfrm>
                <a:off x="6443270" y="2783495"/>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0" name="Freeform: Shape 501">
                <a:extLst>
                  <a:ext uri="{FF2B5EF4-FFF2-40B4-BE49-F238E27FC236}">
                    <a16:creationId xmlns:a16="http://schemas.microsoft.com/office/drawing/2014/main" id="{5A7F3558-AB63-49D2-85F8-78BD0CF39CA9}"/>
                  </a:ext>
                </a:extLst>
              </p:cNvPr>
              <p:cNvSpPr/>
              <p:nvPr/>
            </p:nvSpPr>
            <p:spPr>
              <a:xfrm>
                <a:off x="6763393" y="2666668"/>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1" name="Freeform: Shape 502">
                <a:extLst>
                  <a:ext uri="{FF2B5EF4-FFF2-40B4-BE49-F238E27FC236}">
                    <a16:creationId xmlns:a16="http://schemas.microsoft.com/office/drawing/2014/main" id="{E491DDF7-1F22-4026-B037-0EE1E8E2CA8B}"/>
                  </a:ext>
                </a:extLst>
              </p:cNvPr>
              <p:cNvSpPr/>
              <p:nvPr/>
            </p:nvSpPr>
            <p:spPr>
              <a:xfrm>
                <a:off x="6656766" y="2666668"/>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2" name="Freeform: Shape 503">
                <a:extLst>
                  <a:ext uri="{FF2B5EF4-FFF2-40B4-BE49-F238E27FC236}">
                    <a16:creationId xmlns:a16="http://schemas.microsoft.com/office/drawing/2014/main" id="{E90C71D2-FD0E-4DEB-9168-156B709B7248}"/>
                  </a:ext>
                </a:extLst>
              </p:cNvPr>
              <p:cNvSpPr/>
              <p:nvPr/>
            </p:nvSpPr>
            <p:spPr>
              <a:xfrm>
                <a:off x="6550817" y="2666668"/>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3" name="Freeform: Shape 504">
                <a:extLst>
                  <a:ext uri="{FF2B5EF4-FFF2-40B4-BE49-F238E27FC236}">
                    <a16:creationId xmlns:a16="http://schemas.microsoft.com/office/drawing/2014/main" id="{468FE0E6-2E10-4571-BEF4-B972DC8A5716}"/>
                  </a:ext>
                </a:extLst>
              </p:cNvPr>
              <p:cNvSpPr/>
              <p:nvPr/>
            </p:nvSpPr>
            <p:spPr>
              <a:xfrm>
                <a:off x="6656766" y="2549842"/>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4" name="Freeform: Shape 505">
                <a:extLst>
                  <a:ext uri="{FF2B5EF4-FFF2-40B4-BE49-F238E27FC236}">
                    <a16:creationId xmlns:a16="http://schemas.microsoft.com/office/drawing/2014/main" id="{F0A130AE-D6CA-496A-B0ED-AA509C171A77}"/>
                  </a:ext>
                </a:extLst>
              </p:cNvPr>
              <p:cNvSpPr/>
              <p:nvPr/>
            </p:nvSpPr>
            <p:spPr>
              <a:xfrm>
                <a:off x="6550817" y="2549842"/>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5" name="Freeform: Shape 506">
                <a:extLst>
                  <a:ext uri="{FF2B5EF4-FFF2-40B4-BE49-F238E27FC236}">
                    <a16:creationId xmlns:a16="http://schemas.microsoft.com/office/drawing/2014/main" id="{38D846A2-5C49-4B78-9042-3EC8C7F82DBC}"/>
                  </a:ext>
                </a:extLst>
              </p:cNvPr>
              <p:cNvSpPr/>
              <p:nvPr/>
            </p:nvSpPr>
            <p:spPr>
              <a:xfrm>
                <a:off x="6443270" y="2666668"/>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6" name="Freeform: Shape 507">
                <a:extLst>
                  <a:ext uri="{FF2B5EF4-FFF2-40B4-BE49-F238E27FC236}">
                    <a16:creationId xmlns:a16="http://schemas.microsoft.com/office/drawing/2014/main" id="{0D4ADF69-2385-428D-8373-8B0535DBF489}"/>
                  </a:ext>
                </a:extLst>
              </p:cNvPr>
              <p:cNvSpPr/>
              <p:nvPr/>
            </p:nvSpPr>
            <p:spPr>
              <a:xfrm>
                <a:off x="6763393" y="2549842"/>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7" name="Freeform: Shape 508">
                <a:extLst>
                  <a:ext uri="{FF2B5EF4-FFF2-40B4-BE49-F238E27FC236}">
                    <a16:creationId xmlns:a16="http://schemas.microsoft.com/office/drawing/2014/main" id="{13EEFAC8-E33D-459A-A23D-4545B64E5E74}"/>
                  </a:ext>
                </a:extLst>
              </p:cNvPr>
              <p:cNvSpPr/>
              <p:nvPr/>
            </p:nvSpPr>
            <p:spPr>
              <a:xfrm>
                <a:off x="6443270" y="2549842"/>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798" name="Group 797">
              <a:extLst>
                <a:ext uri="{FF2B5EF4-FFF2-40B4-BE49-F238E27FC236}">
                  <a16:creationId xmlns:a16="http://schemas.microsoft.com/office/drawing/2014/main" id="{414C381E-3EF6-49FD-8548-F64955F2A892}"/>
                </a:ext>
              </a:extLst>
            </p:cNvPr>
            <p:cNvGrpSpPr/>
            <p:nvPr/>
          </p:nvGrpSpPr>
          <p:grpSpPr>
            <a:xfrm>
              <a:off x="8710808" y="2446457"/>
              <a:ext cx="577078" cy="577079"/>
              <a:chOff x="5709056" y="2921793"/>
              <a:chExt cx="771525" cy="771525"/>
            </a:xfrm>
            <a:solidFill>
              <a:srgbClr val="999999"/>
            </a:solidFill>
          </p:grpSpPr>
          <p:sp>
            <p:nvSpPr>
              <p:cNvPr id="896" name="Freeform: Shape 447">
                <a:extLst>
                  <a:ext uri="{FF2B5EF4-FFF2-40B4-BE49-F238E27FC236}">
                    <a16:creationId xmlns:a16="http://schemas.microsoft.com/office/drawing/2014/main" id="{2019140F-7B51-422A-B271-1EB6183FC1B7}"/>
                  </a:ext>
                </a:extLst>
              </p:cNvPr>
              <p:cNvSpPr/>
              <p:nvPr/>
            </p:nvSpPr>
            <p:spPr>
              <a:xfrm>
                <a:off x="5709056" y="2921793"/>
                <a:ext cx="771525" cy="771525"/>
              </a:xfrm>
              <a:custGeom>
                <a:avLst/>
                <a:gdLst>
                  <a:gd name="connsiteX0" fmla="*/ 16669 w 771525"/>
                  <a:gd name="connsiteY0" fmla="*/ 769144 h 771525"/>
                  <a:gd name="connsiteX1" fmla="*/ 759619 w 771525"/>
                  <a:gd name="connsiteY1" fmla="*/ 769144 h 771525"/>
                  <a:gd name="connsiteX2" fmla="*/ 769144 w 771525"/>
                  <a:gd name="connsiteY2" fmla="*/ 759619 h 771525"/>
                  <a:gd name="connsiteX3" fmla="*/ 769144 w 771525"/>
                  <a:gd name="connsiteY3" fmla="*/ 693344 h 771525"/>
                  <a:gd name="connsiteX4" fmla="*/ 759619 w 771525"/>
                  <a:gd name="connsiteY4" fmla="*/ 683819 h 771525"/>
                  <a:gd name="connsiteX5" fmla="*/ 718547 w 771525"/>
                  <a:gd name="connsiteY5" fmla="*/ 683819 h 771525"/>
                  <a:gd name="connsiteX6" fmla="*/ 718547 w 771525"/>
                  <a:gd name="connsiteY6" fmla="*/ 92469 h 771525"/>
                  <a:gd name="connsiteX7" fmla="*/ 732596 w 771525"/>
                  <a:gd name="connsiteY7" fmla="*/ 92469 h 771525"/>
                  <a:gd name="connsiteX8" fmla="*/ 742121 w 771525"/>
                  <a:gd name="connsiteY8" fmla="*/ 82944 h 771525"/>
                  <a:gd name="connsiteX9" fmla="*/ 742121 w 771525"/>
                  <a:gd name="connsiteY9" fmla="*/ 16669 h 771525"/>
                  <a:gd name="connsiteX10" fmla="*/ 732596 w 771525"/>
                  <a:gd name="connsiteY10" fmla="*/ 7144 h 771525"/>
                  <a:gd name="connsiteX11" fmla="*/ 43691 w 771525"/>
                  <a:gd name="connsiteY11" fmla="*/ 7144 h 771525"/>
                  <a:gd name="connsiteX12" fmla="*/ 34166 w 771525"/>
                  <a:gd name="connsiteY12" fmla="*/ 16669 h 771525"/>
                  <a:gd name="connsiteX13" fmla="*/ 34166 w 771525"/>
                  <a:gd name="connsiteY13" fmla="*/ 82944 h 771525"/>
                  <a:gd name="connsiteX14" fmla="*/ 43691 w 771525"/>
                  <a:gd name="connsiteY14" fmla="*/ 92469 h 771525"/>
                  <a:gd name="connsiteX15" fmla="*/ 57741 w 771525"/>
                  <a:gd name="connsiteY15" fmla="*/ 92469 h 771525"/>
                  <a:gd name="connsiteX16" fmla="*/ 57741 w 771525"/>
                  <a:gd name="connsiteY16" fmla="*/ 683819 h 771525"/>
                  <a:gd name="connsiteX17" fmla="*/ 16669 w 771525"/>
                  <a:gd name="connsiteY17" fmla="*/ 683819 h 771525"/>
                  <a:gd name="connsiteX18" fmla="*/ 7144 w 771525"/>
                  <a:gd name="connsiteY18" fmla="*/ 693344 h 771525"/>
                  <a:gd name="connsiteX19" fmla="*/ 7144 w 771525"/>
                  <a:gd name="connsiteY19" fmla="*/ 759619 h 771525"/>
                  <a:gd name="connsiteX20" fmla="*/ 16669 w 771525"/>
                  <a:gd name="connsiteY20" fmla="*/ 769144 h 771525"/>
                  <a:gd name="connsiteX21" fmla="*/ 53216 w 771525"/>
                  <a:gd name="connsiteY21" fmla="*/ 26194 h 771525"/>
                  <a:gd name="connsiteX22" fmla="*/ 723062 w 771525"/>
                  <a:gd name="connsiteY22" fmla="*/ 26194 h 771525"/>
                  <a:gd name="connsiteX23" fmla="*/ 723062 w 771525"/>
                  <a:gd name="connsiteY23" fmla="*/ 73419 h 771525"/>
                  <a:gd name="connsiteX24" fmla="*/ 53216 w 771525"/>
                  <a:gd name="connsiteY24" fmla="*/ 73419 h 771525"/>
                  <a:gd name="connsiteX25" fmla="*/ 53216 w 771525"/>
                  <a:gd name="connsiteY25" fmla="*/ 26194 h 771525"/>
                  <a:gd name="connsiteX26" fmla="*/ 76791 w 771525"/>
                  <a:gd name="connsiteY26" fmla="*/ 92469 h 771525"/>
                  <a:gd name="connsiteX27" fmla="*/ 699487 w 771525"/>
                  <a:gd name="connsiteY27" fmla="*/ 92469 h 771525"/>
                  <a:gd name="connsiteX28" fmla="*/ 699487 w 771525"/>
                  <a:gd name="connsiteY28" fmla="*/ 683819 h 771525"/>
                  <a:gd name="connsiteX29" fmla="*/ 496491 w 771525"/>
                  <a:gd name="connsiteY29" fmla="*/ 683819 h 771525"/>
                  <a:gd name="connsiteX30" fmla="*/ 496491 w 771525"/>
                  <a:gd name="connsiteY30" fmla="*/ 470402 h 771525"/>
                  <a:gd name="connsiteX31" fmla="*/ 486966 w 771525"/>
                  <a:gd name="connsiteY31" fmla="*/ 460877 h 771525"/>
                  <a:gd name="connsiteX32" fmla="*/ 289322 w 771525"/>
                  <a:gd name="connsiteY32" fmla="*/ 460877 h 771525"/>
                  <a:gd name="connsiteX33" fmla="*/ 279797 w 771525"/>
                  <a:gd name="connsiteY33" fmla="*/ 470402 h 771525"/>
                  <a:gd name="connsiteX34" fmla="*/ 279797 w 771525"/>
                  <a:gd name="connsiteY34" fmla="*/ 683819 h 771525"/>
                  <a:gd name="connsiteX35" fmla="*/ 76791 w 771525"/>
                  <a:gd name="connsiteY35" fmla="*/ 683819 h 771525"/>
                  <a:gd name="connsiteX36" fmla="*/ 76791 w 771525"/>
                  <a:gd name="connsiteY36" fmla="*/ 92469 h 771525"/>
                  <a:gd name="connsiteX37" fmla="*/ 298847 w 771525"/>
                  <a:gd name="connsiteY37" fmla="*/ 683819 h 771525"/>
                  <a:gd name="connsiteX38" fmla="*/ 298847 w 771525"/>
                  <a:gd name="connsiteY38" fmla="*/ 479927 h 771525"/>
                  <a:gd name="connsiteX39" fmla="*/ 378619 w 771525"/>
                  <a:gd name="connsiteY39" fmla="*/ 479927 h 771525"/>
                  <a:gd name="connsiteX40" fmla="*/ 378619 w 771525"/>
                  <a:gd name="connsiteY40" fmla="*/ 683819 h 771525"/>
                  <a:gd name="connsiteX41" fmla="*/ 298847 w 771525"/>
                  <a:gd name="connsiteY41" fmla="*/ 683819 h 771525"/>
                  <a:gd name="connsiteX42" fmla="*/ 397669 w 771525"/>
                  <a:gd name="connsiteY42" fmla="*/ 479927 h 771525"/>
                  <a:gd name="connsiteX43" fmla="*/ 477441 w 771525"/>
                  <a:gd name="connsiteY43" fmla="*/ 479927 h 771525"/>
                  <a:gd name="connsiteX44" fmla="*/ 477441 w 771525"/>
                  <a:gd name="connsiteY44" fmla="*/ 683819 h 771525"/>
                  <a:gd name="connsiteX45" fmla="*/ 397669 w 771525"/>
                  <a:gd name="connsiteY45" fmla="*/ 683819 h 771525"/>
                  <a:gd name="connsiteX46" fmla="*/ 397669 w 771525"/>
                  <a:gd name="connsiteY46" fmla="*/ 479927 h 771525"/>
                  <a:gd name="connsiteX47" fmla="*/ 26194 w 771525"/>
                  <a:gd name="connsiteY47" fmla="*/ 702869 h 771525"/>
                  <a:gd name="connsiteX48" fmla="*/ 750094 w 771525"/>
                  <a:gd name="connsiteY48" fmla="*/ 702869 h 771525"/>
                  <a:gd name="connsiteX49" fmla="*/ 750094 w 771525"/>
                  <a:gd name="connsiteY49" fmla="*/ 750094 h 771525"/>
                  <a:gd name="connsiteX50" fmla="*/ 26194 w 771525"/>
                  <a:gd name="connsiteY50" fmla="*/ 750094 h 771525"/>
                  <a:gd name="connsiteX51" fmla="*/ 26194 w 771525"/>
                  <a:gd name="connsiteY51" fmla="*/ 702869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771525" h="771525">
                    <a:moveTo>
                      <a:pt x="16669" y="769144"/>
                    </a:moveTo>
                    <a:lnTo>
                      <a:pt x="759619" y="769144"/>
                    </a:lnTo>
                    <a:cubicBezTo>
                      <a:pt x="764877" y="769144"/>
                      <a:pt x="769144" y="764886"/>
                      <a:pt x="769144" y="759619"/>
                    </a:cubicBezTo>
                    <a:lnTo>
                      <a:pt x="769144" y="693344"/>
                    </a:lnTo>
                    <a:cubicBezTo>
                      <a:pt x="769144" y="688076"/>
                      <a:pt x="764877" y="683819"/>
                      <a:pt x="759619" y="683819"/>
                    </a:cubicBezTo>
                    <a:lnTo>
                      <a:pt x="718547" y="683819"/>
                    </a:lnTo>
                    <a:lnTo>
                      <a:pt x="718547" y="92469"/>
                    </a:lnTo>
                    <a:lnTo>
                      <a:pt x="732596" y="92469"/>
                    </a:lnTo>
                    <a:cubicBezTo>
                      <a:pt x="737854" y="92469"/>
                      <a:pt x="742121" y="88211"/>
                      <a:pt x="742121" y="82944"/>
                    </a:cubicBezTo>
                    <a:lnTo>
                      <a:pt x="742121" y="16669"/>
                    </a:lnTo>
                    <a:cubicBezTo>
                      <a:pt x="742121" y="11401"/>
                      <a:pt x="737854" y="7144"/>
                      <a:pt x="732596" y="7144"/>
                    </a:cubicBezTo>
                    <a:lnTo>
                      <a:pt x="43691" y="7144"/>
                    </a:lnTo>
                    <a:cubicBezTo>
                      <a:pt x="38433" y="7144"/>
                      <a:pt x="34166" y="11401"/>
                      <a:pt x="34166" y="16669"/>
                    </a:cubicBezTo>
                    <a:lnTo>
                      <a:pt x="34166" y="82944"/>
                    </a:lnTo>
                    <a:cubicBezTo>
                      <a:pt x="34166" y="88211"/>
                      <a:pt x="38433" y="92469"/>
                      <a:pt x="43691" y="92469"/>
                    </a:cubicBezTo>
                    <a:lnTo>
                      <a:pt x="57741" y="92469"/>
                    </a:lnTo>
                    <a:lnTo>
                      <a:pt x="57741" y="683819"/>
                    </a:lnTo>
                    <a:lnTo>
                      <a:pt x="16669" y="683819"/>
                    </a:lnTo>
                    <a:cubicBezTo>
                      <a:pt x="11411" y="683819"/>
                      <a:pt x="7144" y="688076"/>
                      <a:pt x="7144" y="693344"/>
                    </a:cubicBezTo>
                    <a:lnTo>
                      <a:pt x="7144" y="759619"/>
                    </a:lnTo>
                    <a:cubicBezTo>
                      <a:pt x="7144" y="764886"/>
                      <a:pt x="11411" y="769144"/>
                      <a:pt x="16669" y="769144"/>
                    </a:cubicBezTo>
                    <a:close/>
                    <a:moveTo>
                      <a:pt x="53216" y="26194"/>
                    </a:moveTo>
                    <a:lnTo>
                      <a:pt x="723062" y="26194"/>
                    </a:lnTo>
                    <a:lnTo>
                      <a:pt x="723062" y="73419"/>
                    </a:lnTo>
                    <a:lnTo>
                      <a:pt x="53216" y="73419"/>
                    </a:lnTo>
                    <a:lnTo>
                      <a:pt x="53216" y="26194"/>
                    </a:lnTo>
                    <a:close/>
                    <a:moveTo>
                      <a:pt x="76791" y="92469"/>
                    </a:moveTo>
                    <a:lnTo>
                      <a:pt x="699487" y="92469"/>
                    </a:lnTo>
                    <a:lnTo>
                      <a:pt x="699487" y="683819"/>
                    </a:lnTo>
                    <a:lnTo>
                      <a:pt x="496491" y="683819"/>
                    </a:lnTo>
                    <a:lnTo>
                      <a:pt x="496491" y="470402"/>
                    </a:lnTo>
                    <a:cubicBezTo>
                      <a:pt x="496491" y="465134"/>
                      <a:pt x="492223" y="460877"/>
                      <a:pt x="486966" y="460877"/>
                    </a:cubicBezTo>
                    <a:lnTo>
                      <a:pt x="289322" y="460877"/>
                    </a:lnTo>
                    <a:cubicBezTo>
                      <a:pt x="284064" y="460877"/>
                      <a:pt x="279797" y="465134"/>
                      <a:pt x="279797" y="470402"/>
                    </a:cubicBezTo>
                    <a:lnTo>
                      <a:pt x="279797" y="683819"/>
                    </a:lnTo>
                    <a:lnTo>
                      <a:pt x="76791" y="683819"/>
                    </a:lnTo>
                    <a:lnTo>
                      <a:pt x="76791" y="92469"/>
                    </a:lnTo>
                    <a:close/>
                    <a:moveTo>
                      <a:pt x="298847" y="683819"/>
                    </a:moveTo>
                    <a:lnTo>
                      <a:pt x="298847" y="479927"/>
                    </a:lnTo>
                    <a:lnTo>
                      <a:pt x="378619" y="479927"/>
                    </a:lnTo>
                    <a:lnTo>
                      <a:pt x="378619" y="683819"/>
                    </a:lnTo>
                    <a:lnTo>
                      <a:pt x="298847" y="683819"/>
                    </a:lnTo>
                    <a:close/>
                    <a:moveTo>
                      <a:pt x="397669" y="479927"/>
                    </a:moveTo>
                    <a:lnTo>
                      <a:pt x="477441" y="479927"/>
                    </a:lnTo>
                    <a:lnTo>
                      <a:pt x="477441" y="683819"/>
                    </a:lnTo>
                    <a:lnTo>
                      <a:pt x="397669" y="683819"/>
                    </a:lnTo>
                    <a:lnTo>
                      <a:pt x="397669" y="479927"/>
                    </a:lnTo>
                    <a:close/>
                    <a:moveTo>
                      <a:pt x="26194" y="702869"/>
                    </a:moveTo>
                    <a:lnTo>
                      <a:pt x="750094" y="702869"/>
                    </a:lnTo>
                    <a:lnTo>
                      <a:pt x="750094" y="750094"/>
                    </a:lnTo>
                    <a:lnTo>
                      <a:pt x="26194" y="750094"/>
                    </a:lnTo>
                    <a:lnTo>
                      <a:pt x="26194" y="70286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7" name="Freeform: Shape 448">
                <a:extLst>
                  <a:ext uri="{FF2B5EF4-FFF2-40B4-BE49-F238E27FC236}">
                    <a16:creationId xmlns:a16="http://schemas.microsoft.com/office/drawing/2014/main" id="{F454034B-6763-4A0A-B0FE-D1DB9F72670E}"/>
                  </a:ext>
                </a:extLst>
              </p:cNvPr>
              <p:cNvSpPr/>
              <p:nvPr/>
            </p:nvSpPr>
            <p:spPr>
              <a:xfrm>
                <a:off x="6256849" y="337441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8" name="Freeform: Shape 449">
                <a:extLst>
                  <a:ext uri="{FF2B5EF4-FFF2-40B4-BE49-F238E27FC236}">
                    <a16:creationId xmlns:a16="http://schemas.microsoft.com/office/drawing/2014/main" id="{24EF349C-A899-4CF6-B22D-E0DCD32D8C30}"/>
                  </a:ext>
                </a:extLst>
              </p:cNvPr>
              <p:cNvSpPr/>
              <p:nvPr/>
            </p:nvSpPr>
            <p:spPr>
              <a:xfrm>
                <a:off x="5842511" y="3374412"/>
                <a:ext cx="85725" cy="123825"/>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9" name="Freeform: Shape 450">
                <a:extLst>
                  <a:ext uri="{FF2B5EF4-FFF2-40B4-BE49-F238E27FC236}">
                    <a16:creationId xmlns:a16="http://schemas.microsoft.com/office/drawing/2014/main" id="{7F3FE53C-CBF1-48F9-BA17-9AC14B5F8DAF}"/>
                  </a:ext>
                </a:extLst>
              </p:cNvPr>
              <p:cNvSpPr/>
              <p:nvPr/>
            </p:nvSpPr>
            <p:spPr>
              <a:xfrm>
                <a:off x="6256849" y="322320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0" name="Freeform: Shape 451">
                <a:extLst>
                  <a:ext uri="{FF2B5EF4-FFF2-40B4-BE49-F238E27FC236}">
                    <a16:creationId xmlns:a16="http://schemas.microsoft.com/office/drawing/2014/main" id="{A8683496-7CDF-4C07-B477-B23572014B8D}"/>
                  </a:ext>
                </a:extLst>
              </p:cNvPr>
              <p:cNvSpPr/>
              <p:nvPr/>
            </p:nvSpPr>
            <p:spPr>
              <a:xfrm>
                <a:off x="6118841" y="322320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1" name="Freeform: Shape 452">
                <a:extLst>
                  <a:ext uri="{FF2B5EF4-FFF2-40B4-BE49-F238E27FC236}">
                    <a16:creationId xmlns:a16="http://schemas.microsoft.com/office/drawing/2014/main" id="{E2309ABB-96AB-40B1-9E0A-EDF4B55385B7}"/>
                  </a:ext>
                </a:extLst>
              </p:cNvPr>
              <p:cNvSpPr/>
              <p:nvPr/>
            </p:nvSpPr>
            <p:spPr>
              <a:xfrm>
                <a:off x="5981710" y="322320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2" name="Freeform: Shape 453">
                <a:extLst>
                  <a:ext uri="{FF2B5EF4-FFF2-40B4-BE49-F238E27FC236}">
                    <a16:creationId xmlns:a16="http://schemas.microsoft.com/office/drawing/2014/main" id="{F9BD3954-FCD8-4AE4-845C-21F5BEA83024}"/>
                  </a:ext>
                </a:extLst>
              </p:cNvPr>
              <p:cNvSpPr/>
              <p:nvPr/>
            </p:nvSpPr>
            <p:spPr>
              <a:xfrm>
                <a:off x="6118841" y="3071993"/>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3" name="Freeform: Shape 454">
                <a:extLst>
                  <a:ext uri="{FF2B5EF4-FFF2-40B4-BE49-F238E27FC236}">
                    <a16:creationId xmlns:a16="http://schemas.microsoft.com/office/drawing/2014/main" id="{76CA987B-3DC7-4A24-9F8E-6D6C6CD1AAFB}"/>
                  </a:ext>
                </a:extLst>
              </p:cNvPr>
              <p:cNvSpPr/>
              <p:nvPr/>
            </p:nvSpPr>
            <p:spPr>
              <a:xfrm>
                <a:off x="5981710" y="3071993"/>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4" name="Freeform: Shape 455">
                <a:extLst>
                  <a:ext uri="{FF2B5EF4-FFF2-40B4-BE49-F238E27FC236}">
                    <a16:creationId xmlns:a16="http://schemas.microsoft.com/office/drawing/2014/main" id="{D84E9FFA-61A1-4597-A96A-AF267E0FA218}"/>
                  </a:ext>
                </a:extLst>
              </p:cNvPr>
              <p:cNvSpPr/>
              <p:nvPr/>
            </p:nvSpPr>
            <p:spPr>
              <a:xfrm>
                <a:off x="5842511" y="3223202"/>
                <a:ext cx="85725" cy="123825"/>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5" name="Freeform: Shape 456">
                <a:extLst>
                  <a:ext uri="{FF2B5EF4-FFF2-40B4-BE49-F238E27FC236}">
                    <a16:creationId xmlns:a16="http://schemas.microsoft.com/office/drawing/2014/main" id="{5B51065B-697D-458C-A1D3-CB303B7688C9}"/>
                  </a:ext>
                </a:extLst>
              </p:cNvPr>
              <p:cNvSpPr/>
              <p:nvPr/>
            </p:nvSpPr>
            <p:spPr>
              <a:xfrm>
                <a:off x="6256849" y="3071993"/>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6" name="Freeform: Shape 457">
                <a:extLst>
                  <a:ext uri="{FF2B5EF4-FFF2-40B4-BE49-F238E27FC236}">
                    <a16:creationId xmlns:a16="http://schemas.microsoft.com/office/drawing/2014/main" id="{F3140EAF-9D64-4078-BBA5-6E461F2BA9B2}"/>
                  </a:ext>
                </a:extLst>
              </p:cNvPr>
              <p:cNvSpPr/>
              <p:nvPr/>
            </p:nvSpPr>
            <p:spPr>
              <a:xfrm>
                <a:off x="5842511" y="3071993"/>
                <a:ext cx="85725" cy="123825"/>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799" name="Group 798">
              <a:extLst>
                <a:ext uri="{FF2B5EF4-FFF2-40B4-BE49-F238E27FC236}">
                  <a16:creationId xmlns:a16="http://schemas.microsoft.com/office/drawing/2014/main" id="{8619C4E9-DEE1-44AB-9CAF-7CBD4EEBBF30}"/>
                </a:ext>
              </a:extLst>
            </p:cNvPr>
            <p:cNvGrpSpPr/>
            <p:nvPr/>
          </p:nvGrpSpPr>
          <p:grpSpPr>
            <a:xfrm>
              <a:off x="7602496" y="1739620"/>
              <a:ext cx="570891" cy="1272744"/>
              <a:chOff x="7602496" y="1739620"/>
              <a:chExt cx="570891" cy="1272744"/>
            </a:xfrm>
          </p:grpSpPr>
          <p:sp>
            <p:nvSpPr>
              <p:cNvPr id="858" name="Rectangle 857">
                <a:extLst>
                  <a:ext uri="{FF2B5EF4-FFF2-40B4-BE49-F238E27FC236}">
                    <a16:creationId xmlns:a16="http://schemas.microsoft.com/office/drawing/2014/main" id="{6F025070-A94E-4FD2-A480-A14146E83AE7}"/>
                  </a:ext>
                </a:extLst>
              </p:cNvPr>
              <p:cNvSpPr/>
              <p:nvPr/>
            </p:nvSpPr>
            <p:spPr>
              <a:xfrm>
                <a:off x="7602496" y="1863445"/>
                <a:ext cx="570891" cy="1148919"/>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859" name="Group 858">
                <a:extLst>
                  <a:ext uri="{FF2B5EF4-FFF2-40B4-BE49-F238E27FC236}">
                    <a16:creationId xmlns:a16="http://schemas.microsoft.com/office/drawing/2014/main" id="{0743A971-F4D0-4F49-A5B4-23D41CF3C6F5}"/>
                  </a:ext>
                </a:extLst>
              </p:cNvPr>
              <p:cNvGrpSpPr/>
              <p:nvPr/>
            </p:nvGrpSpPr>
            <p:grpSpPr>
              <a:xfrm>
                <a:off x="7681520" y="1918017"/>
                <a:ext cx="386355" cy="212495"/>
                <a:chOff x="7681520" y="1918017"/>
                <a:chExt cx="386355" cy="212495"/>
              </a:xfrm>
            </p:grpSpPr>
            <p:sp>
              <p:nvSpPr>
                <p:cNvPr id="888" name="Freeform: Shape 613">
                  <a:extLst>
                    <a:ext uri="{FF2B5EF4-FFF2-40B4-BE49-F238E27FC236}">
                      <a16:creationId xmlns:a16="http://schemas.microsoft.com/office/drawing/2014/main" id="{31D3003D-69D0-43AB-8F47-3B90954BB0A0}"/>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9" name="Freeform: Shape 614">
                  <a:extLst>
                    <a:ext uri="{FF2B5EF4-FFF2-40B4-BE49-F238E27FC236}">
                      <a16:creationId xmlns:a16="http://schemas.microsoft.com/office/drawing/2014/main" id="{0ACDB22F-2041-487F-96F0-4D53C955592E}"/>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0" name="Freeform: Shape 615">
                  <a:extLst>
                    <a:ext uri="{FF2B5EF4-FFF2-40B4-BE49-F238E27FC236}">
                      <a16:creationId xmlns:a16="http://schemas.microsoft.com/office/drawing/2014/main" id="{1D0F5495-80E2-4276-AD8A-E2CCB8379B87}"/>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1" name="Freeform: Shape 616">
                  <a:extLst>
                    <a:ext uri="{FF2B5EF4-FFF2-40B4-BE49-F238E27FC236}">
                      <a16:creationId xmlns:a16="http://schemas.microsoft.com/office/drawing/2014/main" id="{75F5C856-CA0C-4DF8-ADE5-E9A692CC3F35}"/>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2" name="Freeform: Shape 617">
                  <a:extLst>
                    <a:ext uri="{FF2B5EF4-FFF2-40B4-BE49-F238E27FC236}">
                      <a16:creationId xmlns:a16="http://schemas.microsoft.com/office/drawing/2014/main" id="{03C41B6B-DF1C-413C-BF10-948DC90FEFF2}"/>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3" name="Freeform: Shape 618">
                  <a:extLst>
                    <a:ext uri="{FF2B5EF4-FFF2-40B4-BE49-F238E27FC236}">
                      <a16:creationId xmlns:a16="http://schemas.microsoft.com/office/drawing/2014/main" id="{B0871FBF-7C12-46A8-9D48-5E361F25A0E7}"/>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4" name="Freeform: Shape 619">
                  <a:extLst>
                    <a:ext uri="{FF2B5EF4-FFF2-40B4-BE49-F238E27FC236}">
                      <a16:creationId xmlns:a16="http://schemas.microsoft.com/office/drawing/2014/main" id="{23776C9E-D53A-47EB-914D-03DB163B75DA}"/>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5" name="Freeform: Shape 620">
                  <a:extLst>
                    <a:ext uri="{FF2B5EF4-FFF2-40B4-BE49-F238E27FC236}">
                      <a16:creationId xmlns:a16="http://schemas.microsoft.com/office/drawing/2014/main" id="{6FCE1129-6EEA-4818-9C22-5C96A9E1CB3E}"/>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860" name="Group 859">
                <a:extLst>
                  <a:ext uri="{FF2B5EF4-FFF2-40B4-BE49-F238E27FC236}">
                    <a16:creationId xmlns:a16="http://schemas.microsoft.com/office/drawing/2014/main" id="{623D1DE8-FB9E-431A-B1E6-25FADC13CD77}"/>
                  </a:ext>
                </a:extLst>
              </p:cNvPr>
              <p:cNvGrpSpPr/>
              <p:nvPr/>
            </p:nvGrpSpPr>
            <p:grpSpPr>
              <a:xfrm>
                <a:off x="7681520" y="2165667"/>
                <a:ext cx="386355" cy="212495"/>
                <a:chOff x="7681520" y="1918017"/>
                <a:chExt cx="386355" cy="212495"/>
              </a:xfrm>
            </p:grpSpPr>
            <p:sp>
              <p:nvSpPr>
                <p:cNvPr id="880" name="Freeform: Shape 622">
                  <a:extLst>
                    <a:ext uri="{FF2B5EF4-FFF2-40B4-BE49-F238E27FC236}">
                      <a16:creationId xmlns:a16="http://schemas.microsoft.com/office/drawing/2014/main" id="{5CFEA125-032F-43B6-A7B5-3B3E13B65B5A}"/>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1" name="Freeform: Shape 623">
                  <a:extLst>
                    <a:ext uri="{FF2B5EF4-FFF2-40B4-BE49-F238E27FC236}">
                      <a16:creationId xmlns:a16="http://schemas.microsoft.com/office/drawing/2014/main" id="{1F95517B-8B68-4881-8DC1-4963D259D046}"/>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2" name="Freeform: Shape 624">
                  <a:extLst>
                    <a:ext uri="{FF2B5EF4-FFF2-40B4-BE49-F238E27FC236}">
                      <a16:creationId xmlns:a16="http://schemas.microsoft.com/office/drawing/2014/main" id="{31A338DE-2041-42A7-852A-B440F865B845}"/>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3" name="Freeform: Shape 625">
                  <a:extLst>
                    <a:ext uri="{FF2B5EF4-FFF2-40B4-BE49-F238E27FC236}">
                      <a16:creationId xmlns:a16="http://schemas.microsoft.com/office/drawing/2014/main" id="{2FA7AE4D-85F2-4C1B-970B-4BD418277FDC}"/>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4" name="Freeform: Shape 626">
                  <a:extLst>
                    <a:ext uri="{FF2B5EF4-FFF2-40B4-BE49-F238E27FC236}">
                      <a16:creationId xmlns:a16="http://schemas.microsoft.com/office/drawing/2014/main" id="{2BB500AE-A26E-4651-B142-FEBDDFC045ED}"/>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5" name="Freeform: Shape 627">
                  <a:extLst>
                    <a:ext uri="{FF2B5EF4-FFF2-40B4-BE49-F238E27FC236}">
                      <a16:creationId xmlns:a16="http://schemas.microsoft.com/office/drawing/2014/main" id="{9E3F810C-862D-4C6A-A7D8-A313D39B6BB2}"/>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6" name="Freeform: Shape 628">
                  <a:extLst>
                    <a:ext uri="{FF2B5EF4-FFF2-40B4-BE49-F238E27FC236}">
                      <a16:creationId xmlns:a16="http://schemas.microsoft.com/office/drawing/2014/main" id="{D50613AF-9DAC-49B5-956A-94E8465E204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7" name="Freeform: Shape 629">
                  <a:extLst>
                    <a:ext uri="{FF2B5EF4-FFF2-40B4-BE49-F238E27FC236}">
                      <a16:creationId xmlns:a16="http://schemas.microsoft.com/office/drawing/2014/main" id="{4B9269CF-6878-4C31-B7A6-D3A91E055EC4}"/>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861" name="Group 860">
                <a:extLst>
                  <a:ext uri="{FF2B5EF4-FFF2-40B4-BE49-F238E27FC236}">
                    <a16:creationId xmlns:a16="http://schemas.microsoft.com/office/drawing/2014/main" id="{83398368-FF21-4690-9F47-3C01B401F17E}"/>
                  </a:ext>
                </a:extLst>
              </p:cNvPr>
              <p:cNvGrpSpPr/>
              <p:nvPr/>
            </p:nvGrpSpPr>
            <p:grpSpPr>
              <a:xfrm>
                <a:off x="7681520" y="2429192"/>
                <a:ext cx="386355" cy="212495"/>
                <a:chOff x="7681520" y="1918017"/>
                <a:chExt cx="386355" cy="212495"/>
              </a:xfrm>
            </p:grpSpPr>
            <p:sp>
              <p:nvSpPr>
                <p:cNvPr id="872" name="Freeform: Shape 631">
                  <a:extLst>
                    <a:ext uri="{FF2B5EF4-FFF2-40B4-BE49-F238E27FC236}">
                      <a16:creationId xmlns:a16="http://schemas.microsoft.com/office/drawing/2014/main" id="{FADF1AD1-FBC6-4AFA-B95A-C3E1A6ABAE76}"/>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3" name="Freeform: Shape 632">
                  <a:extLst>
                    <a:ext uri="{FF2B5EF4-FFF2-40B4-BE49-F238E27FC236}">
                      <a16:creationId xmlns:a16="http://schemas.microsoft.com/office/drawing/2014/main" id="{ECC23EDB-DDBE-4FD3-986F-B514BBCDA4EC}"/>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4" name="Freeform: Shape 633">
                  <a:extLst>
                    <a:ext uri="{FF2B5EF4-FFF2-40B4-BE49-F238E27FC236}">
                      <a16:creationId xmlns:a16="http://schemas.microsoft.com/office/drawing/2014/main" id="{9F2142F2-3069-4C1D-8EF2-F90C79FA3AB8}"/>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5" name="Freeform: Shape 634">
                  <a:extLst>
                    <a:ext uri="{FF2B5EF4-FFF2-40B4-BE49-F238E27FC236}">
                      <a16:creationId xmlns:a16="http://schemas.microsoft.com/office/drawing/2014/main" id="{B1EA25BE-5F9F-43FA-AEE5-154AD3736A64}"/>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6" name="Freeform: Shape 635">
                  <a:extLst>
                    <a:ext uri="{FF2B5EF4-FFF2-40B4-BE49-F238E27FC236}">
                      <a16:creationId xmlns:a16="http://schemas.microsoft.com/office/drawing/2014/main" id="{613BC104-4FCD-4B68-A3F0-1D79B4254772}"/>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7" name="Freeform: Shape 636">
                  <a:extLst>
                    <a:ext uri="{FF2B5EF4-FFF2-40B4-BE49-F238E27FC236}">
                      <a16:creationId xmlns:a16="http://schemas.microsoft.com/office/drawing/2014/main" id="{FD79181F-63B5-44AE-81D3-92203C35C660}"/>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8" name="Freeform: Shape 637">
                  <a:extLst>
                    <a:ext uri="{FF2B5EF4-FFF2-40B4-BE49-F238E27FC236}">
                      <a16:creationId xmlns:a16="http://schemas.microsoft.com/office/drawing/2014/main" id="{5F5F1658-98D3-480F-87EE-7864866DCD00}"/>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9" name="Freeform: Shape 638">
                  <a:extLst>
                    <a:ext uri="{FF2B5EF4-FFF2-40B4-BE49-F238E27FC236}">
                      <a16:creationId xmlns:a16="http://schemas.microsoft.com/office/drawing/2014/main" id="{0168CFCA-B35F-41A5-94B1-6202B4643E0A}"/>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862" name="Group 861">
                <a:extLst>
                  <a:ext uri="{FF2B5EF4-FFF2-40B4-BE49-F238E27FC236}">
                    <a16:creationId xmlns:a16="http://schemas.microsoft.com/office/drawing/2014/main" id="{1371FD26-6207-45DE-8FFF-F63928D3219E}"/>
                  </a:ext>
                </a:extLst>
              </p:cNvPr>
              <p:cNvGrpSpPr/>
              <p:nvPr/>
            </p:nvGrpSpPr>
            <p:grpSpPr>
              <a:xfrm>
                <a:off x="7681520" y="2692717"/>
                <a:ext cx="386355" cy="212495"/>
                <a:chOff x="7681520" y="1918017"/>
                <a:chExt cx="386355" cy="212495"/>
              </a:xfrm>
            </p:grpSpPr>
            <p:sp>
              <p:nvSpPr>
                <p:cNvPr id="864" name="Freeform: Shape 640">
                  <a:extLst>
                    <a:ext uri="{FF2B5EF4-FFF2-40B4-BE49-F238E27FC236}">
                      <a16:creationId xmlns:a16="http://schemas.microsoft.com/office/drawing/2014/main" id="{9227E197-9FA0-4FF6-B998-BCD32CACFCAF}"/>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5" name="Freeform: Shape 641">
                  <a:extLst>
                    <a:ext uri="{FF2B5EF4-FFF2-40B4-BE49-F238E27FC236}">
                      <a16:creationId xmlns:a16="http://schemas.microsoft.com/office/drawing/2014/main" id="{A62770A8-41DA-4AA6-8DB0-48B9FF5E7174}"/>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6" name="Freeform: Shape 642">
                  <a:extLst>
                    <a:ext uri="{FF2B5EF4-FFF2-40B4-BE49-F238E27FC236}">
                      <a16:creationId xmlns:a16="http://schemas.microsoft.com/office/drawing/2014/main" id="{99FD1C56-9940-44D5-B806-8F5641AED512}"/>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7" name="Freeform: Shape 643">
                  <a:extLst>
                    <a:ext uri="{FF2B5EF4-FFF2-40B4-BE49-F238E27FC236}">
                      <a16:creationId xmlns:a16="http://schemas.microsoft.com/office/drawing/2014/main" id="{F45FCD9E-03EF-4961-B467-A1363C31AA26}"/>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8" name="Freeform: Shape 644">
                  <a:extLst>
                    <a:ext uri="{FF2B5EF4-FFF2-40B4-BE49-F238E27FC236}">
                      <a16:creationId xmlns:a16="http://schemas.microsoft.com/office/drawing/2014/main" id="{D2678F5B-FFBA-44DD-829D-645CFC56D566}"/>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9" name="Freeform: Shape 645">
                  <a:extLst>
                    <a:ext uri="{FF2B5EF4-FFF2-40B4-BE49-F238E27FC236}">
                      <a16:creationId xmlns:a16="http://schemas.microsoft.com/office/drawing/2014/main" id="{46552C97-E191-4623-8588-29F039D488DC}"/>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0" name="Freeform: Shape 646">
                  <a:extLst>
                    <a:ext uri="{FF2B5EF4-FFF2-40B4-BE49-F238E27FC236}">
                      <a16:creationId xmlns:a16="http://schemas.microsoft.com/office/drawing/2014/main" id="{9C4EEF16-E9D3-42BB-B419-5978A70D805D}"/>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1" name="Freeform: Shape 647">
                  <a:extLst>
                    <a:ext uri="{FF2B5EF4-FFF2-40B4-BE49-F238E27FC236}">
                      <a16:creationId xmlns:a16="http://schemas.microsoft.com/office/drawing/2014/main" id="{D525B7EF-BF21-47F2-AC13-B8C9B1284233}"/>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863" name="Rectangle 862">
                <a:extLst>
                  <a:ext uri="{FF2B5EF4-FFF2-40B4-BE49-F238E27FC236}">
                    <a16:creationId xmlns:a16="http://schemas.microsoft.com/office/drawing/2014/main" id="{49F05559-D241-48B8-ADA8-3F58000635BC}"/>
                  </a:ext>
                </a:extLst>
              </p:cNvPr>
              <p:cNvSpPr/>
              <p:nvPr/>
            </p:nvSpPr>
            <p:spPr>
              <a:xfrm>
                <a:off x="7710446" y="1739620"/>
                <a:ext cx="363579" cy="124105"/>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grpSp>
          <p:nvGrpSpPr>
            <p:cNvPr id="800" name="Group 799">
              <a:extLst>
                <a:ext uri="{FF2B5EF4-FFF2-40B4-BE49-F238E27FC236}">
                  <a16:creationId xmlns:a16="http://schemas.microsoft.com/office/drawing/2014/main" id="{FEA3E8C3-F514-452F-874E-9F8AB70A629E}"/>
                </a:ext>
              </a:extLst>
            </p:cNvPr>
            <p:cNvGrpSpPr/>
            <p:nvPr/>
          </p:nvGrpSpPr>
          <p:grpSpPr>
            <a:xfrm>
              <a:off x="8177171" y="2098675"/>
              <a:ext cx="570891" cy="913689"/>
              <a:chOff x="8177171" y="2098675"/>
              <a:chExt cx="570891" cy="913689"/>
            </a:xfrm>
          </p:grpSpPr>
          <p:sp>
            <p:nvSpPr>
              <p:cNvPr id="830" name="Rectangle 829">
                <a:extLst>
                  <a:ext uri="{FF2B5EF4-FFF2-40B4-BE49-F238E27FC236}">
                    <a16:creationId xmlns:a16="http://schemas.microsoft.com/office/drawing/2014/main" id="{D35675EB-DAC8-44CA-A3E3-FF7673828F1F}"/>
                  </a:ext>
                </a:extLst>
              </p:cNvPr>
              <p:cNvSpPr/>
              <p:nvPr/>
            </p:nvSpPr>
            <p:spPr>
              <a:xfrm>
                <a:off x="8177171" y="2098675"/>
                <a:ext cx="570891" cy="913689"/>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831" name="Group 830">
                <a:extLst>
                  <a:ext uri="{FF2B5EF4-FFF2-40B4-BE49-F238E27FC236}">
                    <a16:creationId xmlns:a16="http://schemas.microsoft.com/office/drawing/2014/main" id="{E88663B7-7F40-4F03-BC22-E4F1ECE0F746}"/>
                  </a:ext>
                </a:extLst>
              </p:cNvPr>
              <p:cNvGrpSpPr/>
              <p:nvPr/>
            </p:nvGrpSpPr>
            <p:grpSpPr>
              <a:xfrm>
                <a:off x="8256195" y="2165667"/>
                <a:ext cx="386355" cy="212495"/>
                <a:chOff x="7681520" y="1918017"/>
                <a:chExt cx="386355" cy="212495"/>
              </a:xfrm>
            </p:grpSpPr>
            <p:sp>
              <p:nvSpPr>
                <p:cNvPr id="850" name="Freeform: Shape 670">
                  <a:extLst>
                    <a:ext uri="{FF2B5EF4-FFF2-40B4-BE49-F238E27FC236}">
                      <a16:creationId xmlns:a16="http://schemas.microsoft.com/office/drawing/2014/main" id="{A8137716-D672-4DC9-9B3E-259C52644D02}"/>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1" name="Freeform: Shape 671">
                  <a:extLst>
                    <a:ext uri="{FF2B5EF4-FFF2-40B4-BE49-F238E27FC236}">
                      <a16:creationId xmlns:a16="http://schemas.microsoft.com/office/drawing/2014/main" id="{4ED7132E-1AA7-4D65-93E4-5AF6FCB82695}"/>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2" name="Freeform: Shape 672">
                  <a:extLst>
                    <a:ext uri="{FF2B5EF4-FFF2-40B4-BE49-F238E27FC236}">
                      <a16:creationId xmlns:a16="http://schemas.microsoft.com/office/drawing/2014/main" id="{8DDFE472-0C23-4E92-8762-FE9269710FF3}"/>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3" name="Freeform: Shape 673">
                  <a:extLst>
                    <a:ext uri="{FF2B5EF4-FFF2-40B4-BE49-F238E27FC236}">
                      <a16:creationId xmlns:a16="http://schemas.microsoft.com/office/drawing/2014/main" id="{AF1C5192-1210-4FFB-81D5-35B4DE196F3C}"/>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4" name="Freeform: Shape 674">
                  <a:extLst>
                    <a:ext uri="{FF2B5EF4-FFF2-40B4-BE49-F238E27FC236}">
                      <a16:creationId xmlns:a16="http://schemas.microsoft.com/office/drawing/2014/main" id="{7FECE02D-BD9A-453F-90FC-782E497486DF}"/>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5" name="Freeform: Shape 675">
                  <a:extLst>
                    <a:ext uri="{FF2B5EF4-FFF2-40B4-BE49-F238E27FC236}">
                      <a16:creationId xmlns:a16="http://schemas.microsoft.com/office/drawing/2014/main" id="{2E87A703-6368-4475-B778-00D541B0C605}"/>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6" name="Freeform: Shape 676">
                  <a:extLst>
                    <a:ext uri="{FF2B5EF4-FFF2-40B4-BE49-F238E27FC236}">
                      <a16:creationId xmlns:a16="http://schemas.microsoft.com/office/drawing/2014/main" id="{2FF07726-6A9F-4C80-BACC-453BE1104DB5}"/>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7" name="Freeform: Shape 677">
                  <a:extLst>
                    <a:ext uri="{FF2B5EF4-FFF2-40B4-BE49-F238E27FC236}">
                      <a16:creationId xmlns:a16="http://schemas.microsoft.com/office/drawing/2014/main" id="{343B4E2C-23C4-471B-B287-CF1F22B8D71F}"/>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832" name="Group 831">
                <a:extLst>
                  <a:ext uri="{FF2B5EF4-FFF2-40B4-BE49-F238E27FC236}">
                    <a16:creationId xmlns:a16="http://schemas.microsoft.com/office/drawing/2014/main" id="{5EC42186-E0B0-4B42-A20D-A2E2F18DD4FD}"/>
                  </a:ext>
                </a:extLst>
              </p:cNvPr>
              <p:cNvGrpSpPr/>
              <p:nvPr/>
            </p:nvGrpSpPr>
            <p:grpSpPr>
              <a:xfrm>
                <a:off x="8256195" y="2429192"/>
                <a:ext cx="386355" cy="212495"/>
                <a:chOff x="7681520" y="1918017"/>
                <a:chExt cx="386355" cy="212495"/>
              </a:xfrm>
            </p:grpSpPr>
            <p:sp>
              <p:nvSpPr>
                <p:cNvPr id="842" name="Freeform: Shape 662">
                  <a:extLst>
                    <a:ext uri="{FF2B5EF4-FFF2-40B4-BE49-F238E27FC236}">
                      <a16:creationId xmlns:a16="http://schemas.microsoft.com/office/drawing/2014/main" id="{F5CD9D99-C5C7-43D6-A58F-C210C0D3148A}"/>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3" name="Freeform: Shape 663">
                  <a:extLst>
                    <a:ext uri="{FF2B5EF4-FFF2-40B4-BE49-F238E27FC236}">
                      <a16:creationId xmlns:a16="http://schemas.microsoft.com/office/drawing/2014/main" id="{5010DB45-97F6-43E3-BABD-611841BC84C1}"/>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4" name="Freeform: Shape 664">
                  <a:extLst>
                    <a:ext uri="{FF2B5EF4-FFF2-40B4-BE49-F238E27FC236}">
                      <a16:creationId xmlns:a16="http://schemas.microsoft.com/office/drawing/2014/main" id="{1A7A5710-8F56-4FE6-9D52-A395CE62612B}"/>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5" name="Freeform: Shape 665">
                  <a:extLst>
                    <a:ext uri="{FF2B5EF4-FFF2-40B4-BE49-F238E27FC236}">
                      <a16:creationId xmlns:a16="http://schemas.microsoft.com/office/drawing/2014/main" id="{59C8D57C-1648-447C-A166-D34CBDC404DC}"/>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6" name="Freeform: Shape 666">
                  <a:extLst>
                    <a:ext uri="{FF2B5EF4-FFF2-40B4-BE49-F238E27FC236}">
                      <a16:creationId xmlns:a16="http://schemas.microsoft.com/office/drawing/2014/main" id="{0348AE04-E05E-4E72-B18E-9CAC2E5699AE}"/>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7" name="Freeform: Shape 667">
                  <a:extLst>
                    <a:ext uri="{FF2B5EF4-FFF2-40B4-BE49-F238E27FC236}">
                      <a16:creationId xmlns:a16="http://schemas.microsoft.com/office/drawing/2014/main" id="{7531DB24-EFEE-462D-827D-C41060AACB53}"/>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8" name="Freeform: Shape 668">
                  <a:extLst>
                    <a:ext uri="{FF2B5EF4-FFF2-40B4-BE49-F238E27FC236}">
                      <a16:creationId xmlns:a16="http://schemas.microsoft.com/office/drawing/2014/main" id="{C2C381B5-CF91-45F4-BAE6-A514FBD82D30}"/>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9" name="Freeform: Shape 669">
                  <a:extLst>
                    <a:ext uri="{FF2B5EF4-FFF2-40B4-BE49-F238E27FC236}">
                      <a16:creationId xmlns:a16="http://schemas.microsoft.com/office/drawing/2014/main" id="{4AE38176-2FCA-48D8-917A-DF6F671DF3E2}"/>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833" name="Group 832">
                <a:extLst>
                  <a:ext uri="{FF2B5EF4-FFF2-40B4-BE49-F238E27FC236}">
                    <a16:creationId xmlns:a16="http://schemas.microsoft.com/office/drawing/2014/main" id="{72E74082-CEFB-4D10-91F2-8AE218698A18}"/>
                  </a:ext>
                </a:extLst>
              </p:cNvPr>
              <p:cNvGrpSpPr/>
              <p:nvPr/>
            </p:nvGrpSpPr>
            <p:grpSpPr>
              <a:xfrm>
                <a:off x="8256195" y="2692717"/>
                <a:ext cx="386355" cy="212495"/>
                <a:chOff x="7681520" y="1918017"/>
                <a:chExt cx="386355" cy="212495"/>
              </a:xfrm>
            </p:grpSpPr>
            <p:sp>
              <p:nvSpPr>
                <p:cNvPr id="834" name="Freeform: Shape 654">
                  <a:extLst>
                    <a:ext uri="{FF2B5EF4-FFF2-40B4-BE49-F238E27FC236}">
                      <a16:creationId xmlns:a16="http://schemas.microsoft.com/office/drawing/2014/main" id="{B463FEBF-3CF6-4BD2-A0D4-E2281CE33BA8}"/>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5" name="Freeform: Shape 655">
                  <a:extLst>
                    <a:ext uri="{FF2B5EF4-FFF2-40B4-BE49-F238E27FC236}">
                      <a16:creationId xmlns:a16="http://schemas.microsoft.com/office/drawing/2014/main" id="{113EAD5A-6DA8-430E-882D-497E4086B4BF}"/>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6" name="Freeform: Shape 656">
                  <a:extLst>
                    <a:ext uri="{FF2B5EF4-FFF2-40B4-BE49-F238E27FC236}">
                      <a16:creationId xmlns:a16="http://schemas.microsoft.com/office/drawing/2014/main" id="{67B2CE8D-1312-42F2-8504-18D9ECDEEE54}"/>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7" name="Freeform: Shape 657">
                  <a:extLst>
                    <a:ext uri="{FF2B5EF4-FFF2-40B4-BE49-F238E27FC236}">
                      <a16:creationId xmlns:a16="http://schemas.microsoft.com/office/drawing/2014/main" id="{6E533FA1-EEBC-46E2-8117-A2BC0013469A}"/>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8" name="Freeform: Shape 658">
                  <a:extLst>
                    <a:ext uri="{FF2B5EF4-FFF2-40B4-BE49-F238E27FC236}">
                      <a16:creationId xmlns:a16="http://schemas.microsoft.com/office/drawing/2014/main" id="{5A5F440A-58EE-4BE1-A601-BCB0285B4FC5}"/>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9" name="Freeform: Shape 659">
                  <a:extLst>
                    <a:ext uri="{FF2B5EF4-FFF2-40B4-BE49-F238E27FC236}">
                      <a16:creationId xmlns:a16="http://schemas.microsoft.com/office/drawing/2014/main" id="{CAA0817C-3CDF-45AD-A68D-39675EC5F38C}"/>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0" name="Freeform: Shape 660">
                  <a:extLst>
                    <a:ext uri="{FF2B5EF4-FFF2-40B4-BE49-F238E27FC236}">
                      <a16:creationId xmlns:a16="http://schemas.microsoft.com/office/drawing/2014/main" id="{929D3AED-C93D-427B-BC2D-FC5C304383D5}"/>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1" name="Freeform: Shape 661">
                  <a:extLst>
                    <a:ext uri="{FF2B5EF4-FFF2-40B4-BE49-F238E27FC236}">
                      <a16:creationId xmlns:a16="http://schemas.microsoft.com/office/drawing/2014/main" id="{3C12F8D7-4B06-4D42-9CC2-866EE1E6A617}"/>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nvGrpSpPr>
            <p:cNvPr id="801" name="Group 800">
              <a:extLst>
                <a:ext uri="{FF2B5EF4-FFF2-40B4-BE49-F238E27FC236}">
                  <a16:creationId xmlns:a16="http://schemas.microsoft.com/office/drawing/2014/main" id="{32724CEB-FDE7-4F9B-AFAF-D12123EE2027}"/>
                </a:ext>
              </a:extLst>
            </p:cNvPr>
            <p:cNvGrpSpPr/>
            <p:nvPr/>
          </p:nvGrpSpPr>
          <p:grpSpPr>
            <a:xfrm>
              <a:off x="7030996" y="2098675"/>
              <a:ext cx="570891" cy="913689"/>
              <a:chOff x="8177171" y="2098675"/>
              <a:chExt cx="570891" cy="913689"/>
            </a:xfrm>
          </p:grpSpPr>
          <p:sp>
            <p:nvSpPr>
              <p:cNvPr id="802" name="Rectangle 801">
                <a:extLst>
                  <a:ext uri="{FF2B5EF4-FFF2-40B4-BE49-F238E27FC236}">
                    <a16:creationId xmlns:a16="http://schemas.microsoft.com/office/drawing/2014/main" id="{3F2AE079-085F-4CCD-9DF8-846D273EA67E}"/>
                  </a:ext>
                </a:extLst>
              </p:cNvPr>
              <p:cNvSpPr/>
              <p:nvPr/>
            </p:nvSpPr>
            <p:spPr>
              <a:xfrm>
                <a:off x="8177171" y="2098675"/>
                <a:ext cx="570891" cy="913689"/>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803" name="Group 802">
                <a:extLst>
                  <a:ext uri="{FF2B5EF4-FFF2-40B4-BE49-F238E27FC236}">
                    <a16:creationId xmlns:a16="http://schemas.microsoft.com/office/drawing/2014/main" id="{82F2CD1B-8EF3-4FD5-B6BB-4ED9806F627E}"/>
                  </a:ext>
                </a:extLst>
              </p:cNvPr>
              <p:cNvGrpSpPr/>
              <p:nvPr/>
            </p:nvGrpSpPr>
            <p:grpSpPr>
              <a:xfrm>
                <a:off x="8256195" y="2165667"/>
                <a:ext cx="386355" cy="212495"/>
                <a:chOff x="7681520" y="1918017"/>
                <a:chExt cx="386355" cy="212495"/>
              </a:xfrm>
            </p:grpSpPr>
            <p:sp>
              <p:nvSpPr>
                <p:cNvPr id="822" name="Freeform: Shape 707">
                  <a:extLst>
                    <a:ext uri="{FF2B5EF4-FFF2-40B4-BE49-F238E27FC236}">
                      <a16:creationId xmlns:a16="http://schemas.microsoft.com/office/drawing/2014/main" id="{203F7D2B-F5CB-4B61-8987-8D1ED35D1AD4}"/>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3" name="Freeform: Shape 708">
                  <a:extLst>
                    <a:ext uri="{FF2B5EF4-FFF2-40B4-BE49-F238E27FC236}">
                      <a16:creationId xmlns:a16="http://schemas.microsoft.com/office/drawing/2014/main" id="{BEFB5D86-B84E-4C38-AC2F-D325429429DA}"/>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4" name="Freeform: Shape 709">
                  <a:extLst>
                    <a:ext uri="{FF2B5EF4-FFF2-40B4-BE49-F238E27FC236}">
                      <a16:creationId xmlns:a16="http://schemas.microsoft.com/office/drawing/2014/main" id="{AA87997F-85D3-476F-9D39-2E59D4F7D359}"/>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5" name="Freeform: Shape 710">
                  <a:extLst>
                    <a:ext uri="{FF2B5EF4-FFF2-40B4-BE49-F238E27FC236}">
                      <a16:creationId xmlns:a16="http://schemas.microsoft.com/office/drawing/2014/main" id="{3261E925-D374-430D-BE66-428624434C85}"/>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6" name="Freeform: Shape 711">
                  <a:extLst>
                    <a:ext uri="{FF2B5EF4-FFF2-40B4-BE49-F238E27FC236}">
                      <a16:creationId xmlns:a16="http://schemas.microsoft.com/office/drawing/2014/main" id="{0860838F-CFDC-41BC-B92A-163A0EE3F14F}"/>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7" name="Freeform: Shape 712">
                  <a:extLst>
                    <a:ext uri="{FF2B5EF4-FFF2-40B4-BE49-F238E27FC236}">
                      <a16:creationId xmlns:a16="http://schemas.microsoft.com/office/drawing/2014/main" id="{E55480F1-1893-484D-8FF9-85A0A94DD473}"/>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8" name="Freeform: Shape 713">
                  <a:extLst>
                    <a:ext uri="{FF2B5EF4-FFF2-40B4-BE49-F238E27FC236}">
                      <a16:creationId xmlns:a16="http://schemas.microsoft.com/office/drawing/2014/main" id="{1D41F713-F934-41C1-8730-4A748EF41DD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9" name="Freeform: Shape 714">
                  <a:extLst>
                    <a:ext uri="{FF2B5EF4-FFF2-40B4-BE49-F238E27FC236}">
                      <a16:creationId xmlns:a16="http://schemas.microsoft.com/office/drawing/2014/main" id="{3268174C-3044-42A4-AD12-A0903062DADB}"/>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804" name="Group 803">
                <a:extLst>
                  <a:ext uri="{FF2B5EF4-FFF2-40B4-BE49-F238E27FC236}">
                    <a16:creationId xmlns:a16="http://schemas.microsoft.com/office/drawing/2014/main" id="{82C37B37-BA84-47CF-B761-1B8DF16E95A3}"/>
                  </a:ext>
                </a:extLst>
              </p:cNvPr>
              <p:cNvGrpSpPr/>
              <p:nvPr/>
            </p:nvGrpSpPr>
            <p:grpSpPr>
              <a:xfrm>
                <a:off x="8256195" y="2429192"/>
                <a:ext cx="386355" cy="212495"/>
                <a:chOff x="7681520" y="1918017"/>
                <a:chExt cx="386355" cy="212495"/>
              </a:xfrm>
            </p:grpSpPr>
            <p:sp>
              <p:nvSpPr>
                <p:cNvPr id="814" name="Freeform: Shape 699">
                  <a:extLst>
                    <a:ext uri="{FF2B5EF4-FFF2-40B4-BE49-F238E27FC236}">
                      <a16:creationId xmlns:a16="http://schemas.microsoft.com/office/drawing/2014/main" id="{54015EB5-AFCF-441A-B529-7B008BA11323}"/>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5" name="Freeform: Shape 700">
                  <a:extLst>
                    <a:ext uri="{FF2B5EF4-FFF2-40B4-BE49-F238E27FC236}">
                      <a16:creationId xmlns:a16="http://schemas.microsoft.com/office/drawing/2014/main" id="{5C0325B9-FEC8-4CF2-A84F-E7EDF9734AF9}"/>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6" name="Freeform: Shape 701">
                  <a:extLst>
                    <a:ext uri="{FF2B5EF4-FFF2-40B4-BE49-F238E27FC236}">
                      <a16:creationId xmlns:a16="http://schemas.microsoft.com/office/drawing/2014/main" id="{715C2893-6A38-4995-AB07-EDB72A2B6020}"/>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7" name="Freeform: Shape 702">
                  <a:extLst>
                    <a:ext uri="{FF2B5EF4-FFF2-40B4-BE49-F238E27FC236}">
                      <a16:creationId xmlns:a16="http://schemas.microsoft.com/office/drawing/2014/main" id="{B2E524EA-7500-401B-AA51-ACDA7049C5D7}"/>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8" name="Freeform: Shape 703">
                  <a:extLst>
                    <a:ext uri="{FF2B5EF4-FFF2-40B4-BE49-F238E27FC236}">
                      <a16:creationId xmlns:a16="http://schemas.microsoft.com/office/drawing/2014/main" id="{4DEAB885-F959-44BC-9663-983D9EB5377A}"/>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9" name="Freeform: Shape 704">
                  <a:extLst>
                    <a:ext uri="{FF2B5EF4-FFF2-40B4-BE49-F238E27FC236}">
                      <a16:creationId xmlns:a16="http://schemas.microsoft.com/office/drawing/2014/main" id="{3FF6C649-EAFC-4D3E-B311-CF8D6A2E342C}"/>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0" name="Freeform: Shape 705">
                  <a:extLst>
                    <a:ext uri="{FF2B5EF4-FFF2-40B4-BE49-F238E27FC236}">
                      <a16:creationId xmlns:a16="http://schemas.microsoft.com/office/drawing/2014/main" id="{51CF9C68-DDD8-42E2-B73D-CBF745F6AD3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1" name="Freeform: Shape 706">
                  <a:extLst>
                    <a:ext uri="{FF2B5EF4-FFF2-40B4-BE49-F238E27FC236}">
                      <a16:creationId xmlns:a16="http://schemas.microsoft.com/office/drawing/2014/main" id="{620A3177-F1C6-4C99-9E55-F8621C372FBF}"/>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805" name="Group 804">
                <a:extLst>
                  <a:ext uri="{FF2B5EF4-FFF2-40B4-BE49-F238E27FC236}">
                    <a16:creationId xmlns:a16="http://schemas.microsoft.com/office/drawing/2014/main" id="{0CC9FADE-28F9-49BB-A344-BDF29A40C9C5}"/>
                  </a:ext>
                </a:extLst>
              </p:cNvPr>
              <p:cNvGrpSpPr/>
              <p:nvPr/>
            </p:nvGrpSpPr>
            <p:grpSpPr>
              <a:xfrm>
                <a:off x="8256195" y="2692717"/>
                <a:ext cx="386355" cy="212495"/>
                <a:chOff x="7681520" y="1918017"/>
                <a:chExt cx="386355" cy="212495"/>
              </a:xfrm>
            </p:grpSpPr>
            <p:sp>
              <p:nvSpPr>
                <p:cNvPr id="806" name="Freeform: Shape 691">
                  <a:extLst>
                    <a:ext uri="{FF2B5EF4-FFF2-40B4-BE49-F238E27FC236}">
                      <a16:creationId xmlns:a16="http://schemas.microsoft.com/office/drawing/2014/main" id="{E6D347EC-194B-4960-86DC-D0E0E8626DD5}"/>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7" name="Freeform: Shape 692">
                  <a:extLst>
                    <a:ext uri="{FF2B5EF4-FFF2-40B4-BE49-F238E27FC236}">
                      <a16:creationId xmlns:a16="http://schemas.microsoft.com/office/drawing/2014/main" id="{C5FE6987-2FA3-417F-B341-52792038C0DE}"/>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8" name="Freeform: Shape 693">
                  <a:extLst>
                    <a:ext uri="{FF2B5EF4-FFF2-40B4-BE49-F238E27FC236}">
                      <a16:creationId xmlns:a16="http://schemas.microsoft.com/office/drawing/2014/main" id="{9B352CD8-25B0-4EDE-9A03-873248250118}"/>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9" name="Freeform: Shape 694">
                  <a:extLst>
                    <a:ext uri="{FF2B5EF4-FFF2-40B4-BE49-F238E27FC236}">
                      <a16:creationId xmlns:a16="http://schemas.microsoft.com/office/drawing/2014/main" id="{D6DA0E0A-A52E-4E08-8F8B-9B7EA9ECD4C1}"/>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0" name="Freeform: Shape 695">
                  <a:extLst>
                    <a:ext uri="{FF2B5EF4-FFF2-40B4-BE49-F238E27FC236}">
                      <a16:creationId xmlns:a16="http://schemas.microsoft.com/office/drawing/2014/main" id="{D46D8B46-5EB2-4AFB-B842-E2D25BAA1B84}"/>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1" name="Freeform: Shape 696">
                  <a:extLst>
                    <a:ext uri="{FF2B5EF4-FFF2-40B4-BE49-F238E27FC236}">
                      <a16:creationId xmlns:a16="http://schemas.microsoft.com/office/drawing/2014/main" id="{063D1DC3-42EE-4D5E-9219-F2B3D5AA2BB0}"/>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2" name="Freeform: Shape 697">
                  <a:extLst>
                    <a:ext uri="{FF2B5EF4-FFF2-40B4-BE49-F238E27FC236}">
                      <a16:creationId xmlns:a16="http://schemas.microsoft.com/office/drawing/2014/main" id="{88BA0CC1-4D2D-46AD-925E-A89044247021}"/>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3" name="Freeform: Shape 698">
                  <a:extLst>
                    <a:ext uri="{FF2B5EF4-FFF2-40B4-BE49-F238E27FC236}">
                      <a16:creationId xmlns:a16="http://schemas.microsoft.com/office/drawing/2014/main" id="{FC9383D1-ED48-4DF1-B637-C22F7ABB820F}"/>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grpSp>
        <p:nvGrpSpPr>
          <p:cNvPr id="918" name="Group 917">
            <a:extLst>
              <a:ext uri="{FF2B5EF4-FFF2-40B4-BE49-F238E27FC236}">
                <a16:creationId xmlns:a16="http://schemas.microsoft.com/office/drawing/2014/main" id="{E80F6F4E-8D26-4AA5-90D5-21EC266C4918}"/>
              </a:ext>
            </a:extLst>
          </p:cNvPr>
          <p:cNvGrpSpPr/>
          <p:nvPr/>
        </p:nvGrpSpPr>
        <p:grpSpPr>
          <a:xfrm>
            <a:off x="7462565" y="971445"/>
            <a:ext cx="1276105" cy="458623"/>
            <a:chOff x="6486211" y="1739620"/>
            <a:chExt cx="2801675" cy="1283916"/>
          </a:xfrm>
        </p:grpSpPr>
        <p:grpSp>
          <p:nvGrpSpPr>
            <p:cNvPr id="919" name="Group 918">
              <a:extLst>
                <a:ext uri="{FF2B5EF4-FFF2-40B4-BE49-F238E27FC236}">
                  <a16:creationId xmlns:a16="http://schemas.microsoft.com/office/drawing/2014/main" id="{6E4EAD5C-7924-4B1F-9DFF-D1AD8232C318}"/>
                </a:ext>
              </a:extLst>
            </p:cNvPr>
            <p:cNvGrpSpPr/>
            <p:nvPr/>
          </p:nvGrpSpPr>
          <p:grpSpPr>
            <a:xfrm>
              <a:off x="6486211" y="2427446"/>
              <a:ext cx="596090" cy="596090"/>
              <a:chOff x="6340161" y="2433796"/>
              <a:chExt cx="596090" cy="596090"/>
            </a:xfrm>
          </p:grpSpPr>
          <p:sp>
            <p:nvSpPr>
              <p:cNvPr id="1029" name="Freeform: Shape 498">
                <a:extLst>
                  <a:ext uri="{FF2B5EF4-FFF2-40B4-BE49-F238E27FC236}">
                    <a16:creationId xmlns:a16="http://schemas.microsoft.com/office/drawing/2014/main" id="{52517459-A55E-400A-8290-6C0D2E0D05B7}"/>
                  </a:ext>
                </a:extLst>
              </p:cNvPr>
              <p:cNvSpPr/>
              <p:nvPr/>
            </p:nvSpPr>
            <p:spPr>
              <a:xfrm>
                <a:off x="6340161" y="2433796"/>
                <a:ext cx="596090" cy="596090"/>
              </a:xfrm>
              <a:custGeom>
                <a:avLst/>
                <a:gdLst>
                  <a:gd name="connsiteX0" fmla="*/ 16669 w 771525"/>
                  <a:gd name="connsiteY0" fmla="*/ 769144 h 771525"/>
                  <a:gd name="connsiteX1" fmla="*/ 759619 w 771525"/>
                  <a:gd name="connsiteY1" fmla="*/ 769144 h 771525"/>
                  <a:gd name="connsiteX2" fmla="*/ 769144 w 771525"/>
                  <a:gd name="connsiteY2" fmla="*/ 759619 h 771525"/>
                  <a:gd name="connsiteX3" fmla="*/ 769144 w 771525"/>
                  <a:gd name="connsiteY3" fmla="*/ 693344 h 771525"/>
                  <a:gd name="connsiteX4" fmla="*/ 759619 w 771525"/>
                  <a:gd name="connsiteY4" fmla="*/ 683819 h 771525"/>
                  <a:gd name="connsiteX5" fmla="*/ 718547 w 771525"/>
                  <a:gd name="connsiteY5" fmla="*/ 683819 h 771525"/>
                  <a:gd name="connsiteX6" fmla="*/ 718547 w 771525"/>
                  <a:gd name="connsiteY6" fmla="*/ 92469 h 771525"/>
                  <a:gd name="connsiteX7" fmla="*/ 732596 w 771525"/>
                  <a:gd name="connsiteY7" fmla="*/ 92469 h 771525"/>
                  <a:gd name="connsiteX8" fmla="*/ 742121 w 771525"/>
                  <a:gd name="connsiteY8" fmla="*/ 82944 h 771525"/>
                  <a:gd name="connsiteX9" fmla="*/ 742121 w 771525"/>
                  <a:gd name="connsiteY9" fmla="*/ 16669 h 771525"/>
                  <a:gd name="connsiteX10" fmla="*/ 732596 w 771525"/>
                  <a:gd name="connsiteY10" fmla="*/ 7144 h 771525"/>
                  <a:gd name="connsiteX11" fmla="*/ 43691 w 771525"/>
                  <a:gd name="connsiteY11" fmla="*/ 7144 h 771525"/>
                  <a:gd name="connsiteX12" fmla="*/ 34166 w 771525"/>
                  <a:gd name="connsiteY12" fmla="*/ 16669 h 771525"/>
                  <a:gd name="connsiteX13" fmla="*/ 34166 w 771525"/>
                  <a:gd name="connsiteY13" fmla="*/ 82944 h 771525"/>
                  <a:gd name="connsiteX14" fmla="*/ 43691 w 771525"/>
                  <a:gd name="connsiteY14" fmla="*/ 92469 h 771525"/>
                  <a:gd name="connsiteX15" fmla="*/ 57741 w 771525"/>
                  <a:gd name="connsiteY15" fmla="*/ 92469 h 771525"/>
                  <a:gd name="connsiteX16" fmla="*/ 57741 w 771525"/>
                  <a:gd name="connsiteY16" fmla="*/ 683819 h 771525"/>
                  <a:gd name="connsiteX17" fmla="*/ 16669 w 771525"/>
                  <a:gd name="connsiteY17" fmla="*/ 683819 h 771525"/>
                  <a:gd name="connsiteX18" fmla="*/ 7144 w 771525"/>
                  <a:gd name="connsiteY18" fmla="*/ 693344 h 771525"/>
                  <a:gd name="connsiteX19" fmla="*/ 7144 w 771525"/>
                  <a:gd name="connsiteY19" fmla="*/ 759619 h 771525"/>
                  <a:gd name="connsiteX20" fmla="*/ 16669 w 771525"/>
                  <a:gd name="connsiteY20" fmla="*/ 769144 h 771525"/>
                  <a:gd name="connsiteX21" fmla="*/ 53216 w 771525"/>
                  <a:gd name="connsiteY21" fmla="*/ 26194 h 771525"/>
                  <a:gd name="connsiteX22" fmla="*/ 723062 w 771525"/>
                  <a:gd name="connsiteY22" fmla="*/ 26194 h 771525"/>
                  <a:gd name="connsiteX23" fmla="*/ 723062 w 771525"/>
                  <a:gd name="connsiteY23" fmla="*/ 73419 h 771525"/>
                  <a:gd name="connsiteX24" fmla="*/ 53216 w 771525"/>
                  <a:gd name="connsiteY24" fmla="*/ 73419 h 771525"/>
                  <a:gd name="connsiteX25" fmla="*/ 53216 w 771525"/>
                  <a:gd name="connsiteY25" fmla="*/ 26194 h 771525"/>
                  <a:gd name="connsiteX26" fmla="*/ 76791 w 771525"/>
                  <a:gd name="connsiteY26" fmla="*/ 92469 h 771525"/>
                  <a:gd name="connsiteX27" fmla="*/ 699487 w 771525"/>
                  <a:gd name="connsiteY27" fmla="*/ 92469 h 771525"/>
                  <a:gd name="connsiteX28" fmla="*/ 699487 w 771525"/>
                  <a:gd name="connsiteY28" fmla="*/ 683819 h 771525"/>
                  <a:gd name="connsiteX29" fmla="*/ 496491 w 771525"/>
                  <a:gd name="connsiteY29" fmla="*/ 683819 h 771525"/>
                  <a:gd name="connsiteX30" fmla="*/ 496491 w 771525"/>
                  <a:gd name="connsiteY30" fmla="*/ 470402 h 771525"/>
                  <a:gd name="connsiteX31" fmla="*/ 486966 w 771525"/>
                  <a:gd name="connsiteY31" fmla="*/ 460877 h 771525"/>
                  <a:gd name="connsiteX32" fmla="*/ 289322 w 771525"/>
                  <a:gd name="connsiteY32" fmla="*/ 460877 h 771525"/>
                  <a:gd name="connsiteX33" fmla="*/ 279797 w 771525"/>
                  <a:gd name="connsiteY33" fmla="*/ 470402 h 771525"/>
                  <a:gd name="connsiteX34" fmla="*/ 279797 w 771525"/>
                  <a:gd name="connsiteY34" fmla="*/ 683819 h 771525"/>
                  <a:gd name="connsiteX35" fmla="*/ 76791 w 771525"/>
                  <a:gd name="connsiteY35" fmla="*/ 683819 h 771525"/>
                  <a:gd name="connsiteX36" fmla="*/ 76791 w 771525"/>
                  <a:gd name="connsiteY36" fmla="*/ 92469 h 771525"/>
                  <a:gd name="connsiteX37" fmla="*/ 298847 w 771525"/>
                  <a:gd name="connsiteY37" fmla="*/ 683819 h 771525"/>
                  <a:gd name="connsiteX38" fmla="*/ 298847 w 771525"/>
                  <a:gd name="connsiteY38" fmla="*/ 479927 h 771525"/>
                  <a:gd name="connsiteX39" fmla="*/ 378619 w 771525"/>
                  <a:gd name="connsiteY39" fmla="*/ 479927 h 771525"/>
                  <a:gd name="connsiteX40" fmla="*/ 378619 w 771525"/>
                  <a:gd name="connsiteY40" fmla="*/ 683819 h 771525"/>
                  <a:gd name="connsiteX41" fmla="*/ 298847 w 771525"/>
                  <a:gd name="connsiteY41" fmla="*/ 683819 h 771525"/>
                  <a:gd name="connsiteX42" fmla="*/ 397669 w 771525"/>
                  <a:gd name="connsiteY42" fmla="*/ 479927 h 771525"/>
                  <a:gd name="connsiteX43" fmla="*/ 477441 w 771525"/>
                  <a:gd name="connsiteY43" fmla="*/ 479927 h 771525"/>
                  <a:gd name="connsiteX44" fmla="*/ 477441 w 771525"/>
                  <a:gd name="connsiteY44" fmla="*/ 683819 h 771525"/>
                  <a:gd name="connsiteX45" fmla="*/ 397669 w 771525"/>
                  <a:gd name="connsiteY45" fmla="*/ 683819 h 771525"/>
                  <a:gd name="connsiteX46" fmla="*/ 397669 w 771525"/>
                  <a:gd name="connsiteY46" fmla="*/ 479927 h 771525"/>
                  <a:gd name="connsiteX47" fmla="*/ 26194 w 771525"/>
                  <a:gd name="connsiteY47" fmla="*/ 702869 h 771525"/>
                  <a:gd name="connsiteX48" fmla="*/ 750094 w 771525"/>
                  <a:gd name="connsiteY48" fmla="*/ 702869 h 771525"/>
                  <a:gd name="connsiteX49" fmla="*/ 750094 w 771525"/>
                  <a:gd name="connsiteY49" fmla="*/ 750094 h 771525"/>
                  <a:gd name="connsiteX50" fmla="*/ 26194 w 771525"/>
                  <a:gd name="connsiteY50" fmla="*/ 750094 h 771525"/>
                  <a:gd name="connsiteX51" fmla="*/ 26194 w 771525"/>
                  <a:gd name="connsiteY51" fmla="*/ 702869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771525" h="771525">
                    <a:moveTo>
                      <a:pt x="16669" y="769144"/>
                    </a:moveTo>
                    <a:lnTo>
                      <a:pt x="759619" y="769144"/>
                    </a:lnTo>
                    <a:cubicBezTo>
                      <a:pt x="764877" y="769144"/>
                      <a:pt x="769144" y="764886"/>
                      <a:pt x="769144" y="759619"/>
                    </a:cubicBezTo>
                    <a:lnTo>
                      <a:pt x="769144" y="693344"/>
                    </a:lnTo>
                    <a:cubicBezTo>
                      <a:pt x="769144" y="688076"/>
                      <a:pt x="764877" y="683819"/>
                      <a:pt x="759619" y="683819"/>
                    </a:cubicBezTo>
                    <a:lnTo>
                      <a:pt x="718547" y="683819"/>
                    </a:lnTo>
                    <a:lnTo>
                      <a:pt x="718547" y="92469"/>
                    </a:lnTo>
                    <a:lnTo>
                      <a:pt x="732596" y="92469"/>
                    </a:lnTo>
                    <a:cubicBezTo>
                      <a:pt x="737854" y="92469"/>
                      <a:pt x="742121" y="88211"/>
                      <a:pt x="742121" y="82944"/>
                    </a:cubicBezTo>
                    <a:lnTo>
                      <a:pt x="742121" y="16669"/>
                    </a:lnTo>
                    <a:cubicBezTo>
                      <a:pt x="742121" y="11401"/>
                      <a:pt x="737854" y="7144"/>
                      <a:pt x="732596" y="7144"/>
                    </a:cubicBezTo>
                    <a:lnTo>
                      <a:pt x="43691" y="7144"/>
                    </a:lnTo>
                    <a:cubicBezTo>
                      <a:pt x="38433" y="7144"/>
                      <a:pt x="34166" y="11401"/>
                      <a:pt x="34166" y="16669"/>
                    </a:cubicBezTo>
                    <a:lnTo>
                      <a:pt x="34166" y="82944"/>
                    </a:lnTo>
                    <a:cubicBezTo>
                      <a:pt x="34166" y="88211"/>
                      <a:pt x="38433" y="92469"/>
                      <a:pt x="43691" y="92469"/>
                    </a:cubicBezTo>
                    <a:lnTo>
                      <a:pt x="57741" y="92469"/>
                    </a:lnTo>
                    <a:lnTo>
                      <a:pt x="57741" y="683819"/>
                    </a:lnTo>
                    <a:lnTo>
                      <a:pt x="16669" y="683819"/>
                    </a:lnTo>
                    <a:cubicBezTo>
                      <a:pt x="11411" y="683819"/>
                      <a:pt x="7144" y="688076"/>
                      <a:pt x="7144" y="693344"/>
                    </a:cubicBezTo>
                    <a:lnTo>
                      <a:pt x="7144" y="759619"/>
                    </a:lnTo>
                    <a:cubicBezTo>
                      <a:pt x="7144" y="764886"/>
                      <a:pt x="11411" y="769144"/>
                      <a:pt x="16669" y="769144"/>
                    </a:cubicBezTo>
                    <a:close/>
                    <a:moveTo>
                      <a:pt x="53216" y="26194"/>
                    </a:moveTo>
                    <a:lnTo>
                      <a:pt x="723062" y="26194"/>
                    </a:lnTo>
                    <a:lnTo>
                      <a:pt x="723062" y="73419"/>
                    </a:lnTo>
                    <a:lnTo>
                      <a:pt x="53216" y="73419"/>
                    </a:lnTo>
                    <a:lnTo>
                      <a:pt x="53216" y="26194"/>
                    </a:lnTo>
                    <a:close/>
                    <a:moveTo>
                      <a:pt x="76791" y="92469"/>
                    </a:moveTo>
                    <a:lnTo>
                      <a:pt x="699487" y="92469"/>
                    </a:lnTo>
                    <a:lnTo>
                      <a:pt x="699487" y="683819"/>
                    </a:lnTo>
                    <a:lnTo>
                      <a:pt x="496491" y="683819"/>
                    </a:lnTo>
                    <a:lnTo>
                      <a:pt x="496491" y="470402"/>
                    </a:lnTo>
                    <a:cubicBezTo>
                      <a:pt x="496491" y="465134"/>
                      <a:pt x="492223" y="460877"/>
                      <a:pt x="486966" y="460877"/>
                    </a:cubicBezTo>
                    <a:lnTo>
                      <a:pt x="289322" y="460877"/>
                    </a:lnTo>
                    <a:cubicBezTo>
                      <a:pt x="284064" y="460877"/>
                      <a:pt x="279797" y="465134"/>
                      <a:pt x="279797" y="470402"/>
                    </a:cubicBezTo>
                    <a:lnTo>
                      <a:pt x="279797" y="683819"/>
                    </a:lnTo>
                    <a:lnTo>
                      <a:pt x="76791" y="683819"/>
                    </a:lnTo>
                    <a:lnTo>
                      <a:pt x="76791" y="92469"/>
                    </a:lnTo>
                    <a:close/>
                    <a:moveTo>
                      <a:pt x="298847" y="683819"/>
                    </a:moveTo>
                    <a:lnTo>
                      <a:pt x="298847" y="479927"/>
                    </a:lnTo>
                    <a:lnTo>
                      <a:pt x="378619" y="479927"/>
                    </a:lnTo>
                    <a:lnTo>
                      <a:pt x="378619" y="683819"/>
                    </a:lnTo>
                    <a:lnTo>
                      <a:pt x="298847" y="683819"/>
                    </a:lnTo>
                    <a:close/>
                    <a:moveTo>
                      <a:pt x="397669" y="479927"/>
                    </a:moveTo>
                    <a:lnTo>
                      <a:pt x="477441" y="479927"/>
                    </a:lnTo>
                    <a:lnTo>
                      <a:pt x="477441" y="683819"/>
                    </a:lnTo>
                    <a:lnTo>
                      <a:pt x="397669" y="683819"/>
                    </a:lnTo>
                    <a:lnTo>
                      <a:pt x="397669" y="479927"/>
                    </a:lnTo>
                    <a:close/>
                    <a:moveTo>
                      <a:pt x="26194" y="702869"/>
                    </a:moveTo>
                    <a:lnTo>
                      <a:pt x="750094" y="702869"/>
                    </a:lnTo>
                    <a:lnTo>
                      <a:pt x="750094" y="750094"/>
                    </a:lnTo>
                    <a:lnTo>
                      <a:pt x="26194" y="750094"/>
                    </a:lnTo>
                    <a:lnTo>
                      <a:pt x="26194" y="702869"/>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30" name="Freeform: Shape 499">
                <a:extLst>
                  <a:ext uri="{FF2B5EF4-FFF2-40B4-BE49-F238E27FC236}">
                    <a16:creationId xmlns:a16="http://schemas.microsoft.com/office/drawing/2014/main" id="{C234E4DC-8BF4-4232-B4C7-D48E7F3CC541}"/>
                  </a:ext>
                </a:extLst>
              </p:cNvPr>
              <p:cNvSpPr/>
              <p:nvPr/>
            </p:nvSpPr>
            <p:spPr>
              <a:xfrm>
                <a:off x="6763393" y="2783495"/>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31" name="Freeform: Shape 500">
                <a:extLst>
                  <a:ext uri="{FF2B5EF4-FFF2-40B4-BE49-F238E27FC236}">
                    <a16:creationId xmlns:a16="http://schemas.microsoft.com/office/drawing/2014/main" id="{244FF703-73B5-400C-AF9D-E63E9295D613}"/>
                  </a:ext>
                </a:extLst>
              </p:cNvPr>
              <p:cNvSpPr/>
              <p:nvPr/>
            </p:nvSpPr>
            <p:spPr>
              <a:xfrm>
                <a:off x="6443270" y="2783495"/>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32" name="Freeform: Shape 501">
                <a:extLst>
                  <a:ext uri="{FF2B5EF4-FFF2-40B4-BE49-F238E27FC236}">
                    <a16:creationId xmlns:a16="http://schemas.microsoft.com/office/drawing/2014/main" id="{5A7F3558-AB63-49D2-85F8-78BD0CF39CA9}"/>
                  </a:ext>
                </a:extLst>
              </p:cNvPr>
              <p:cNvSpPr/>
              <p:nvPr/>
            </p:nvSpPr>
            <p:spPr>
              <a:xfrm>
                <a:off x="6763393" y="2666668"/>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33" name="Freeform: Shape 502">
                <a:extLst>
                  <a:ext uri="{FF2B5EF4-FFF2-40B4-BE49-F238E27FC236}">
                    <a16:creationId xmlns:a16="http://schemas.microsoft.com/office/drawing/2014/main" id="{E491DDF7-1F22-4026-B037-0EE1E8E2CA8B}"/>
                  </a:ext>
                </a:extLst>
              </p:cNvPr>
              <p:cNvSpPr/>
              <p:nvPr/>
            </p:nvSpPr>
            <p:spPr>
              <a:xfrm>
                <a:off x="6656766" y="2666668"/>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34" name="Freeform: Shape 503">
                <a:extLst>
                  <a:ext uri="{FF2B5EF4-FFF2-40B4-BE49-F238E27FC236}">
                    <a16:creationId xmlns:a16="http://schemas.microsoft.com/office/drawing/2014/main" id="{E90C71D2-FD0E-4DEB-9168-156B709B7248}"/>
                  </a:ext>
                </a:extLst>
              </p:cNvPr>
              <p:cNvSpPr/>
              <p:nvPr/>
            </p:nvSpPr>
            <p:spPr>
              <a:xfrm>
                <a:off x="6550817" y="2666668"/>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35" name="Freeform: Shape 504">
                <a:extLst>
                  <a:ext uri="{FF2B5EF4-FFF2-40B4-BE49-F238E27FC236}">
                    <a16:creationId xmlns:a16="http://schemas.microsoft.com/office/drawing/2014/main" id="{468FE0E6-2E10-4571-BEF4-B972DC8A5716}"/>
                  </a:ext>
                </a:extLst>
              </p:cNvPr>
              <p:cNvSpPr/>
              <p:nvPr/>
            </p:nvSpPr>
            <p:spPr>
              <a:xfrm>
                <a:off x="6656766" y="2549842"/>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36" name="Freeform: Shape 505">
                <a:extLst>
                  <a:ext uri="{FF2B5EF4-FFF2-40B4-BE49-F238E27FC236}">
                    <a16:creationId xmlns:a16="http://schemas.microsoft.com/office/drawing/2014/main" id="{F0A130AE-D6CA-496A-B0ED-AA509C171A77}"/>
                  </a:ext>
                </a:extLst>
              </p:cNvPr>
              <p:cNvSpPr/>
              <p:nvPr/>
            </p:nvSpPr>
            <p:spPr>
              <a:xfrm>
                <a:off x="6550817" y="2549842"/>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37" name="Freeform: Shape 506">
                <a:extLst>
                  <a:ext uri="{FF2B5EF4-FFF2-40B4-BE49-F238E27FC236}">
                    <a16:creationId xmlns:a16="http://schemas.microsoft.com/office/drawing/2014/main" id="{38D846A2-5C49-4B78-9042-3EC8C7F82DBC}"/>
                  </a:ext>
                </a:extLst>
              </p:cNvPr>
              <p:cNvSpPr/>
              <p:nvPr/>
            </p:nvSpPr>
            <p:spPr>
              <a:xfrm>
                <a:off x="6443270" y="2666668"/>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38" name="Freeform: Shape 507">
                <a:extLst>
                  <a:ext uri="{FF2B5EF4-FFF2-40B4-BE49-F238E27FC236}">
                    <a16:creationId xmlns:a16="http://schemas.microsoft.com/office/drawing/2014/main" id="{0D4ADF69-2385-428D-8373-8B0535DBF489}"/>
                  </a:ext>
                </a:extLst>
              </p:cNvPr>
              <p:cNvSpPr/>
              <p:nvPr/>
            </p:nvSpPr>
            <p:spPr>
              <a:xfrm>
                <a:off x="6763393" y="2549842"/>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39" name="Freeform: Shape 508">
                <a:extLst>
                  <a:ext uri="{FF2B5EF4-FFF2-40B4-BE49-F238E27FC236}">
                    <a16:creationId xmlns:a16="http://schemas.microsoft.com/office/drawing/2014/main" id="{13EEFAC8-E33D-459A-A23D-4545B64E5E74}"/>
                  </a:ext>
                </a:extLst>
              </p:cNvPr>
              <p:cNvSpPr/>
              <p:nvPr/>
            </p:nvSpPr>
            <p:spPr>
              <a:xfrm>
                <a:off x="6443270" y="2549842"/>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920" name="Group 919">
              <a:extLst>
                <a:ext uri="{FF2B5EF4-FFF2-40B4-BE49-F238E27FC236}">
                  <a16:creationId xmlns:a16="http://schemas.microsoft.com/office/drawing/2014/main" id="{414C381E-3EF6-49FD-8548-F64955F2A892}"/>
                </a:ext>
              </a:extLst>
            </p:cNvPr>
            <p:cNvGrpSpPr/>
            <p:nvPr/>
          </p:nvGrpSpPr>
          <p:grpSpPr>
            <a:xfrm>
              <a:off x="8710808" y="2446457"/>
              <a:ext cx="577078" cy="577079"/>
              <a:chOff x="5709056" y="2921793"/>
              <a:chExt cx="771525" cy="771525"/>
            </a:xfrm>
            <a:solidFill>
              <a:srgbClr val="999999"/>
            </a:solidFill>
          </p:grpSpPr>
          <p:sp>
            <p:nvSpPr>
              <p:cNvPr id="1018" name="Freeform: Shape 447">
                <a:extLst>
                  <a:ext uri="{FF2B5EF4-FFF2-40B4-BE49-F238E27FC236}">
                    <a16:creationId xmlns:a16="http://schemas.microsoft.com/office/drawing/2014/main" id="{2019140F-7B51-422A-B271-1EB6183FC1B7}"/>
                  </a:ext>
                </a:extLst>
              </p:cNvPr>
              <p:cNvSpPr/>
              <p:nvPr/>
            </p:nvSpPr>
            <p:spPr>
              <a:xfrm>
                <a:off x="5709056" y="2921793"/>
                <a:ext cx="771525" cy="771525"/>
              </a:xfrm>
              <a:custGeom>
                <a:avLst/>
                <a:gdLst>
                  <a:gd name="connsiteX0" fmla="*/ 16669 w 771525"/>
                  <a:gd name="connsiteY0" fmla="*/ 769144 h 771525"/>
                  <a:gd name="connsiteX1" fmla="*/ 759619 w 771525"/>
                  <a:gd name="connsiteY1" fmla="*/ 769144 h 771525"/>
                  <a:gd name="connsiteX2" fmla="*/ 769144 w 771525"/>
                  <a:gd name="connsiteY2" fmla="*/ 759619 h 771525"/>
                  <a:gd name="connsiteX3" fmla="*/ 769144 w 771525"/>
                  <a:gd name="connsiteY3" fmla="*/ 693344 h 771525"/>
                  <a:gd name="connsiteX4" fmla="*/ 759619 w 771525"/>
                  <a:gd name="connsiteY4" fmla="*/ 683819 h 771525"/>
                  <a:gd name="connsiteX5" fmla="*/ 718547 w 771525"/>
                  <a:gd name="connsiteY5" fmla="*/ 683819 h 771525"/>
                  <a:gd name="connsiteX6" fmla="*/ 718547 w 771525"/>
                  <a:gd name="connsiteY6" fmla="*/ 92469 h 771525"/>
                  <a:gd name="connsiteX7" fmla="*/ 732596 w 771525"/>
                  <a:gd name="connsiteY7" fmla="*/ 92469 h 771525"/>
                  <a:gd name="connsiteX8" fmla="*/ 742121 w 771525"/>
                  <a:gd name="connsiteY8" fmla="*/ 82944 h 771525"/>
                  <a:gd name="connsiteX9" fmla="*/ 742121 w 771525"/>
                  <a:gd name="connsiteY9" fmla="*/ 16669 h 771525"/>
                  <a:gd name="connsiteX10" fmla="*/ 732596 w 771525"/>
                  <a:gd name="connsiteY10" fmla="*/ 7144 h 771525"/>
                  <a:gd name="connsiteX11" fmla="*/ 43691 w 771525"/>
                  <a:gd name="connsiteY11" fmla="*/ 7144 h 771525"/>
                  <a:gd name="connsiteX12" fmla="*/ 34166 w 771525"/>
                  <a:gd name="connsiteY12" fmla="*/ 16669 h 771525"/>
                  <a:gd name="connsiteX13" fmla="*/ 34166 w 771525"/>
                  <a:gd name="connsiteY13" fmla="*/ 82944 h 771525"/>
                  <a:gd name="connsiteX14" fmla="*/ 43691 w 771525"/>
                  <a:gd name="connsiteY14" fmla="*/ 92469 h 771525"/>
                  <a:gd name="connsiteX15" fmla="*/ 57741 w 771525"/>
                  <a:gd name="connsiteY15" fmla="*/ 92469 h 771525"/>
                  <a:gd name="connsiteX16" fmla="*/ 57741 w 771525"/>
                  <a:gd name="connsiteY16" fmla="*/ 683819 h 771525"/>
                  <a:gd name="connsiteX17" fmla="*/ 16669 w 771525"/>
                  <a:gd name="connsiteY17" fmla="*/ 683819 h 771525"/>
                  <a:gd name="connsiteX18" fmla="*/ 7144 w 771525"/>
                  <a:gd name="connsiteY18" fmla="*/ 693344 h 771525"/>
                  <a:gd name="connsiteX19" fmla="*/ 7144 w 771525"/>
                  <a:gd name="connsiteY19" fmla="*/ 759619 h 771525"/>
                  <a:gd name="connsiteX20" fmla="*/ 16669 w 771525"/>
                  <a:gd name="connsiteY20" fmla="*/ 769144 h 771525"/>
                  <a:gd name="connsiteX21" fmla="*/ 53216 w 771525"/>
                  <a:gd name="connsiteY21" fmla="*/ 26194 h 771525"/>
                  <a:gd name="connsiteX22" fmla="*/ 723062 w 771525"/>
                  <a:gd name="connsiteY22" fmla="*/ 26194 h 771525"/>
                  <a:gd name="connsiteX23" fmla="*/ 723062 w 771525"/>
                  <a:gd name="connsiteY23" fmla="*/ 73419 h 771525"/>
                  <a:gd name="connsiteX24" fmla="*/ 53216 w 771525"/>
                  <a:gd name="connsiteY24" fmla="*/ 73419 h 771525"/>
                  <a:gd name="connsiteX25" fmla="*/ 53216 w 771525"/>
                  <a:gd name="connsiteY25" fmla="*/ 26194 h 771525"/>
                  <a:gd name="connsiteX26" fmla="*/ 76791 w 771525"/>
                  <a:gd name="connsiteY26" fmla="*/ 92469 h 771525"/>
                  <a:gd name="connsiteX27" fmla="*/ 699487 w 771525"/>
                  <a:gd name="connsiteY27" fmla="*/ 92469 h 771525"/>
                  <a:gd name="connsiteX28" fmla="*/ 699487 w 771525"/>
                  <a:gd name="connsiteY28" fmla="*/ 683819 h 771525"/>
                  <a:gd name="connsiteX29" fmla="*/ 496491 w 771525"/>
                  <a:gd name="connsiteY29" fmla="*/ 683819 h 771525"/>
                  <a:gd name="connsiteX30" fmla="*/ 496491 w 771525"/>
                  <a:gd name="connsiteY30" fmla="*/ 470402 h 771525"/>
                  <a:gd name="connsiteX31" fmla="*/ 486966 w 771525"/>
                  <a:gd name="connsiteY31" fmla="*/ 460877 h 771525"/>
                  <a:gd name="connsiteX32" fmla="*/ 289322 w 771525"/>
                  <a:gd name="connsiteY32" fmla="*/ 460877 h 771525"/>
                  <a:gd name="connsiteX33" fmla="*/ 279797 w 771525"/>
                  <a:gd name="connsiteY33" fmla="*/ 470402 h 771525"/>
                  <a:gd name="connsiteX34" fmla="*/ 279797 w 771525"/>
                  <a:gd name="connsiteY34" fmla="*/ 683819 h 771525"/>
                  <a:gd name="connsiteX35" fmla="*/ 76791 w 771525"/>
                  <a:gd name="connsiteY35" fmla="*/ 683819 h 771525"/>
                  <a:gd name="connsiteX36" fmla="*/ 76791 w 771525"/>
                  <a:gd name="connsiteY36" fmla="*/ 92469 h 771525"/>
                  <a:gd name="connsiteX37" fmla="*/ 298847 w 771525"/>
                  <a:gd name="connsiteY37" fmla="*/ 683819 h 771525"/>
                  <a:gd name="connsiteX38" fmla="*/ 298847 w 771525"/>
                  <a:gd name="connsiteY38" fmla="*/ 479927 h 771525"/>
                  <a:gd name="connsiteX39" fmla="*/ 378619 w 771525"/>
                  <a:gd name="connsiteY39" fmla="*/ 479927 h 771525"/>
                  <a:gd name="connsiteX40" fmla="*/ 378619 w 771525"/>
                  <a:gd name="connsiteY40" fmla="*/ 683819 h 771525"/>
                  <a:gd name="connsiteX41" fmla="*/ 298847 w 771525"/>
                  <a:gd name="connsiteY41" fmla="*/ 683819 h 771525"/>
                  <a:gd name="connsiteX42" fmla="*/ 397669 w 771525"/>
                  <a:gd name="connsiteY42" fmla="*/ 479927 h 771525"/>
                  <a:gd name="connsiteX43" fmla="*/ 477441 w 771525"/>
                  <a:gd name="connsiteY43" fmla="*/ 479927 h 771525"/>
                  <a:gd name="connsiteX44" fmla="*/ 477441 w 771525"/>
                  <a:gd name="connsiteY44" fmla="*/ 683819 h 771525"/>
                  <a:gd name="connsiteX45" fmla="*/ 397669 w 771525"/>
                  <a:gd name="connsiteY45" fmla="*/ 683819 h 771525"/>
                  <a:gd name="connsiteX46" fmla="*/ 397669 w 771525"/>
                  <a:gd name="connsiteY46" fmla="*/ 479927 h 771525"/>
                  <a:gd name="connsiteX47" fmla="*/ 26194 w 771525"/>
                  <a:gd name="connsiteY47" fmla="*/ 702869 h 771525"/>
                  <a:gd name="connsiteX48" fmla="*/ 750094 w 771525"/>
                  <a:gd name="connsiteY48" fmla="*/ 702869 h 771525"/>
                  <a:gd name="connsiteX49" fmla="*/ 750094 w 771525"/>
                  <a:gd name="connsiteY49" fmla="*/ 750094 h 771525"/>
                  <a:gd name="connsiteX50" fmla="*/ 26194 w 771525"/>
                  <a:gd name="connsiteY50" fmla="*/ 750094 h 771525"/>
                  <a:gd name="connsiteX51" fmla="*/ 26194 w 771525"/>
                  <a:gd name="connsiteY51" fmla="*/ 702869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771525" h="771525">
                    <a:moveTo>
                      <a:pt x="16669" y="769144"/>
                    </a:moveTo>
                    <a:lnTo>
                      <a:pt x="759619" y="769144"/>
                    </a:lnTo>
                    <a:cubicBezTo>
                      <a:pt x="764877" y="769144"/>
                      <a:pt x="769144" y="764886"/>
                      <a:pt x="769144" y="759619"/>
                    </a:cubicBezTo>
                    <a:lnTo>
                      <a:pt x="769144" y="693344"/>
                    </a:lnTo>
                    <a:cubicBezTo>
                      <a:pt x="769144" y="688076"/>
                      <a:pt x="764877" y="683819"/>
                      <a:pt x="759619" y="683819"/>
                    </a:cubicBezTo>
                    <a:lnTo>
                      <a:pt x="718547" y="683819"/>
                    </a:lnTo>
                    <a:lnTo>
                      <a:pt x="718547" y="92469"/>
                    </a:lnTo>
                    <a:lnTo>
                      <a:pt x="732596" y="92469"/>
                    </a:lnTo>
                    <a:cubicBezTo>
                      <a:pt x="737854" y="92469"/>
                      <a:pt x="742121" y="88211"/>
                      <a:pt x="742121" y="82944"/>
                    </a:cubicBezTo>
                    <a:lnTo>
                      <a:pt x="742121" y="16669"/>
                    </a:lnTo>
                    <a:cubicBezTo>
                      <a:pt x="742121" y="11401"/>
                      <a:pt x="737854" y="7144"/>
                      <a:pt x="732596" y="7144"/>
                    </a:cubicBezTo>
                    <a:lnTo>
                      <a:pt x="43691" y="7144"/>
                    </a:lnTo>
                    <a:cubicBezTo>
                      <a:pt x="38433" y="7144"/>
                      <a:pt x="34166" y="11401"/>
                      <a:pt x="34166" y="16669"/>
                    </a:cubicBezTo>
                    <a:lnTo>
                      <a:pt x="34166" y="82944"/>
                    </a:lnTo>
                    <a:cubicBezTo>
                      <a:pt x="34166" y="88211"/>
                      <a:pt x="38433" y="92469"/>
                      <a:pt x="43691" y="92469"/>
                    </a:cubicBezTo>
                    <a:lnTo>
                      <a:pt x="57741" y="92469"/>
                    </a:lnTo>
                    <a:lnTo>
                      <a:pt x="57741" y="683819"/>
                    </a:lnTo>
                    <a:lnTo>
                      <a:pt x="16669" y="683819"/>
                    </a:lnTo>
                    <a:cubicBezTo>
                      <a:pt x="11411" y="683819"/>
                      <a:pt x="7144" y="688076"/>
                      <a:pt x="7144" y="693344"/>
                    </a:cubicBezTo>
                    <a:lnTo>
                      <a:pt x="7144" y="759619"/>
                    </a:lnTo>
                    <a:cubicBezTo>
                      <a:pt x="7144" y="764886"/>
                      <a:pt x="11411" y="769144"/>
                      <a:pt x="16669" y="769144"/>
                    </a:cubicBezTo>
                    <a:close/>
                    <a:moveTo>
                      <a:pt x="53216" y="26194"/>
                    </a:moveTo>
                    <a:lnTo>
                      <a:pt x="723062" y="26194"/>
                    </a:lnTo>
                    <a:lnTo>
                      <a:pt x="723062" y="73419"/>
                    </a:lnTo>
                    <a:lnTo>
                      <a:pt x="53216" y="73419"/>
                    </a:lnTo>
                    <a:lnTo>
                      <a:pt x="53216" y="26194"/>
                    </a:lnTo>
                    <a:close/>
                    <a:moveTo>
                      <a:pt x="76791" y="92469"/>
                    </a:moveTo>
                    <a:lnTo>
                      <a:pt x="699487" y="92469"/>
                    </a:lnTo>
                    <a:lnTo>
                      <a:pt x="699487" y="683819"/>
                    </a:lnTo>
                    <a:lnTo>
                      <a:pt x="496491" y="683819"/>
                    </a:lnTo>
                    <a:lnTo>
                      <a:pt x="496491" y="470402"/>
                    </a:lnTo>
                    <a:cubicBezTo>
                      <a:pt x="496491" y="465134"/>
                      <a:pt x="492223" y="460877"/>
                      <a:pt x="486966" y="460877"/>
                    </a:cubicBezTo>
                    <a:lnTo>
                      <a:pt x="289322" y="460877"/>
                    </a:lnTo>
                    <a:cubicBezTo>
                      <a:pt x="284064" y="460877"/>
                      <a:pt x="279797" y="465134"/>
                      <a:pt x="279797" y="470402"/>
                    </a:cubicBezTo>
                    <a:lnTo>
                      <a:pt x="279797" y="683819"/>
                    </a:lnTo>
                    <a:lnTo>
                      <a:pt x="76791" y="683819"/>
                    </a:lnTo>
                    <a:lnTo>
                      <a:pt x="76791" y="92469"/>
                    </a:lnTo>
                    <a:close/>
                    <a:moveTo>
                      <a:pt x="298847" y="683819"/>
                    </a:moveTo>
                    <a:lnTo>
                      <a:pt x="298847" y="479927"/>
                    </a:lnTo>
                    <a:lnTo>
                      <a:pt x="378619" y="479927"/>
                    </a:lnTo>
                    <a:lnTo>
                      <a:pt x="378619" y="683819"/>
                    </a:lnTo>
                    <a:lnTo>
                      <a:pt x="298847" y="683819"/>
                    </a:lnTo>
                    <a:close/>
                    <a:moveTo>
                      <a:pt x="397669" y="479927"/>
                    </a:moveTo>
                    <a:lnTo>
                      <a:pt x="477441" y="479927"/>
                    </a:lnTo>
                    <a:lnTo>
                      <a:pt x="477441" y="683819"/>
                    </a:lnTo>
                    <a:lnTo>
                      <a:pt x="397669" y="683819"/>
                    </a:lnTo>
                    <a:lnTo>
                      <a:pt x="397669" y="479927"/>
                    </a:lnTo>
                    <a:close/>
                    <a:moveTo>
                      <a:pt x="26194" y="702869"/>
                    </a:moveTo>
                    <a:lnTo>
                      <a:pt x="750094" y="702869"/>
                    </a:lnTo>
                    <a:lnTo>
                      <a:pt x="750094" y="750094"/>
                    </a:lnTo>
                    <a:lnTo>
                      <a:pt x="26194" y="750094"/>
                    </a:lnTo>
                    <a:lnTo>
                      <a:pt x="26194" y="70286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19" name="Freeform: Shape 448">
                <a:extLst>
                  <a:ext uri="{FF2B5EF4-FFF2-40B4-BE49-F238E27FC236}">
                    <a16:creationId xmlns:a16="http://schemas.microsoft.com/office/drawing/2014/main" id="{F454034B-6763-4A0A-B0FE-D1DB9F72670E}"/>
                  </a:ext>
                </a:extLst>
              </p:cNvPr>
              <p:cNvSpPr/>
              <p:nvPr/>
            </p:nvSpPr>
            <p:spPr>
              <a:xfrm>
                <a:off x="6256849" y="337441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20" name="Freeform: Shape 449">
                <a:extLst>
                  <a:ext uri="{FF2B5EF4-FFF2-40B4-BE49-F238E27FC236}">
                    <a16:creationId xmlns:a16="http://schemas.microsoft.com/office/drawing/2014/main" id="{24EF349C-A899-4CF6-B22D-E0DCD32D8C30}"/>
                  </a:ext>
                </a:extLst>
              </p:cNvPr>
              <p:cNvSpPr/>
              <p:nvPr/>
            </p:nvSpPr>
            <p:spPr>
              <a:xfrm>
                <a:off x="5842511" y="3374412"/>
                <a:ext cx="85725" cy="123825"/>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21" name="Freeform: Shape 450">
                <a:extLst>
                  <a:ext uri="{FF2B5EF4-FFF2-40B4-BE49-F238E27FC236}">
                    <a16:creationId xmlns:a16="http://schemas.microsoft.com/office/drawing/2014/main" id="{7F3FE53C-CBF1-48F9-BA17-9AC14B5F8DAF}"/>
                  </a:ext>
                </a:extLst>
              </p:cNvPr>
              <p:cNvSpPr/>
              <p:nvPr/>
            </p:nvSpPr>
            <p:spPr>
              <a:xfrm>
                <a:off x="6256849" y="322320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22" name="Freeform: Shape 451">
                <a:extLst>
                  <a:ext uri="{FF2B5EF4-FFF2-40B4-BE49-F238E27FC236}">
                    <a16:creationId xmlns:a16="http://schemas.microsoft.com/office/drawing/2014/main" id="{A8683496-7CDF-4C07-B477-B23572014B8D}"/>
                  </a:ext>
                </a:extLst>
              </p:cNvPr>
              <p:cNvSpPr/>
              <p:nvPr/>
            </p:nvSpPr>
            <p:spPr>
              <a:xfrm>
                <a:off x="6118841" y="322320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23" name="Freeform: Shape 452">
                <a:extLst>
                  <a:ext uri="{FF2B5EF4-FFF2-40B4-BE49-F238E27FC236}">
                    <a16:creationId xmlns:a16="http://schemas.microsoft.com/office/drawing/2014/main" id="{E2309ABB-96AB-40B1-9E0A-EDF4B55385B7}"/>
                  </a:ext>
                </a:extLst>
              </p:cNvPr>
              <p:cNvSpPr/>
              <p:nvPr/>
            </p:nvSpPr>
            <p:spPr>
              <a:xfrm>
                <a:off x="5981710" y="322320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24" name="Freeform: Shape 453">
                <a:extLst>
                  <a:ext uri="{FF2B5EF4-FFF2-40B4-BE49-F238E27FC236}">
                    <a16:creationId xmlns:a16="http://schemas.microsoft.com/office/drawing/2014/main" id="{F9BD3954-FCD8-4AE4-845C-21F5BEA83024}"/>
                  </a:ext>
                </a:extLst>
              </p:cNvPr>
              <p:cNvSpPr/>
              <p:nvPr/>
            </p:nvSpPr>
            <p:spPr>
              <a:xfrm>
                <a:off x="6118841" y="3071993"/>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25" name="Freeform: Shape 454">
                <a:extLst>
                  <a:ext uri="{FF2B5EF4-FFF2-40B4-BE49-F238E27FC236}">
                    <a16:creationId xmlns:a16="http://schemas.microsoft.com/office/drawing/2014/main" id="{76CA987B-3DC7-4A24-9F8E-6D6C6CD1AAFB}"/>
                  </a:ext>
                </a:extLst>
              </p:cNvPr>
              <p:cNvSpPr/>
              <p:nvPr/>
            </p:nvSpPr>
            <p:spPr>
              <a:xfrm>
                <a:off x="5981710" y="3071993"/>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26" name="Freeform: Shape 455">
                <a:extLst>
                  <a:ext uri="{FF2B5EF4-FFF2-40B4-BE49-F238E27FC236}">
                    <a16:creationId xmlns:a16="http://schemas.microsoft.com/office/drawing/2014/main" id="{D84E9FFA-61A1-4597-A96A-AF267E0FA218}"/>
                  </a:ext>
                </a:extLst>
              </p:cNvPr>
              <p:cNvSpPr/>
              <p:nvPr/>
            </p:nvSpPr>
            <p:spPr>
              <a:xfrm>
                <a:off x="5842511" y="3223202"/>
                <a:ext cx="85725" cy="123825"/>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27" name="Freeform: Shape 456">
                <a:extLst>
                  <a:ext uri="{FF2B5EF4-FFF2-40B4-BE49-F238E27FC236}">
                    <a16:creationId xmlns:a16="http://schemas.microsoft.com/office/drawing/2014/main" id="{5B51065B-697D-458C-A1D3-CB303B7688C9}"/>
                  </a:ext>
                </a:extLst>
              </p:cNvPr>
              <p:cNvSpPr/>
              <p:nvPr/>
            </p:nvSpPr>
            <p:spPr>
              <a:xfrm>
                <a:off x="6256849" y="3071993"/>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28" name="Freeform: Shape 457">
                <a:extLst>
                  <a:ext uri="{FF2B5EF4-FFF2-40B4-BE49-F238E27FC236}">
                    <a16:creationId xmlns:a16="http://schemas.microsoft.com/office/drawing/2014/main" id="{F3140EAF-9D64-4078-BBA5-6E461F2BA9B2}"/>
                  </a:ext>
                </a:extLst>
              </p:cNvPr>
              <p:cNvSpPr/>
              <p:nvPr/>
            </p:nvSpPr>
            <p:spPr>
              <a:xfrm>
                <a:off x="5842511" y="3071993"/>
                <a:ext cx="85725" cy="123825"/>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921" name="Group 920">
              <a:extLst>
                <a:ext uri="{FF2B5EF4-FFF2-40B4-BE49-F238E27FC236}">
                  <a16:creationId xmlns:a16="http://schemas.microsoft.com/office/drawing/2014/main" id="{8619C4E9-DEE1-44AB-9CAF-7CBD4EEBBF30}"/>
                </a:ext>
              </a:extLst>
            </p:cNvPr>
            <p:cNvGrpSpPr/>
            <p:nvPr/>
          </p:nvGrpSpPr>
          <p:grpSpPr>
            <a:xfrm>
              <a:off x="7602496" y="1739620"/>
              <a:ext cx="570891" cy="1272744"/>
              <a:chOff x="7602496" y="1739620"/>
              <a:chExt cx="570891" cy="1272744"/>
            </a:xfrm>
          </p:grpSpPr>
          <p:sp>
            <p:nvSpPr>
              <p:cNvPr id="980" name="Rectangle 979">
                <a:extLst>
                  <a:ext uri="{FF2B5EF4-FFF2-40B4-BE49-F238E27FC236}">
                    <a16:creationId xmlns:a16="http://schemas.microsoft.com/office/drawing/2014/main" id="{6F025070-A94E-4FD2-A480-A14146E83AE7}"/>
                  </a:ext>
                </a:extLst>
              </p:cNvPr>
              <p:cNvSpPr/>
              <p:nvPr/>
            </p:nvSpPr>
            <p:spPr>
              <a:xfrm>
                <a:off x="7602496" y="1863445"/>
                <a:ext cx="570891" cy="1148919"/>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981" name="Group 980">
                <a:extLst>
                  <a:ext uri="{FF2B5EF4-FFF2-40B4-BE49-F238E27FC236}">
                    <a16:creationId xmlns:a16="http://schemas.microsoft.com/office/drawing/2014/main" id="{0743A971-F4D0-4F49-A5B4-23D41CF3C6F5}"/>
                  </a:ext>
                </a:extLst>
              </p:cNvPr>
              <p:cNvGrpSpPr/>
              <p:nvPr/>
            </p:nvGrpSpPr>
            <p:grpSpPr>
              <a:xfrm>
                <a:off x="7681520" y="1918017"/>
                <a:ext cx="386355" cy="212495"/>
                <a:chOff x="7681520" y="1918017"/>
                <a:chExt cx="386355" cy="212495"/>
              </a:xfrm>
            </p:grpSpPr>
            <p:sp>
              <p:nvSpPr>
                <p:cNvPr id="1010" name="Freeform: Shape 613">
                  <a:extLst>
                    <a:ext uri="{FF2B5EF4-FFF2-40B4-BE49-F238E27FC236}">
                      <a16:creationId xmlns:a16="http://schemas.microsoft.com/office/drawing/2014/main" id="{31D3003D-69D0-43AB-8F47-3B90954BB0A0}"/>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11" name="Freeform: Shape 614">
                  <a:extLst>
                    <a:ext uri="{FF2B5EF4-FFF2-40B4-BE49-F238E27FC236}">
                      <a16:creationId xmlns:a16="http://schemas.microsoft.com/office/drawing/2014/main" id="{0ACDB22F-2041-487F-96F0-4D53C955592E}"/>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12" name="Freeform: Shape 615">
                  <a:extLst>
                    <a:ext uri="{FF2B5EF4-FFF2-40B4-BE49-F238E27FC236}">
                      <a16:creationId xmlns:a16="http://schemas.microsoft.com/office/drawing/2014/main" id="{1D0F5495-80E2-4276-AD8A-E2CCB8379B87}"/>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13" name="Freeform: Shape 616">
                  <a:extLst>
                    <a:ext uri="{FF2B5EF4-FFF2-40B4-BE49-F238E27FC236}">
                      <a16:creationId xmlns:a16="http://schemas.microsoft.com/office/drawing/2014/main" id="{75F5C856-CA0C-4DF8-ADE5-E9A692CC3F35}"/>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14" name="Freeform: Shape 617">
                  <a:extLst>
                    <a:ext uri="{FF2B5EF4-FFF2-40B4-BE49-F238E27FC236}">
                      <a16:creationId xmlns:a16="http://schemas.microsoft.com/office/drawing/2014/main" id="{03C41B6B-DF1C-413C-BF10-948DC90FEFF2}"/>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15" name="Freeform: Shape 618">
                  <a:extLst>
                    <a:ext uri="{FF2B5EF4-FFF2-40B4-BE49-F238E27FC236}">
                      <a16:creationId xmlns:a16="http://schemas.microsoft.com/office/drawing/2014/main" id="{B0871FBF-7C12-46A8-9D48-5E361F25A0E7}"/>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16" name="Freeform: Shape 619">
                  <a:extLst>
                    <a:ext uri="{FF2B5EF4-FFF2-40B4-BE49-F238E27FC236}">
                      <a16:creationId xmlns:a16="http://schemas.microsoft.com/office/drawing/2014/main" id="{23776C9E-D53A-47EB-914D-03DB163B75DA}"/>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17" name="Freeform: Shape 620">
                  <a:extLst>
                    <a:ext uri="{FF2B5EF4-FFF2-40B4-BE49-F238E27FC236}">
                      <a16:creationId xmlns:a16="http://schemas.microsoft.com/office/drawing/2014/main" id="{6FCE1129-6EEA-4818-9C22-5C96A9E1CB3E}"/>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982" name="Group 981">
                <a:extLst>
                  <a:ext uri="{FF2B5EF4-FFF2-40B4-BE49-F238E27FC236}">
                    <a16:creationId xmlns:a16="http://schemas.microsoft.com/office/drawing/2014/main" id="{623D1DE8-FB9E-431A-B1E6-25FADC13CD77}"/>
                  </a:ext>
                </a:extLst>
              </p:cNvPr>
              <p:cNvGrpSpPr/>
              <p:nvPr/>
            </p:nvGrpSpPr>
            <p:grpSpPr>
              <a:xfrm>
                <a:off x="7681520" y="2165667"/>
                <a:ext cx="386355" cy="212495"/>
                <a:chOff x="7681520" y="1918017"/>
                <a:chExt cx="386355" cy="212495"/>
              </a:xfrm>
            </p:grpSpPr>
            <p:sp>
              <p:nvSpPr>
                <p:cNvPr id="1002" name="Freeform: Shape 622">
                  <a:extLst>
                    <a:ext uri="{FF2B5EF4-FFF2-40B4-BE49-F238E27FC236}">
                      <a16:creationId xmlns:a16="http://schemas.microsoft.com/office/drawing/2014/main" id="{5CFEA125-032F-43B6-A7B5-3B3E13B65B5A}"/>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3" name="Freeform: Shape 623">
                  <a:extLst>
                    <a:ext uri="{FF2B5EF4-FFF2-40B4-BE49-F238E27FC236}">
                      <a16:creationId xmlns:a16="http://schemas.microsoft.com/office/drawing/2014/main" id="{1F95517B-8B68-4881-8DC1-4963D259D046}"/>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4" name="Freeform: Shape 624">
                  <a:extLst>
                    <a:ext uri="{FF2B5EF4-FFF2-40B4-BE49-F238E27FC236}">
                      <a16:creationId xmlns:a16="http://schemas.microsoft.com/office/drawing/2014/main" id="{31A338DE-2041-42A7-852A-B440F865B845}"/>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5" name="Freeform: Shape 625">
                  <a:extLst>
                    <a:ext uri="{FF2B5EF4-FFF2-40B4-BE49-F238E27FC236}">
                      <a16:creationId xmlns:a16="http://schemas.microsoft.com/office/drawing/2014/main" id="{2FA7AE4D-85F2-4C1B-970B-4BD418277FDC}"/>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6" name="Freeform: Shape 626">
                  <a:extLst>
                    <a:ext uri="{FF2B5EF4-FFF2-40B4-BE49-F238E27FC236}">
                      <a16:creationId xmlns:a16="http://schemas.microsoft.com/office/drawing/2014/main" id="{2BB500AE-A26E-4651-B142-FEBDDFC045ED}"/>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7" name="Freeform: Shape 627">
                  <a:extLst>
                    <a:ext uri="{FF2B5EF4-FFF2-40B4-BE49-F238E27FC236}">
                      <a16:creationId xmlns:a16="http://schemas.microsoft.com/office/drawing/2014/main" id="{9E3F810C-862D-4C6A-A7D8-A313D39B6BB2}"/>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8" name="Freeform: Shape 628">
                  <a:extLst>
                    <a:ext uri="{FF2B5EF4-FFF2-40B4-BE49-F238E27FC236}">
                      <a16:creationId xmlns:a16="http://schemas.microsoft.com/office/drawing/2014/main" id="{D50613AF-9DAC-49B5-956A-94E8465E204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9" name="Freeform: Shape 629">
                  <a:extLst>
                    <a:ext uri="{FF2B5EF4-FFF2-40B4-BE49-F238E27FC236}">
                      <a16:creationId xmlns:a16="http://schemas.microsoft.com/office/drawing/2014/main" id="{4B9269CF-6878-4C31-B7A6-D3A91E055EC4}"/>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983" name="Group 982">
                <a:extLst>
                  <a:ext uri="{FF2B5EF4-FFF2-40B4-BE49-F238E27FC236}">
                    <a16:creationId xmlns:a16="http://schemas.microsoft.com/office/drawing/2014/main" id="{83398368-FF21-4690-9F47-3C01B401F17E}"/>
                  </a:ext>
                </a:extLst>
              </p:cNvPr>
              <p:cNvGrpSpPr/>
              <p:nvPr/>
            </p:nvGrpSpPr>
            <p:grpSpPr>
              <a:xfrm>
                <a:off x="7681520" y="2429192"/>
                <a:ext cx="386355" cy="212495"/>
                <a:chOff x="7681520" y="1918017"/>
                <a:chExt cx="386355" cy="212495"/>
              </a:xfrm>
            </p:grpSpPr>
            <p:sp>
              <p:nvSpPr>
                <p:cNvPr id="994" name="Freeform: Shape 631">
                  <a:extLst>
                    <a:ext uri="{FF2B5EF4-FFF2-40B4-BE49-F238E27FC236}">
                      <a16:creationId xmlns:a16="http://schemas.microsoft.com/office/drawing/2014/main" id="{FADF1AD1-FBC6-4AFA-B95A-C3E1A6ABAE76}"/>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5" name="Freeform: Shape 632">
                  <a:extLst>
                    <a:ext uri="{FF2B5EF4-FFF2-40B4-BE49-F238E27FC236}">
                      <a16:creationId xmlns:a16="http://schemas.microsoft.com/office/drawing/2014/main" id="{ECC23EDB-DDBE-4FD3-986F-B514BBCDA4EC}"/>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6" name="Freeform: Shape 633">
                  <a:extLst>
                    <a:ext uri="{FF2B5EF4-FFF2-40B4-BE49-F238E27FC236}">
                      <a16:creationId xmlns:a16="http://schemas.microsoft.com/office/drawing/2014/main" id="{9F2142F2-3069-4C1D-8EF2-F90C79FA3AB8}"/>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7" name="Freeform: Shape 634">
                  <a:extLst>
                    <a:ext uri="{FF2B5EF4-FFF2-40B4-BE49-F238E27FC236}">
                      <a16:creationId xmlns:a16="http://schemas.microsoft.com/office/drawing/2014/main" id="{B1EA25BE-5F9F-43FA-AEE5-154AD3736A64}"/>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8" name="Freeform: Shape 635">
                  <a:extLst>
                    <a:ext uri="{FF2B5EF4-FFF2-40B4-BE49-F238E27FC236}">
                      <a16:creationId xmlns:a16="http://schemas.microsoft.com/office/drawing/2014/main" id="{613BC104-4FCD-4B68-A3F0-1D79B4254772}"/>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9" name="Freeform: Shape 636">
                  <a:extLst>
                    <a:ext uri="{FF2B5EF4-FFF2-40B4-BE49-F238E27FC236}">
                      <a16:creationId xmlns:a16="http://schemas.microsoft.com/office/drawing/2014/main" id="{FD79181F-63B5-44AE-81D3-92203C35C660}"/>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0" name="Freeform: Shape 637">
                  <a:extLst>
                    <a:ext uri="{FF2B5EF4-FFF2-40B4-BE49-F238E27FC236}">
                      <a16:creationId xmlns:a16="http://schemas.microsoft.com/office/drawing/2014/main" id="{5F5F1658-98D3-480F-87EE-7864866DCD00}"/>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1" name="Freeform: Shape 638">
                  <a:extLst>
                    <a:ext uri="{FF2B5EF4-FFF2-40B4-BE49-F238E27FC236}">
                      <a16:creationId xmlns:a16="http://schemas.microsoft.com/office/drawing/2014/main" id="{0168CFCA-B35F-41A5-94B1-6202B4643E0A}"/>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984" name="Group 983">
                <a:extLst>
                  <a:ext uri="{FF2B5EF4-FFF2-40B4-BE49-F238E27FC236}">
                    <a16:creationId xmlns:a16="http://schemas.microsoft.com/office/drawing/2014/main" id="{1371FD26-6207-45DE-8FFF-F63928D3219E}"/>
                  </a:ext>
                </a:extLst>
              </p:cNvPr>
              <p:cNvGrpSpPr/>
              <p:nvPr/>
            </p:nvGrpSpPr>
            <p:grpSpPr>
              <a:xfrm>
                <a:off x="7681520" y="2692717"/>
                <a:ext cx="386355" cy="212495"/>
                <a:chOff x="7681520" y="1918017"/>
                <a:chExt cx="386355" cy="212495"/>
              </a:xfrm>
            </p:grpSpPr>
            <p:sp>
              <p:nvSpPr>
                <p:cNvPr id="986" name="Freeform: Shape 640">
                  <a:extLst>
                    <a:ext uri="{FF2B5EF4-FFF2-40B4-BE49-F238E27FC236}">
                      <a16:creationId xmlns:a16="http://schemas.microsoft.com/office/drawing/2014/main" id="{9227E197-9FA0-4FF6-B998-BCD32CACFCAF}"/>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7" name="Freeform: Shape 641">
                  <a:extLst>
                    <a:ext uri="{FF2B5EF4-FFF2-40B4-BE49-F238E27FC236}">
                      <a16:creationId xmlns:a16="http://schemas.microsoft.com/office/drawing/2014/main" id="{A62770A8-41DA-4AA6-8DB0-48B9FF5E7174}"/>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8" name="Freeform: Shape 642">
                  <a:extLst>
                    <a:ext uri="{FF2B5EF4-FFF2-40B4-BE49-F238E27FC236}">
                      <a16:creationId xmlns:a16="http://schemas.microsoft.com/office/drawing/2014/main" id="{99FD1C56-9940-44D5-B806-8F5641AED512}"/>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9" name="Freeform: Shape 643">
                  <a:extLst>
                    <a:ext uri="{FF2B5EF4-FFF2-40B4-BE49-F238E27FC236}">
                      <a16:creationId xmlns:a16="http://schemas.microsoft.com/office/drawing/2014/main" id="{F45FCD9E-03EF-4961-B467-A1363C31AA26}"/>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0" name="Freeform: Shape 644">
                  <a:extLst>
                    <a:ext uri="{FF2B5EF4-FFF2-40B4-BE49-F238E27FC236}">
                      <a16:creationId xmlns:a16="http://schemas.microsoft.com/office/drawing/2014/main" id="{D2678F5B-FFBA-44DD-829D-645CFC56D566}"/>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1" name="Freeform: Shape 645">
                  <a:extLst>
                    <a:ext uri="{FF2B5EF4-FFF2-40B4-BE49-F238E27FC236}">
                      <a16:creationId xmlns:a16="http://schemas.microsoft.com/office/drawing/2014/main" id="{46552C97-E191-4623-8588-29F039D488DC}"/>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2" name="Freeform: Shape 646">
                  <a:extLst>
                    <a:ext uri="{FF2B5EF4-FFF2-40B4-BE49-F238E27FC236}">
                      <a16:creationId xmlns:a16="http://schemas.microsoft.com/office/drawing/2014/main" id="{9C4EEF16-E9D3-42BB-B419-5978A70D805D}"/>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3" name="Freeform: Shape 647">
                  <a:extLst>
                    <a:ext uri="{FF2B5EF4-FFF2-40B4-BE49-F238E27FC236}">
                      <a16:creationId xmlns:a16="http://schemas.microsoft.com/office/drawing/2014/main" id="{D525B7EF-BF21-47F2-AC13-B8C9B1284233}"/>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985" name="Rectangle 984">
                <a:extLst>
                  <a:ext uri="{FF2B5EF4-FFF2-40B4-BE49-F238E27FC236}">
                    <a16:creationId xmlns:a16="http://schemas.microsoft.com/office/drawing/2014/main" id="{49F05559-D241-48B8-ADA8-3F58000635BC}"/>
                  </a:ext>
                </a:extLst>
              </p:cNvPr>
              <p:cNvSpPr/>
              <p:nvPr/>
            </p:nvSpPr>
            <p:spPr>
              <a:xfrm>
                <a:off x="7710446" y="1739620"/>
                <a:ext cx="363579" cy="124105"/>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grpSp>
          <p:nvGrpSpPr>
            <p:cNvPr id="922" name="Group 921">
              <a:extLst>
                <a:ext uri="{FF2B5EF4-FFF2-40B4-BE49-F238E27FC236}">
                  <a16:creationId xmlns:a16="http://schemas.microsoft.com/office/drawing/2014/main" id="{FEA3E8C3-F514-452F-874E-9F8AB70A629E}"/>
                </a:ext>
              </a:extLst>
            </p:cNvPr>
            <p:cNvGrpSpPr/>
            <p:nvPr/>
          </p:nvGrpSpPr>
          <p:grpSpPr>
            <a:xfrm>
              <a:off x="8177171" y="2098675"/>
              <a:ext cx="570891" cy="913689"/>
              <a:chOff x="8177171" y="2098675"/>
              <a:chExt cx="570891" cy="913689"/>
            </a:xfrm>
          </p:grpSpPr>
          <p:sp>
            <p:nvSpPr>
              <p:cNvPr id="952" name="Rectangle 951">
                <a:extLst>
                  <a:ext uri="{FF2B5EF4-FFF2-40B4-BE49-F238E27FC236}">
                    <a16:creationId xmlns:a16="http://schemas.microsoft.com/office/drawing/2014/main" id="{D35675EB-DAC8-44CA-A3E3-FF7673828F1F}"/>
                  </a:ext>
                </a:extLst>
              </p:cNvPr>
              <p:cNvSpPr/>
              <p:nvPr/>
            </p:nvSpPr>
            <p:spPr>
              <a:xfrm>
                <a:off x="8177171" y="2098675"/>
                <a:ext cx="570891" cy="913689"/>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953" name="Group 952">
                <a:extLst>
                  <a:ext uri="{FF2B5EF4-FFF2-40B4-BE49-F238E27FC236}">
                    <a16:creationId xmlns:a16="http://schemas.microsoft.com/office/drawing/2014/main" id="{E88663B7-7F40-4F03-BC22-E4F1ECE0F746}"/>
                  </a:ext>
                </a:extLst>
              </p:cNvPr>
              <p:cNvGrpSpPr/>
              <p:nvPr/>
            </p:nvGrpSpPr>
            <p:grpSpPr>
              <a:xfrm>
                <a:off x="8256195" y="2165667"/>
                <a:ext cx="386355" cy="212495"/>
                <a:chOff x="7681520" y="1918017"/>
                <a:chExt cx="386355" cy="212495"/>
              </a:xfrm>
            </p:grpSpPr>
            <p:sp>
              <p:nvSpPr>
                <p:cNvPr id="972" name="Freeform: Shape 670">
                  <a:extLst>
                    <a:ext uri="{FF2B5EF4-FFF2-40B4-BE49-F238E27FC236}">
                      <a16:creationId xmlns:a16="http://schemas.microsoft.com/office/drawing/2014/main" id="{A8137716-D672-4DC9-9B3E-259C52644D02}"/>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3" name="Freeform: Shape 671">
                  <a:extLst>
                    <a:ext uri="{FF2B5EF4-FFF2-40B4-BE49-F238E27FC236}">
                      <a16:creationId xmlns:a16="http://schemas.microsoft.com/office/drawing/2014/main" id="{4ED7132E-1AA7-4D65-93E4-5AF6FCB82695}"/>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4" name="Freeform: Shape 672">
                  <a:extLst>
                    <a:ext uri="{FF2B5EF4-FFF2-40B4-BE49-F238E27FC236}">
                      <a16:creationId xmlns:a16="http://schemas.microsoft.com/office/drawing/2014/main" id="{8DDFE472-0C23-4E92-8762-FE9269710FF3}"/>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5" name="Freeform: Shape 673">
                  <a:extLst>
                    <a:ext uri="{FF2B5EF4-FFF2-40B4-BE49-F238E27FC236}">
                      <a16:creationId xmlns:a16="http://schemas.microsoft.com/office/drawing/2014/main" id="{AF1C5192-1210-4FFB-81D5-35B4DE196F3C}"/>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6" name="Freeform: Shape 674">
                  <a:extLst>
                    <a:ext uri="{FF2B5EF4-FFF2-40B4-BE49-F238E27FC236}">
                      <a16:creationId xmlns:a16="http://schemas.microsoft.com/office/drawing/2014/main" id="{7FECE02D-BD9A-453F-90FC-782E497486DF}"/>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7" name="Freeform: Shape 675">
                  <a:extLst>
                    <a:ext uri="{FF2B5EF4-FFF2-40B4-BE49-F238E27FC236}">
                      <a16:creationId xmlns:a16="http://schemas.microsoft.com/office/drawing/2014/main" id="{2E87A703-6368-4475-B778-00D541B0C605}"/>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8" name="Freeform: Shape 676">
                  <a:extLst>
                    <a:ext uri="{FF2B5EF4-FFF2-40B4-BE49-F238E27FC236}">
                      <a16:creationId xmlns:a16="http://schemas.microsoft.com/office/drawing/2014/main" id="{2FF07726-6A9F-4C80-BACC-453BE1104DB5}"/>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9" name="Freeform: Shape 677">
                  <a:extLst>
                    <a:ext uri="{FF2B5EF4-FFF2-40B4-BE49-F238E27FC236}">
                      <a16:creationId xmlns:a16="http://schemas.microsoft.com/office/drawing/2014/main" id="{343B4E2C-23C4-471B-B287-CF1F22B8D71F}"/>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954" name="Group 953">
                <a:extLst>
                  <a:ext uri="{FF2B5EF4-FFF2-40B4-BE49-F238E27FC236}">
                    <a16:creationId xmlns:a16="http://schemas.microsoft.com/office/drawing/2014/main" id="{5EC42186-E0B0-4B42-A20D-A2E2F18DD4FD}"/>
                  </a:ext>
                </a:extLst>
              </p:cNvPr>
              <p:cNvGrpSpPr/>
              <p:nvPr/>
            </p:nvGrpSpPr>
            <p:grpSpPr>
              <a:xfrm>
                <a:off x="8256195" y="2429192"/>
                <a:ext cx="386355" cy="212495"/>
                <a:chOff x="7681520" y="1918017"/>
                <a:chExt cx="386355" cy="212495"/>
              </a:xfrm>
            </p:grpSpPr>
            <p:sp>
              <p:nvSpPr>
                <p:cNvPr id="964" name="Freeform: Shape 662">
                  <a:extLst>
                    <a:ext uri="{FF2B5EF4-FFF2-40B4-BE49-F238E27FC236}">
                      <a16:creationId xmlns:a16="http://schemas.microsoft.com/office/drawing/2014/main" id="{F5CD9D99-C5C7-43D6-A58F-C210C0D3148A}"/>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5" name="Freeform: Shape 663">
                  <a:extLst>
                    <a:ext uri="{FF2B5EF4-FFF2-40B4-BE49-F238E27FC236}">
                      <a16:creationId xmlns:a16="http://schemas.microsoft.com/office/drawing/2014/main" id="{5010DB45-97F6-43E3-BABD-611841BC84C1}"/>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6" name="Freeform: Shape 664">
                  <a:extLst>
                    <a:ext uri="{FF2B5EF4-FFF2-40B4-BE49-F238E27FC236}">
                      <a16:creationId xmlns:a16="http://schemas.microsoft.com/office/drawing/2014/main" id="{1A7A5710-8F56-4FE6-9D52-A395CE62612B}"/>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7" name="Freeform: Shape 665">
                  <a:extLst>
                    <a:ext uri="{FF2B5EF4-FFF2-40B4-BE49-F238E27FC236}">
                      <a16:creationId xmlns:a16="http://schemas.microsoft.com/office/drawing/2014/main" id="{59C8D57C-1648-447C-A166-D34CBDC404DC}"/>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8" name="Freeform: Shape 666">
                  <a:extLst>
                    <a:ext uri="{FF2B5EF4-FFF2-40B4-BE49-F238E27FC236}">
                      <a16:creationId xmlns:a16="http://schemas.microsoft.com/office/drawing/2014/main" id="{0348AE04-E05E-4E72-B18E-9CAC2E5699AE}"/>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9" name="Freeform: Shape 667">
                  <a:extLst>
                    <a:ext uri="{FF2B5EF4-FFF2-40B4-BE49-F238E27FC236}">
                      <a16:creationId xmlns:a16="http://schemas.microsoft.com/office/drawing/2014/main" id="{7531DB24-EFEE-462D-827D-C41060AACB53}"/>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0" name="Freeform: Shape 668">
                  <a:extLst>
                    <a:ext uri="{FF2B5EF4-FFF2-40B4-BE49-F238E27FC236}">
                      <a16:creationId xmlns:a16="http://schemas.microsoft.com/office/drawing/2014/main" id="{C2C381B5-CF91-45F4-BAE6-A514FBD82D30}"/>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1" name="Freeform: Shape 669">
                  <a:extLst>
                    <a:ext uri="{FF2B5EF4-FFF2-40B4-BE49-F238E27FC236}">
                      <a16:creationId xmlns:a16="http://schemas.microsoft.com/office/drawing/2014/main" id="{4AE38176-2FCA-48D8-917A-DF6F671DF3E2}"/>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955" name="Group 954">
                <a:extLst>
                  <a:ext uri="{FF2B5EF4-FFF2-40B4-BE49-F238E27FC236}">
                    <a16:creationId xmlns:a16="http://schemas.microsoft.com/office/drawing/2014/main" id="{72E74082-CEFB-4D10-91F2-8AE218698A18}"/>
                  </a:ext>
                </a:extLst>
              </p:cNvPr>
              <p:cNvGrpSpPr/>
              <p:nvPr/>
            </p:nvGrpSpPr>
            <p:grpSpPr>
              <a:xfrm>
                <a:off x="8256195" y="2692717"/>
                <a:ext cx="386355" cy="212495"/>
                <a:chOff x="7681520" y="1918017"/>
                <a:chExt cx="386355" cy="212495"/>
              </a:xfrm>
            </p:grpSpPr>
            <p:sp>
              <p:nvSpPr>
                <p:cNvPr id="956" name="Freeform: Shape 654">
                  <a:extLst>
                    <a:ext uri="{FF2B5EF4-FFF2-40B4-BE49-F238E27FC236}">
                      <a16:creationId xmlns:a16="http://schemas.microsoft.com/office/drawing/2014/main" id="{B463FEBF-3CF6-4BD2-A0D4-E2281CE33BA8}"/>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7" name="Freeform: Shape 655">
                  <a:extLst>
                    <a:ext uri="{FF2B5EF4-FFF2-40B4-BE49-F238E27FC236}">
                      <a16:creationId xmlns:a16="http://schemas.microsoft.com/office/drawing/2014/main" id="{113EAD5A-6DA8-430E-882D-497E4086B4BF}"/>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8" name="Freeform: Shape 656">
                  <a:extLst>
                    <a:ext uri="{FF2B5EF4-FFF2-40B4-BE49-F238E27FC236}">
                      <a16:creationId xmlns:a16="http://schemas.microsoft.com/office/drawing/2014/main" id="{67B2CE8D-1312-42F2-8504-18D9ECDEEE54}"/>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9" name="Freeform: Shape 657">
                  <a:extLst>
                    <a:ext uri="{FF2B5EF4-FFF2-40B4-BE49-F238E27FC236}">
                      <a16:creationId xmlns:a16="http://schemas.microsoft.com/office/drawing/2014/main" id="{6E533FA1-EEBC-46E2-8117-A2BC0013469A}"/>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0" name="Freeform: Shape 658">
                  <a:extLst>
                    <a:ext uri="{FF2B5EF4-FFF2-40B4-BE49-F238E27FC236}">
                      <a16:creationId xmlns:a16="http://schemas.microsoft.com/office/drawing/2014/main" id="{5A5F440A-58EE-4BE1-A601-BCB0285B4FC5}"/>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1" name="Freeform: Shape 659">
                  <a:extLst>
                    <a:ext uri="{FF2B5EF4-FFF2-40B4-BE49-F238E27FC236}">
                      <a16:creationId xmlns:a16="http://schemas.microsoft.com/office/drawing/2014/main" id="{CAA0817C-3CDF-45AD-A68D-39675EC5F38C}"/>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2" name="Freeform: Shape 660">
                  <a:extLst>
                    <a:ext uri="{FF2B5EF4-FFF2-40B4-BE49-F238E27FC236}">
                      <a16:creationId xmlns:a16="http://schemas.microsoft.com/office/drawing/2014/main" id="{929D3AED-C93D-427B-BC2D-FC5C304383D5}"/>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3" name="Freeform: Shape 661">
                  <a:extLst>
                    <a:ext uri="{FF2B5EF4-FFF2-40B4-BE49-F238E27FC236}">
                      <a16:creationId xmlns:a16="http://schemas.microsoft.com/office/drawing/2014/main" id="{3C12F8D7-4B06-4D42-9CC2-866EE1E6A617}"/>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nvGrpSpPr>
            <p:cNvPr id="923" name="Group 922">
              <a:extLst>
                <a:ext uri="{FF2B5EF4-FFF2-40B4-BE49-F238E27FC236}">
                  <a16:creationId xmlns:a16="http://schemas.microsoft.com/office/drawing/2014/main" id="{32724CEB-FDE7-4F9B-AFAF-D12123EE2027}"/>
                </a:ext>
              </a:extLst>
            </p:cNvPr>
            <p:cNvGrpSpPr/>
            <p:nvPr/>
          </p:nvGrpSpPr>
          <p:grpSpPr>
            <a:xfrm>
              <a:off x="7030996" y="2098675"/>
              <a:ext cx="570891" cy="913689"/>
              <a:chOff x="8177171" y="2098675"/>
              <a:chExt cx="570891" cy="913689"/>
            </a:xfrm>
          </p:grpSpPr>
          <p:sp>
            <p:nvSpPr>
              <p:cNvPr id="924" name="Rectangle 923">
                <a:extLst>
                  <a:ext uri="{FF2B5EF4-FFF2-40B4-BE49-F238E27FC236}">
                    <a16:creationId xmlns:a16="http://schemas.microsoft.com/office/drawing/2014/main" id="{3F2AE079-085F-4CCD-9DF8-846D273EA67E}"/>
                  </a:ext>
                </a:extLst>
              </p:cNvPr>
              <p:cNvSpPr/>
              <p:nvPr/>
            </p:nvSpPr>
            <p:spPr>
              <a:xfrm>
                <a:off x="8177171" y="2098675"/>
                <a:ext cx="570891" cy="913689"/>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925" name="Group 924">
                <a:extLst>
                  <a:ext uri="{FF2B5EF4-FFF2-40B4-BE49-F238E27FC236}">
                    <a16:creationId xmlns:a16="http://schemas.microsoft.com/office/drawing/2014/main" id="{82F2CD1B-8EF3-4FD5-B6BB-4ED9806F627E}"/>
                  </a:ext>
                </a:extLst>
              </p:cNvPr>
              <p:cNvGrpSpPr/>
              <p:nvPr/>
            </p:nvGrpSpPr>
            <p:grpSpPr>
              <a:xfrm>
                <a:off x="8256195" y="2165667"/>
                <a:ext cx="386355" cy="212495"/>
                <a:chOff x="7681520" y="1918017"/>
                <a:chExt cx="386355" cy="212495"/>
              </a:xfrm>
            </p:grpSpPr>
            <p:sp>
              <p:nvSpPr>
                <p:cNvPr id="944" name="Freeform: Shape 707">
                  <a:extLst>
                    <a:ext uri="{FF2B5EF4-FFF2-40B4-BE49-F238E27FC236}">
                      <a16:creationId xmlns:a16="http://schemas.microsoft.com/office/drawing/2014/main" id="{203F7D2B-F5CB-4B61-8987-8D1ED35D1AD4}"/>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5" name="Freeform: Shape 708">
                  <a:extLst>
                    <a:ext uri="{FF2B5EF4-FFF2-40B4-BE49-F238E27FC236}">
                      <a16:creationId xmlns:a16="http://schemas.microsoft.com/office/drawing/2014/main" id="{BEFB5D86-B84E-4C38-AC2F-D325429429DA}"/>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6" name="Freeform: Shape 709">
                  <a:extLst>
                    <a:ext uri="{FF2B5EF4-FFF2-40B4-BE49-F238E27FC236}">
                      <a16:creationId xmlns:a16="http://schemas.microsoft.com/office/drawing/2014/main" id="{AA87997F-85D3-476F-9D39-2E59D4F7D359}"/>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7" name="Freeform: Shape 710">
                  <a:extLst>
                    <a:ext uri="{FF2B5EF4-FFF2-40B4-BE49-F238E27FC236}">
                      <a16:creationId xmlns:a16="http://schemas.microsoft.com/office/drawing/2014/main" id="{3261E925-D374-430D-BE66-428624434C85}"/>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8" name="Freeform: Shape 711">
                  <a:extLst>
                    <a:ext uri="{FF2B5EF4-FFF2-40B4-BE49-F238E27FC236}">
                      <a16:creationId xmlns:a16="http://schemas.microsoft.com/office/drawing/2014/main" id="{0860838F-CFDC-41BC-B92A-163A0EE3F14F}"/>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9" name="Freeform: Shape 712">
                  <a:extLst>
                    <a:ext uri="{FF2B5EF4-FFF2-40B4-BE49-F238E27FC236}">
                      <a16:creationId xmlns:a16="http://schemas.microsoft.com/office/drawing/2014/main" id="{E55480F1-1893-484D-8FF9-85A0A94DD473}"/>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0" name="Freeform: Shape 713">
                  <a:extLst>
                    <a:ext uri="{FF2B5EF4-FFF2-40B4-BE49-F238E27FC236}">
                      <a16:creationId xmlns:a16="http://schemas.microsoft.com/office/drawing/2014/main" id="{1D41F713-F934-41C1-8730-4A748EF41DD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1" name="Freeform: Shape 714">
                  <a:extLst>
                    <a:ext uri="{FF2B5EF4-FFF2-40B4-BE49-F238E27FC236}">
                      <a16:creationId xmlns:a16="http://schemas.microsoft.com/office/drawing/2014/main" id="{3268174C-3044-42A4-AD12-A0903062DADB}"/>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926" name="Group 925">
                <a:extLst>
                  <a:ext uri="{FF2B5EF4-FFF2-40B4-BE49-F238E27FC236}">
                    <a16:creationId xmlns:a16="http://schemas.microsoft.com/office/drawing/2014/main" id="{82C37B37-BA84-47CF-B761-1B8DF16E95A3}"/>
                  </a:ext>
                </a:extLst>
              </p:cNvPr>
              <p:cNvGrpSpPr/>
              <p:nvPr/>
            </p:nvGrpSpPr>
            <p:grpSpPr>
              <a:xfrm>
                <a:off x="8256195" y="2429192"/>
                <a:ext cx="386355" cy="212495"/>
                <a:chOff x="7681520" y="1918017"/>
                <a:chExt cx="386355" cy="212495"/>
              </a:xfrm>
            </p:grpSpPr>
            <p:sp>
              <p:nvSpPr>
                <p:cNvPr id="936" name="Freeform: Shape 699">
                  <a:extLst>
                    <a:ext uri="{FF2B5EF4-FFF2-40B4-BE49-F238E27FC236}">
                      <a16:creationId xmlns:a16="http://schemas.microsoft.com/office/drawing/2014/main" id="{54015EB5-AFCF-441A-B529-7B008BA11323}"/>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7" name="Freeform: Shape 700">
                  <a:extLst>
                    <a:ext uri="{FF2B5EF4-FFF2-40B4-BE49-F238E27FC236}">
                      <a16:creationId xmlns:a16="http://schemas.microsoft.com/office/drawing/2014/main" id="{5C0325B9-FEC8-4CF2-A84F-E7EDF9734AF9}"/>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8" name="Freeform: Shape 701">
                  <a:extLst>
                    <a:ext uri="{FF2B5EF4-FFF2-40B4-BE49-F238E27FC236}">
                      <a16:creationId xmlns:a16="http://schemas.microsoft.com/office/drawing/2014/main" id="{715C2893-6A38-4995-AB07-EDB72A2B6020}"/>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9" name="Freeform: Shape 702">
                  <a:extLst>
                    <a:ext uri="{FF2B5EF4-FFF2-40B4-BE49-F238E27FC236}">
                      <a16:creationId xmlns:a16="http://schemas.microsoft.com/office/drawing/2014/main" id="{B2E524EA-7500-401B-AA51-ACDA7049C5D7}"/>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0" name="Freeform: Shape 703">
                  <a:extLst>
                    <a:ext uri="{FF2B5EF4-FFF2-40B4-BE49-F238E27FC236}">
                      <a16:creationId xmlns:a16="http://schemas.microsoft.com/office/drawing/2014/main" id="{4DEAB885-F959-44BC-9663-983D9EB5377A}"/>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1" name="Freeform: Shape 704">
                  <a:extLst>
                    <a:ext uri="{FF2B5EF4-FFF2-40B4-BE49-F238E27FC236}">
                      <a16:creationId xmlns:a16="http://schemas.microsoft.com/office/drawing/2014/main" id="{3FF6C649-EAFC-4D3E-B311-CF8D6A2E342C}"/>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2" name="Freeform: Shape 705">
                  <a:extLst>
                    <a:ext uri="{FF2B5EF4-FFF2-40B4-BE49-F238E27FC236}">
                      <a16:creationId xmlns:a16="http://schemas.microsoft.com/office/drawing/2014/main" id="{51CF9C68-DDD8-42E2-B73D-CBF745F6AD3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3" name="Freeform: Shape 706">
                  <a:extLst>
                    <a:ext uri="{FF2B5EF4-FFF2-40B4-BE49-F238E27FC236}">
                      <a16:creationId xmlns:a16="http://schemas.microsoft.com/office/drawing/2014/main" id="{620A3177-F1C6-4C99-9E55-F8621C372FBF}"/>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927" name="Group 926">
                <a:extLst>
                  <a:ext uri="{FF2B5EF4-FFF2-40B4-BE49-F238E27FC236}">
                    <a16:creationId xmlns:a16="http://schemas.microsoft.com/office/drawing/2014/main" id="{0CC9FADE-28F9-49BB-A344-BDF29A40C9C5}"/>
                  </a:ext>
                </a:extLst>
              </p:cNvPr>
              <p:cNvGrpSpPr/>
              <p:nvPr/>
            </p:nvGrpSpPr>
            <p:grpSpPr>
              <a:xfrm>
                <a:off x="8256195" y="2692717"/>
                <a:ext cx="386355" cy="212495"/>
                <a:chOff x="7681520" y="1918017"/>
                <a:chExt cx="386355" cy="212495"/>
              </a:xfrm>
            </p:grpSpPr>
            <p:sp>
              <p:nvSpPr>
                <p:cNvPr id="928" name="Freeform: Shape 691">
                  <a:extLst>
                    <a:ext uri="{FF2B5EF4-FFF2-40B4-BE49-F238E27FC236}">
                      <a16:creationId xmlns:a16="http://schemas.microsoft.com/office/drawing/2014/main" id="{E6D347EC-194B-4960-86DC-D0E0E8626DD5}"/>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9" name="Freeform: Shape 692">
                  <a:extLst>
                    <a:ext uri="{FF2B5EF4-FFF2-40B4-BE49-F238E27FC236}">
                      <a16:creationId xmlns:a16="http://schemas.microsoft.com/office/drawing/2014/main" id="{C5FE6987-2FA3-417F-B341-52792038C0DE}"/>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0" name="Freeform: Shape 693">
                  <a:extLst>
                    <a:ext uri="{FF2B5EF4-FFF2-40B4-BE49-F238E27FC236}">
                      <a16:creationId xmlns:a16="http://schemas.microsoft.com/office/drawing/2014/main" id="{9B352CD8-25B0-4EDE-9A03-873248250118}"/>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1" name="Freeform: Shape 694">
                  <a:extLst>
                    <a:ext uri="{FF2B5EF4-FFF2-40B4-BE49-F238E27FC236}">
                      <a16:creationId xmlns:a16="http://schemas.microsoft.com/office/drawing/2014/main" id="{D6DA0E0A-A52E-4E08-8F8B-9B7EA9ECD4C1}"/>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2" name="Freeform: Shape 695">
                  <a:extLst>
                    <a:ext uri="{FF2B5EF4-FFF2-40B4-BE49-F238E27FC236}">
                      <a16:creationId xmlns:a16="http://schemas.microsoft.com/office/drawing/2014/main" id="{D46D8B46-5EB2-4AFB-B842-E2D25BAA1B84}"/>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3" name="Freeform: Shape 696">
                  <a:extLst>
                    <a:ext uri="{FF2B5EF4-FFF2-40B4-BE49-F238E27FC236}">
                      <a16:creationId xmlns:a16="http://schemas.microsoft.com/office/drawing/2014/main" id="{063D1DC3-42EE-4D5E-9219-F2B3D5AA2BB0}"/>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4" name="Freeform: Shape 697">
                  <a:extLst>
                    <a:ext uri="{FF2B5EF4-FFF2-40B4-BE49-F238E27FC236}">
                      <a16:creationId xmlns:a16="http://schemas.microsoft.com/office/drawing/2014/main" id="{88BA0CC1-4D2D-46AD-925E-A89044247021}"/>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5" name="Freeform: Shape 698">
                  <a:extLst>
                    <a:ext uri="{FF2B5EF4-FFF2-40B4-BE49-F238E27FC236}">
                      <a16:creationId xmlns:a16="http://schemas.microsoft.com/office/drawing/2014/main" id="{FC9383D1-ED48-4DF1-B637-C22F7ABB820F}"/>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grpSp>
        <p:nvGrpSpPr>
          <p:cNvPr id="1040" name="Group 1039">
            <a:extLst>
              <a:ext uri="{FF2B5EF4-FFF2-40B4-BE49-F238E27FC236}">
                <a16:creationId xmlns:a16="http://schemas.microsoft.com/office/drawing/2014/main" id="{E80F6F4E-8D26-4AA5-90D5-21EC266C4918}"/>
              </a:ext>
            </a:extLst>
          </p:cNvPr>
          <p:cNvGrpSpPr/>
          <p:nvPr/>
        </p:nvGrpSpPr>
        <p:grpSpPr>
          <a:xfrm>
            <a:off x="6846735" y="750512"/>
            <a:ext cx="670137" cy="411356"/>
            <a:chOff x="6486211" y="1739620"/>
            <a:chExt cx="2801675" cy="1283916"/>
          </a:xfrm>
        </p:grpSpPr>
        <p:grpSp>
          <p:nvGrpSpPr>
            <p:cNvPr id="1041" name="Group 1040">
              <a:extLst>
                <a:ext uri="{FF2B5EF4-FFF2-40B4-BE49-F238E27FC236}">
                  <a16:creationId xmlns:a16="http://schemas.microsoft.com/office/drawing/2014/main" id="{6E4EAD5C-7924-4B1F-9DFF-D1AD8232C318}"/>
                </a:ext>
              </a:extLst>
            </p:cNvPr>
            <p:cNvGrpSpPr/>
            <p:nvPr/>
          </p:nvGrpSpPr>
          <p:grpSpPr>
            <a:xfrm>
              <a:off x="6486211" y="2427446"/>
              <a:ext cx="596090" cy="596090"/>
              <a:chOff x="6340161" y="2433796"/>
              <a:chExt cx="596090" cy="596090"/>
            </a:xfrm>
          </p:grpSpPr>
          <p:sp>
            <p:nvSpPr>
              <p:cNvPr id="1151" name="Freeform: Shape 498">
                <a:extLst>
                  <a:ext uri="{FF2B5EF4-FFF2-40B4-BE49-F238E27FC236}">
                    <a16:creationId xmlns:a16="http://schemas.microsoft.com/office/drawing/2014/main" id="{52517459-A55E-400A-8290-6C0D2E0D05B7}"/>
                  </a:ext>
                </a:extLst>
              </p:cNvPr>
              <p:cNvSpPr/>
              <p:nvPr/>
            </p:nvSpPr>
            <p:spPr>
              <a:xfrm>
                <a:off x="6340161" y="2433796"/>
                <a:ext cx="596090" cy="596090"/>
              </a:xfrm>
              <a:custGeom>
                <a:avLst/>
                <a:gdLst>
                  <a:gd name="connsiteX0" fmla="*/ 16669 w 771525"/>
                  <a:gd name="connsiteY0" fmla="*/ 769144 h 771525"/>
                  <a:gd name="connsiteX1" fmla="*/ 759619 w 771525"/>
                  <a:gd name="connsiteY1" fmla="*/ 769144 h 771525"/>
                  <a:gd name="connsiteX2" fmla="*/ 769144 w 771525"/>
                  <a:gd name="connsiteY2" fmla="*/ 759619 h 771525"/>
                  <a:gd name="connsiteX3" fmla="*/ 769144 w 771525"/>
                  <a:gd name="connsiteY3" fmla="*/ 693344 h 771525"/>
                  <a:gd name="connsiteX4" fmla="*/ 759619 w 771525"/>
                  <a:gd name="connsiteY4" fmla="*/ 683819 h 771525"/>
                  <a:gd name="connsiteX5" fmla="*/ 718547 w 771525"/>
                  <a:gd name="connsiteY5" fmla="*/ 683819 h 771525"/>
                  <a:gd name="connsiteX6" fmla="*/ 718547 w 771525"/>
                  <a:gd name="connsiteY6" fmla="*/ 92469 h 771525"/>
                  <a:gd name="connsiteX7" fmla="*/ 732596 w 771525"/>
                  <a:gd name="connsiteY7" fmla="*/ 92469 h 771525"/>
                  <a:gd name="connsiteX8" fmla="*/ 742121 w 771525"/>
                  <a:gd name="connsiteY8" fmla="*/ 82944 h 771525"/>
                  <a:gd name="connsiteX9" fmla="*/ 742121 w 771525"/>
                  <a:gd name="connsiteY9" fmla="*/ 16669 h 771525"/>
                  <a:gd name="connsiteX10" fmla="*/ 732596 w 771525"/>
                  <a:gd name="connsiteY10" fmla="*/ 7144 h 771525"/>
                  <a:gd name="connsiteX11" fmla="*/ 43691 w 771525"/>
                  <a:gd name="connsiteY11" fmla="*/ 7144 h 771525"/>
                  <a:gd name="connsiteX12" fmla="*/ 34166 w 771525"/>
                  <a:gd name="connsiteY12" fmla="*/ 16669 h 771525"/>
                  <a:gd name="connsiteX13" fmla="*/ 34166 w 771525"/>
                  <a:gd name="connsiteY13" fmla="*/ 82944 h 771525"/>
                  <a:gd name="connsiteX14" fmla="*/ 43691 w 771525"/>
                  <a:gd name="connsiteY14" fmla="*/ 92469 h 771525"/>
                  <a:gd name="connsiteX15" fmla="*/ 57741 w 771525"/>
                  <a:gd name="connsiteY15" fmla="*/ 92469 h 771525"/>
                  <a:gd name="connsiteX16" fmla="*/ 57741 w 771525"/>
                  <a:gd name="connsiteY16" fmla="*/ 683819 h 771525"/>
                  <a:gd name="connsiteX17" fmla="*/ 16669 w 771525"/>
                  <a:gd name="connsiteY17" fmla="*/ 683819 h 771525"/>
                  <a:gd name="connsiteX18" fmla="*/ 7144 w 771525"/>
                  <a:gd name="connsiteY18" fmla="*/ 693344 h 771525"/>
                  <a:gd name="connsiteX19" fmla="*/ 7144 w 771525"/>
                  <a:gd name="connsiteY19" fmla="*/ 759619 h 771525"/>
                  <a:gd name="connsiteX20" fmla="*/ 16669 w 771525"/>
                  <a:gd name="connsiteY20" fmla="*/ 769144 h 771525"/>
                  <a:gd name="connsiteX21" fmla="*/ 53216 w 771525"/>
                  <a:gd name="connsiteY21" fmla="*/ 26194 h 771525"/>
                  <a:gd name="connsiteX22" fmla="*/ 723062 w 771525"/>
                  <a:gd name="connsiteY22" fmla="*/ 26194 h 771525"/>
                  <a:gd name="connsiteX23" fmla="*/ 723062 w 771525"/>
                  <a:gd name="connsiteY23" fmla="*/ 73419 h 771525"/>
                  <a:gd name="connsiteX24" fmla="*/ 53216 w 771525"/>
                  <a:gd name="connsiteY24" fmla="*/ 73419 h 771525"/>
                  <a:gd name="connsiteX25" fmla="*/ 53216 w 771525"/>
                  <a:gd name="connsiteY25" fmla="*/ 26194 h 771525"/>
                  <a:gd name="connsiteX26" fmla="*/ 76791 w 771525"/>
                  <a:gd name="connsiteY26" fmla="*/ 92469 h 771525"/>
                  <a:gd name="connsiteX27" fmla="*/ 699487 w 771525"/>
                  <a:gd name="connsiteY27" fmla="*/ 92469 h 771525"/>
                  <a:gd name="connsiteX28" fmla="*/ 699487 w 771525"/>
                  <a:gd name="connsiteY28" fmla="*/ 683819 h 771525"/>
                  <a:gd name="connsiteX29" fmla="*/ 496491 w 771525"/>
                  <a:gd name="connsiteY29" fmla="*/ 683819 h 771525"/>
                  <a:gd name="connsiteX30" fmla="*/ 496491 w 771525"/>
                  <a:gd name="connsiteY30" fmla="*/ 470402 h 771525"/>
                  <a:gd name="connsiteX31" fmla="*/ 486966 w 771525"/>
                  <a:gd name="connsiteY31" fmla="*/ 460877 h 771525"/>
                  <a:gd name="connsiteX32" fmla="*/ 289322 w 771525"/>
                  <a:gd name="connsiteY32" fmla="*/ 460877 h 771525"/>
                  <a:gd name="connsiteX33" fmla="*/ 279797 w 771525"/>
                  <a:gd name="connsiteY33" fmla="*/ 470402 h 771525"/>
                  <a:gd name="connsiteX34" fmla="*/ 279797 w 771525"/>
                  <a:gd name="connsiteY34" fmla="*/ 683819 h 771525"/>
                  <a:gd name="connsiteX35" fmla="*/ 76791 w 771525"/>
                  <a:gd name="connsiteY35" fmla="*/ 683819 h 771525"/>
                  <a:gd name="connsiteX36" fmla="*/ 76791 w 771525"/>
                  <a:gd name="connsiteY36" fmla="*/ 92469 h 771525"/>
                  <a:gd name="connsiteX37" fmla="*/ 298847 w 771525"/>
                  <a:gd name="connsiteY37" fmla="*/ 683819 h 771525"/>
                  <a:gd name="connsiteX38" fmla="*/ 298847 w 771525"/>
                  <a:gd name="connsiteY38" fmla="*/ 479927 h 771525"/>
                  <a:gd name="connsiteX39" fmla="*/ 378619 w 771525"/>
                  <a:gd name="connsiteY39" fmla="*/ 479927 h 771525"/>
                  <a:gd name="connsiteX40" fmla="*/ 378619 w 771525"/>
                  <a:gd name="connsiteY40" fmla="*/ 683819 h 771525"/>
                  <a:gd name="connsiteX41" fmla="*/ 298847 w 771525"/>
                  <a:gd name="connsiteY41" fmla="*/ 683819 h 771525"/>
                  <a:gd name="connsiteX42" fmla="*/ 397669 w 771525"/>
                  <a:gd name="connsiteY42" fmla="*/ 479927 h 771525"/>
                  <a:gd name="connsiteX43" fmla="*/ 477441 w 771525"/>
                  <a:gd name="connsiteY43" fmla="*/ 479927 h 771525"/>
                  <a:gd name="connsiteX44" fmla="*/ 477441 w 771525"/>
                  <a:gd name="connsiteY44" fmla="*/ 683819 h 771525"/>
                  <a:gd name="connsiteX45" fmla="*/ 397669 w 771525"/>
                  <a:gd name="connsiteY45" fmla="*/ 683819 h 771525"/>
                  <a:gd name="connsiteX46" fmla="*/ 397669 w 771525"/>
                  <a:gd name="connsiteY46" fmla="*/ 479927 h 771525"/>
                  <a:gd name="connsiteX47" fmla="*/ 26194 w 771525"/>
                  <a:gd name="connsiteY47" fmla="*/ 702869 h 771525"/>
                  <a:gd name="connsiteX48" fmla="*/ 750094 w 771525"/>
                  <a:gd name="connsiteY48" fmla="*/ 702869 h 771525"/>
                  <a:gd name="connsiteX49" fmla="*/ 750094 w 771525"/>
                  <a:gd name="connsiteY49" fmla="*/ 750094 h 771525"/>
                  <a:gd name="connsiteX50" fmla="*/ 26194 w 771525"/>
                  <a:gd name="connsiteY50" fmla="*/ 750094 h 771525"/>
                  <a:gd name="connsiteX51" fmla="*/ 26194 w 771525"/>
                  <a:gd name="connsiteY51" fmla="*/ 702869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771525" h="771525">
                    <a:moveTo>
                      <a:pt x="16669" y="769144"/>
                    </a:moveTo>
                    <a:lnTo>
                      <a:pt x="759619" y="769144"/>
                    </a:lnTo>
                    <a:cubicBezTo>
                      <a:pt x="764877" y="769144"/>
                      <a:pt x="769144" y="764886"/>
                      <a:pt x="769144" y="759619"/>
                    </a:cubicBezTo>
                    <a:lnTo>
                      <a:pt x="769144" y="693344"/>
                    </a:lnTo>
                    <a:cubicBezTo>
                      <a:pt x="769144" y="688076"/>
                      <a:pt x="764877" y="683819"/>
                      <a:pt x="759619" y="683819"/>
                    </a:cubicBezTo>
                    <a:lnTo>
                      <a:pt x="718547" y="683819"/>
                    </a:lnTo>
                    <a:lnTo>
                      <a:pt x="718547" y="92469"/>
                    </a:lnTo>
                    <a:lnTo>
                      <a:pt x="732596" y="92469"/>
                    </a:lnTo>
                    <a:cubicBezTo>
                      <a:pt x="737854" y="92469"/>
                      <a:pt x="742121" y="88211"/>
                      <a:pt x="742121" y="82944"/>
                    </a:cubicBezTo>
                    <a:lnTo>
                      <a:pt x="742121" y="16669"/>
                    </a:lnTo>
                    <a:cubicBezTo>
                      <a:pt x="742121" y="11401"/>
                      <a:pt x="737854" y="7144"/>
                      <a:pt x="732596" y="7144"/>
                    </a:cubicBezTo>
                    <a:lnTo>
                      <a:pt x="43691" y="7144"/>
                    </a:lnTo>
                    <a:cubicBezTo>
                      <a:pt x="38433" y="7144"/>
                      <a:pt x="34166" y="11401"/>
                      <a:pt x="34166" y="16669"/>
                    </a:cubicBezTo>
                    <a:lnTo>
                      <a:pt x="34166" y="82944"/>
                    </a:lnTo>
                    <a:cubicBezTo>
                      <a:pt x="34166" y="88211"/>
                      <a:pt x="38433" y="92469"/>
                      <a:pt x="43691" y="92469"/>
                    </a:cubicBezTo>
                    <a:lnTo>
                      <a:pt x="57741" y="92469"/>
                    </a:lnTo>
                    <a:lnTo>
                      <a:pt x="57741" y="683819"/>
                    </a:lnTo>
                    <a:lnTo>
                      <a:pt x="16669" y="683819"/>
                    </a:lnTo>
                    <a:cubicBezTo>
                      <a:pt x="11411" y="683819"/>
                      <a:pt x="7144" y="688076"/>
                      <a:pt x="7144" y="693344"/>
                    </a:cubicBezTo>
                    <a:lnTo>
                      <a:pt x="7144" y="759619"/>
                    </a:lnTo>
                    <a:cubicBezTo>
                      <a:pt x="7144" y="764886"/>
                      <a:pt x="11411" y="769144"/>
                      <a:pt x="16669" y="769144"/>
                    </a:cubicBezTo>
                    <a:close/>
                    <a:moveTo>
                      <a:pt x="53216" y="26194"/>
                    </a:moveTo>
                    <a:lnTo>
                      <a:pt x="723062" y="26194"/>
                    </a:lnTo>
                    <a:lnTo>
                      <a:pt x="723062" y="73419"/>
                    </a:lnTo>
                    <a:lnTo>
                      <a:pt x="53216" y="73419"/>
                    </a:lnTo>
                    <a:lnTo>
                      <a:pt x="53216" y="26194"/>
                    </a:lnTo>
                    <a:close/>
                    <a:moveTo>
                      <a:pt x="76791" y="92469"/>
                    </a:moveTo>
                    <a:lnTo>
                      <a:pt x="699487" y="92469"/>
                    </a:lnTo>
                    <a:lnTo>
                      <a:pt x="699487" y="683819"/>
                    </a:lnTo>
                    <a:lnTo>
                      <a:pt x="496491" y="683819"/>
                    </a:lnTo>
                    <a:lnTo>
                      <a:pt x="496491" y="470402"/>
                    </a:lnTo>
                    <a:cubicBezTo>
                      <a:pt x="496491" y="465134"/>
                      <a:pt x="492223" y="460877"/>
                      <a:pt x="486966" y="460877"/>
                    </a:cubicBezTo>
                    <a:lnTo>
                      <a:pt x="289322" y="460877"/>
                    </a:lnTo>
                    <a:cubicBezTo>
                      <a:pt x="284064" y="460877"/>
                      <a:pt x="279797" y="465134"/>
                      <a:pt x="279797" y="470402"/>
                    </a:cubicBezTo>
                    <a:lnTo>
                      <a:pt x="279797" y="683819"/>
                    </a:lnTo>
                    <a:lnTo>
                      <a:pt x="76791" y="683819"/>
                    </a:lnTo>
                    <a:lnTo>
                      <a:pt x="76791" y="92469"/>
                    </a:lnTo>
                    <a:close/>
                    <a:moveTo>
                      <a:pt x="298847" y="683819"/>
                    </a:moveTo>
                    <a:lnTo>
                      <a:pt x="298847" y="479927"/>
                    </a:lnTo>
                    <a:lnTo>
                      <a:pt x="378619" y="479927"/>
                    </a:lnTo>
                    <a:lnTo>
                      <a:pt x="378619" y="683819"/>
                    </a:lnTo>
                    <a:lnTo>
                      <a:pt x="298847" y="683819"/>
                    </a:lnTo>
                    <a:close/>
                    <a:moveTo>
                      <a:pt x="397669" y="479927"/>
                    </a:moveTo>
                    <a:lnTo>
                      <a:pt x="477441" y="479927"/>
                    </a:lnTo>
                    <a:lnTo>
                      <a:pt x="477441" y="683819"/>
                    </a:lnTo>
                    <a:lnTo>
                      <a:pt x="397669" y="683819"/>
                    </a:lnTo>
                    <a:lnTo>
                      <a:pt x="397669" y="479927"/>
                    </a:lnTo>
                    <a:close/>
                    <a:moveTo>
                      <a:pt x="26194" y="702869"/>
                    </a:moveTo>
                    <a:lnTo>
                      <a:pt x="750094" y="702869"/>
                    </a:lnTo>
                    <a:lnTo>
                      <a:pt x="750094" y="750094"/>
                    </a:lnTo>
                    <a:lnTo>
                      <a:pt x="26194" y="750094"/>
                    </a:lnTo>
                    <a:lnTo>
                      <a:pt x="26194" y="702869"/>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2" name="Freeform: Shape 499">
                <a:extLst>
                  <a:ext uri="{FF2B5EF4-FFF2-40B4-BE49-F238E27FC236}">
                    <a16:creationId xmlns:a16="http://schemas.microsoft.com/office/drawing/2014/main" id="{C234E4DC-8BF4-4232-B4C7-D48E7F3CC541}"/>
                  </a:ext>
                </a:extLst>
              </p:cNvPr>
              <p:cNvSpPr/>
              <p:nvPr/>
            </p:nvSpPr>
            <p:spPr>
              <a:xfrm>
                <a:off x="6763393" y="2783495"/>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3" name="Freeform: Shape 500">
                <a:extLst>
                  <a:ext uri="{FF2B5EF4-FFF2-40B4-BE49-F238E27FC236}">
                    <a16:creationId xmlns:a16="http://schemas.microsoft.com/office/drawing/2014/main" id="{244FF703-73B5-400C-AF9D-E63E9295D613}"/>
                  </a:ext>
                </a:extLst>
              </p:cNvPr>
              <p:cNvSpPr/>
              <p:nvPr/>
            </p:nvSpPr>
            <p:spPr>
              <a:xfrm>
                <a:off x="6443270" y="2783495"/>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4" name="Freeform: Shape 501">
                <a:extLst>
                  <a:ext uri="{FF2B5EF4-FFF2-40B4-BE49-F238E27FC236}">
                    <a16:creationId xmlns:a16="http://schemas.microsoft.com/office/drawing/2014/main" id="{5A7F3558-AB63-49D2-85F8-78BD0CF39CA9}"/>
                  </a:ext>
                </a:extLst>
              </p:cNvPr>
              <p:cNvSpPr/>
              <p:nvPr/>
            </p:nvSpPr>
            <p:spPr>
              <a:xfrm>
                <a:off x="6763393" y="2666668"/>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5" name="Freeform: Shape 502">
                <a:extLst>
                  <a:ext uri="{FF2B5EF4-FFF2-40B4-BE49-F238E27FC236}">
                    <a16:creationId xmlns:a16="http://schemas.microsoft.com/office/drawing/2014/main" id="{E491DDF7-1F22-4026-B037-0EE1E8E2CA8B}"/>
                  </a:ext>
                </a:extLst>
              </p:cNvPr>
              <p:cNvSpPr/>
              <p:nvPr/>
            </p:nvSpPr>
            <p:spPr>
              <a:xfrm>
                <a:off x="6656766" y="2666668"/>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6" name="Freeform: Shape 503">
                <a:extLst>
                  <a:ext uri="{FF2B5EF4-FFF2-40B4-BE49-F238E27FC236}">
                    <a16:creationId xmlns:a16="http://schemas.microsoft.com/office/drawing/2014/main" id="{E90C71D2-FD0E-4DEB-9168-156B709B7248}"/>
                  </a:ext>
                </a:extLst>
              </p:cNvPr>
              <p:cNvSpPr/>
              <p:nvPr/>
            </p:nvSpPr>
            <p:spPr>
              <a:xfrm>
                <a:off x="6550817" y="2666668"/>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7" name="Freeform: Shape 504">
                <a:extLst>
                  <a:ext uri="{FF2B5EF4-FFF2-40B4-BE49-F238E27FC236}">
                    <a16:creationId xmlns:a16="http://schemas.microsoft.com/office/drawing/2014/main" id="{468FE0E6-2E10-4571-BEF4-B972DC8A5716}"/>
                  </a:ext>
                </a:extLst>
              </p:cNvPr>
              <p:cNvSpPr/>
              <p:nvPr/>
            </p:nvSpPr>
            <p:spPr>
              <a:xfrm>
                <a:off x="6656766" y="2549842"/>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8" name="Freeform: Shape 505">
                <a:extLst>
                  <a:ext uri="{FF2B5EF4-FFF2-40B4-BE49-F238E27FC236}">
                    <a16:creationId xmlns:a16="http://schemas.microsoft.com/office/drawing/2014/main" id="{F0A130AE-D6CA-496A-B0ED-AA509C171A77}"/>
                  </a:ext>
                </a:extLst>
              </p:cNvPr>
              <p:cNvSpPr/>
              <p:nvPr/>
            </p:nvSpPr>
            <p:spPr>
              <a:xfrm>
                <a:off x="6550817" y="2549842"/>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9" name="Freeform: Shape 506">
                <a:extLst>
                  <a:ext uri="{FF2B5EF4-FFF2-40B4-BE49-F238E27FC236}">
                    <a16:creationId xmlns:a16="http://schemas.microsoft.com/office/drawing/2014/main" id="{38D846A2-5C49-4B78-9042-3EC8C7F82DBC}"/>
                  </a:ext>
                </a:extLst>
              </p:cNvPr>
              <p:cNvSpPr/>
              <p:nvPr/>
            </p:nvSpPr>
            <p:spPr>
              <a:xfrm>
                <a:off x="6443270" y="2666668"/>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0" name="Freeform: Shape 507">
                <a:extLst>
                  <a:ext uri="{FF2B5EF4-FFF2-40B4-BE49-F238E27FC236}">
                    <a16:creationId xmlns:a16="http://schemas.microsoft.com/office/drawing/2014/main" id="{0D4ADF69-2385-428D-8373-8B0535DBF489}"/>
                  </a:ext>
                </a:extLst>
              </p:cNvPr>
              <p:cNvSpPr/>
              <p:nvPr/>
            </p:nvSpPr>
            <p:spPr>
              <a:xfrm>
                <a:off x="6763393" y="2549842"/>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1" name="Freeform: Shape 508">
                <a:extLst>
                  <a:ext uri="{FF2B5EF4-FFF2-40B4-BE49-F238E27FC236}">
                    <a16:creationId xmlns:a16="http://schemas.microsoft.com/office/drawing/2014/main" id="{13EEFAC8-E33D-459A-A23D-4545B64E5E74}"/>
                  </a:ext>
                </a:extLst>
              </p:cNvPr>
              <p:cNvSpPr/>
              <p:nvPr/>
            </p:nvSpPr>
            <p:spPr>
              <a:xfrm>
                <a:off x="6443270" y="2549842"/>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042" name="Group 1041">
              <a:extLst>
                <a:ext uri="{FF2B5EF4-FFF2-40B4-BE49-F238E27FC236}">
                  <a16:creationId xmlns:a16="http://schemas.microsoft.com/office/drawing/2014/main" id="{414C381E-3EF6-49FD-8548-F64955F2A892}"/>
                </a:ext>
              </a:extLst>
            </p:cNvPr>
            <p:cNvGrpSpPr/>
            <p:nvPr/>
          </p:nvGrpSpPr>
          <p:grpSpPr>
            <a:xfrm>
              <a:off x="8710808" y="2446457"/>
              <a:ext cx="577078" cy="577079"/>
              <a:chOff x="5709056" y="2921793"/>
              <a:chExt cx="771525" cy="771525"/>
            </a:xfrm>
            <a:solidFill>
              <a:srgbClr val="999999"/>
            </a:solidFill>
          </p:grpSpPr>
          <p:sp>
            <p:nvSpPr>
              <p:cNvPr id="1140" name="Freeform: Shape 447">
                <a:extLst>
                  <a:ext uri="{FF2B5EF4-FFF2-40B4-BE49-F238E27FC236}">
                    <a16:creationId xmlns:a16="http://schemas.microsoft.com/office/drawing/2014/main" id="{2019140F-7B51-422A-B271-1EB6183FC1B7}"/>
                  </a:ext>
                </a:extLst>
              </p:cNvPr>
              <p:cNvSpPr/>
              <p:nvPr/>
            </p:nvSpPr>
            <p:spPr>
              <a:xfrm>
                <a:off x="5709056" y="2921793"/>
                <a:ext cx="771525" cy="771525"/>
              </a:xfrm>
              <a:custGeom>
                <a:avLst/>
                <a:gdLst>
                  <a:gd name="connsiteX0" fmla="*/ 16669 w 771525"/>
                  <a:gd name="connsiteY0" fmla="*/ 769144 h 771525"/>
                  <a:gd name="connsiteX1" fmla="*/ 759619 w 771525"/>
                  <a:gd name="connsiteY1" fmla="*/ 769144 h 771525"/>
                  <a:gd name="connsiteX2" fmla="*/ 769144 w 771525"/>
                  <a:gd name="connsiteY2" fmla="*/ 759619 h 771525"/>
                  <a:gd name="connsiteX3" fmla="*/ 769144 w 771525"/>
                  <a:gd name="connsiteY3" fmla="*/ 693344 h 771525"/>
                  <a:gd name="connsiteX4" fmla="*/ 759619 w 771525"/>
                  <a:gd name="connsiteY4" fmla="*/ 683819 h 771525"/>
                  <a:gd name="connsiteX5" fmla="*/ 718547 w 771525"/>
                  <a:gd name="connsiteY5" fmla="*/ 683819 h 771525"/>
                  <a:gd name="connsiteX6" fmla="*/ 718547 w 771525"/>
                  <a:gd name="connsiteY6" fmla="*/ 92469 h 771525"/>
                  <a:gd name="connsiteX7" fmla="*/ 732596 w 771525"/>
                  <a:gd name="connsiteY7" fmla="*/ 92469 h 771525"/>
                  <a:gd name="connsiteX8" fmla="*/ 742121 w 771525"/>
                  <a:gd name="connsiteY8" fmla="*/ 82944 h 771525"/>
                  <a:gd name="connsiteX9" fmla="*/ 742121 w 771525"/>
                  <a:gd name="connsiteY9" fmla="*/ 16669 h 771525"/>
                  <a:gd name="connsiteX10" fmla="*/ 732596 w 771525"/>
                  <a:gd name="connsiteY10" fmla="*/ 7144 h 771525"/>
                  <a:gd name="connsiteX11" fmla="*/ 43691 w 771525"/>
                  <a:gd name="connsiteY11" fmla="*/ 7144 h 771525"/>
                  <a:gd name="connsiteX12" fmla="*/ 34166 w 771525"/>
                  <a:gd name="connsiteY12" fmla="*/ 16669 h 771525"/>
                  <a:gd name="connsiteX13" fmla="*/ 34166 w 771525"/>
                  <a:gd name="connsiteY13" fmla="*/ 82944 h 771525"/>
                  <a:gd name="connsiteX14" fmla="*/ 43691 w 771525"/>
                  <a:gd name="connsiteY14" fmla="*/ 92469 h 771525"/>
                  <a:gd name="connsiteX15" fmla="*/ 57741 w 771525"/>
                  <a:gd name="connsiteY15" fmla="*/ 92469 h 771525"/>
                  <a:gd name="connsiteX16" fmla="*/ 57741 w 771525"/>
                  <a:gd name="connsiteY16" fmla="*/ 683819 h 771525"/>
                  <a:gd name="connsiteX17" fmla="*/ 16669 w 771525"/>
                  <a:gd name="connsiteY17" fmla="*/ 683819 h 771525"/>
                  <a:gd name="connsiteX18" fmla="*/ 7144 w 771525"/>
                  <a:gd name="connsiteY18" fmla="*/ 693344 h 771525"/>
                  <a:gd name="connsiteX19" fmla="*/ 7144 w 771525"/>
                  <a:gd name="connsiteY19" fmla="*/ 759619 h 771525"/>
                  <a:gd name="connsiteX20" fmla="*/ 16669 w 771525"/>
                  <a:gd name="connsiteY20" fmla="*/ 769144 h 771525"/>
                  <a:gd name="connsiteX21" fmla="*/ 53216 w 771525"/>
                  <a:gd name="connsiteY21" fmla="*/ 26194 h 771525"/>
                  <a:gd name="connsiteX22" fmla="*/ 723062 w 771525"/>
                  <a:gd name="connsiteY22" fmla="*/ 26194 h 771525"/>
                  <a:gd name="connsiteX23" fmla="*/ 723062 w 771525"/>
                  <a:gd name="connsiteY23" fmla="*/ 73419 h 771525"/>
                  <a:gd name="connsiteX24" fmla="*/ 53216 w 771525"/>
                  <a:gd name="connsiteY24" fmla="*/ 73419 h 771525"/>
                  <a:gd name="connsiteX25" fmla="*/ 53216 w 771525"/>
                  <a:gd name="connsiteY25" fmla="*/ 26194 h 771525"/>
                  <a:gd name="connsiteX26" fmla="*/ 76791 w 771525"/>
                  <a:gd name="connsiteY26" fmla="*/ 92469 h 771525"/>
                  <a:gd name="connsiteX27" fmla="*/ 699487 w 771525"/>
                  <a:gd name="connsiteY27" fmla="*/ 92469 h 771525"/>
                  <a:gd name="connsiteX28" fmla="*/ 699487 w 771525"/>
                  <a:gd name="connsiteY28" fmla="*/ 683819 h 771525"/>
                  <a:gd name="connsiteX29" fmla="*/ 496491 w 771525"/>
                  <a:gd name="connsiteY29" fmla="*/ 683819 h 771525"/>
                  <a:gd name="connsiteX30" fmla="*/ 496491 w 771525"/>
                  <a:gd name="connsiteY30" fmla="*/ 470402 h 771525"/>
                  <a:gd name="connsiteX31" fmla="*/ 486966 w 771525"/>
                  <a:gd name="connsiteY31" fmla="*/ 460877 h 771525"/>
                  <a:gd name="connsiteX32" fmla="*/ 289322 w 771525"/>
                  <a:gd name="connsiteY32" fmla="*/ 460877 h 771525"/>
                  <a:gd name="connsiteX33" fmla="*/ 279797 w 771525"/>
                  <a:gd name="connsiteY33" fmla="*/ 470402 h 771525"/>
                  <a:gd name="connsiteX34" fmla="*/ 279797 w 771525"/>
                  <a:gd name="connsiteY34" fmla="*/ 683819 h 771525"/>
                  <a:gd name="connsiteX35" fmla="*/ 76791 w 771525"/>
                  <a:gd name="connsiteY35" fmla="*/ 683819 h 771525"/>
                  <a:gd name="connsiteX36" fmla="*/ 76791 w 771525"/>
                  <a:gd name="connsiteY36" fmla="*/ 92469 h 771525"/>
                  <a:gd name="connsiteX37" fmla="*/ 298847 w 771525"/>
                  <a:gd name="connsiteY37" fmla="*/ 683819 h 771525"/>
                  <a:gd name="connsiteX38" fmla="*/ 298847 w 771525"/>
                  <a:gd name="connsiteY38" fmla="*/ 479927 h 771525"/>
                  <a:gd name="connsiteX39" fmla="*/ 378619 w 771525"/>
                  <a:gd name="connsiteY39" fmla="*/ 479927 h 771525"/>
                  <a:gd name="connsiteX40" fmla="*/ 378619 w 771525"/>
                  <a:gd name="connsiteY40" fmla="*/ 683819 h 771525"/>
                  <a:gd name="connsiteX41" fmla="*/ 298847 w 771525"/>
                  <a:gd name="connsiteY41" fmla="*/ 683819 h 771525"/>
                  <a:gd name="connsiteX42" fmla="*/ 397669 w 771525"/>
                  <a:gd name="connsiteY42" fmla="*/ 479927 h 771525"/>
                  <a:gd name="connsiteX43" fmla="*/ 477441 w 771525"/>
                  <a:gd name="connsiteY43" fmla="*/ 479927 h 771525"/>
                  <a:gd name="connsiteX44" fmla="*/ 477441 w 771525"/>
                  <a:gd name="connsiteY44" fmla="*/ 683819 h 771525"/>
                  <a:gd name="connsiteX45" fmla="*/ 397669 w 771525"/>
                  <a:gd name="connsiteY45" fmla="*/ 683819 h 771525"/>
                  <a:gd name="connsiteX46" fmla="*/ 397669 w 771525"/>
                  <a:gd name="connsiteY46" fmla="*/ 479927 h 771525"/>
                  <a:gd name="connsiteX47" fmla="*/ 26194 w 771525"/>
                  <a:gd name="connsiteY47" fmla="*/ 702869 h 771525"/>
                  <a:gd name="connsiteX48" fmla="*/ 750094 w 771525"/>
                  <a:gd name="connsiteY48" fmla="*/ 702869 h 771525"/>
                  <a:gd name="connsiteX49" fmla="*/ 750094 w 771525"/>
                  <a:gd name="connsiteY49" fmla="*/ 750094 h 771525"/>
                  <a:gd name="connsiteX50" fmla="*/ 26194 w 771525"/>
                  <a:gd name="connsiteY50" fmla="*/ 750094 h 771525"/>
                  <a:gd name="connsiteX51" fmla="*/ 26194 w 771525"/>
                  <a:gd name="connsiteY51" fmla="*/ 702869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771525" h="771525">
                    <a:moveTo>
                      <a:pt x="16669" y="769144"/>
                    </a:moveTo>
                    <a:lnTo>
                      <a:pt x="759619" y="769144"/>
                    </a:lnTo>
                    <a:cubicBezTo>
                      <a:pt x="764877" y="769144"/>
                      <a:pt x="769144" y="764886"/>
                      <a:pt x="769144" y="759619"/>
                    </a:cubicBezTo>
                    <a:lnTo>
                      <a:pt x="769144" y="693344"/>
                    </a:lnTo>
                    <a:cubicBezTo>
                      <a:pt x="769144" y="688076"/>
                      <a:pt x="764877" y="683819"/>
                      <a:pt x="759619" y="683819"/>
                    </a:cubicBezTo>
                    <a:lnTo>
                      <a:pt x="718547" y="683819"/>
                    </a:lnTo>
                    <a:lnTo>
                      <a:pt x="718547" y="92469"/>
                    </a:lnTo>
                    <a:lnTo>
                      <a:pt x="732596" y="92469"/>
                    </a:lnTo>
                    <a:cubicBezTo>
                      <a:pt x="737854" y="92469"/>
                      <a:pt x="742121" y="88211"/>
                      <a:pt x="742121" y="82944"/>
                    </a:cubicBezTo>
                    <a:lnTo>
                      <a:pt x="742121" y="16669"/>
                    </a:lnTo>
                    <a:cubicBezTo>
                      <a:pt x="742121" y="11401"/>
                      <a:pt x="737854" y="7144"/>
                      <a:pt x="732596" y="7144"/>
                    </a:cubicBezTo>
                    <a:lnTo>
                      <a:pt x="43691" y="7144"/>
                    </a:lnTo>
                    <a:cubicBezTo>
                      <a:pt x="38433" y="7144"/>
                      <a:pt x="34166" y="11401"/>
                      <a:pt x="34166" y="16669"/>
                    </a:cubicBezTo>
                    <a:lnTo>
                      <a:pt x="34166" y="82944"/>
                    </a:lnTo>
                    <a:cubicBezTo>
                      <a:pt x="34166" y="88211"/>
                      <a:pt x="38433" y="92469"/>
                      <a:pt x="43691" y="92469"/>
                    </a:cubicBezTo>
                    <a:lnTo>
                      <a:pt x="57741" y="92469"/>
                    </a:lnTo>
                    <a:lnTo>
                      <a:pt x="57741" y="683819"/>
                    </a:lnTo>
                    <a:lnTo>
                      <a:pt x="16669" y="683819"/>
                    </a:lnTo>
                    <a:cubicBezTo>
                      <a:pt x="11411" y="683819"/>
                      <a:pt x="7144" y="688076"/>
                      <a:pt x="7144" y="693344"/>
                    </a:cubicBezTo>
                    <a:lnTo>
                      <a:pt x="7144" y="759619"/>
                    </a:lnTo>
                    <a:cubicBezTo>
                      <a:pt x="7144" y="764886"/>
                      <a:pt x="11411" y="769144"/>
                      <a:pt x="16669" y="769144"/>
                    </a:cubicBezTo>
                    <a:close/>
                    <a:moveTo>
                      <a:pt x="53216" y="26194"/>
                    </a:moveTo>
                    <a:lnTo>
                      <a:pt x="723062" y="26194"/>
                    </a:lnTo>
                    <a:lnTo>
                      <a:pt x="723062" y="73419"/>
                    </a:lnTo>
                    <a:lnTo>
                      <a:pt x="53216" y="73419"/>
                    </a:lnTo>
                    <a:lnTo>
                      <a:pt x="53216" y="26194"/>
                    </a:lnTo>
                    <a:close/>
                    <a:moveTo>
                      <a:pt x="76791" y="92469"/>
                    </a:moveTo>
                    <a:lnTo>
                      <a:pt x="699487" y="92469"/>
                    </a:lnTo>
                    <a:lnTo>
                      <a:pt x="699487" y="683819"/>
                    </a:lnTo>
                    <a:lnTo>
                      <a:pt x="496491" y="683819"/>
                    </a:lnTo>
                    <a:lnTo>
                      <a:pt x="496491" y="470402"/>
                    </a:lnTo>
                    <a:cubicBezTo>
                      <a:pt x="496491" y="465134"/>
                      <a:pt x="492223" y="460877"/>
                      <a:pt x="486966" y="460877"/>
                    </a:cubicBezTo>
                    <a:lnTo>
                      <a:pt x="289322" y="460877"/>
                    </a:lnTo>
                    <a:cubicBezTo>
                      <a:pt x="284064" y="460877"/>
                      <a:pt x="279797" y="465134"/>
                      <a:pt x="279797" y="470402"/>
                    </a:cubicBezTo>
                    <a:lnTo>
                      <a:pt x="279797" y="683819"/>
                    </a:lnTo>
                    <a:lnTo>
                      <a:pt x="76791" y="683819"/>
                    </a:lnTo>
                    <a:lnTo>
                      <a:pt x="76791" y="92469"/>
                    </a:lnTo>
                    <a:close/>
                    <a:moveTo>
                      <a:pt x="298847" y="683819"/>
                    </a:moveTo>
                    <a:lnTo>
                      <a:pt x="298847" y="479927"/>
                    </a:lnTo>
                    <a:lnTo>
                      <a:pt x="378619" y="479927"/>
                    </a:lnTo>
                    <a:lnTo>
                      <a:pt x="378619" y="683819"/>
                    </a:lnTo>
                    <a:lnTo>
                      <a:pt x="298847" y="683819"/>
                    </a:lnTo>
                    <a:close/>
                    <a:moveTo>
                      <a:pt x="397669" y="479927"/>
                    </a:moveTo>
                    <a:lnTo>
                      <a:pt x="477441" y="479927"/>
                    </a:lnTo>
                    <a:lnTo>
                      <a:pt x="477441" y="683819"/>
                    </a:lnTo>
                    <a:lnTo>
                      <a:pt x="397669" y="683819"/>
                    </a:lnTo>
                    <a:lnTo>
                      <a:pt x="397669" y="479927"/>
                    </a:lnTo>
                    <a:close/>
                    <a:moveTo>
                      <a:pt x="26194" y="702869"/>
                    </a:moveTo>
                    <a:lnTo>
                      <a:pt x="750094" y="702869"/>
                    </a:lnTo>
                    <a:lnTo>
                      <a:pt x="750094" y="750094"/>
                    </a:lnTo>
                    <a:lnTo>
                      <a:pt x="26194" y="750094"/>
                    </a:lnTo>
                    <a:lnTo>
                      <a:pt x="26194" y="70286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1" name="Freeform: Shape 448">
                <a:extLst>
                  <a:ext uri="{FF2B5EF4-FFF2-40B4-BE49-F238E27FC236}">
                    <a16:creationId xmlns:a16="http://schemas.microsoft.com/office/drawing/2014/main" id="{F454034B-6763-4A0A-B0FE-D1DB9F72670E}"/>
                  </a:ext>
                </a:extLst>
              </p:cNvPr>
              <p:cNvSpPr/>
              <p:nvPr/>
            </p:nvSpPr>
            <p:spPr>
              <a:xfrm>
                <a:off x="6256849" y="337441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2" name="Freeform: Shape 449">
                <a:extLst>
                  <a:ext uri="{FF2B5EF4-FFF2-40B4-BE49-F238E27FC236}">
                    <a16:creationId xmlns:a16="http://schemas.microsoft.com/office/drawing/2014/main" id="{24EF349C-A899-4CF6-B22D-E0DCD32D8C30}"/>
                  </a:ext>
                </a:extLst>
              </p:cNvPr>
              <p:cNvSpPr/>
              <p:nvPr/>
            </p:nvSpPr>
            <p:spPr>
              <a:xfrm>
                <a:off x="5842511" y="3374412"/>
                <a:ext cx="85725" cy="123825"/>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3" name="Freeform: Shape 450">
                <a:extLst>
                  <a:ext uri="{FF2B5EF4-FFF2-40B4-BE49-F238E27FC236}">
                    <a16:creationId xmlns:a16="http://schemas.microsoft.com/office/drawing/2014/main" id="{7F3FE53C-CBF1-48F9-BA17-9AC14B5F8DAF}"/>
                  </a:ext>
                </a:extLst>
              </p:cNvPr>
              <p:cNvSpPr/>
              <p:nvPr/>
            </p:nvSpPr>
            <p:spPr>
              <a:xfrm>
                <a:off x="6256849" y="322320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4" name="Freeform: Shape 451">
                <a:extLst>
                  <a:ext uri="{FF2B5EF4-FFF2-40B4-BE49-F238E27FC236}">
                    <a16:creationId xmlns:a16="http://schemas.microsoft.com/office/drawing/2014/main" id="{A8683496-7CDF-4C07-B477-B23572014B8D}"/>
                  </a:ext>
                </a:extLst>
              </p:cNvPr>
              <p:cNvSpPr/>
              <p:nvPr/>
            </p:nvSpPr>
            <p:spPr>
              <a:xfrm>
                <a:off x="6118841" y="322320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5" name="Freeform: Shape 452">
                <a:extLst>
                  <a:ext uri="{FF2B5EF4-FFF2-40B4-BE49-F238E27FC236}">
                    <a16:creationId xmlns:a16="http://schemas.microsoft.com/office/drawing/2014/main" id="{E2309ABB-96AB-40B1-9E0A-EDF4B55385B7}"/>
                  </a:ext>
                </a:extLst>
              </p:cNvPr>
              <p:cNvSpPr/>
              <p:nvPr/>
            </p:nvSpPr>
            <p:spPr>
              <a:xfrm>
                <a:off x="5981710" y="3223202"/>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6" name="Freeform: Shape 453">
                <a:extLst>
                  <a:ext uri="{FF2B5EF4-FFF2-40B4-BE49-F238E27FC236}">
                    <a16:creationId xmlns:a16="http://schemas.microsoft.com/office/drawing/2014/main" id="{F9BD3954-FCD8-4AE4-845C-21F5BEA83024}"/>
                  </a:ext>
                </a:extLst>
              </p:cNvPr>
              <p:cNvSpPr/>
              <p:nvPr/>
            </p:nvSpPr>
            <p:spPr>
              <a:xfrm>
                <a:off x="6118841" y="3071993"/>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7" name="Freeform: Shape 454">
                <a:extLst>
                  <a:ext uri="{FF2B5EF4-FFF2-40B4-BE49-F238E27FC236}">
                    <a16:creationId xmlns:a16="http://schemas.microsoft.com/office/drawing/2014/main" id="{76CA987B-3DC7-4A24-9F8E-6D6C6CD1AAFB}"/>
                  </a:ext>
                </a:extLst>
              </p:cNvPr>
              <p:cNvSpPr/>
              <p:nvPr/>
            </p:nvSpPr>
            <p:spPr>
              <a:xfrm>
                <a:off x="5981710" y="3071993"/>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8" name="Freeform: Shape 455">
                <a:extLst>
                  <a:ext uri="{FF2B5EF4-FFF2-40B4-BE49-F238E27FC236}">
                    <a16:creationId xmlns:a16="http://schemas.microsoft.com/office/drawing/2014/main" id="{D84E9FFA-61A1-4597-A96A-AF267E0FA218}"/>
                  </a:ext>
                </a:extLst>
              </p:cNvPr>
              <p:cNvSpPr/>
              <p:nvPr/>
            </p:nvSpPr>
            <p:spPr>
              <a:xfrm>
                <a:off x="5842511" y="3223202"/>
                <a:ext cx="85725" cy="123825"/>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9" name="Freeform: Shape 456">
                <a:extLst>
                  <a:ext uri="{FF2B5EF4-FFF2-40B4-BE49-F238E27FC236}">
                    <a16:creationId xmlns:a16="http://schemas.microsoft.com/office/drawing/2014/main" id="{5B51065B-697D-458C-A1D3-CB303B7688C9}"/>
                  </a:ext>
                </a:extLst>
              </p:cNvPr>
              <p:cNvSpPr/>
              <p:nvPr/>
            </p:nvSpPr>
            <p:spPr>
              <a:xfrm>
                <a:off x="6256849" y="3071993"/>
                <a:ext cx="85725" cy="123825"/>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0" name="Freeform: Shape 457">
                <a:extLst>
                  <a:ext uri="{FF2B5EF4-FFF2-40B4-BE49-F238E27FC236}">
                    <a16:creationId xmlns:a16="http://schemas.microsoft.com/office/drawing/2014/main" id="{F3140EAF-9D64-4078-BBA5-6E461F2BA9B2}"/>
                  </a:ext>
                </a:extLst>
              </p:cNvPr>
              <p:cNvSpPr/>
              <p:nvPr/>
            </p:nvSpPr>
            <p:spPr>
              <a:xfrm>
                <a:off x="5842511" y="3071993"/>
                <a:ext cx="85725" cy="123825"/>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043" name="Group 1042">
              <a:extLst>
                <a:ext uri="{FF2B5EF4-FFF2-40B4-BE49-F238E27FC236}">
                  <a16:creationId xmlns:a16="http://schemas.microsoft.com/office/drawing/2014/main" id="{8619C4E9-DEE1-44AB-9CAF-7CBD4EEBBF30}"/>
                </a:ext>
              </a:extLst>
            </p:cNvPr>
            <p:cNvGrpSpPr/>
            <p:nvPr/>
          </p:nvGrpSpPr>
          <p:grpSpPr>
            <a:xfrm>
              <a:off x="7602496" y="1739620"/>
              <a:ext cx="570891" cy="1272744"/>
              <a:chOff x="7602496" y="1739620"/>
              <a:chExt cx="570891" cy="1272744"/>
            </a:xfrm>
          </p:grpSpPr>
          <p:sp>
            <p:nvSpPr>
              <p:cNvPr id="1102" name="Rectangle 1101">
                <a:extLst>
                  <a:ext uri="{FF2B5EF4-FFF2-40B4-BE49-F238E27FC236}">
                    <a16:creationId xmlns:a16="http://schemas.microsoft.com/office/drawing/2014/main" id="{6F025070-A94E-4FD2-A480-A14146E83AE7}"/>
                  </a:ext>
                </a:extLst>
              </p:cNvPr>
              <p:cNvSpPr/>
              <p:nvPr/>
            </p:nvSpPr>
            <p:spPr>
              <a:xfrm>
                <a:off x="7602496" y="1863445"/>
                <a:ext cx="570891" cy="1148919"/>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1103" name="Group 1102">
                <a:extLst>
                  <a:ext uri="{FF2B5EF4-FFF2-40B4-BE49-F238E27FC236}">
                    <a16:creationId xmlns:a16="http://schemas.microsoft.com/office/drawing/2014/main" id="{0743A971-F4D0-4F49-A5B4-23D41CF3C6F5}"/>
                  </a:ext>
                </a:extLst>
              </p:cNvPr>
              <p:cNvGrpSpPr/>
              <p:nvPr/>
            </p:nvGrpSpPr>
            <p:grpSpPr>
              <a:xfrm>
                <a:off x="7681520" y="1918017"/>
                <a:ext cx="386355" cy="212495"/>
                <a:chOff x="7681520" y="1918017"/>
                <a:chExt cx="386355" cy="212495"/>
              </a:xfrm>
            </p:grpSpPr>
            <p:sp>
              <p:nvSpPr>
                <p:cNvPr id="1132" name="Freeform: Shape 613">
                  <a:extLst>
                    <a:ext uri="{FF2B5EF4-FFF2-40B4-BE49-F238E27FC236}">
                      <a16:creationId xmlns:a16="http://schemas.microsoft.com/office/drawing/2014/main" id="{31D3003D-69D0-43AB-8F47-3B90954BB0A0}"/>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3" name="Freeform: Shape 614">
                  <a:extLst>
                    <a:ext uri="{FF2B5EF4-FFF2-40B4-BE49-F238E27FC236}">
                      <a16:creationId xmlns:a16="http://schemas.microsoft.com/office/drawing/2014/main" id="{0ACDB22F-2041-487F-96F0-4D53C955592E}"/>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4" name="Freeform: Shape 615">
                  <a:extLst>
                    <a:ext uri="{FF2B5EF4-FFF2-40B4-BE49-F238E27FC236}">
                      <a16:creationId xmlns:a16="http://schemas.microsoft.com/office/drawing/2014/main" id="{1D0F5495-80E2-4276-AD8A-E2CCB8379B87}"/>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5" name="Freeform: Shape 616">
                  <a:extLst>
                    <a:ext uri="{FF2B5EF4-FFF2-40B4-BE49-F238E27FC236}">
                      <a16:creationId xmlns:a16="http://schemas.microsoft.com/office/drawing/2014/main" id="{75F5C856-CA0C-4DF8-ADE5-E9A692CC3F35}"/>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6" name="Freeform: Shape 617">
                  <a:extLst>
                    <a:ext uri="{FF2B5EF4-FFF2-40B4-BE49-F238E27FC236}">
                      <a16:creationId xmlns:a16="http://schemas.microsoft.com/office/drawing/2014/main" id="{03C41B6B-DF1C-413C-BF10-948DC90FEFF2}"/>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7" name="Freeform: Shape 618">
                  <a:extLst>
                    <a:ext uri="{FF2B5EF4-FFF2-40B4-BE49-F238E27FC236}">
                      <a16:creationId xmlns:a16="http://schemas.microsoft.com/office/drawing/2014/main" id="{B0871FBF-7C12-46A8-9D48-5E361F25A0E7}"/>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8" name="Freeform: Shape 619">
                  <a:extLst>
                    <a:ext uri="{FF2B5EF4-FFF2-40B4-BE49-F238E27FC236}">
                      <a16:creationId xmlns:a16="http://schemas.microsoft.com/office/drawing/2014/main" id="{23776C9E-D53A-47EB-914D-03DB163B75DA}"/>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9" name="Freeform: Shape 620">
                  <a:extLst>
                    <a:ext uri="{FF2B5EF4-FFF2-40B4-BE49-F238E27FC236}">
                      <a16:creationId xmlns:a16="http://schemas.microsoft.com/office/drawing/2014/main" id="{6FCE1129-6EEA-4818-9C22-5C96A9E1CB3E}"/>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104" name="Group 1103">
                <a:extLst>
                  <a:ext uri="{FF2B5EF4-FFF2-40B4-BE49-F238E27FC236}">
                    <a16:creationId xmlns:a16="http://schemas.microsoft.com/office/drawing/2014/main" id="{623D1DE8-FB9E-431A-B1E6-25FADC13CD77}"/>
                  </a:ext>
                </a:extLst>
              </p:cNvPr>
              <p:cNvGrpSpPr/>
              <p:nvPr/>
            </p:nvGrpSpPr>
            <p:grpSpPr>
              <a:xfrm>
                <a:off x="7681520" y="2165667"/>
                <a:ext cx="386355" cy="212495"/>
                <a:chOff x="7681520" y="1918017"/>
                <a:chExt cx="386355" cy="212495"/>
              </a:xfrm>
            </p:grpSpPr>
            <p:sp>
              <p:nvSpPr>
                <p:cNvPr id="1124" name="Freeform: Shape 622">
                  <a:extLst>
                    <a:ext uri="{FF2B5EF4-FFF2-40B4-BE49-F238E27FC236}">
                      <a16:creationId xmlns:a16="http://schemas.microsoft.com/office/drawing/2014/main" id="{5CFEA125-032F-43B6-A7B5-3B3E13B65B5A}"/>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5" name="Freeform: Shape 623">
                  <a:extLst>
                    <a:ext uri="{FF2B5EF4-FFF2-40B4-BE49-F238E27FC236}">
                      <a16:creationId xmlns:a16="http://schemas.microsoft.com/office/drawing/2014/main" id="{1F95517B-8B68-4881-8DC1-4963D259D046}"/>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6" name="Freeform: Shape 624">
                  <a:extLst>
                    <a:ext uri="{FF2B5EF4-FFF2-40B4-BE49-F238E27FC236}">
                      <a16:creationId xmlns:a16="http://schemas.microsoft.com/office/drawing/2014/main" id="{31A338DE-2041-42A7-852A-B440F865B845}"/>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7" name="Freeform: Shape 625">
                  <a:extLst>
                    <a:ext uri="{FF2B5EF4-FFF2-40B4-BE49-F238E27FC236}">
                      <a16:creationId xmlns:a16="http://schemas.microsoft.com/office/drawing/2014/main" id="{2FA7AE4D-85F2-4C1B-970B-4BD418277FDC}"/>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8" name="Freeform: Shape 626">
                  <a:extLst>
                    <a:ext uri="{FF2B5EF4-FFF2-40B4-BE49-F238E27FC236}">
                      <a16:creationId xmlns:a16="http://schemas.microsoft.com/office/drawing/2014/main" id="{2BB500AE-A26E-4651-B142-FEBDDFC045ED}"/>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9" name="Freeform: Shape 627">
                  <a:extLst>
                    <a:ext uri="{FF2B5EF4-FFF2-40B4-BE49-F238E27FC236}">
                      <a16:creationId xmlns:a16="http://schemas.microsoft.com/office/drawing/2014/main" id="{9E3F810C-862D-4C6A-A7D8-A313D39B6BB2}"/>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0" name="Freeform: Shape 628">
                  <a:extLst>
                    <a:ext uri="{FF2B5EF4-FFF2-40B4-BE49-F238E27FC236}">
                      <a16:creationId xmlns:a16="http://schemas.microsoft.com/office/drawing/2014/main" id="{D50613AF-9DAC-49B5-956A-94E8465E204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1" name="Freeform: Shape 629">
                  <a:extLst>
                    <a:ext uri="{FF2B5EF4-FFF2-40B4-BE49-F238E27FC236}">
                      <a16:creationId xmlns:a16="http://schemas.microsoft.com/office/drawing/2014/main" id="{4B9269CF-6878-4C31-B7A6-D3A91E055EC4}"/>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105" name="Group 1104">
                <a:extLst>
                  <a:ext uri="{FF2B5EF4-FFF2-40B4-BE49-F238E27FC236}">
                    <a16:creationId xmlns:a16="http://schemas.microsoft.com/office/drawing/2014/main" id="{83398368-FF21-4690-9F47-3C01B401F17E}"/>
                  </a:ext>
                </a:extLst>
              </p:cNvPr>
              <p:cNvGrpSpPr/>
              <p:nvPr/>
            </p:nvGrpSpPr>
            <p:grpSpPr>
              <a:xfrm>
                <a:off x="7681520" y="2429192"/>
                <a:ext cx="386355" cy="212495"/>
                <a:chOff x="7681520" y="1918017"/>
                <a:chExt cx="386355" cy="212495"/>
              </a:xfrm>
            </p:grpSpPr>
            <p:sp>
              <p:nvSpPr>
                <p:cNvPr id="1116" name="Freeform: Shape 631">
                  <a:extLst>
                    <a:ext uri="{FF2B5EF4-FFF2-40B4-BE49-F238E27FC236}">
                      <a16:creationId xmlns:a16="http://schemas.microsoft.com/office/drawing/2014/main" id="{FADF1AD1-FBC6-4AFA-B95A-C3E1A6ABAE76}"/>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7" name="Freeform: Shape 632">
                  <a:extLst>
                    <a:ext uri="{FF2B5EF4-FFF2-40B4-BE49-F238E27FC236}">
                      <a16:creationId xmlns:a16="http://schemas.microsoft.com/office/drawing/2014/main" id="{ECC23EDB-DDBE-4FD3-986F-B514BBCDA4EC}"/>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8" name="Freeform: Shape 633">
                  <a:extLst>
                    <a:ext uri="{FF2B5EF4-FFF2-40B4-BE49-F238E27FC236}">
                      <a16:creationId xmlns:a16="http://schemas.microsoft.com/office/drawing/2014/main" id="{9F2142F2-3069-4C1D-8EF2-F90C79FA3AB8}"/>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9" name="Freeform: Shape 634">
                  <a:extLst>
                    <a:ext uri="{FF2B5EF4-FFF2-40B4-BE49-F238E27FC236}">
                      <a16:creationId xmlns:a16="http://schemas.microsoft.com/office/drawing/2014/main" id="{B1EA25BE-5F9F-43FA-AEE5-154AD3736A64}"/>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0" name="Freeform: Shape 635">
                  <a:extLst>
                    <a:ext uri="{FF2B5EF4-FFF2-40B4-BE49-F238E27FC236}">
                      <a16:creationId xmlns:a16="http://schemas.microsoft.com/office/drawing/2014/main" id="{613BC104-4FCD-4B68-A3F0-1D79B4254772}"/>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1" name="Freeform: Shape 636">
                  <a:extLst>
                    <a:ext uri="{FF2B5EF4-FFF2-40B4-BE49-F238E27FC236}">
                      <a16:creationId xmlns:a16="http://schemas.microsoft.com/office/drawing/2014/main" id="{FD79181F-63B5-44AE-81D3-92203C35C660}"/>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2" name="Freeform: Shape 637">
                  <a:extLst>
                    <a:ext uri="{FF2B5EF4-FFF2-40B4-BE49-F238E27FC236}">
                      <a16:creationId xmlns:a16="http://schemas.microsoft.com/office/drawing/2014/main" id="{5F5F1658-98D3-480F-87EE-7864866DCD00}"/>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3" name="Freeform: Shape 638">
                  <a:extLst>
                    <a:ext uri="{FF2B5EF4-FFF2-40B4-BE49-F238E27FC236}">
                      <a16:creationId xmlns:a16="http://schemas.microsoft.com/office/drawing/2014/main" id="{0168CFCA-B35F-41A5-94B1-6202B4643E0A}"/>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106" name="Group 1105">
                <a:extLst>
                  <a:ext uri="{FF2B5EF4-FFF2-40B4-BE49-F238E27FC236}">
                    <a16:creationId xmlns:a16="http://schemas.microsoft.com/office/drawing/2014/main" id="{1371FD26-6207-45DE-8FFF-F63928D3219E}"/>
                  </a:ext>
                </a:extLst>
              </p:cNvPr>
              <p:cNvGrpSpPr/>
              <p:nvPr/>
            </p:nvGrpSpPr>
            <p:grpSpPr>
              <a:xfrm>
                <a:off x="7681520" y="2692717"/>
                <a:ext cx="386355" cy="212495"/>
                <a:chOff x="7681520" y="1918017"/>
                <a:chExt cx="386355" cy="212495"/>
              </a:xfrm>
            </p:grpSpPr>
            <p:sp>
              <p:nvSpPr>
                <p:cNvPr id="1108" name="Freeform: Shape 640">
                  <a:extLst>
                    <a:ext uri="{FF2B5EF4-FFF2-40B4-BE49-F238E27FC236}">
                      <a16:creationId xmlns:a16="http://schemas.microsoft.com/office/drawing/2014/main" id="{9227E197-9FA0-4FF6-B998-BCD32CACFCAF}"/>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09" name="Freeform: Shape 641">
                  <a:extLst>
                    <a:ext uri="{FF2B5EF4-FFF2-40B4-BE49-F238E27FC236}">
                      <a16:creationId xmlns:a16="http://schemas.microsoft.com/office/drawing/2014/main" id="{A62770A8-41DA-4AA6-8DB0-48B9FF5E7174}"/>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0" name="Freeform: Shape 642">
                  <a:extLst>
                    <a:ext uri="{FF2B5EF4-FFF2-40B4-BE49-F238E27FC236}">
                      <a16:creationId xmlns:a16="http://schemas.microsoft.com/office/drawing/2014/main" id="{99FD1C56-9940-44D5-B806-8F5641AED512}"/>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1" name="Freeform: Shape 643">
                  <a:extLst>
                    <a:ext uri="{FF2B5EF4-FFF2-40B4-BE49-F238E27FC236}">
                      <a16:creationId xmlns:a16="http://schemas.microsoft.com/office/drawing/2014/main" id="{F45FCD9E-03EF-4961-B467-A1363C31AA26}"/>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2" name="Freeform: Shape 644">
                  <a:extLst>
                    <a:ext uri="{FF2B5EF4-FFF2-40B4-BE49-F238E27FC236}">
                      <a16:creationId xmlns:a16="http://schemas.microsoft.com/office/drawing/2014/main" id="{D2678F5B-FFBA-44DD-829D-645CFC56D566}"/>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3" name="Freeform: Shape 645">
                  <a:extLst>
                    <a:ext uri="{FF2B5EF4-FFF2-40B4-BE49-F238E27FC236}">
                      <a16:creationId xmlns:a16="http://schemas.microsoft.com/office/drawing/2014/main" id="{46552C97-E191-4623-8588-29F039D488DC}"/>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4" name="Freeform: Shape 646">
                  <a:extLst>
                    <a:ext uri="{FF2B5EF4-FFF2-40B4-BE49-F238E27FC236}">
                      <a16:creationId xmlns:a16="http://schemas.microsoft.com/office/drawing/2014/main" id="{9C4EEF16-E9D3-42BB-B419-5978A70D805D}"/>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5" name="Freeform: Shape 647">
                  <a:extLst>
                    <a:ext uri="{FF2B5EF4-FFF2-40B4-BE49-F238E27FC236}">
                      <a16:creationId xmlns:a16="http://schemas.microsoft.com/office/drawing/2014/main" id="{D525B7EF-BF21-47F2-AC13-B8C9B1284233}"/>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1107" name="Rectangle 1106">
                <a:extLst>
                  <a:ext uri="{FF2B5EF4-FFF2-40B4-BE49-F238E27FC236}">
                    <a16:creationId xmlns:a16="http://schemas.microsoft.com/office/drawing/2014/main" id="{49F05559-D241-48B8-ADA8-3F58000635BC}"/>
                  </a:ext>
                </a:extLst>
              </p:cNvPr>
              <p:cNvSpPr/>
              <p:nvPr/>
            </p:nvSpPr>
            <p:spPr>
              <a:xfrm>
                <a:off x="7710446" y="1739620"/>
                <a:ext cx="363579" cy="124105"/>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grpSp>
          <p:nvGrpSpPr>
            <p:cNvPr id="1044" name="Group 1043">
              <a:extLst>
                <a:ext uri="{FF2B5EF4-FFF2-40B4-BE49-F238E27FC236}">
                  <a16:creationId xmlns:a16="http://schemas.microsoft.com/office/drawing/2014/main" id="{FEA3E8C3-F514-452F-874E-9F8AB70A629E}"/>
                </a:ext>
              </a:extLst>
            </p:cNvPr>
            <p:cNvGrpSpPr/>
            <p:nvPr/>
          </p:nvGrpSpPr>
          <p:grpSpPr>
            <a:xfrm>
              <a:off x="8177171" y="2098675"/>
              <a:ext cx="570891" cy="913689"/>
              <a:chOff x="8177171" y="2098675"/>
              <a:chExt cx="570891" cy="913689"/>
            </a:xfrm>
          </p:grpSpPr>
          <p:sp>
            <p:nvSpPr>
              <p:cNvPr id="1074" name="Rectangle 1073">
                <a:extLst>
                  <a:ext uri="{FF2B5EF4-FFF2-40B4-BE49-F238E27FC236}">
                    <a16:creationId xmlns:a16="http://schemas.microsoft.com/office/drawing/2014/main" id="{D35675EB-DAC8-44CA-A3E3-FF7673828F1F}"/>
                  </a:ext>
                </a:extLst>
              </p:cNvPr>
              <p:cNvSpPr/>
              <p:nvPr/>
            </p:nvSpPr>
            <p:spPr>
              <a:xfrm>
                <a:off x="8177171" y="2098675"/>
                <a:ext cx="570891" cy="913689"/>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1075" name="Group 1074">
                <a:extLst>
                  <a:ext uri="{FF2B5EF4-FFF2-40B4-BE49-F238E27FC236}">
                    <a16:creationId xmlns:a16="http://schemas.microsoft.com/office/drawing/2014/main" id="{E88663B7-7F40-4F03-BC22-E4F1ECE0F746}"/>
                  </a:ext>
                </a:extLst>
              </p:cNvPr>
              <p:cNvGrpSpPr/>
              <p:nvPr/>
            </p:nvGrpSpPr>
            <p:grpSpPr>
              <a:xfrm>
                <a:off x="8256195" y="2165667"/>
                <a:ext cx="386355" cy="212495"/>
                <a:chOff x="7681520" y="1918017"/>
                <a:chExt cx="386355" cy="212495"/>
              </a:xfrm>
            </p:grpSpPr>
            <p:sp>
              <p:nvSpPr>
                <p:cNvPr id="1094" name="Freeform: Shape 670">
                  <a:extLst>
                    <a:ext uri="{FF2B5EF4-FFF2-40B4-BE49-F238E27FC236}">
                      <a16:creationId xmlns:a16="http://schemas.microsoft.com/office/drawing/2014/main" id="{A8137716-D672-4DC9-9B3E-259C52644D02}"/>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95" name="Freeform: Shape 671">
                  <a:extLst>
                    <a:ext uri="{FF2B5EF4-FFF2-40B4-BE49-F238E27FC236}">
                      <a16:creationId xmlns:a16="http://schemas.microsoft.com/office/drawing/2014/main" id="{4ED7132E-1AA7-4D65-93E4-5AF6FCB82695}"/>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96" name="Freeform: Shape 672">
                  <a:extLst>
                    <a:ext uri="{FF2B5EF4-FFF2-40B4-BE49-F238E27FC236}">
                      <a16:creationId xmlns:a16="http://schemas.microsoft.com/office/drawing/2014/main" id="{8DDFE472-0C23-4E92-8762-FE9269710FF3}"/>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97" name="Freeform: Shape 673">
                  <a:extLst>
                    <a:ext uri="{FF2B5EF4-FFF2-40B4-BE49-F238E27FC236}">
                      <a16:creationId xmlns:a16="http://schemas.microsoft.com/office/drawing/2014/main" id="{AF1C5192-1210-4FFB-81D5-35B4DE196F3C}"/>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98" name="Freeform: Shape 674">
                  <a:extLst>
                    <a:ext uri="{FF2B5EF4-FFF2-40B4-BE49-F238E27FC236}">
                      <a16:creationId xmlns:a16="http://schemas.microsoft.com/office/drawing/2014/main" id="{7FECE02D-BD9A-453F-90FC-782E497486DF}"/>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99" name="Freeform: Shape 675">
                  <a:extLst>
                    <a:ext uri="{FF2B5EF4-FFF2-40B4-BE49-F238E27FC236}">
                      <a16:creationId xmlns:a16="http://schemas.microsoft.com/office/drawing/2014/main" id="{2E87A703-6368-4475-B778-00D541B0C605}"/>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00" name="Freeform: Shape 676">
                  <a:extLst>
                    <a:ext uri="{FF2B5EF4-FFF2-40B4-BE49-F238E27FC236}">
                      <a16:creationId xmlns:a16="http://schemas.microsoft.com/office/drawing/2014/main" id="{2FF07726-6A9F-4C80-BACC-453BE1104DB5}"/>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01" name="Freeform: Shape 677">
                  <a:extLst>
                    <a:ext uri="{FF2B5EF4-FFF2-40B4-BE49-F238E27FC236}">
                      <a16:creationId xmlns:a16="http://schemas.microsoft.com/office/drawing/2014/main" id="{343B4E2C-23C4-471B-B287-CF1F22B8D71F}"/>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076" name="Group 1075">
                <a:extLst>
                  <a:ext uri="{FF2B5EF4-FFF2-40B4-BE49-F238E27FC236}">
                    <a16:creationId xmlns:a16="http://schemas.microsoft.com/office/drawing/2014/main" id="{5EC42186-E0B0-4B42-A20D-A2E2F18DD4FD}"/>
                  </a:ext>
                </a:extLst>
              </p:cNvPr>
              <p:cNvGrpSpPr/>
              <p:nvPr/>
            </p:nvGrpSpPr>
            <p:grpSpPr>
              <a:xfrm>
                <a:off x="8256195" y="2429192"/>
                <a:ext cx="386355" cy="212495"/>
                <a:chOff x="7681520" y="1918017"/>
                <a:chExt cx="386355" cy="212495"/>
              </a:xfrm>
            </p:grpSpPr>
            <p:sp>
              <p:nvSpPr>
                <p:cNvPr id="1086" name="Freeform: Shape 662">
                  <a:extLst>
                    <a:ext uri="{FF2B5EF4-FFF2-40B4-BE49-F238E27FC236}">
                      <a16:creationId xmlns:a16="http://schemas.microsoft.com/office/drawing/2014/main" id="{F5CD9D99-C5C7-43D6-A58F-C210C0D3148A}"/>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87" name="Freeform: Shape 663">
                  <a:extLst>
                    <a:ext uri="{FF2B5EF4-FFF2-40B4-BE49-F238E27FC236}">
                      <a16:creationId xmlns:a16="http://schemas.microsoft.com/office/drawing/2014/main" id="{5010DB45-97F6-43E3-BABD-611841BC84C1}"/>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88" name="Freeform: Shape 664">
                  <a:extLst>
                    <a:ext uri="{FF2B5EF4-FFF2-40B4-BE49-F238E27FC236}">
                      <a16:creationId xmlns:a16="http://schemas.microsoft.com/office/drawing/2014/main" id="{1A7A5710-8F56-4FE6-9D52-A395CE62612B}"/>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89" name="Freeform: Shape 665">
                  <a:extLst>
                    <a:ext uri="{FF2B5EF4-FFF2-40B4-BE49-F238E27FC236}">
                      <a16:creationId xmlns:a16="http://schemas.microsoft.com/office/drawing/2014/main" id="{59C8D57C-1648-447C-A166-D34CBDC404DC}"/>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90" name="Freeform: Shape 666">
                  <a:extLst>
                    <a:ext uri="{FF2B5EF4-FFF2-40B4-BE49-F238E27FC236}">
                      <a16:creationId xmlns:a16="http://schemas.microsoft.com/office/drawing/2014/main" id="{0348AE04-E05E-4E72-B18E-9CAC2E5699AE}"/>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91" name="Freeform: Shape 667">
                  <a:extLst>
                    <a:ext uri="{FF2B5EF4-FFF2-40B4-BE49-F238E27FC236}">
                      <a16:creationId xmlns:a16="http://schemas.microsoft.com/office/drawing/2014/main" id="{7531DB24-EFEE-462D-827D-C41060AACB53}"/>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92" name="Freeform: Shape 668">
                  <a:extLst>
                    <a:ext uri="{FF2B5EF4-FFF2-40B4-BE49-F238E27FC236}">
                      <a16:creationId xmlns:a16="http://schemas.microsoft.com/office/drawing/2014/main" id="{C2C381B5-CF91-45F4-BAE6-A514FBD82D30}"/>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93" name="Freeform: Shape 669">
                  <a:extLst>
                    <a:ext uri="{FF2B5EF4-FFF2-40B4-BE49-F238E27FC236}">
                      <a16:creationId xmlns:a16="http://schemas.microsoft.com/office/drawing/2014/main" id="{4AE38176-2FCA-48D8-917A-DF6F671DF3E2}"/>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077" name="Group 1076">
                <a:extLst>
                  <a:ext uri="{FF2B5EF4-FFF2-40B4-BE49-F238E27FC236}">
                    <a16:creationId xmlns:a16="http://schemas.microsoft.com/office/drawing/2014/main" id="{72E74082-CEFB-4D10-91F2-8AE218698A18}"/>
                  </a:ext>
                </a:extLst>
              </p:cNvPr>
              <p:cNvGrpSpPr/>
              <p:nvPr/>
            </p:nvGrpSpPr>
            <p:grpSpPr>
              <a:xfrm>
                <a:off x="8256195" y="2692717"/>
                <a:ext cx="386355" cy="212495"/>
                <a:chOff x="7681520" y="1918017"/>
                <a:chExt cx="386355" cy="212495"/>
              </a:xfrm>
            </p:grpSpPr>
            <p:sp>
              <p:nvSpPr>
                <p:cNvPr id="1078" name="Freeform: Shape 654">
                  <a:extLst>
                    <a:ext uri="{FF2B5EF4-FFF2-40B4-BE49-F238E27FC236}">
                      <a16:creationId xmlns:a16="http://schemas.microsoft.com/office/drawing/2014/main" id="{B463FEBF-3CF6-4BD2-A0D4-E2281CE33BA8}"/>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79" name="Freeform: Shape 655">
                  <a:extLst>
                    <a:ext uri="{FF2B5EF4-FFF2-40B4-BE49-F238E27FC236}">
                      <a16:creationId xmlns:a16="http://schemas.microsoft.com/office/drawing/2014/main" id="{113EAD5A-6DA8-430E-882D-497E4086B4BF}"/>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80" name="Freeform: Shape 656">
                  <a:extLst>
                    <a:ext uri="{FF2B5EF4-FFF2-40B4-BE49-F238E27FC236}">
                      <a16:creationId xmlns:a16="http://schemas.microsoft.com/office/drawing/2014/main" id="{67B2CE8D-1312-42F2-8504-18D9ECDEEE54}"/>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81" name="Freeform: Shape 657">
                  <a:extLst>
                    <a:ext uri="{FF2B5EF4-FFF2-40B4-BE49-F238E27FC236}">
                      <a16:creationId xmlns:a16="http://schemas.microsoft.com/office/drawing/2014/main" id="{6E533FA1-EEBC-46E2-8117-A2BC0013469A}"/>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82" name="Freeform: Shape 658">
                  <a:extLst>
                    <a:ext uri="{FF2B5EF4-FFF2-40B4-BE49-F238E27FC236}">
                      <a16:creationId xmlns:a16="http://schemas.microsoft.com/office/drawing/2014/main" id="{5A5F440A-58EE-4BE1-A601-BCB0285B4FC5}"/>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83" name="Freeform: Shape 659">
                  <a:extLst>
                    <a:ext uri="{FF2B5EF4-FFF2-40B4-BE49-F238E27FC236}">
                      <a16:creationId xmlns:a16="http://schemas.microsoft.com/office/drawing/2014/main" id="{CAA0817C-3CDF-45AD-A68D-39675EC5F38C}"/>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84" name="Freeform: Shape 660">
                  <a:extLst>
                    <a:ext uri="{FF2B5EF4-FFF2-40B4-BE49-F238E27FC236}">
                      <a16:creationId xmlns:a16="http://schemas.microsoft.com/office/drawing/2014/main" id="{929D3AED-C93D-427B-BC2D-FC5C304383D5}"/>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85" name="Freeform: Shape 661">
                  <a:extLst>
                    <a:ext uri="{FF2B5EF4-FFF2-40B4-BE49-F238E27FC236}">
                      <a16:creationId xmlns:a16="http://schemas.microsoft.com/office/drawing/2014/main" id="{3C12F8D7-4B06-4D42-9CC2-866EE1E6A617}"/>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nvGrpSpPr>
            <p:cNvPr id="1045" name="Group 1044">
              <a:extLst>
                <a:ext uri="{FF2B5EF4-FFF2-40B4-BE49-F238E27FC236}">
                  <a16:creationId xmlns:a16="http://schemas.microsoft.com/office/drawing/2014/main" id="{32724CEB-FDE7-4F9B-AFAF-D12123EE2027}"/>
                </a:ext>
              </a:extLst>
            </p:cNvPr>
            <p:cNvGrpSpPr/>
            <p:nvPr/>
          </p:nvGrpSpPr>
          <p:grpSpPr>
            <a:xfrm>
              <a:off x="7030996" y="2098675"/>
              <a:ext cx="570891" cy="913689"/>
              <a:chOff x="8177171" y="2098675"/>
              <a:chExt cx="570891" cy="913689"/>
            </a:xfrm>
          </p:grpSpPr>
          <p:sp>
            <p:nvSpPr>
              <p:cNvPr id="1046" name="Rectangle 1045">
                <a:extLst>
                  <a:ext uri="{FF2B5EF4-FFF2-40B4-BE49-F238E27FC236}">
                    <a16:creationId xmlns:a16="http://schemas.microsoft.com/office/drawing/2014/main" id="{3F2AE079-085F-4CCD-9DF8-846D273EA67E}"/>
                  </a:ext>
                </a:extLst>
              </p:cNvPr>
              <p:cNvSpPr/>
              <p:nvPr/>
            </p:nvSpPr>
            <p:spPr>
              <a:xfrm>
                <a:off x="8177171" y="2098675"/>
                <a:ext cx="570891" cy="913689"/>
              </a:xfrm>
              <a:prstGeom prst="rect">
                <a:avLst/>
              </a:prstGeom>
              <a:solidFill>
                <a:schemeClr val="bg1"/>
              </a:solidFill>
              <a:ln w="190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1047" name="Group 1046">
                <a:extLst>
                  <a:ext uri="{FF2B5EF4-FFF2-40B4-BE49-F238E27FC236}">
                    <a16:creationId xmlns:a16="http://schemas.microsoft.com/office/drawing/2014/main" id="{82F2CD1B-8EF3-4FD5-B6BB-4ED9806F627E}"/>
                  </a:ext>
                </a:extLst>
              </p:cNvPr>
              <p:cNvGrpSpPr/>
              <p:nvPr/>
            </p:nvGrpSpPr>
            <p:grpSpPr>
              <a:xfrm>
                <a:off x="8256195" y="2165667"/>
                <a:ext cx="386355" cy="212495"/>
                <a:chOff x="7681520" y="1918017"/>
                <a:chExt cx="386355" cy="212495"/>
              </a:xfrm>
            </p:grpSpPr>
            <p:sp>
              <p:nvSpPr>
                <p:cNvPr id="1066" name="Freeform: Shape 707">
                  <a:extLst>
                    <a:ext uri="{FF2B5EF4-FFF2-40B4-BE49-F238E27FC236}">
                      <a16:creationId xmlns:a16="http://schemas.microsoft.com/office/drawing/2014/main" id="{203F7D2B-F5CB-4B61-8987-8D1ED35D1AD4}"/>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67" name="Freeform: Shape 708">
                  <a:extLst>
                    <a:ext uri="{FF2B5EF4-FFF2-40B4-BE49-F238E27FC236}">
                      <a16:creationId xmlns:a16="http://schemas.microsoft.com/office/drawing/2014/main" id="{BEFB5D86-B84E-4C38-AC2F-D325429429DA}"/>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68" name="Freeform: Shape 709">
                  <a:extLst>
                    <a:ext uri="{FF2B5EF4-FFF2-40B4-BE49-F238E27FC236}">
                      <a16:creationId xmlns:a16="http://schemas.microsoft.com/office/drawing/2014/main" id="{AA87997F-85D3-476F-9D39-2E59D4F7D359}"/>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69" name="Freeform: Shape 710">
                  <a:extLst>
                    <a:ext uri="{FF2B5EF4-FFF2-40B4-BE49-F238E27FC236}">
                      <a16:creationId xmlns:a16="http://schemas.microsoft.com/office/drawing/2014/main" id="{3261E925-D374-430D-BE66-428624434C85}"/>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70" name="Freeform: Shape 711">
                  <a:extLst>
                    <a:ext uri="{FF2B5EF4-FFF2-40B4-BE49-F238E27FC236}">
                      <a16:creationId xmlns:a16="http://schemas.microsoft.com/office/drawing/2014/main" id="{0860838F-CFDC-41BC-B92A-163A0EE3F14F}"/>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71" name="Freeform: Shape 712">
                  <a:extLst>
                    <a:ext uri="{FF2B5EF4-FFF2-40B4-BE49-F238E27FC236}">
                      <a16:creationId xmlns:a16="http://schemas.microsoft.com/office/drawing/2014/main" id="{E55480F1-1893-484D-8FF9-85A0A94DD473}"/>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72" name="Freeform: Shape 713">
                  <a:extLst>
                    <a:ext uri="{FF2B5EF4-FFF2-40B4-BE49-F238E27FC236}">
                      <a16:creationId xmlns:a16="http://schemas.microsoft.com/office/drawing/2014/main" id="{1D41F713-F934-41C1-8730-4A748EF41DD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73" name="Freeform: Shape 714">
                  <a:extLst>
                    <a:ext uri="{FF2B5EF4-FFF2-40B4-BE49-F238E27FC236}">
                      <a16:creationId xmlns:a16="http://schemas.microsoft.com/office/drawing/2014/main" id="{3268174C-3044-42A4-AD12-A0903062DADB}"/>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048" name="Group 1047">
                <a:extLst>
                  <a:ext uri="{FF2B5EF4-FFF2-40B4-BE49-F238E27FC236}">
                    <a16:creationId xmlns:a16="http://schemas.microsoft.com/office/drawing/2014/main" id="{82C37B37-BA84-47CF-B761-1B8DF16E95A3}"/>
                  </a:ext>
                </a:extLst>
              </p:cNvPr>
              <p:cNvGrpSpPr/>
              <p:nvPr/>
            </p:nvGrpSpPr>
            <p:grpSpPr>
              <a:xfrm>
                <a:off x="8256195" y="2429192"/>
                <a:ext cx="386355" cy="212495"/>
                <a:chOff x="7681520" y="1918017"/>
                <a:chExt cx="386355" cy="212495"/>
              </a:xfrm>
            </p:grpSpPr>
            <p:sp>
              <p:nvSpPr>
                <p:cNvPr id="1058" name="Freeform: Shape 699">
                  <a:extLst>
                    <a:ext uri="{FF2B5EF4-FFF2-40B4-BE49-F238E27FC236}">
                      <a16:creationId xmlns:a16="http://schemas.microsoft.com/office/drawing/2014/main" id="{54015EB5-AFCF-441A-B529-7B008BA11323}"/>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59" name="Freeform: Shape 700">
                  <a:extLst>
                    <a:ext uri="{FF2B5EF4-FFF2-40B4-BE49-F238E27FC236}">
                      <a16:creationId xmlns:a16="http://schemas.microsoft.com/office/drawing/2014/main" id="{5C0325B9-FEC8-4CF2-A84F-E7EDF9734AF9}"/>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60" name="Freeform: Shape 701">
                  <a:extLst>
                    <a:ext uri="{FF2B5EF4-FFF2-40B4-BE49-F238E27FC236}">
                      <a16:creationId xmlns:a16="http://schemas.microsoft.com/office/drawing/2014/main" id="{715C2893-6A38-4995-AB07-EDB72A2B6020}"/>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61" name="Freeform: Shape 702">
                  <a:extLst>
                    <a:ext uri="{FF2B5EF4-FFF2-40B4-BE49-F238E27FC236}">
                      <a16:creationId xmlns:a16="http://schemas.microsoft.com/office/drawing/2014/main" id="{B2E524EA-7500-401B-AA51-ACDA7049C5D7}"/>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62" name="Freeform: Shape 703">
                  <a:extLst>
                    <a:ext uri="{FF2B5EF4-FFF2-40B4-BE49-F238E27FC236}">
                      <a16:creationId xmlns:a16="http://schemas.microsoft.com/office/drawing/2014/main" id="{4DEAB885-F959-44BC-9663-983D9EB5377A}"/>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63" name="Freeform: Shape 704">
                  <a:extLst>
                    <a:ext uri="{FF2B5EF4-FFF2-40B4-BE49-F238E27FC236}">
                      <a16:creationId xmlns:a16="http://schemas.microsoft.com/office/drawing/2014/main" id="{3FF6C649-EAFC-4D3E-B311-CF8D6A2E342C}"/>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64" name="Freeform: Shape 705">
                  <a:extLst>
                    <a:ext uri="{FF2B5EF4-FFF2-40B4-BE49-F238E27FC236}">
                      <a16:creationId xmlns:a16="http://schemas.microsoft.com/office/drawing/2014/main" id="{51CF9C68-DDD8-42E2-B73D-CBF745F6AD34}"/>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65" name="Freeform: Shape 706">
                  <a:extLst>
                    <a:ext uri="{FF2B5EF4-FFF2-40B4-BE49-F238E27FC236}">
                      <a16:creationId xmlns:a16="http://schemas.microsoft.com/office/drawing/2014/main" id="{620A3177-F1C6-4C99-9E55-F8621C372FBF}"/>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049" name="Group 1048">
                <a:extLst>
                  <a:ext uri="{FF2B5EF4-FFF2-40B4-BE49-F238E27FC236}">
                    <a16:creationId xmlns:a16="http://schemas.microsoft.com/office/drawing/2014/main" id="{0CC9FADE-28F9-49BB-A344-BDF29A40C9C5}"/>
                  </a:ext>
                </a:extLst>
              </p:cNvPr>
              <p:cNvGrpSpPr/>
              <p:nvPr/>
            </p:nvGrpSpPr>
            <p:grpSpPr>
              <a:xfrm>
                <a:off x="8256195" y="2692717"/>
                <a:ext cx="386355" cy="212495"/>
                <a:chOff x="7681520" y="1918017"/>
                <a:chExt cx="386355" cy="212495"/>
              </a:xfrm>
            </p:grpSpPr>
            <p:sp>
              <p:nvSpPr>
                <p:cNvPr id="1050" name="Freeform: Shape 691">
                  <a:extLst>
                    <a:ext uri="{FF2B5EF4-FFF2-40B4-BE49-F238E27FC236}">
                      <a16:creationId xmlns:a16="http://schemas.microsoft.com/office/drawing/2014/main" id="{E6D347EC-194B-4960-86DC-D0E0E8626DD5}"/>
                    </a:ext>
                  </a:extLst>
                </p:cNvPr>
                <p:cNvSpPr/>
                <p:nvPr/>
              </p:nvSpPr>
              <p:spPr>
                <a:xfrm>
                  <a:off x="8001643"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51" name="Freeform: Shape 692">
                  <a:extLst>
                    <a:ext uri="{FF2B5EF4-FFF2-40B4-BE49-F238E27FC236}">
                      <a16:creationId xmlns:a16="http://schemas.microsoft.com/office/drawing/2014/main" id="{C5FE6987-2FA3-417F-B341-52792038C0DE}"/>
                    </a:ext>
                  </a:extLst>
                </p:cNvPr>
                <p:cNvSpPr/>
                <p:nvPr/>
              </p:nvSpPr>
              <p:spPr>
                <a:xfrm>
                  <a:off x="7895016"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52" name="Freeform: Shape 693">
                  <a:extLst>
                    <a:ext uri="{FF2B5EF4-FFF2-40B4-BE49-F238E27FC236}">
                      <a16:creationId xmlns:a16="http://schemas.microsoft.com/office/drawing/2014/main" id="{9B352CD8-25B0-4EDE-9A03-873248250118}"/>
                    </a:ext>
                  </a:extLst>
                </p:cNvPr>
                <p:cNvSpPr/>
                <p:nvPr/>
              </p:nvSpPr>
              <p:spPr>
                <a:xfrm>
                  <a:off x="7789067" y="2034843"/>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53" name="Freeform: Shape 694">
                  <a:extLst>
                    <a:ext uri="{FF2B5EF4-FFF2-40B4-BE49-F238E27FC236}">
                      <a16:creationId xmlns:a16="http://schemas.microsoft.com/office/drawing/2014/main" id="{D6DA0E0A-A52E-4E08-8F8B-9B7EA9ECD4C1}"/>
                    </a:ext>
                  </a:extLst>
                </p:cNvPr>
                <p:cNvSpPr/>
                <p:nvPr/>
              </p:nvSpPr>
              <p:spPr>
                <a:xfrm>
                  <a:off x="7895016"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54" name="Freeform: Shape 695">
                  <a:extLst>
                    <a:ext uri="{FF2B5EF4-FFF2-40B4-BE49-F238E27FC236}">
                      <a16:creationId xmlns:a16="http://schemas.microsoft.com/office/drawing/2014/main" id="{D46D8B46-5EB2-4AFB-B842-E2D25BAA1B84}"/>
                    </a:ext>
                  </a:extLst>
                </p:cNvPr>
                <p:cNvSpPr/>
                <p:nvPr/>
              </p:nvSpPr>
              <p:spPr>
                <a:xfrm>
                  <a:off x="7789067"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1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55" name="Freeform: Shape 696">
                  <a:extLst>
                    <a:ext uri="{FF2B5EF4-FFF2-40B4-BE49-F238E27FC236}">
                      <a16:creationId xmlns:a16="http://schemas.microsoft.com/office/drawing/2014/main" id="{063D1DC3-42EE-4D5E-9219-F2B3D5AA2BB0}"/>
                    </a:ext>
                  </a:extLst>
                </p:cNvPr>
                <p:cNvSpPr/>
                <p:nvPr/>
              </p:nvSpPr>
              <p:spPr>
                <a:xfrm>
                  <a:off x="7681520" y="2034843"/>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56" name="Freeform: Shape 697">
                  <a:extLst>
                    <a:ext uri="{FF2B5EF4-FFF2-40B4-BE49-F238E27FC236}">
                      <a16:creationId xmlns:a16="http://schemas.microsoft.com/office/drawing/2014/main" id="{88BA0CC1-4D2D-46AD-925E-A89044247021}"/>
                    </a:ext>
                  </a:extLst>
                </p:cNvPr>
                <p:cNvSpPr/>
                <p:nvPr/>
              </p:nvSpPr>
              <p:spPr>
                <a:xfrm>
                  <a:off x="8001643" y="1918017"/>
                  <a:ext cx="66232" cy="95669"/>
                </a:xfrm>
                <a:custGeom>
                  <a:avLst/>
                  <a:gdLst>
                    <a:gd name="connsiteX0" fmla="*/ 16669 w 85725"/>
                    <a:gd name="connsiteY0" fmla="*/ 118215 h 123825"/>
                    <a:gd name="connsiteX1" fmla="*/ 77181 w 85725"/>
                    <a:gd name="connsiteY1" fmla="*/ 118215 h 123825"/>
                    <a:gd name="connsiteX2" fmla="*/ 86706 w 85725"/>
                    <a:gd name="connsiteY2" fmla="*/ 108690 h 123825"/>
                    <a:gd name="connsiteX3" fmla="*/ 86706 w 85725"/>
                    <a:gd name="connsiteY3" fmla="*/ 16669 h 123825"/>
                    <a:gd name="connsiteX4" fmla="*/ 77181 w 85725"/>
                    <a:gd name="connsiteY4" fmla="*/ 7144 h 123825"/>
                    <a:gd name="connsiteX5" fmla="*/ 16669 w 85725"/>
                    <a:gd name="connsiteY5" fmla="*/ 7144 h 123825"/>
                    <a:gd name="connsiteX6" fmla="*/ 7144 w 85725"/>
                    <a:gd name="connsiteY6" fmla="*/ 16669 h 123825"/>
                    <a:gd name="connsiteX7" fmla="*/ 7144 w 85725"/>
                    <a:gd name="connsiteY7" fmla="*/ 108690 h 123825"/>
                    <a:gd name="connsiteX8" fmla="*/ 16669 w 85725"/>
                    <a:gd name="connsiteY8" fmla="*/ 118215 h 123825"/>
                    <a:gd name="connsiteX9" fmla="*/ 26194 w 85725"/>
                    <a:gd name="connsiteY9" fmla="*/ 26194 h 123825"/>
                    <a:gd name="connsiteX10" fmla="*/ 67656 w 85725"/>
                    <a:gd name="connsiteY10" fmla="*/ 26194 h 123825"/>
                    <a:gd name="connsiteX11" fmla="*/ 67656 w 85725"/>
                    <a:gd name="connsiteY11" fmla="*/ 99165 h 123825"/>
                    <a:gd name="connsiteX12" fmla="*/ 26194 w 85725"/>
                    <a:gd name="connsiteY12" fmla="*/ 99165 h 123825"/>
                    <a:gd name="connsiteX13" fmla="*/ 26194 w 85725"/>
                    <a:gd name="connsiteY13"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16669" y="118215"/>
                      </a:moveTo>
                      <a:lnTo>
                        <a:pt x="77181" y="118215"/>
                      </a:lnTo>
                      <a:cubicBezTo>
                        <a:pt x="82439" y="118215"/>
                        <a:pt x="86706" y="113957"/>
                        <a:pt x="86706" y="108690"/>
                      </a:cubicBezTo>
                      <a:lnTo>
                        <a:pt x="86706" y="16669"/>
                      </a:lnTo>
                      <a:cubicBezTo>
                        <a:pt x="86706" y="11401"/>
                        <a:pt x="82439" y="7144"/>
                        <a:pt x="77181" y="7144"/>
                      </a:cubicBezTo>
                      <a:lnTo>
                        <a:pt x="16669" y="7144"/>
                      </a:lnTo>
                      <a:cubicBezTo>
                        <a:pt x="11411" y="7144"/>
                        <a:pt x="7144" y="11401"/>
                        <a:pt x="7144" y="16669"/>
                      </a:cubicBezTo>
                      <a:lnTo>
                        <a:pt x="7144" y="108690"/>
                      </a:lnTo>
                      <a:cubicBezTo>
                        <a:pt x="7144" y="113948"/>
                        <a:pt x="11401" y="118215"/>
                        <a:pt x="16669" y="118215"/>
                      </a:cubicBezTo>
                      <a:close/>
                      <a:moveTo>
                        <a:pt x="26194" y="26194"/>
                      </a:moveTo>
                      <a:lnTo>
                        <a:pt x="67656" y="26194"/>
                      </a:lnTo>
                      <a:lnTo>
                        <a:pt x="67656" y="99165"/>
                      </a:lnTo>
                      <a:lnTo>
                        <a:pt x="26194" y="99165"/>
                      </a:lnTo>
                      <a:lnTo>
                        <a:pt x="26194" y="26194"/>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57" name="Freeform: Shape 698">
                  <a:extLst>
                    <a:ext uri="{FF2B5EF4-FFF2-40B4-BE49-F238E27FC236}">
                      <a16:creationId xmlns:a16="http://schemas.microsoft.com/office/drawing/2014/main" id="{FC9383D1-ED48-4DF1-B637-C22F7ABB820F}"/>
                    </a:ext>
                  </a:extLst>
                </p:cNvPr>
                <p:cNvSpPr/>
                <p:nvPr/>
              </p:nvSpPr>
              <p:spPr>
                <a:xfrm>
                  <a:off x="7681520" y="1918017"/>
                  <a:ext cx="66232" cy="95669"/>
                </a:xfrm>
                <a:custGeom>
                  <a:avLst/>
                  <a:gdLst>
                    <a:gd name="connsiteX0" fmla="*/ 77181 w 85725"/>
                    <a:gd name="connsiteY0" fmla="*/ 7144 h 123825"/>
                    <a:gd name="connsiteX1" fmla="*/ 16669 w 85725"/>
                    <a:gd name="connsiteY1" fmla="*/ 7144 h 123825"/>
                    <a:gd name="connsiteX2" fmla="*/ 7144 w 85725"/>
                    <a:gd name="connsiteY2" fmla="*/ 16669 h 123825"/>
                    <a:gd name="connsiteX3" fmla="*/ 7144 w 85725"/>
                    <a:gd name="connsiteY3" fmla="*/ 108690 h 123825"/>
                    <a:gd name="connsiteX4" fmla="*/ 16669 w 85725"/>
                    <a:gd name="connsiteY4" fmla="*/ 118215 h 123825"/>
                    <a:gd name="connsiteX5" fmla="*/ 77181 w 85725"/>
                    <a:gd name="connsiteY5" fmla="*/ 118215 h 123825"/>
                    <a:gd name="connsiteX6" fmla="*/ 86706 w 85725"/>
                    <a:gd name="connsiteY6" fmla="*/ 108690 h 123825"/>
                    <a:gd name="connsiteX7" fmla="*/ 86706 w 85725"/>
                    <a:gd name="connsiteY7" fmla="*/ 16669 h 123825"/>
                    <a:gd name="connsiteX8" fmla="*/ 77181 w 85725"/>
                    <a:gd name="connsiteY8" fmla="*/ 7144 h 123825"/>
                    <a:gd name="connsiteX9" fmla="*/ 67656 w 85725"/>
                    <a:gd name="connsiteY9" fmla="*/ 99165 h 123825"/>
                    <a:gd name="connsiteX10" fmla="*/ 26194 w 85725"/>
                    <a:gd name="connsiteY10" fmla="*/ 99165 h 123825"/>
                    <a:gd name="connsiteX11" fmla="*/ 26194 w 85725"/>
                    <a:gd name="connsiteY11" fmla="*/ 26194 h 123825"/>
                    <a:gd name="connsiteX12" fmla="*/ 67656 w 85725"/>
                    <a:gd name="connsiteY12" fmla="*/ 26194 h 123825"/>
                    <a:gd name="connsiteX13" fmla="*/ 67656 w 85725"/>
                    <a:gd name="connsiteY13" fmla="*/ 9916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 h="123825">
                      <a:moveTo>
                        <a:pt x="77181" y="7144"/>
                      </a:moveTo>
                      <a:lnTo>
                        <a:pt x="16669" y="7144"/>
                      </a:lnTo>
                      <a:cubicBezTo>
                        <a:pt x="11411" y="7144"/>
                        <a:pt x="7144" y="11401"/>
                        <a:pt x="7144" y="16669"/>
                      </a:cubicBezTo>
                      <a:lnTo>
                        <a:pt x="7144" y="108690"/>
                      </a:lnTo>
                      <a:cubicBezTo>
                        <a:pt x="7144" y="113957"/>
                        <a:pt x="11411" y="118215"/>
                        <a:pt x="16669" y="118215"/>
                      </a:cubicBezTo>
                      <a:lnTo>
                        <a:pt x="77181" y="118215"/>
                      </a:lnTo>
                      <a:cubicBezTo>
                        <a:pt x="82439" y="118215"/>
                        <a:pt x="86706" y="113957"/>
                        <a:pt x="86706" y="108690"/>
                      </a:cubicBezTo>
                      <a:lnTo>
                        <a:pt x="86706" y="16669"/>
                      </a:lnTo>
                      <a:cubicBezTo>
                        <a:pt x="86706" y="11401"/>
                        <a:pt x="82439" y="7144"/>
                        <a:pt x="77181" y="7144"/>
                      </a:cubicBezTo>
                      <a:close/>
                      <a:moveTo>
                        <a:pt x="67656" y="99165"/>
                      </a:moveTo>
                      <a:lnTo>
                        <a:pt x="26194" y="99165"/>
                      </a:lnTo>
                      <a:lnTo>
                        <a:pt x="26194" y="26194"/>
                      </a:lnTo>
                      <a:lnTo>
                        <a:pt x="67656" y="26194"/>
                      </a:lnTo>
                      <a:lnTo>
                        <a:pt x="67656" y="99165"/>
                      </a:lnTo>
                      <a:close/>
                    </a:path>
                  </a:pathLst>
                </a:custGeom>
                <a:solidFill>
                  <a:srgbClr val="99999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sp>
        <p:nvSpPr>
          <p:cNvPr id="1165" name="Title 1">
            <a:extLst>
              <a:ext uri="{FF2B5EF4-FFF2-40B4-BE49-F238E27FC236}">
                <a16:creationId xmlns:a16="http://schemas.microsoft.com/office/drawing/2014/main" id="{0133A8EA-C2C6-074E-B54A-E2C8A0D2A889}"/>
              </a:ext>
            </a:extLst>
          </p:cNvPr>
          <p:cNvSpPr txBox="1">
            <a:spLocks/>
          </p:cNvSpPr>
          <p:nvPr/>
        </p:nvSpPr>
        <p:spPr>
          <a:xfrm>
            <a:off x="-46156" y="-89290"/>
            <a:ext cx="12192000" cy="1002640"/>
          </a:xfrm>
          <a:prstGeom prst="rect">
            <a:avLst/>
          </a:prstGeom>
          <a:no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dirty="0" smtClean="0">
                <a:latin typeface="Arial" panose="020B0604020202020204" pitchFamily="34" charset="0"/>
                <a:ea typeface="Optimist" panose="020B0603020204030204" pitchFamily="34" charset="77"/>
                <a:cs typeface="Arial" panose="020B0604020202020204" pitchFamily="34" charset="0"/>
              </a:rPr>
              <a:t>Each organization has a unique change profile that that influences their motivation and absorption rate of change</a:t>
            </a:r>
            <a:endParaRPr lang="en-US" sz="2800" b="1" dirty="0">
              <a:latin typeface="Arial" panose="020B0604020202020204" pitchFamily="34" charset="0"/>
              <a:ea typeface="Optimist" panose="020B0603020204030204" pitchFamily="34" charset="77"/>
              <a:cs typeface="Arial" panose="020B0604020202020204" pitchFamily="34" charset="0"/>
            </a:endParaRPr>
          </a:p>
        </p:txBody>
      </p:sp>
      <p:pic>
        <p:nvPicPr>
          <p:cNvPr id="2" name="Audio 1">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3987816287"/>
      </p:ext>
    </p:extLst>
  </p:cSld>
  <p:clrMapOvr>
    <a:masterClrMapping/>
  </p:clrMapOvr>
  <mc:AlternateContent xmlns:mc="http://schemas.openxmlformats.org/markup-compatibility/2006" xmlns:p14="http://schemas.microsoft.com/office/powerpoint/2010/main">
    <mc:Choice Requires="p14">
      <p:transition spd="slow" p14:dur="2000" advTm="258"/>
    </mc:Choice>
    <mc:Fallback xmlns="">
      <p:transition spd="slow" advTm="25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133A8EA-C2C6-074E-B54A-E2C8A0D2A889}"/>
              </a:ext>
            </a:extLst>
          </p:cNvPr>
          <p:cNvSpPr>
            <a:spLocks noGrp="1"/>
          </p:cNvSpPr>
          <p:nvPr>
            <p:ph type="title"/>
          </p:nvPr>
        </p:nvSpPr>
        <p:spPr>
          <a:xfrm>
            <a:off x="110196" y="-95083"/>
            <a:ext cx="11992761" cy="1325563"/>
          </a:xfrm>
        </p:spPr>
        <p:txBody>
          <a:bodyPr>
            <a:normAutofit/>
          </a:bodyPr>
          <a:lstStyle/>
          <a:p>
            <a:r>
              <a:rPr lang="en-US" sz="2800" b="1" dirty="0" smtClean="0">
                <a:latin typeface="Arial" panose="020B0604020202020204" pitchFamily="34" charset="0"/>
                <a:ea typeface="Optimist" panose="020B0603020204030204" pitchFamily="34" charset="77"/>
                <a:cs typeface="Arial" panose="020B0604020202020204" pitchFamily="34" charset="0"/>
              </a:rPr>
              <a:t>There are circumstances that will make DevOps adoption harder than it needs to be no matter who or what the organization is</a:t>
            </a:r>
            <a:endParaRPr lang="en-US" sz="2800" b="1" dirty="0">
              <a:latin typeface="Arial" panose="020B0604020202020204" pitchFamily="34" charset="0"/>
              <a:ea typeface="Optimist" panose="020B0603020204030204" pitchFamily="34" charset="77"/>
              <a:cs typeface="Arial" panose="020B0604020202020204" pitchFamily="34" charset="0"/>
            </a:endParaRPr>
          </a:p>
        </p:txBody>
      </p:sp>
      <p:pic>
        <p:nvPicPr>
          <p:cNvPr id="1026" name="Picture 2" descr="Agile Icons - Download Free Vector Icons | Noun Project"/>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0171" y="2033862"/>
            <a:ext cx="986539" cy="98653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nfinity Forever Symbol Vinyl Decal Sticke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71854" y="1694660"/>
            <a:ext cx="1325741" cy="132574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This Is A Very Simple Icon That Looks Just Like A Cloud - Icone ..."/>
          <p:cNvPicPr>
            <a:picLocks noChangeAspect="1" noChangeArrowheads="1"/>
          </p:cNvPicPr>
          <p:nvPr/>
        </p:nvPicPr>
        <p:blipFill>
          <a:blip r:embed="rId7">
            <a:clrChange>
              <a:clrFrom>
                <a:srgbClr val="F6F6F6"/>
              </a:clrFrom>
              <a:clrTo>
                <a:srgbClr val="F6F6F6">
                  <a:alpha val="0"/>
                </a:srgbClr>
              </a:clrTo>
            </a:clrChange>
            <a:extLst>
              <a:ext uri="{28A0092B-C50C-407E-A947-70E740481C1C}">
                <a14:useLocalDpi xmlns:a14="http://schemas.microsoft.com/office/drawing/2010/main" val="0"/>
              </a:ext>
            </a:extLst>
          </a:blip>
          <a:srcRect/>
          <a:stretch>
            <a:fillRect/>
          </a:stretch>
        </p:blipFill>
        <p:spPr bwMode="auto">
          <a:xfrm>
            <a:off x="1571854" y="2781032"/>
            <a:ext cx="1189152" cy="81809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Tangled - Rough Diagrams"/>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85576" y="1822145"/>
            <a:ext cx="1917774" cy="1917774"/>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956136" y="3894404"/>
            <a:ext cx="1826141" cy="369332"/>
          </a:xfrm>
          <a:prstGeom prst="rect">
            <a:avLst/>
          </a:prstGeom>
          <a:noFill/>
        </p:spPr>
        <p:txBody>
          <a:bodyPr wrap="none" rtlCol="0">
            <a:spAutoFit/>
          </a:bodyPr>
          <a:lstStyle/>
          <a:p>
            <a:r>
              <a:rPr lang="en-US" dirty="0" smtClean="0"/>
              <a:t>Too much change</a:t>
            </a:r>
            <a:endParaRPr lang="en-US" dirty="0"/>
          </a:p>
        </p:txBody>
      </p:sp>
      <p:sp>
        <p:nvSpPr>
          <p:cNvPr id="20" name="TextBox 19"/>
          <p:cNvSpPr txBox="1"/>
          <p:nvPr/>
        </p:nvSpPr>
        <p:spPr>
          <a:xfrm>
            <a:off x="3506589" y="3904202"/>
            <a:ext cx="2721867" cy="646331"/>
          </a:xfrm>
          <a:prstGeom prst="rect">
            <a:avLst/>
          </a:prstGeom>
          <a:noFill/>
        </p:spPr>
        <p:txBody>
          <a:bodyPr wrap="square" rtlCol="0">
            <a:spAutoFit/>
          </a:bodyPr>
          <a:lstStyle/>
          <a:p>
            <a:pPr algn="ctr"/>
            <a:r>
              <a:rPr lang="en-US" dirty="0" smtClean="0"/>
              <a:t>Complex, undocumented legacy systems</a:t>
            </a:r>
            <a:endParaRPr lang="en-US" dirty="0"/>
          </a:p>
        </p:txBody>
      </p:sp>
      <p:pic>
        <p:nvPicPr>
          <p:cNvPr id="1034" name="Picture 10" descr="Playbook Icons - Download Free Vector Icons | Noun Project"/>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962616" y="1884917"/>
            <a:ext cx="1745292" cy="1745292"/>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p:cNvSpPr txBox="1"/>
          <p:nvPr/>
        </p:nvSpPr>
        <p:spPr>
          <a:xfrm>
            <a:off x="6627666" y="3902072"/>
            <a:ext cx="2659959" cy="646331"/>
          </a:xfrm>
          <a:prstGeom prst="rect">
            <a:avLst/>
          </a:prstGeom>
          <a:noFill/>
        </p:spPr>
        <p:txBody>
          <a:bodyPr wrap="none" rtlCol="0">
            <a:spAutoFit/>
          </a:bodyPr>
          <a:lstStyle/>
          <a:p>
            <a:pPr algn="ctr"/>
            <a:r>
              <a:rPr lang="en-US" dirty="0" smtClean="0"/>
              <a:t>Organization &amp; Leadership</a:t>
            </a:r>
          </a:p>
          <a:p>
            <a:pPr algn="ctr"/>
            <a:r>
              <a:rPr lang="en-US" dirty="0" smtClean="0"/>
              <a:t>Changes</a:t>
            </a:r>
            <a:endParaRPr lang="en-US" dirty="0"/>
          </a:p>
        </p:txBody>
      </p:sp>
      <p:pic>
        <p:nvPicPr>
          <p:cNvPr id="1036" name="Picture 12" descr="Cognitive Load and It's Impact on Usability - A.Y. Technologies Inc."/>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489643" y="1884917"/>
            <a:ext cx="2127560" cy="1714205"/>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10275963" y="1848688"/>
            <a:ext cx="585417" cy="1569660"/>
          </a:xfrm>
          <a:prstGeom prst="rect">
            <a:avLst/>
          </a:prstGeom>
          <a:noFill/>
        </p:spPr>
        <p:txBody>
          <a:bodyPr wrap="none" rtlCol="0">
            <a:spAutoFit/>
          </a:bodyPr>
          <a:lstStyle/>
          <a:p>
            <a:r>
              <a:rPr lang="en-US" sz="9600" dirty="0" smtClean="0"/>
              <a:t>!</a:t>
            </a:r>
            <a:endParaRPr lang="en-US" sz="9600" dirty="0"/>
          </a:p>
        </p:txBody>
      </p:sp>
      <p:sp>
        <p:nvSpPr>
          <p:cNvPr id="25" name="TextBox 24"/>
          <p:cNvSpPr txBox="1"/>
          <p:nvPr/>
        </p:nvSpPr>
        <p:spPr>
          <a:xfrm>
            <a:off x="9674637" y="3904202"/>
            <a:ext cx="1970732" cy="369332"/>
          </a:xfrm>
          <a:prstGeom prst="rect">
            <a:avLst/>
          </a:prstGeom>
          <a:noFill/>
        </p:spPr>
        <p:txBody>
          <a:bodyPr wrap="none" rtlCol="0">
            <a:spAutoFit/>
          </a:bodyPr>
          <a:lstStyle/>
          <a:p>
            <a:pPr algn="ctr"/>
            <a:r>
              <a:rPr lang="en-US" dirty="0" smtClean="0"/>
              <a:t>Cognitive Overload</a:t>
            </a:r>
          </a:p>
        </p:txBody>
      </p:sp>
      <p:sp>
        <p:nvSpPr>
          <p:cNvPr id="26" name="Title 1">
            <a:extLst>
              <a:ext uri="{FF2B5EF4-FFF2-40B4-BE49-F238E27FC236}">
                <a16:creationId xmlns:a16="http://schemas.microsoft.com/office/drawing/2014/main" id="{0133A8EA-C2C6-074E-B54A-E2C8A0D2A889}"/>
              </a:ext>
            </a:extLst>
          </p:cNvPr>
          <p:cNvSpPr txBox="1">
            <a:spLocks/>
          </p:cNvSpPr>
          <p:nvPr/>
        </p:nvSpPr>
        <p:spPr>
          <a:xfrm>
            <a:off x="0" y="5881535"/>
            <a:ext cx="12192000" cy="1002640"/>
          </a:xfrm>
          <a:prstGeom prst="rect">
            <a:avLst/>
          </a:prstGeom>
          <a:solidFill>
            <a:schemeClr val="bg2"/>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smtClean="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rPr>
              <a:t>This is NORMAL and you will need to inspect and adapt and adjust your expectations and timeline</a:t>
            </a:r>
            <a:endParaRPr lang="en-US" sz="2800" dirty="0">
              <a:solidFill>
                <a:schemeClr val="bg2">
                  <a:lumMod val="50000"/>
                </a:schemeClr>
              </a:solidFill>
              <a:latin typeface="Optimist" panose="020B0603020204030204" pitchFamily="34" charset="77"/>
              <a:ea typeface="Optimist" panose="020B0603020204030204" pitchFamily="34" charset="77"/>
              <a:cs typeface="Optimist" panose="020B0603020204030204" pitchFamily="34" charset="77"/>
            </a:endParaRPr>
          </a:p>
        </p:txBody>
      </p:sp>
      <p:pic>
        <p:nvPicPr>
          <p:cNvPr id="2" name="Audio 1">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11"/>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4288911439"/>
      </p:ext>
    </p:extLst>
  </p:cSld>
  <p:clrMapOvr>
    <a:masterClrMapping/>
  </p:clrMapOvr>
  <mc:AlternateContent xmlns:mc="http://schemas.openxmlformats.org/markup-compatibility/2006" xmlns:p14="http://schemas.microsoft.com/office/powerpoint/2010/main">
    <mc:Choice Requires="p14">
      <p:transition spd="slow" p14:dur="2000" advTm="317"/>
    </mc:Choice>
    <mc:Fallback xmlns="">
      <p:transition spd="slow" advTm="31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4" name="Rectangle 43"/>
          <p:cNvSpPr/>
          <p:nvPr/>
        </p:nvSpPr>
        <p:spPr>
          <a:xfrm>
            <a:off x="1" y="1790700"/>
            <a:ext cx="12192000" cy="3633006"/>
          </a:xfrm>
          <a:prstGeom prst="rect">
            <a:avLst/>
          </a:prstGeom>
          <a:pattFill prst="pct75">
            <a:fgClr>
              <a:schemeClr val="bg1">
                <a:lumMod val="8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1224000" rIns="216000" rtlCol="0" anchor="ctr" anchorCtr="0"/>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13" name="Rectangle 12">
            <a:extLst>
              <a:ext uri="{FF2B5EF4-FFF2-40B4-BE49-F238E27FC236}">
                <a16:creationId xmlns:a16="http://schemas.microsoft.com/office/drawing/2014/main" id="{24F4DE1F-1E67-41DD-A834-DDCB77198B89}"/>
              </a:ext>
            </a:extLst>
          </p:cNvPr>
          <p:cNvSpPr/>
          <p:nvPr/>
        </p:nvSpPr>
        <p:spPr>
          <a:xfrm>
            <a:off x="1884485" y="2901463"/>
            <a:ext cx="8458200" cy="527537"/>
          </a:xfrm>
          <a:prstGeom prst="rect">
            <a:avLst/>
          </a:prstGeom>
          <a:solidFill>
            <a:srgbClr val="4F99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2" name="Oval 1">
            <a:extLst>
              <a:ext uri="{FF2B5EF4-FFF2-40B4-BE49-F238E27FC236}">
                <a16:creationId xmlns:a16="http://schemas.microsoft.com/office/drawing/2014/main" id="{00938919-D794-4961-90FF-2511CA935DB5}"/>
              </a:ext>
            </a:extLst>
          </p:cNvPr>
          <p:cNvSpPr/>
          <p:nvPr/>
        </p:nvSpPr>
        <p:spPr>
          <a:xfrm>
            <a:off x="1310287" y="2177562"/>
            <a:ext cx="2007577" cy="2007577"/>
          </a:xfrm>
          <a:prstGeom prst="ellipse">
            <a:avLst/>
          </a:prstGeom>
          <a:solidFill>
            <a:schemeClr val="bg1">
              <a:lumMod val="9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aphicFrame>
        <p:nvGraphicFramePr>
          <p:cNvPr id="35" name="Object 34"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16" name="think-cell Slide" r:id="rId9" imgW="216" imgH="216" progId="TCLayout.ActiveDocument.1">
                  <p:embed/>
                </p:oleObj>
              </mc:Choice>
              <mc:Fallback>
                <p:oleObj name="think-cell Slide" r:id="rId9" imgW="216" imgH="216" progId="TCLayout.ActiveDocument.1">
                  <p:embed/>
                  <p:pic>
                    <p:nvPicPr>
                      <p:cNvPr id="35" name="Object 34"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34" name="Rectangle 33" hidden="1"/>
          <p:cNvSpPr/>
          <p:nvPr>
            <p:custDataLst>
              <p:tags r:id="rId4"/>
            </p:custDataLst>
          </p:nvPr>
        </p:nvSpPr>
        <p:spPr>
          <a:xfrm>
            <a:off x="0" y="0"/>
            <a:ext cx="158750" cy="158750"/>
          </a:xfrm>
          <a:prstGeom prst="rect">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err="1">
              <a:ln>
                <a:noFill/>
              </a:ln>
              <a:solidFill>
                <a:prstClr val="black"/>
              </a:solidFill>
              <a:effectLst/>
              <a:uLnTx/>
              <a:uFillTx/>
              <a:latin typeface="Arial" panose="020B0604020202020204" pitchFamily="34" charset="0"/>
              <a:ea typeface="+mn-ea"/>
              <a:cs typeface="+mn-cs"/>
              <a:sym typeface="Arial" panose="020B0604020202020204" pitchFamily="34" charset="0"/>
            </a:endParaRPr>
          </a:p>
        </p:txBody>
      </p:sp>
      <p:sp>
        <p:nvSpPr>
          <p:cNvPr id="38" name="Title 13"/>
          <p:cNvSpPr>
            <a:spLocks noGrp="1"/>
          </p:cNvSpPr>
          <p:nvPr>
            <p:ph type="title"/>
          </p:nvPr>
        </p:nvSpPr>
        <p:spPr>
          <a:xfrm>
            <a:off x="158750" y="98559"/>
            <a:ext cx="11620179" cy="792575"/>
          </a:xfrm>
        </p:spPr>
        <p:txBody>
          <a:bodyPr/>
          <a:lstStyle/>
          <a:p>
            <a:pPr lvl="0">
              <a:lnSpc>
                <a:spcPct val="100000"/>
              </a:lnSpc>
              <a:spcBef>
                <a:spcPts val="0"/>
              </a:spcBef>
              <a:defRPr/>
            </a:pPr>
            <a:r>
              <a:rPr lang="en-US" dirty="0" smtClean="0"/>
              <a:t>To meet the pace of change we </a:t>
            </a:r>
            <a:r>
              <a:rPr lang="en-US" dirty="0"/>
              <a:t>must </a:t>
            </a:r>
            <a:r>
              <a:rPr lang="en-US" strike="sngStrike" dirty="0"/>
              <a:t>build systems</a:t>
            </a:r>
            <a:r>
              <a:rPr lang="en-US" dirty="0"/>
              <a:t> </a:t>
            </a:r>
            <a:r>
              <a:rPr lang="en-US" u="sng" dirty="0" smtClean="0"/>
              <a:t>be people</a:t>
            </a:r>
            <a:r>
              <a:rPr lang="en-US" dirty="0" smtClean="0"/>
              <a:t> that </a:t>
            </a:r>
            <a:r>
              <a:rPr lang="en-US" dirty="0"/>
              <a:t>are </a:t>
            </a:r>
            <a:r>
              <a:rPr lang="en-US" dirty="0" smtClean="0"/>
              <a:t>more agile</a:t>
            </a:r>
            <a:r>
              <a:rPr lang="en-US" dirty="0"/>
              <a:t>, adaptable, scalable, resilient and tolerant of change</a:t>
            </a: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46FB18-5DF1-419A-B975-14AFDDD65B9F}" type="slidenum">
              <a:rPr kumimoji="0" lang="en-US" sz="105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0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 name="Oval 15">
            <a:extLst>
              <a:ext uri="{FF2B5EF4-FFF2-40B4-BE49-F238E27FC236}">
                <a16:creationId xmlns:a16="http://schemas.microsoft.com/office/drawing/2014/main" id="{C603A735-FD41-4BB2-85BF-6DE9875D2D97}"/>
              </a:ext>
            </a:extLst>
          </p:cNvPr>
          <p:cNvSpPr/>
          <p:nvPr/>
        </p:nvSpPr>
        <p:spPr>
          <a:xfrm>
            <a:off x="1468609" y="2335884"/>
            <a:ext cx="1690932" cy="1690932"/>
          </a:xfrm>
          <a:prstGeom prst="ellipse">
            <a:avLst/>
          </a:prstGeom>
          <a:solidFill>
            <a:schemeClr val="bg1"/>
          </a:solidFill>
          <a:ln w="28575">
            <a:solidFill>
              <a:srgbClr val="D60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600" b="0" i="0" u="none" strike="noStrike" kern="1200" cap="none" spc="0" normalizeH="0" baseline="0" noProof="0" dirty="0" smtClean="0">
                <a:ln>
                  <a:noFill/>
                </a:ln>
                <a:solidFill>
                  <a:prstClr val="black"/>
                </a:solidFill>
                <a:effectLst/>
                <a:uLnTx/>
                <a:uFillTx/>
                <a:latin typeface="Arial" panose="020B0604020202020204"/>
                <a:ea typeface="+mn-ea"/>
                <a:cs typeface="+mn-cs"/>
              </a:rPr>
              <a:t>?</a:t>
            </a:r>
            <a:endParaRPr kumimoji="0" lang="en-US" sz="96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8" name="Oval 17">
            <a:extLst>
              <a:ext uri="{FF2B5EF4-FFF2-40B4-BE49-F238E27FC236}">
                <a16:creationId xmlns:a16="http://schemas.microsoft.com/office/drawing/2014/main" id="{C21E0253-9B84-402E-8EF3-89AFDDC69EC0}"/>
              </a:ext>
            </a:extLst>
          </p:cNvPr>
          <p:cNvSpPr/>
          <p:nvPr/>
        </p:nvSpPr>
        <p:spPr>
          <a:xfrm>
            <a:off x="5067471" y="2177562"/>
            <a:ext cx="2007577" cy="2007577"/>
          </a:xfrm>
          <a:prstGeom prst="ellipse">
            <a:avLst/>
          </a:prstGeom>
          <a:solidFill>
            <a:schemeClr val="bg1">
              <a:lumMod val="9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19" name="Oval 18">
            <a:extLst>
              <a:ext uri="{FF2B5EF4-FFF2-40B4-BE49-F238E27FC236}">
                <a16:creationId xmlns:a16="http://schemas.microsoft.com/office/drawing/2014/main" id="{C0AE428E-7117-4E63-8AA6-46171B41A2C7}"/>
              </a:ext>
            </a:extLst>
          </p:cNvPr>
          <p:cNvSpPr/>
          <p:nvPr/>
        </p:nvSpPr>
        <p:spPr>
          <a:xfrm>
            <a:off x="5225793" y="2335884"/>
            <a:ext cx="1690932" cy="1690932"/>
          </a:xfrm>
          <a:prstGeom prst="ellipse">
            <a:avLst/>
          </a:prstGeom>
          <a:solidFill>
            <a:schemeClr val="bg1"/>
          </a:solidFill>
          <a:ln w="28575">
            <a:solidFill>
              <a:srgbClr val="4F99C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600" b="0" i="0" u="none" strike="noStrike" kern="1200" cap="none" spc="0" normalizeH="0" baseline="0" noProof="0" dirty="0" smtClean="0">
                <a:ln>
                  <a:noFill/>
                </a:ln>
                <a:solidFill>
                  <a:prstClr val="black"/>
                </a:solidFill>
                <a:effectLst/>
                <a:uLnTx/>
                <a:uFillTx/>
                <a:latin typeface="Arial" panose="020B0604020202020204"/>
                <a:ea typeface="+mn-ea"/>
                <a:cs typeface="+mn-cs"/>
              </a:rPr>
              <a:t>?</a:t>
            </a:r>
            <a:endParaRPr kumimoji="0" lang="en-US" sz="96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0" name="Oval 19">
            <a:extLst>
              <a:ext uri="{FF2B5EF4-FFF2-40B4-BE49-F238E27FC236}">
                <a16:creationId xmlns:a16="http://schemas.microsoft.com/office/drawing/2014/main" id="{F1A10297-2650-4F08-807B-3D55ED4FF8F0}"/>
              </a:ext>
            </a:extLst>
          </p:cNvPr>
          <p:cNvSpPr/>
          <p:nvPr/>
        </p:nvSpPr>
        <p:spPr>
          <a:xfrm>
            <a:off x="8833389" y="2177562"/>
            <a:ext cx="2007577" cy="2007577"/>
          </a:xfrm>
          <a:prstGeom prst="ellipse">
            <a:avLst/>
          </a:prstGeom>
          <a:solidFill>
            <a:schemeClr val="bg1">
              <a:lumMod val="9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21" name="Oval 20">
            <a:extLst>
              <a:ext uri="{FF2B5EF4-FFF2-40B4-BE49-F238E27FC236}">
                <a16:creationId xmlns:a16="http://schemas.microsoft.com/office/drawing/2014/main" id="{3BFE7151-7659-48D3-B5ED-256A86D93202}"/>
              </a:ext>
            </a:extLst>
          </p:cNvPr>
          <p:cNvSpPr/>
          <p:nvPr/>
        </p:nvSpPr>
        <p:spPr>
          <a:xfrm>
            <a:off x="8991711" y="2335884"/>
            <a:ext cx="1690932" cy="1690932"/>
          </a:xfrm>
          <a:prstGeom prst="ellipse">
            <a:avLst/>
          </a:prstGeom>
          <a:solidFill>
            <a:schemeClr val="bg1"/>
          </a:solidFill>
          <a:ln w="28575">
            <a:solidFill>
              <a:srgbClr val="D60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600" b="0" i="0" u="none" strike="noStrike" kern="1200" cap="none" spc="0" normalizeH="0" baseline="0" noProof="0" dirty="0" smtClean="0">
                <a:ln>
                  <a:noFill/>
                </a:ln>
                <a:solidFill>
                  <a:prstClr val="black"/>
                </a:solidFill>
                <a:effectLst/>
                <a:uLnTx/>
                <a:uFillTx/>
                <a:latin typeface="Arial" panose="020B0604020202020204"/>
                <a:ea typeface="+mn-ea"/>
                <a:cs typeface="+mn-cs"/>
              </a:rPr>
              <a:t>?</a:t>
            </a:r>
            <a:endParaRPr kumimoji="0" lang="en-US" sz="96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2" name="Oval 21">
            <a:extLst>
              <a:ext uri="{FF2B5EF4-FFF2-40B4-BE49-F238E27FC236}">
                <a16:creationId xmlns:a16="http://schemas.microsoft.com/office/drawing/2014/main" id="{CE931E24-B28E-415B-A6C3-155C8C00D9FD}"/>
              </a:ext>
            </a:extLst>
          </p:cNvPr>
          <p:cNvSpPr/>
          <p:nvPr/>
        </p:nvSpPr>
        <p:spPr>
          <a:xfrm rot="10800000">
            <a:off x="4061024" y="3025156"/>
            <a:ext cx="251554" cy="251554"/>
          </a:xfrm>
          <a:prstGeom prst="ellipse">
            <a:avLst/>
          </a:prstGeom>
          <a:solidFill>
            <a:sysClr val="window" lastClr="FFFFFF"/>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black"/>
              </a:solidFill>
              <a:effectLst/>
              <a:uLnTx/>
              <a:uFillTx/>
              <a:latin typeface="Arial" panose="020B0604020202020204"/>
              <a:ea typeface="+mn-ea"/>
              <a:cs typeface="+mn-cs"/>
            </a:endParaRPr>
          </a:p>
        </p:txBody>
      </p:sp>
      <p:sp>
        <p:nvSpPr>
          <p:cNvPr id="23" name="Oval 22">
            <a:extLst>
              <a:ext uri="{FF2B5EF4-FFF2-40B4-BE49-F238E27FC236}">
                <a16:creationId xmlns:a16="http://schemas.microsoft.com/office/drawing/2014/main" id="{F0E7736B-04D3-46A9-BC16-B44FA824C743}"/>
              </a:ext>
            </a:extLst>
          </p:cNvPr>
          <p:cNvSpPr/>
          <p:nvPr/>
        </p:nvSpPr>
        <p:spPr>
          <a:xfrm rot="10800000">
            <a:off x="7823555" y="3025156"/>
            <a:ext cx="251554" cy="251554"/>
          </a:xfrm>
          <a:prstGeom prst="ellipse">
            <a:avLst/>
          </a:prstGeom>
          <a:solidFill>
            <a:sysClr val="window" lastClr="FFFFFF"/>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black"/>
              </a:solidFill>
              <a:effectLst/>
              <a:uLnTx/>
              <a:uFillTx/>
              <a:latin typeface="Arial" panose="020B0604020202020204"/>
              <a:ea typeface="+mn-ea"/>
              <a:cs typeface="+mn-cs"/>
            </a:endParaRPr>
          </a:p>
        </p:txBody>
      </p:sp>
      <p:sp>
        <p:nvSpPr>
          <p:cNvPr id="27" name="Footer Placeholder 3"/>
          <p:cNvSpPr txBox="1">
            <a:spLocks/>
          </p:cNvSpPr>
          <p:nvPr/>
        </p:nvSpPr>
        <p:spPr>
          <a:xfrm>
            <a:off x="3762375" y="6486297"/>
            <a:ext cx="7528630" cy="2210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Permission to reprint or distribute any content from this presentation requires the prior written approval of S&amp;P Global Market Intelligence. </a:t>
            </a:r>
          </a:p>
        </p:txBody>
      </p:sp>
      <p:cxnSp>
        <p:nvCxnSpPr>
          <p:cNvPr id="6" name="Straight Connector 5"/>
          <p:cNvCxnSpPr/>
          <p:nvPr/>
        </p:nvCxnSpPr>
        <p:spPr>
          <a:xfrm>
            <a:off x="6370554" y="385013"/>
            <a:ext cx="2336336" cy="1203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610098" y="4551656"/>
            <a:ext cx="11177337" cy="830997"/>
          </a:xfrm>
          <a:prstGeom prst="rect">
            <a:avLst/>
          </a:prstGeom>
          <a:noFill/>
        </p:spPr>
        <p:txBody>
          <a:bodyPr wrap="square" rtlCol="0">
            <a:spAutoFit/>
          </a:bodyPr>
          <a:lstStyle/>
          <a:p>
            <a:pPr algn="ctr"/>
            <a:r>
              <a:rPr lang="en-US" sz="2400" dirty="0" smtClean="0"/>
              <a:t>If change is so reliable and something we can always count on then why don’t we take comfort in change?</a:t>
            </a:r>
            <a:endParaRPr lang="en-US" sz="2400" dirty="0"/>
          </a:p>
        </p:txBody>
      </p:sp>
      <p:sp>
        <p:nvSpPr>
          <p:cNvPr id="31" name="TextBox 30"/>
          <p:cNvSpPr txBox="1"/>
          <p:nvPr/>
        </p:nvSpPr>
        <p:spPr>
          <a:xfrm>
            <a:off x="8503722" y="5064684"/>
            <a:ext cx="2893671" cy="1404957"/>
          </a:xfrm>
          <a:prstGeom prst="rect">
            <a:avLst/>
          </a:prstGeom>
          <a:noFill/>
        </p:spPr>
        <p:txBody>
          <a:bodyPr wrap="none" rtlCol="0">
            <a:prstTxWarp prst="textDeflateBottom">
              <a:avLst/>
            </a:prstTxWarp>
            <a:spAutoFit/>
          </a:bodyPr>
          <a:lstStyle/>
          <a:p>
            <a:r>
              <a:rPr lang="en-US" dirty="0" smtClean="0"/>
              <a:t>Fear</a:t>
            </a:r>
            <a:endParaRPr lang="en-US" dirty="0"/>
          </a:p>
        </p:txBody>
      </p:sp>
      <p:pic>
        <p:nvPicPr>
          <p:cNvPr id="3" name="Audio 2">
            <a:hlinkClick r:id="" action="ppaction://media"/>
          </p:cNvPr>
          <p:cNvPicPr>
            <a:picLocks noChangeAspect="1"/>
          </p:cNvPicPr>
          <p:nvPr>
            <a:audioFile r:link="rId6"/>
            <p:extLst>
              <p:ext uri="{DAA4B4D4-6D71-4841-9C94-3DE7FCFB9230}">
                <p14:media xmlns:p14="http://schemas.microsoft.com/office/powerpoint/2010/main" r:embed="rId5"/>
              </p:ext>
            </p:extLst>
          </p:nvPr>
        </p:nvPicPr>
        <p:blipFill>
          <a:blip r:embed="rId11"/>
          <a:stretch>
            <a:fillRect/>
          </a:stretch>
        </p:blipFill>
        <p:spPr>
          <a:xfrm>
            <a:off x="11552238" y="6218238"/>
            <a:ext cx="487362" cy="487362"/>
          </a:xfrm>
          <a:prstGeom prst="rect">
            <a:avLst/>
          </a:prstGeom>
        </p:spPr>
      </p:pic>
    </p:spTree>
    <p:custDataLst>
      <p:tags r:id="rId2"/>
    </p:custDataLst>
    <p:extLst>
      <p:ext uri="{BB962C8B-B14F-4D97-AF65-F5344CB8AC3E}">
        <p14:creationId xmlns:p14="http://schemas.microsoft.com/office/powerpoint/2010/main" val="4059753640"/>
      </p:ext>
    </p:extLst>
  </p:cSld>
  <p:clrMapOvr>
    <a:masterClrMapping/>
  </p:clrMapOvr>
  <mc:AlternateContent xmlns:mc="http://schemas.openxmlformats.org/markup-compatibility/2006" xmlns:p14="http://schemas.microsoft.com/office/powerpoint/2010/main">
    <mc:Choice Requires="p14">
      <p:transition spd="slow" p14:dur="2000" advTm="445"/>
    </mc:Choice>
    <mc:Fallback xmlns="">
      <p:transition spd="slow" advTm="44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15" fill="hold" display="0">
                  <p:stCondLst>
                    <p:cond delay="indefinite"/>
                  </p:stCondLst>
                  <p:endCondLst>
                    <p:cond evt="onStopAudio" delay="0">
                      <p:tgtEl>
                        <p:sldTgt/>
                      </p:tgtEl>
                    </p:cond>
                  </p:endCondLst>
                </p:cTn>
                <p:tgtEl>
                  <p:spTgt spid="3"/>
                </p:tgtEl>
              </p:cMediaNode>
            </p:audio>
          </p:childTnLst>
        </p:cTn>
      </p:par>
    </p:tnLst>
    <p:bldLst>
      <p:bldP spid="30" grpId="0"/>
      <p:bldP spid="31" grpId="0"/>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4" name="Rectangle 43"/>
          <p:cNvSpPr/>
          <p:nvPr/>
        </p:nvSpPr>
        <p:spPr>
          <a:xfrm>
            <a:off x="0" y="1525484"/>
            <a:ext cx="12192000" cy="3633006"/>
          </a:xfrm>
          <a:prstGeom prst="rect">
            <a:avLst/>
          </a:prstGeom>
          <a:pattFill prst="pct75">
            <a:fgClr>
              <a:schemeClr val="bg1">
                <a:lumMod val="8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1224000" rIns="216000" rtlCol="0" anchor="ctr" anchorCtr="0"/>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13" name="Rectangle 12">
            <a:extLst>
              <a:ext uri="{FF2B5EF4-FFF2-40B4-BE49-F238E27FC236}">
                <a16:creationId xmlns:a16="http://schemas.microsoft.com/office/drawing/2014/main" id="{24F4DE1F-1E67-41DD-A834-DDCB77198B89}"/>
              </a:ext>
            </a:extLst>
          </p:cNvPr>
          <p:cNvSpPr/>
          <p:nvPr/>
        </p:nvSpPr>
        <p:spPr>
          <a:xfrm>
            <a:off x="1884484" y="2636247"/>
            <a:ext cx="8458200" cy="527537"/>
          </a:xfrm>
          <a:prstGeom prst="rect">
            <a:avLst/>
          </a:prstGeom>
          <a:solidFill>
            <a:srgbClr val="4F99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2" name="Oval 1">
            <a:extLst>
              <a:ext uri="{FF2B5EF4-FFF2-40B4-BE49-F238E27FC236}">
                <a16:creationId xmlns:a16="http://schemas.microsoft.com/office/drawing/2014/main" id="{00938919-D794-4961-90FF-2511CA935DB5}"/>
              </a:ext>
            </a:extLst>
          </p:cNvPr>
          <p:cNvSpPr/>
          <p:nvPr/>
        </p:nvSpPr>
        <p:spPr>
          <a:xfrm>
            <a:off x="1310286" y="1912346"/>
            <a:ext cx="2007577" cy="2007577"/>
          </a:xfrm>
          <a:prstGeom prst="ellipse">
            <a:avLst/>
          </a:prstGeom>
          <a:solidFill>
            <a:schemeClr val="bg1">
              <a:lumMod val="9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aphicFrame>
        <p:nvGraphicFramePr>
          <p:cNvPr id="35" name="Object 3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95" name="think-cell Slide" r:id="rId8" imgW="216" imgH="216" progId="TCLayout.ActiveDocument.1">
                  <p:embed/>
                </p:oleObj>
              </mc:Choice>
              <mc:Fallback>
                <p:oleObj name="think-cell Slide" r:id="rId8" imgW="216" imgH="216" progId="TCLayout.ActiveDocument.1">
                  <p:embed/>
                  <p:pic>
                    <p:nvPicPr>
                      <p:cNvPr id="35" name="Object 34"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4" name="Rectangle 33" hidden="1"/>
          <p:cNvSpPr/>
          <p:nvPr>
            <p:custDataLst>
              <p:tags r:id="rId3"/>
            </p:custDataLst>
          </p:nvPr>
        </p:nvSpPr>
        <p:spPr>
          <a:xfrm>
            <a:off x="0" y="0"/>
            <a:ext cx="158750" cy="158750"/>
          </a:xfrm>
          <a:prstGeom prst="rect">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err="1">
              <a:ln>
                <a:noFill/>
              </a:ln>
              <a:solidFill>
                <a:prstClr val="black"/>
              </a:solidFill>
              <a:effectLst/>
              <a:uLnTx/>
              <a:uFillTx/>
              <a:latin typeface="Arial" panose="020B0604020202020204" pitchFamily="34" charset="0"/>
              <a:ea typeface="+mn-ea"/>
              <a:cs typeface="+mn-cs"/>
              <a:sym typeface="Arial" panose="020B0604020202020204" pitchFamily="34" charset="0"/>
            </a:endParaRPr>
          </a:p>
        </p:txBody>
      </p:sp>
      <p:sp>
        <p:nvSpPr>
          <p:cNvPr id="38" name="Title 13"/>
          <p:cNvSpPr>
            <a:spLocks noGrp="1"/>
          </p:cNvSpPr>
          <p:nvPr>
            <p:ph type="title"/>
          </p:nvPr>
        </p:nvSpPr>
        <p:spPr>
          <a:xfrm>
            <a:off x="158750" y="98559"/>
            <a:ext cx="11620179" cy="792575"/>
          </a:xfrm>
        </p:spPr>
        <p:txBody>
          <a:bodyPr/>
          <a:lstStyle/>
          <a:p>
            <a:pPr lvl="0">
              <a:lnSpc>
                <a:spcPct val="100000"/>
              </a:lnSpc>
              <a:spcBef>
                <a:spcPts val="0"/>
              </a:spcBef>
              <a:defRPr/>
            </a:pPr>
            <a:r>
              <a:rPr lang="en-US" dirty="0" smtClean="0"/>
              <a:t>If you give people a path forward in a system designed to enable them for agility, adaptability, scalability, resilience </a:t>
            </a:r>
            <a:r>
              <a:rPr lang="en-US" dirty="0"/>
              <a:t>and </a:t>
            </a:r>
            <a:r>
              <a:rPr lang="en-US" dirty="0" smtClean="0"/>
              <a:t>tolerance of failure…</a:t>
            </a:r>
            <a:endParaRPr lang="en-US" dirty="0"/>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46FB18-5DF1-419A-B975-14AFDDD65B9F}" type="slidenum">
              <a:rPr kumimoji="0" lang="en-US" sz="105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0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 name="Oval 15">
            <a:extLst>
              <a:ext uri="{FF2B5EF4-FFF2-40B4-BE49-F238E27FC236}">
                <a16:creationId xmlns:a16="http://schemas.microsoft.com/office/drawing/2014/main" id="{C603A735-FD41-4BB2-85BF-6DE9875D2D97}"/>
              </a:ext>
            </a:extLst>
          </p:cNvPr>
          <p:cNvSpPr/>
          <p:nvPr/>
        </p:nvSpPr>
        <p:spPr>
          <a:xfrm>
            <a:off x="1468608" y="2070668"/>
            <a:ext cx="1690932" cy="1690932"/>
          </a:xfrm>
          <a:prstGeom prst="ellipse">
            <a:avLst/>
          </a:prstGeom>
          <a:solidFill>
            <a:schemeClr val="bg1"/>
          </a:solidFill>
          <a:ln w="28575">
            <a:solidFill>
              <a:srgbClr val="D60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6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8" name="Oval 17">
            <a:extLst>
              <a:ext uri="{FF2B5EF4-FFF2-40B4-BE49-F238E27FC236}">
                <a16:creationId xmlns:a16="http://schemas.microsoft.com/office/drawing/2014/main" id="{C21E0253-9B84-402E-8EF3-89AFDDC69EC0}"/>
              </a:ext>
            </a:extLst>
          </p:cNvPr>
          <p:cNvSpPr/>
          <p:nvPr/>
        </p:nvSpPr>
        <p:spPr>
          <a:xfrm>
            <a:off x="5067470" y="1912346"/>
            <a:ext cx="2007577" cy="2007577"/>
          </a:xfrm>
          <a:prstGeom prst="ellipse">
            <a:avLst/>
          </a:prstGeom>
          <a:solidFill>
            <a:schemeClr val="bg1">
              <a:lumMod val="9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19" name="Oval 18">
            <a:extLst>
              <a:ext uri="{FF2B5EF4-FFF2-40B4-BE49-F238E27FC236}">
                <a16:creationId xmlns:a16="http://schemas.microsoft.com/office/drawing/2014/main" id="{C0AE428E-7117-4E63-8AA6-46171B41A2C7}"/>
              </a:ext>
            </a:extLst>
          </p:cNvPr>
          <p:cNvSpPr/>
          <p:nvPr/>
        </p:nvSpPr>
        <p:spPr>
          <a:xfrm>
            <a:off x="5225792" y="2070668"/>
            <a:ext cx="1690932" cy="1690932"/>
          </a:xfrm>
          <a:prstGeom prst="ellipse">
            <a:avLst/>
          </a:prstGeom>
          <a:solidFill>
            <a:schemeClr val="bg1"/>
          </a:solidFill>
          <a:ln w="28575">
            <a:solidFill>
              <a:srgbClr val="4F99C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6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0" name="Oval 19">
            <a:extLst>
              <a:ext uri="{FF2B5EF4-FFF2-40B4-BE49-F238E27FC236}">
                <a16:creationId xmlns:a16="http://schemas.microsoft.com/office/drawing/2014/main" id="{F1A10297-2650-4F08-807B-3D55ED4FF8F0}"/>
              </a:ext>
            </a:extLst>
          </p:cNvPr>
          <p:cNvSpPr/>
          <p:nvPr/>
        </p:nvSpPr>
        <p:spPr>
          <a:xfrm>
            <a:off x="8833388" y="1912346"/>
            <a:ext cx="2007577" cy="2007577"/>
          </a:xfrm>
          <a:prstGeom prst="ellipse">
            <a:avLst/>
          </a:prstGeom>
          <a:solidFill>
            <a:schemeClr val="bg1">
              <a:lumMod val="9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21" name="Oval 20">
            <a:extLst>
              <a:ext uri="{FF2B5EF4-FFF2-40B4-BE49-F238E27FC236}">
                <a16:creationId xmlns:a16="http://schemas.microsoft.com/office/drawing/2014/main" id="{3BFE7151-7659-48D3-B5ED-256A86D93202}"/>
              </a:ext>
            </a:extLst>
          </p:cNvPr>
          <p:cNvSpPr/>
          <p:nvPr/>
        </p:nvSpPr>
        <p:spPr>
          <a:xfrm>
            <a:off x="8991710" y="2070668"/>
            <a:ext cx="1690932" cy="1690932"/>
          </a:xfrm>
          <a:prstGeom prst="ellipse">
            <a:avLst/>
          </a:prstGeom>
          <a:solidFill>
            <a:schemeClr val="bg1"/>
          </a:solidFill>
          <a:ln w="28575">
            <a:solidFill>
              <a:srgbClr val="D60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6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2" name="Oval 21">
            <a:extLst>
              <a:ext uri="{FF2B5EF4-FFF2-40B4-BE49-F238E27FC236}">
                <a16:creationId xmlns:a16="http://schemas.microsoft.com/office/drawing/2014/main" id="{CE931E24-B28E-415B-A6C3-155C8C00D9FD}"/>
              </a:ext>
            </a:extLst>
          </p:cNvPr>
          <p:cNvSpPr/>
          <p:nvPr/>
        </p:nvSpPr>
        <p:spPr>
          <a:xfrm rot="10800000">
            <a:off x="4061023" y="2759940"/>
            <a:ext cx="251554" cy="251554"/>
          </a:xfrm>
          <a:prstGeom prst="ellipse">
            <a:avLst/>
          </a:prstGeom>
          <a:solidFill>
            <a:sysClr val="window" lastClr="FFFFFF"/>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black"/>
              </a:solidFill>
              <a:effectLst/>
              <a:uLnTx/>
              <a:uFillTx/>
              <a:latin typeface="Arial" panose="020B0604020202020204"/>
              <a:ea typeface="+mn-ea"/>
              <a:cs typeface="+mn-cs"/>
            </a:endParaRPr>
          </a:p>
        </p:txBody>
      </p:sp>
      <p:sp>
        <p:nvSpPr>
          <p:cNvPr id="23" name="Oval 22">
            <a:extLst>
              <a:ext uri="{FF2B5EF4-FFF2-40B4-BE49-F238E27FC236}">
                <a16:creationId xmlns:a16="http://schemas.microsoft.com/office/drawing/2014/main" id="{F0E7736B-04D3-46A9-BC16-B44FA824C743}"/>
              </a:ext>
            </a:extLst>
          </p:cNvPr>
          <p:cNvSpPr/>
          <p:nvPr/>
        </p:nvSpPr>
        <p:spPr>
          <a:xfrm rot="10800000">
            <a:off x="7823554" y="2759940"/>
            <a:ext cx="251554" cy="251554"/>
          </a:xfrm>
          <a:prstGeom prst="ellipse">
            <a:avLst/>
          </a:prstGeom>
          <a:solidFill>
            <a:sysClr val="window" lastClr="FFFFFF"/>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black"/>
              </a:solidFill>
              <a:effectLst/>
              <a:uLnTx/>
              <a:uFillTx/>
              <a:latin typeface="Arial" panose="020B0604020202020204"/>
              <a:ea typeface="+mn-ea"/>
              <a:cs typeface="+mn-cs"/>
            </a:endParaRPr>
          </a:p>
        </p:txBody>
      </p:sp>
      <p:sp>
        <p:nvSpPr>
          <p:cNvPr id="27" name="Footer Placeholder 3"/>
          <p:cNvSpPr txBox="1">
            <a:spLocks/>
          </p:cNvSpPr>
          <p:nvPr/>
        </p:nvSpPr>
        <p:spPr>
          <a:xfrm>
            <a:off x="3762375" y="6486297"/>
            <a:ext cx="7528630" cy="2210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Permission to reprint or distribute any content from this presentation requires the prior written approval of S&amp;P Global Market Intelligence. </a:t>
            </a:r>
          </a:p>
        </p:txBody>
      </p:sp>
      <p:sp>
        <p:nvSpPr>
          <p:cNvPr id="24" name="Content Placeholder 2">
            <a:extLst>
              <a:ext uri="{FF2B5EF4-FFF2-40B4-BE49-F238E27FC236}">
                <a16:creationId xmlns:a16="http://schemas.microsoft.com/office/drawing/2014/main" id="{C0999BDD-8E30-452F-81F1-152A1BE16294}"/>
              </a:ext>
            </a:extLst>
          </p:cNvPr>
          <p:cNvSpPr txBox="1">
            <a:spLocks/>
          </p:cNvSpPr>
          <p:nvPr/>
        </p:nvSpPr>
        <p:spPr>
          <a:xfrm>
            <a:off x="4461934" y="4111008"/>
            <a:ext cx="3242734" cy="731977"/>
          </a:xfrm>
          <a:prstGeom prst="rect">
            <a:avLst/>
          </a:prstGeom>
          <a:ln>
            <a:noFill/>
          </a:ln>
        </p:spPr>
        <p:txBody>
          <a:bodyPr vert="horz" lIns="0" tIns="0" rIns="91440" bIns="0" rtlCol="0" anchor="t" anchorCtr="0">
            <a:noAutofit/>
          </a:bodyP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19456" algn="l" defTabSz="914400" rtl="0" eaLnBrk="1" latinLnBrk="0" hangingPunct="1">
              <a:lnSpc>
                <a:spcPct val="90000"/>
              </a:lnSpc>
              <a:spcBef>
                <a:spcPts val="300"/>
              </a:spcBef>
              <a:spcAft>
                <a:spcPts val="0"/>
              </a:spcAft>
              <a:buFont typeface="Arial" panose="020B0604020202020204" pitchFamily="34" charset="0"/>
              <a:buChar char="–"/>
              <a:defRPr sz="1800" b="0" kern="1200">
                <a:solidFill>
                  <a:schemeClr val="tx1"/>
                </a:solidFill>
                <a:latin typeface="+mn-lt"/>
                <a:ea typeface="+mn-ea"/>
                <a:cs typeface="+mn-cs"/>
              </a:defRPr>
            </a:lvl2pPr>
            <a:lvl3pPr marL="566928" indent="-169863" algn="l" defTabSz="914400" rtl="0" eaLnBrk="1" latinLnBrk="0" hangingPunct="1">
              <a:lnSpc>
                <a:spcPct val="90000"/>
              </a:lnSpc>
              <a:spcBef>
                <a:spcPts val="300"/>
              </a:spcBef>
              <a:spcAft>
                <a:spcPts val="0"/>
              </a:spcAft>
              <a:buFont typeface="Arial" panose="020B0604020202020204" pitchFamily="34" charset="0"/>
              <a:buChar char="•"/>
              <a:defRPr sz="1600" b="0" kern="1200">
                <a:solidFill>
                  <a:schemeClr val="tx1"/>
                </a:solidFill>
                <a:latin typeface="+mn-lt"/>
                <a:ea typeface="+mn-ea"/>
                <a:cs typeface="+mn-cs"/>
              </a:defRPr>
            </a:lvl3pPr>
            <a:lvl4pPr marL="740664" indent="-173736" algn="l" defTabSz="914400" rtl="0" eaLnBrk="1" latinLnBrk="0" hangingPunct="1">
              <a:lnSpc>
                <a:spcPct val="90000"/>
              </a:lnSpc>
              <a:spcBef>
                <a:spcPts val="300"/>
              </a:spcBef>
              <a:buFont typeface="Wingdings" panose="05000000000000000000" pitchFamily="2" charset="2"/>
              <a:buChar char="§"/>
              <a:defRPr sz="1400" b="0" kern="1200">
                <a:solidFill>
                  <a:schemeClr val="tx1"/>
                </a:solidFill>
                <a:latin typeface="+mn-lt"/>
                <a:ea typeface="+mn-ea"/>
                <a:cs typeface="+mn-cs"/>
              </a:defRPr>
            </a:lvl4pPr>
            <a:lvl5pPr marL="914400" indent="-173736"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24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A Platform to </a:t>
            </a:r>
            <a:r>
              <a:rPr lang="en-US" sz="2400" b="1" dirty="0" smtClean="0">
                <a:solidFill>
                  <a:prstClr val="black"/>
                </a:solidFill>
                <a:latin typeface="Arial" panose="020B0604020202020204" pitchFamily="34" charset="0"/>
                <a:cs typeface="Arial" panose="020B0604020202020204" pitchFamily="34" charset="0"/>
              </a:rPr>
              <a:t>Accelerate and Deliver Value Safely</a:t>
            </a:r>
            <a:endPar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 name="Content Placeholder 2">
            <a:extLst>
              <a:ext uri="{FF2B5EF4-FFF2-40B4-BE49-F238E27FC236}">
                <a16:creationId xmlns:a16="http://schemas.microsoft.com/office/drawing/2014/main" id="{E292301C-2A15-47A3-8280-142BD89767E2}"/>
              </a:ext>
            </a:extLst>
          </p:cNvPr>
          <p:cNvSpPr txBox="1">
            <a:spLocks/>
          </p:cNvSpPr>
          <p:nvPr/>
        </p:nvSpPr>
        <p:spPr>
          <a:xfrm>
            <a:off x="8322731" y="4115448"/>
            <a:ext cx="3037840" cy="728760"/>
          </a:xfrm>
          <a:prstGeom prst="rect">
            <a:avLst/>
          </a:prstGeom>
          <a:ln>
            <a:noFill/>
          </a:ln>
        </p:spPr>
        <p:txBody>
          <a:bodyPr vert="horz" lIns="0" tIns="0" rIns="91440" bIns="0" rtlCol="0" anchor="t" anchorCtr="0">
            <a:noAutofit/>
          </a:bodyP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19456" algn="l" defTabSz="914400" rtl="0" eaLnBrk="1" latinLnBrk="0" hangingPunct="1">
              <a:lnSpc>
                <a:spcPct val="90000"/>
              </a:lnSpc>
              <a:spcBef>
                <a:spcPts val="300"/>
              </a:spcBef>
              <a:spcAft>
                <a:spcPts val="0"/>
              </a:spcAft>
              <a:buFont typeface="Arial" panose="020B0604020202020204" pitchFamily="34" charset="0"/>
              <a:buChar char="–"/>
              <a:defRPr sz="1800" b="0" kern="1200">
                <a:solidFill>
                  <a:schemeClr val="tx1"/>
                </a:solidFill>
                <a:latin typeface="+mn-lt"/>
                <a:ea typeface="+mn-ea"/>
                <a:cs typeface="+mn-cs"/>
              </a:defRPr>
            </a:lvl2pPr>
            <a:lvl3pPr marL="566928" indent="-169863" algn="l" defTabSz="914400" rtl="0" eaLnBrk="1" latinLnBrk="0" hangingPunct="1">
              <a:lnSpc>
                <a:spcPct val="90000"/>
              </a:lnSpc>
              <a:spcBef>
                <a:spcPts val="300"/>
              </a:spcBef>
              <a:spcAft>
                <a:spcPts val="0"/>
              </a:spcAft>
              <a:buFont typeface="Arial" panose="020B0604020202020204" pitchFamily="34" charset="0"/>
              <a:buChar char="•"/>
              <a:defRPr sz="1600" b="0" kern="1200">
                <a:solidFill>
                  <a:schemeClr val="tx1"/>
                </a:solidFill>
                <a:latin typeface="+mn-lt"/>
                <a:ea typeface="+mn-ea"/>
                <a:cs typeface="+mn-cs"/>
              </a:defRPr>
            </a:lvl3pPr>
            <a:lvl4pPr marL="740664" indent="-173736" algn="l" defTabSz="914400" rtl="0" eaLnBrk="1" latinLnBrk="0" hangingPunct="1">
              <a:lnSpc>
                <a:spcPct val="90000"/>
              </a:lnSpc>
              <a:spcBef>
                <a:spcPts val="300"/>
              </a:spcBef>
              <a:buFont typeface="Wingdings" panose="05000000000000000000" pitchFamily="2" charset="2"/>
              <a:buChar char="§"/>
              <a:defRPr sz="1400" b="0" kern="1200">
                <a:solidFill>
                  <a:schemeClr val="tx1"/>
                </a:solidFill>
                <a:latin typeface="+mn-lt"/>
                <a:ea typeface="+mn-ea"/>
                <a:cs typeface="+mn-cs"/>
              </a:defRPr>
            </a:lvl4pPr>
            <a:lvl5pPr marL="914400" indent="-173736"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24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Leadership Showcasing</a:t>
            </a:r>
            <a:r>
              <a:rPr kumimoji="0" lang="en-US" sz="2400" b="1" i="0" u="none" strike="noStrike" kern="1200" cap="none" spc="0" normalizeH="0" noProof="0" dirty="0" smtClean="0">
                <a:ln>
                  <a:noFill/>
                </a:ln>
                <a:solidFill>
                  <a:prstClr val="black"/>
                </a:solidFill>
                <a:effectLst/>
                <a:uLnTx/>
                <a:uFillTx/>
                <a:latin typeface="Arial" panose="020B0604020202020204" pitchFamily="34" charset="0"/>
                <a:ea typeface="+mn-ea"/>
                <a:cs typeface="Arial" panose="020B0604020202020204" pitchFamily="34" charset="0"/>
              </a:rPr>
              <a:t> and Changing</a:t>
            </a:r>
            <a:r>
              <a:rPr kumimoji="0" lang="en-US" sz="24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 Culture</a:t>
            </a: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 name="Content Placeholder 2">
            <a:extLst>
              <a:ext uri="{FF2B5EF4-FFF2-40B4-BE49-F238E27FC236}">
                <a16:creationId xmlns:a16="http://schemas.microsoft.com/office/drawing/2014/main" id="{C0999BDD-8E30-452F-81F1-152A1BE16294}"/>
              </a:ext>
            </a:extLst>
          </p:cNvPr>
          <p:cNvSpPr txBox="1">
            <a:spLocks/>
          </p:cNvSpPr>
          <p:nvPr/>
        </p:nvSpPr>
        <p:spPr>
          <a:xfrm>
            <a:off x="999069" y="4111008"/>
            <a:ext cx="2590800" cy="731977"/>
          </a:xfrm>
          <a:prstGeom prst="rect">
            <a:avLst/>
          </a:prstGeom>
          <a:ln>
            <a:noFill/>
          </a:ln>
        </p:spPr>
        <p:txBody>
          <a:bodyPr vert="horz" lIns="0" tIns="0" rIns="91440" bIns="0" rtlCol="0" anchor="t" anchorCtr="0">
            <a:noAutofit/>
          </a:bodyP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19456" algn="l" defTabSz="914400" rtl="0" eaLnBrk="1" latinLnBrk="0" hangingPunct="1">
              <a:lnSpc>
                <a:spcPct val="90000"/>
              </a:lnSpc>
              <a:spcBef>
                <a:spcPts val="300"/>
              </a:spcBef>
              <a:spcAft>
                <a:spcPts val="0"/>
              </a:spcAft>
              <a:buFont typeface="Arial" panose="020B0604020202020204" pitchFamily="34" charset="0"/>
              <a:buChar char="–"/>
              <a:defRPr sz="1800" b="0" kern="1200">
                <a:solidFill>
                  <a:schemeClr val="tx1"/>
                </a:solidFill>
                <a:latin typeface="+mn-lt"/>
                <a:ea typeface="+mn-ea"/>
                <a:cs typeface="+mn-cs"/>
              </a:defRPr>
            </a:lvl2pPr>
            <a:lvl3pPr marL="566928" indent="-169863" algn="l" defTabSz="914400" rtl="0" eaLnBrk="1" latinLnBrk="0" hangingPunct="1">
              <a:lnSpc>
                <a:spcPct val="90000"/>
              </a:lnSpc>
              <a:spcBef>
                <a:spcPts val="300"/>
              </a:spcBef>
              <a:spcAft>
                <a:spcPts val="0"/>
              </a:spcAft>
              <a:buFont typeface="Arial" panose="020B0604020202020204" pitchFamily="34" charset="0"/>
              <a:buChar char="•"/>
              <a:defRPr sz="1600" b="0" kern="1200">
                <a:solidFill>
                  <a:schemeClr val="tx1"/>
                </a:solidFill>
                <a:latin typeface="+mn-lt"/>
                <a:ea typeface="+mn-ea"/>
                <a:cs typeface="+mn-cs"/>
              </a:defRPr>
            </a:lvl3pPr>
            <a:lvl4pPr marL="740664" indent="-173736" algn="l" defTabSz="914400" rtl="0" eaLnBrk="1" latinLnBrk="0" hangingPunct="1">
              <a:lnSpc>
                <a:spcPct val="90000"/>
              </a:lnSpc>
              <a:spcBef>
                <a:spcPts val="300"/>
              </a:spcBef>
              <a:buFont typeface="Wingdings" panose="05000000000000000000" pitchFamily="2" charset="2"/>
              <a:buChar char="§"/>
              <a:defRPr sz="1400" b="0" kern="1200">
                <a:solidFill>
                  <a:schemeClr val="tx1"/>
                </a:solidFill>
                <a:latin typeface="+mn-lt"/>
                <a:ea typeface="+mn-ea"/>
                <a:cs typeface="+mn-cs"/>
              </a:defRPr>
            </a:lvl4pPr>
            <a:lvl5pPr marL="914400" indent="-173736"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24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People to Help</a:t>
            </a: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28" name="Graphic 67" descr="Classroom">
            <a:extLst>
              <a:ext uri="{FF2B5EF4-FFF2-40B4-BE49-F238E27FC236}">
                <a16:creationId xmlns:a16="http://schemas.microsoft.com/office/drawing/2014/main" id="{BF56240F-A3BE-DB47-AB75-30641CF911DD}"/>
              </a:ext>
            </a:extLst>
          </p:cNvPr>
          <p:cNvPicPr>
            <a:picLocks noChangeAspect="1"/>
          </p:cNvPicPr>
          <p:nvPr/>
        </p:nvPicPr>
        <p:blipFill>
          <a:blip r:embed="rId10">
            <a:extLst>
              <a:ext uri="{96DAC541-7B7A-43D3-8B79-37D633B846F1}">
                <asvg:svgBlip xmlns:asvg="http://schemas.microsoft.com/office/drawing/2016/SVG/main" xmlns="" r:embed="rId11"/>
              </a:ext>
            </a:extLst>
          </a:blip>
          <a:stretch>
            <a:fillRect/>
          </a:stretch>
        </p:blipFill>
        <p:spPr>
          <a:xfrm>
            <a:off x="1662832" y="2316322"/>
            <a:ext cx="639850" cy="639850"/>
          </a:xfrm>
          <a:prstGeom prst="rect">
            <a:avLst/>
          </a:prstGeom>
        </p:spPr>
      </p:pic>
      <p:pic>
        <p:nvPicPr>
          <p:cNvPr id="29" name="Graphic 97" descr="Group">
            <a:extLst>
              <a:ext uri="{FF2B5EF4-FFF2-40B4-BE49-F238E27FC236}">
                <a16:creationId xmlns:a16="http://schemas.microsoft.com/office/drawing/2014/main" id="{8A7059D7-B129-1E41-9897-43233F1C639E}"/>
              </a:ext>
            </a:extLst>
          </p:cNvPr>
          <p:cNvPicPr>
            <a:picLocks noChangeAspect="1"/>
          </p:cNvPicPr>
          <p:nvPr/>
        </p:nvPicPr>
        <p:blipFill>
          <a:blip r:embed="rId12">
            <a:extLst>
              <a:ext uri="{96DAC541-7B7A-43D3-8B79-37D633B846F1}">
                <asvg:svgBlip xmlns:asvg="http://schemas.microsoft.com/office/drawing/2016/SVG/main" xmlns="" r:embed="rId13"/>
              </a:ext>
            </a:extLst>
          </a:blip>
          <a:stretch>
            <a:fillRect/>
          </a:stretch>
        </p:blipFill>
        <p:spPr>
          <a:xfrm>
            <a:off x="2192796" y="3137404"/>
            <a:ext cx="589001" cy="589001"/>
          </a:xfrm>
          <a:prstGeom prst="rect">
            <a:avLst/>
          </a:prstGeom>
        </p:spPr>
      </p:pic>
      <p:pic>
        <p:nvPicPr>
          <p:cNvPr id="32" name="Graphic 99" descr="Deciduous tree">
            <a:extLst>
              <a:ext uri="{FF2B5EF4-FFF2-40B4-BE49-F238E27FC236}">
                <a16:creationId xmlns:a16="http://schemas.microsoft.com/office/drawing/2014/main" id="{9819F59A-89A2-CD4D-BAEB-BF00779C9851}"/>
              </a:ext>
            </a:extLst>
          </p:cNvPr>
          <p:cNvPicPr>
            <a:picLocks noChangeAspect="1"/>
          </p:cNvPicPr>
          <p:nvPr/>
        </p:nvPicPr>
        <p:blipFill>
          <a:blip r:embed="rId14">
            <a:extLst>
              <a:ext uri="{96DAC541-7B7A-43D3-8B79-37D633B846F1}">
                <asvg:svgBlip xmlns:asvg="http://schemas.microsoft.com/office/drawing/2016/SVG/main" xmlns="" r:embed="rId15"/>
              </a:ext>
            </a:extLst>
          </a:blip>
          <a:stretch>
            <a:fillRect/>
          </a:stretch>
        </p:blipFill>
        <p:spPr>
          <a:xfrm>
            <a:off x="2034473" y="2908691"/>
            <a:ext cx="523213" cy="523213"/>
          </a:xfrm>
          <a:prstGeom prst="rect">
            <a:avLst/>
          </a:prstGeom>
        </p:spPr>
      </p:pic>
      <p:pic>
        <p:nvPicPr>
          <p:cNvPr id="33" name="Graphic 57" descr="Infinity">
            <a:extLst>
              <a:ext uri="{FF2B5EF4-FFF2-40B4-BE49-F238E27FC236}">
                <a16:creationId xmlns:a16="http://schemas.microsoft.com/office/drawing/2014/main" id="{C354EB3E-86C1-4146-B3E4-48A9530BAD6D}"/>
              </a:ext>
            </a:extLst>
          </p:cNvPr>
          <p:cNvPicPr>
            <a:picLocks noChangeAspect="1"/>
          </p:cNvPicPr>
          <p:nvPr/>
        </p:nvPicPr>
        <p:blipFill>
          <a:blip r:embed="rId16">
            <a:extLst>
              <a:ext uri="{96DAC541-7B7A-43D3-8B79-37D633B846F1}">
                <asvg:svgBlip xmlns:asvg="http://schemas.microsoft.com/office/drawing/2016/SVG/main" xmlns="" r:embed="rId17"/>
              </a:ext>
            </a:extLst>
          </a:blip>
          <a:stretch>
            <a:fillRect/>
          </a:stretch>
        </p:blipFill>
        <p:spPr>
          <a:xfrm>
            <a:off x="5669587" y="2888246"/>
            <a:ext cx="802660" cy="802660"/>
          </a:xfrm>
          <a:prstGeom prst="rect">
            <a:avLst/>
          </a:prstGeom>
        </p:spPr>
      </p:pic>
      <p:pic>
        <p:nvPicPr>
          <p:cNvPr id="36" name="Graphic 45" descr="Drawing compass">
            <a:extLst>
              <a:ext uri="{FF2B5EF4-FFF2-40B4-BE49-F238E27FC236}">
                <a16:creationId xmlns:a16="http://schemas.microsoft.com/office/drawing/2014/main" id="{6055AD77-A1A0-DB4F-9814-E9621830733C}"/>
              </a:ext>
            </a:extLst>
          </p:cNvPr>
          <p:cNvPicPr>
            <a:picLocks noChangeAspect="1"/>
          </p:cNvPicPr>
          <p:nvPr/>
        </p:nvPicPr>
        <p:blipFill>
          <a:blip r:embed="rId18">
            <a:extLst>
              <a:ext uri="{96DAC541-7B7A-43D3-8B79-37D633B846F1}">
                <asvg:svgBlip xmlns:asvg="http://schemas.microsoft.com/office/drawing/2016/SVG/main" xmlns="" r:embed="rId19"/>
              </a:ext>
            </a:extLst>
          </a:blip>
          <a:stretch>
            <a:fillRect/>
          </a:stretch>
        </p:blipFill>
        <p:spPr>
          <a:xfrm>
            <a:off x="5986457" y="2268137"/>
            <a:ext cx="737259" cy="737259"/>
          </a:xfrm>
          <a:prstGeom prst="rect">
            <a:avLst/>
          </a:prstGeom>
        </p:spPr>
      </p:pic>
      <p:pic>
        <p:nvPicPr>
          <p:cNvPr id="3" name="Picture 2"/>
          <p:cNvPicPr>
            <a:picLocks noChangeAspect="1"/>
          </p:cNvPicPr>
          <p:nvPr/>
        </p:nvPicPr>
        <p:blipFill>
          <a:blip r:embed="rId20"/>
          <a:stretch>
            <a:fillRect/>
          </a:stretch>
        </p:blipFill>
        <p:spPr>
          <a:xfrm>
            <a:off x="9520409" y="2332368"/>
            <a:ext cx="1135980" cy="1247608"/>
          </a:xfrm>
          <a:prstGeom prst="rect">
            <a:avLst/>
          </a:prstGeom>
        </p:spPr>
      </p:pic>
      <p:pic>
        <p:nvPicPr>
          <p:cNvPr id="37" name="Graphic 39" descr="Meeting">
            <a:extLst>
              <a:ext uri="{FF2B5EF4-FFF2-40B4-BE49-F238E27FC236}">
                <a16:creationId xmlns:a16="http://schemas.microsoft.com/office/drawing/2014/main" id="{CD68D3A7-11BE-2143-AADA-A0C5D1C40AD3}"/>
              </a:ext>
            </a:extLst>
          </p:cNvPr>
          <p:cNvPicPr>
            <a:picLocks noChangeAspect="1"/>
          </p:cNvPicPr>
          <p:nvPr/>
        </p:nvPicPr>
        <p:blipFill>
          <a:blip r:embed="rId21">
            <a:extLst>
              <a:ext uri="{96DAC541-7B7A-43D3-8B79-37D633B846F1}">
                <asvg:svgBlip xmlns:asvg="http://schemas.microsoft.com/office/drawing/2016/SVG/main" xmlns="" r:embed="rId22"/>
              </a:ext>
            </a:extLst>
          </a:blip>
          <a:stretch>
            <a:fillRect/>
          </a:stretch>
        </p:blipFill>
        <p:spPr>
          <a:xfrm>
            <a:off x="2327809" y="2256112"/>
            <a:ext cx="746044" cy="746044"/>
          </a:xfrm>
          <a:prstGeom prst="rect">
            <a:avLst/>
          </a:prstGeom>
        </p:spPr>
      </p:pic>
      <p:pic>
        <p:nvPicPr>
          <p:cNvPr id="39" name="Graphic 63" descr="Business Growth">
            <a:extLst>
              <a:ext uri="{FF2B5EF4-FFF2-40B4-BE49-F238E27FC236}">
                <a16:creationId xmlns:a16="http://schemas.microsoft.com/office/drawing/2014/main" id="{55D64434-D27D-AC40-8C7D-FF18E87B5F18}"/>
              </a:ext>
            </a:extLst>
          </p:cNvPr>
          <p:cNvPicPr>
            <a:picLocks noChangeAspect="1"/>
          </p:cNvPicPr>
          <p:nvPr/>
        </p:nvPicPr>
        <p:blipFill>
          <a:blip r:embed="rId23">
            <a:extLst>
              <a:ext uri="{96DAC541-7B7A-43D3-8B79-37D633B846F1}">
                <asvg:svgBlip xmlns:asvg="http://schemas.microsoft.com/office/drawing/2016/SVG/main" xmlns="" r:embed="rId24"/>
              </a:ext>
            </a:extLst>
          </a:blip>
          <a:stretch>
            <a:fillRect/>
          </a:stretch>
        </p:blipFill>
        <p:spPr>
          <a:xfrm>
            <a:off x="5358753" y="2377438"/>
            <a:ext cx="737554" cy="737554"/>
          </a:xfrm>
          <a:prstGeom prst="rect">
            <a:avLst/>
          </a:prstGeom>
        </p:spPr>
      </p:pic>
      <p:pic>
        <p:nvPicPr>
          <p:cNvPr id="40" name="Graphic 74" descr="Marketing">
            <a:extLst>
              <a:ext uri="{FF2B5EF4-FFF2-40B4-BE49-F238E27FC236}">
                <a16:creationId xmlns:a16="http://schemas.microsoft.com/office/drawing/2014/main" id="{8D4D1845-43F3-A342-801E-C809DE65D241}"/>
              </a:ext>
            </a:extLst>
          </p:cNvPr>
          <p:cNvPicPr>
            <a:picLocks noChangeAspect="1"/>
          </p:cNvPicPr>
          <p:nvPr/>
        </p:nvPicPr>
        <p:blipFill>
          <a:blip r:embed="rId25">
            <a:extLst>
              <a:ext uri="{96DAC541-7B7A-43D3-8B79-37D633B846F1}">
                <asvg:svgBlip xmlns:asvg="http://schemas.microsoft.com/office/drawing/2016/SVG/main" xmlns="" r:embed="rId26"/>
              </a:ext>
            </a:extLst>
          </a:blip>
          <a:stretch>
            <a:fillRect/>
          </a:stretch>
        </p:blipFill>
        <p:spPr>
          <a:xfrm>
            <a:off x="9023870" y="2487353"/>
            <a:ext cx="676431" cy="676431"/>
          </a:xfrm>
          <a:prstGeom prst="rect">
            <a:avLst/>
          </a:prstGeom>
        </p:spPr>
      </p:pic>
      <p:sp>
        <p:nvSpPr>
          <p:cNvPr id="4" name="TextBox 3"/>
          <p:cNvSpPr txBox="1"/>
          <p:nvPr/>
        </p:nvSpPr>
        <p:spPr>
          <a:xfrm>
            <a:off x="2700831" y="5410489"/>
            <a:ext cx="6906763" cy="523220"/>
          </a:xfrm>
          <a:prstGeom prst="rect">
            <a:avLst/>
          </a:prstGeom>
          <a:noFill/>
        </p:spPr>
        <p:txBody>
          <a:bodyPr wrap="none" rtlCol="0">
            <a:spAutoFit/>
          </a:bodyPr>
          <a:lstStyle/>
          <a:p>
            <a:r>
              <a:rPr lang="en-US" sz="2800" dirty="0" smtClean="0"/>
              <a:t>You will tame the fear that holds you back!</a:t>
            </a:r>
            <a:endParaRPr lang="en-US" sz="2800" dirty="0"/>
          </a:p>
        </p:txBody>
      </p:sp>
      <p:pic>
        <p:nvPicPr>
          <p:cNvPr id="6" name="Audio 5">
            <a:hlinkClick r:id="" action="ppaction://media"/>
          </p:cNvPr>
          <p:cNvPicPr>
            <a:picLocks noChangeAspect="1"/>
          </p:cNvPicPr>
          <p:nvPr>
            <a:audioFile r:link="rId5"/>
            <p:extLst>
              <p:ext uri="{DAA4B4D4-6D71-4841-9C94-3DE7FCFB9230}">
                <p14:media xmlns:p14="http://schemas.microsoft.com/office/powerpoint/2010/main" r:embed="rId4"/>
              </p:ext>
            </p:extLst>
          </p:nvPr>
        </p:nvPicPr>
        <p:blipFill>
          <a:blip r:embed="rId27"/>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934692440"/>
      </p:ext>
    </p:extLst>
  </p:cSld>
  <p:clrMapOvr>
    <a:masterClrMapping/>
  </p:clrMapOvr>
  <mc:AlternateContent xmlns:mc="http://schemas.openxmlformats.org/markup-compatibility/2006" xmlns:p14="http://schemas.microsoft.com/office/powerpoint/2010/main">
    <mc:Choice Requires="p14">
      <p:transition spd="slow" p14:dur="2000" advTm="165"/>
    </mc:Choice>
    <mc:Fallback xmlns="">
      <p:transition spd="slow" advTm="16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Concrete Road Near Brown Mountain Under Blue Sky"/>
          <p:cNvPicPr>
            <a:picLocks noChangeAspect="1" noChangeArrowheads="1"/>
          </p:cNvPicPr>
          <p:nvPr/>
        </p:nvPicPr>
        <p:blipFill>
          <a:blip r:embed="rId5">
            <a:extLst>
              <a:ext uri="{BEBA8EAE-BF5A-486C-A8C5-ECC9F3942E4B}">
                <a14:imgProps xmlns:a14="http://schemas.microsoft.com/office/drawing/2010/main">
                  <a14:imgLayer r:embed="rId6">
                    <a14:imgEffect>
                      <a14:colorTemperature colorTemp="11500"/>
                    </a14:imgEffect>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101095" y="-49904"/>
            <a:ext cx="12191999" cy="6858000"/>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
        <p:nvSpPr>
          <p:cNvPr id="1027" name="Rectangle 1026"/>
          <p:cNvSpPr/>
          <p:nvPr/>
        </p:nvSpPr>
        <p:spPr>
          <a:xfrm rot="20504868">
            <a:off x="1057581" y="4645774"/>
            <a:ext cx="5832888" cy="2221524"/>
          </a:xfrm>
          <a:prstGeom prst="rect">
            <a:avLst/>
          </a:prstGeom>
          <a:noFill/>
          <a:scene3d>
            <a:camera prst="isometricOffAxis1Top"/>
            <a:lightRig rig="threePt" dir="t"/>
          </a:scene3d>
        </p:spPr>
        <p:txBody>
          <a:bodyPr wrap="none" lIns="91440" tIns="45720" rIns="91440" bIns="45720">
            <a:prstTxWarp prst="textArchDown">
              <a:avLst>
                <a:gd name="adj" fmla="val 18885243"/>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00" b="0" i="0" u="none" strike="noStrike" kern="1200" cap="none" spc="0" normalizeH="0" baseline="0" noProof="0" dirty="0">
                <a:ln w="0"/>
                <a:solidFill>
                  <a:prstClr val="white"/>
                </a:solidFill>
                <a:effectLst>
                  <a:outerShdw blurRad="38100" dist="19050" dir="2700000" algn="tl" rotWithShape="0">
                    <a:prstClr val="black">
                      <a:alpha val="40000"/>
                    </a:prstClr>
                  </a:outerShdw>
                </a:effectLst>
                <a:uLnTx/>
                <a:uFillTx/>
                <a:latin typeface="Calibri" panose="020F0502020204030204"/>
                <a:ea typeface="+mn-ea"/>
                <a:cs typeface="+mn-cs"/>
              </a:rPr>
              <a:t>CHANGE</a:t>
            </a:r>
          </a:p>
        </p:txBody>
      </p:sp>
      <p:sp>
        <p:nvSpPr>
          <p:cNvPr id="1029" name="Rectangle 1028"/>
          <p:cNvSpPr/>
          <p:nvPr/>
        </p:nvSpPr>
        <p:spPr>
          <a:xfrm>
            <a:off x="4892892" y="3174163"/>
            <a:ext cx="2608407" cy="92333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mn-cs"/>
              </a:rPr>
              <a:t>CHANGE</a:t>
            </a:r>
          </a:p>
        </p:txBody>
      </p:sp>
      <p:sp>
        <p:nvSpPr>
          <p:cNvPr id="38" name="Rectangle 37"/>
          <p:cNvSpPr/>
          <p:nvPr/>
        </p:nvSpPr>
        <p:spPr>
          <a:xfrm>
            <a:off x="9080768" y="1421563"/>
            <a:ext cx="2608407" cy="923330"/>
          </a:xfrm>
          <a:prstGeom prst="rect">
            <a:avLst/>
          </a:prstGeom>
          <a:noFill/>
        </p:spPr>
        <p:txBody>
          <a:bodyPr wrap="none" lIns="91440" tIns="45720" rIns="91440" bIns="45720">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w="0"/>
                <a:solidFill>
                  <a:srgbClr val="7030A0"/>
                </a:solidFill>
                <a:effectLst>
                  <a:outerShdw blurRad="38100" dist="19050" dir="2700000" algn="tl" rotWithShape="0">
                    <a:prstClr val="black">
                      <a:alpha val="40000"/>
                    </a:prstClr>
                  </a:outerShdw>
                </a:effectLst>
                <a:uLnTx/>
                <a:uFillTx/>
                <a:latin typeface="Calibri" panose="020F0502020204030204"/>
                <a:ea typeface="+mn-ea"/>
                <a:cs typeface="+mn-cs"/>
              </a:rPr>
              <a:t>CHANGE</a:t>
            </a:r>
          </a:p>
        </p:txBody>
      </p:sp>
      <p:sp>
        <p:nvSpPr>
          <p:cNvPr id="1030" name="Rectangle 1029"/>
          <p:cNvSpPr/>
          <p:nvPr/>
        </p:nvSpPr>
        <p:spPr>
          <a:xfrm>
            <a:off x="689048" y="640864"/>
            <a:ext cx="2608407" cy="923330"/>
          </a:xfrm>
          <a:prstGeom prst="rect">
            <a:avLst/>
          </a:prstGeom>
          <a:noFill/>
        </p:spPr>
        <p:txBody>
          <a:bodyPr wrap="none" lIns="91440" tIns="45720" rIns="91440" bIns="45720">
            <a:prstTxWarp prst="textFade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w="0"/>
                <a:solidFill>
                  <a:srgbClr val="9E0000"/>
                </a:solidFill>
                <a:effectLst/>
                <a:uLnTx/>
                <a:uFillTx/>
                <a:latin typeface="Calibri" panose="020F0502020204030204"/>
                <a:ea typeface="+mn-ea"/>
                <a:cs typeface="+mn-cs"/>
              </a:rPr>
              <a:t>CHANGE</a:t>
            </a:r>
          </a:p>
        </p:txBody>
      </p:sp>
      <p:sp>
        <p:nvSpPr>
          <p:cNvPr id="7" name="Rectangle 6"/>
          <p:cNvSpPr/>
          <p:nvPr/>
        </p:nvSpPr>
        <p:spPr>
          <a:xfrm>
            <a:off x="9260676" y="4407408"/>
            <a:ext cx="2608407" cy="923330"/>
          </a:xfrm>
          <a:prstGeom prst="rect">
            <a:avLst/>
          </a:prstGeom>
          <a:noFill/>
        </p:spPr>
        <p:txBody>
          <a:bodyPr wrap="none" lIns="91440" tIns="45720" rIns="91440" bIns="45720">
            <a:prstTxWarp prst="textCurveUp">
              <a:avLst/>
            </a:prstTxWarp>
            <a:spAutoFit/>
            <a:scene3d>
              <a:camera prst="orthographicFront"/>
              <a:lightRig rig="threePt" dir="t"/>
            </a:scene3d>
            <a:sp3d extrusionH="57150">
              <a:bevelT w="38100" h="38100"/>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w="0"/>
                <a:solidFill>
                  <a:srgbClr val="70AD47">
                    <a:lumMod val="75000"/>
                  </a:srgbClr>
                </a:solidFill>
                <a:effectLst>
                  <a:glow rad="139700">
                    <a:srgbClr val="70AD47">
                      <a:satMod val="175000"/>
                      <a:alpha val="40000"/>
                    </a:srgbClr>
                  </a:glow>
                  <a:outerShdw blurRad="38100" dist="19050" dir="2700000" algn="tl" rotWithShape="0">
                    <a:prstClr val="black">
                      <a:alpha val="40000"/>
                    </a:prstClr>
                  </a:outerShdw>
                </a:effectLst>
                <a:uLnTx/>
                <a:uFillTx/>
                <a:latin typeface="Calibri" panose="020F0502020204030204"/>
                <a:ea typeface="+mn-ea"/>
                <a:cs typeface="+mn-cs"/>
              </a:rPr>
              <a:t>CHANGE</a:t>
            </a:r>
          </a:p>
        </p:txBody>
      </p:sp>
      <p:sp>
        <p:nvSpPr>
          <p:cNvPr id="8" name="Rectangle 7"/>
          <p:cNvSpPr/>
          <p:nvPr/>
        </p:nvSpPr>
        <p:spPr>
          <a:xfrm rot="1651863">
            <a:off x="799406" y="3635828"/>
            <a:ext cx="2608407" cy="923330"/>
          </a:xfrm>
          <a:prstGeom prst="rect">
            <a:avLst/>
          </a:prstGeom>
          <a:noFill/>
        </p:spPr>
        <p:txBody>
          <a:bodyPr wrap="none" lIns="91440" tIns="45720" rIns="91440" bIns="45720">
            <a:prstTxWarp prst="textTriangleInverted">
              <a:avLst/>
            </a:prstTxWarp>
            <a:spAutoFit/>
            <a:scene3d>
              <a:camera prst="isometricOffAxis1Right"/>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w="0"/>
                <a:solidFill>
                  <a:srgbClr val="00B0F0"/>
                </a:solidFill>
                <a:effectLst>
                  <a:outerShdw blurRad="38100" dist="19050" dir="2700000" algn="tl" rotWithShape="0">
                    <a:prstClr val="black">
                      <a:alpha val="40000"/>
                    </a:prstClr>
                  </a:outerShdw>
                </a:effectLst>
                <a:uLnTx/>
                <a:uFillTx/>
                <a:latin typeface="Calibri" panose="020F0502020204030204"/>
                <a:ea typeface="+mn-ea"/>
                <a:cs typeface="+mn-cs"/>
              </a:rPr>
              <a:t>CHANGE</a:t>
            </a:r>
          </a:p>
        </p:txBody>
      </p:sp>
      <p:sp>
        <p:nvSpPr>
          <p:cNvPr id="9" name="Rectangle 8"/>
          <p:cNvSpPr/>
          <p:nvPr/>
        </p:nvSpPr>
        <p:spPr>
          <a:xfrm>
            <a:off x="7221564" y="94021"/>
            <a:ext cx="2608407" cy="923330"/>
          </a:xfrm>
          <a:prstGeom prst="rect">
            <a:avLst/>
          </a:prstGeom>
          <a:noFill/>
        </p:spPr>
        <p:txBody>
          <a:bodyPr wrap="none" lIns="91440" tIns="45720" rIns="91440" bIns="45720">
            <a:prstTxWarp prst="textDeflateInflateDeflat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w="0"/>
                <a:solidFill>
                  <a:srgbClr val="FFC000"/>
                </a:solidFill>
                <a:effectLst>
                  <a:outerShdw blurRad="38100" dist="19050" dir="2700000" algn="tl" rotWithShape="0">
                    <a:prstClr val="black">
                      <a:alpha val="40000"/>
                    </a:prstClr>
                  </a:outerShdw>
                </a:effectLst>
                <a:uLnTx/>
                <a:uFillTx/>
                <a:latin typeface="Calibri" panose="020F0502020204030204"/>
                <a:ea typeface="+mn-ea"/>
                <a:cs typeface="+mn-cs"/>
              </a:rPr>
              <a:t>CHANGE</a:t>
            </a:r>
          </a:p>
        </p:txBody>
      </p:sp>
      <p:sp>
        <p:nvSpPr>
          <p:cNvPr id="3" name="TextBox 2"/>
          <p:cNvSpPr txBox="1"/>
          <p:nvPr/>
        </p:nvSpPr>
        <p:spPr>
          <a:xfrm>
            <a:off x="5312664" y="1172427"/>
            <a:ext cx="505267" cy="9233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cxnSp>
        <p:nvCxnSpPr>
          <p:cNvPr id="17" name="Curved Connector 16"/>
          <p:cNvCxnSpPr/>
          <p:nvPr/>
        </p:nvCxnSpPr>
        <p:spPr>
          <a:xfrm>
            <a:off x="5757031" y="1550128"/>
            <a:ext cx="518670" cy="319034"/>
          </a:xfrm>
          <a:prstGeom prst="curvedConnector3">
            <a:avLst>
              <a:gd name="adj1" fmla="val 95837"/>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a:xfrm>
            <a:off x="4544008" y="640864"/>
            <a:ext cx="2677556" cy="1950098"/>
          </a:xfrm>
          <a:prstGeom prst="ellipse">
            <a:avLst/>
          </a:prstGeom>
          <a:solidFill>
            <a:schemeClr val="bg2">
              <a:alpha val="4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Audio 1">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1552238" y="6218238"/>
            <a:ext cx="487362" cy="487362"/>
          </a:xfrm>
          <a:prstGeom prst="rect">
            <a:avLst/>
          </a:prstGeom>
        </p:spPr>
      </p:pic>
    </p:spTree>
    <p:custDataLst>
      <p:tags r:id="rId1"/>
    </p:custDataLst>
    <p:extLst>
      <p:ext uri="{BB962C8B-B14F-4D97-AF65-F5344CB8AC3E}">
        <p14:creationId xmlns:p14="http://schemas.microsoft.com/office/powerpoint/2010/main" val="373044161"/>
      </p:ext>
    </p:extLst>
  </p:cSld>
  <p:clrMapOvr>
    <a:masterClrMapping/>
  </p:clrMapOvr>
  <mc:AlternateContent xmlns:mc="http://schemas.openxmlformats.org/markup-compatibility/2006" xmlns:p14="http://schemas.microsoft.com/office/powerpoint/2010/main">
    <mc:Choice Requires="p14">
      <p:transition spd="slow" p14:dur="2000" advTm="1038"/>
    </mc:Choice>
    <mc:Fallback xmlns="">
      <p:transition spd="slow" advTm="103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13" fill="hold" display="0">
                  <p:stCondLst>
                    <p:cond delay="indefinite"/>
                  </p:stCondLst>
                  <p:endCondLst>
                    <p:cond evt="onStopAudio" delay="0">
                      <p:tgtEl>
                        <p:sldTgt/>
                      </p:tgtEl>
                    </p:cond>
                  </p:endCondLst>
                </p:cTn>
                <p:tgtEl>
                  <p:spTgt spid="2"/>
                </p:tgtEl>
              </p:cMediaNode>
            </p:audio>
          </p:childTnLst>
        </p:cTn>
      </p:par>
    </p:tnLst>
    <p:bldLst>
      <p:bldP spid="3"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4"/>
          <a:stretch>
            <a:fillRect/>
          </a:stretch>
        </p:blipFill>
        <p:spPr>
          <a:xfrm>
            <a:off x="0" y="0"/>
            <a:ext cx="12226181" cy="6858000"/>
          </a:xfrm>
          <a:prstGeom prst="rect">
            <a:avLst/>
          </a:prstGeom>
          <a:solidFill>
            <a:schemeClr val="bg1">
              <a:alpha val="23000"/>
            </a:schemeClr>
          </a:solidFill>
        </p:spPr>
      </p:pic>
      <p:pic>
        <p:nvPicPr>
          <p:cNvPr id="3" name="Audio 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2677168515"/>
      </p:ext>
    </p:extLst>
  </p:cSld>
  <p:clrMapOvr>
    <a:masterClrMapping/>
  </p:clrMapOvr>
  <mc:AlternateContent xmlns:mc="http://schemas.openxmlformats.org/markup-compatibility/2006" xmlns:p14="http://schemas.microsoft.com/office/powerpoint/2010/main">
    <mc:Choice Requires="p14">
      <p:transition spd="slow" p14:dur="2000" advTm="255"/>
    </mc:Choice>
    <mc:Fallback xmlns="">
      <p:transition spd="slow" advTm="25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62" name="Group 161">
            <a:extLst>
              <a:ext uri="{FF2B5EF4-FFF2-40B4-BE49-F238E27FC236}">
                <a16:creationId xmlns:a16="http://schemas.microsoft.com/office/drawing/2014/main" id="{685B535E-7DD9-4DED-B0F6-1F4651DCEE03}"/>
              </a:ext>
            </a:extLst>
          </p:cNvPr>
          <p:cNvGrpSpPr/>
          <p:nvPr/>
        </p:nvGrpSpPr>
        <p:grpSpPr>
          <a:xfrm>
            <a:off x="0" y="915725"/>
            <a:ext cx="9414587" cy="2250793"/>
            <a:chOff x="146244" y="1398916"/>
            <a:chExt cx="12045756" cy="2879840"/>
          </a:xfrm>
        </p:grpSpPr>
        <p:pic>
          <p:nvPicPr>
            <p:cNvPr id="160" name="Picture 159">
              <a:extLst>
                <a:ext uri="{FF2B5EF4-FFF2-40B4-BE49-F238E27FC236}">
                  <a16:creationId xmlns:a16="http://schemas.microsoft.com/office/drawing/2014/main" id="{FB12A20A-501A-4C81-8FFE-CA930687CEA4}"/>
                </a:ext>
              </a:extLst>
            </p:cNvPr>
            <p:cNvPicPr>
              <a:picLocks noChangeAspect="1"/>
            </p:cNvPicPr>
            <p:nvPr/>
          </p:nvPicPr>
          <p:blipFill>
            <a:blip r:embed="rId5"/>
            <a:stretch>
              <a:fillRect/>
            </a:stretch>
          </p:blipFill>
          <p:spPr>
            <a:xfrm>
              <a:off x="146244" y="1398916"/>
              <a:ext cx="12045756" cy="2868706"/>
            </a:xfrm>
            <a:prstGeom prst="rect">
              <a:avLst/>
            </a:prstGeom>
          </p:spPr>
        </p:pic>
        <p:sp>
          <p:nvSpPr>
            <p:cNvPr id="161" name="Rectangle 160">
              <a:extLst>
                <a:ext uri="{FF2B5EF4-FFF2-40B4-BE49-F238E27FC236}">
                  <a16:creationId xmlns:a16="http://schemas.microsoft.com/office/drawing/2014/main" id="{DC7A08C0-9937-43E9-9EF4-9D96EEA1B62A}"/>
                </a:ext>
              </a:extLst>
            </p:cNvPr>
            <p:cNvSpPr/>
            <p:nvPr/>
          </p:nvSpPr>
          <p:spPr>
            <a:xfrm>
              <a:off x="146244" y="1398916"/>
              <a:ext cx="12045756" cy="2879840"/>
            </a:xfrm>
            <a:prstGeom prst="rect">
              <a:avLst/>
            </a:prstGeom>
            <a:gradFill>
              <a:gsLst>
                <a:gs pos="0">
                  <a:schemeClr val="bg1"/>
                </a:gs>
                <a:gs pos="92000">
                  <a:schemeClr val="bg1">
                    <a:alpha val="89000"/>
                  </a:schemeClr>
                </a:gs>
                <a:gs pos="49000">
                  <a:schemeClr val="bg1">
                    <a:alpha val="4600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sp>
        <p:nvSpPr>
          <p:cNvPr id="132" name="Rectangle 131">
            <a:extLst>
              <a:ext uri="{FF2B5EF4-FFF2-40B4-BE49-F238E27FC236}">
                <a16:creationId xmlns:a16="http://schemas.microsoft.com/office/drawing/2014/main" id="{7C26F663-0754-4417-8A72-AFD4A20EA0B4}"/>
              </a:ext>
            </a:extLst>
          </p:cNvPr>
          <p:cNvSpPr/>
          <p:nvPr/>
        </p:nvSpPr>
        <p:spPr>
          <a:xfrm>
            <a:off x="0" y="5207001"/>
            <a:ext cx="9860279" cy="865374"/>
          </a:xfrm>
          <a:prstGeom prst="rect">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pic>
        <p:nvPicPr>
          <p:cNvPr id="137" name="Picture 136">
            <a:extLst>
              <a:ext uri="{FF2B5EF4-FFF2-40B4-BE49-F238E27FC236}">
                <a16:creationId xmlns:a16="http://schemas.microsoft.com/office/drawing/2014/main" id="{6A023480-3FFE-4E0D-83BC-6DE0B0AAAD9B}"/>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100000"/>
                    </a14:imgEffect>
                  </a14:imgLayer>
                </a14:imgProps>
              </a:ext>
            </a:extLst>
          </a:blip>
          <a:srcRect l="49776" r="-1"/>
          <a:stretch/>
        </p:blipFill>
        <p:spPr>
          <a:xfrm>
            <a:off x="9528890" y="0"/>
            <a:ext cx="2663110" cy="6859506"/>
          </a:xfrm>
          <a:prstGeom prst="rect">
            <a:avLst/>
          </a:prstGeom>
        </p:spPr>
      </p:pic>
      <p:sp>
        <p:nvSpPr>
          <p:cNvPr id="2" name="Title 1">
            <a:extLst>
              <a:ext uri="{FF2B5EF4-FFF2-40B4-BE49-F238E27FC236}">
                <a16:creationId xmlns:a16="http://schemas.microsoft.com/office/drawing/2014/main" id="{A3493E68-6156-4A70-A7AB-7AF807915A9A}"/>
              </a:ext>
            </a:extLst>
          </p:cNvPr>
          <p:cNvSpPr>
            <a:spLocks noGrp="1"/>
          </p:cNvSpPr>
          <p:nvPr>
            <p:ph type="title"/>
          </p:nvPr>
        </p:nvSpPr>
        <p:spPr>
          <a:xfrm>
            <a:off x="414527" y="219457"/>
            <a:ext cx="11372907" cy="865273"/>
          </a:xfrm>
        </p:spPr>
        <p:txBody>
          <a:bodyPr/>
          <a:lstStyle/>
          <a:p>
            <a:r>
              <a:rPr lang="en-US" dirty="0" smtClean="0"/>
              <a:t>S&amp;P Global is </a:t>
            </a:r>
            <a:r>
              <a:rPr lang="en-US" dirty="0"/>
              <a:t>a technology-enabled data company.</a:t>
            </a:r>
          </a:p>
        </p:txBody>
      </p:sp>
      <p:sp>
        <p:nvSpPr>
          <p:cNvPr id="5" name="Slide Number Placeholder 4">
            <a:extLst>
              <a:ext uri="{FF2B5EF4-FFF2-40B4-BE49-F238E27FC236}">
                <a16:creationId xmlns:a16="http://schemas.microsoft.com/office/drawing/2014/main" id="{0FE52B4C-8BC0-4192-819D-BB621433FF2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46FB18-5DF1-419A-B975-14AFDDD65B9F}" type="slidenum">
              <a:rPr kumimoji="0" lang="en-US" sz="105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05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38" name="Text Placeholder 5">
            <a:extLst>
              <a:ext uri="{FF2B5EF4-FFF2-40B4-BE49-F238E27FC236}">
                <a16:creationId xmlns:a16="http://schemas.microsoft.com/office/drawing/2014/main" id="{52AE7920-AB43-4999-935C-BA30806D3126}"/>
              </a:ext>
            </a:extLst>
          </p:cNvPr>
          <p:cNvSpPr txBox="1">
            <a:spLocks/>
          </p:cNvSpPr>
          <p:nvPr/>
        </p:nvSpPr>
        <p:spPr>
          <a:xfrm>
            <a:off x="9693530" y="1496273"/>
            <a:ext cx="2172240" cy="1875619"/>
          </a:xfrm>
          <a:prstGeom prst="rect">
            <a:avLst/>
          </a:prstGeom>
        </p:spPr>
        <p:txBody>
          <a:bodyP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19456" algn="l" defTabSz="914400" rtl="0" eaLnBrk="1" latinLnBrk="0" hangingPunct="1">
              <a:lnSpc>
                <a:spcPct val="90000"/>
              </a:lnSpc>
              <a:spcBef>
                <a:spcPts val="300"/>
              </a:spcBef>
              <a:spcAft>
                <a:spcPts val="0"/>
              </a:spcAft>
              <a:buFont typeface="Arial" panose="020B0604020202020204" pitchFamily="34" charset="0"/>
              <a:buChar char="–"/>
              <a:defRPr sz="1800" b="0" kern="1200">
                <a:solidFill>
                  <a:schemeClr val="tx1"/>
                </a:solidFill>
                <a:latin typeface="+mn-lt"/>
                <a:ea typeface="+mn-ea"/>
                <a:cs typeface="+mn-cs"/>
              </a:defRPr>
            </a:lvl2pPr>
            <a:lvl3pPr marL="566928" indent="-169863" algn="l" defTabSz="914400" rtl="0" eaLnBrk="1" latinLnBrk="0" hangingPunct="1">
              <a:lnSpc>
                <a:spcPct val="90000"/>
              </a:lnSpc>
              <a:spcBef>
                <a:spcPts val="300"/>
              </a:spcBef>
              <a:spcAft>
                <a:spcPts val="0"/>
              </a:spcAft>
              <a:buFont typeface="Wingdings" panose="05000000000000000000" pitchFamily="2" charset="2"/>
              <a:buChar char="§"/>
              <a:defRPr sz="1600" b="0" kern="1200">
                <a:solidFill>
                  <a:schemeClr val="tx1"/>
                </a:solidFill>
                <a:latin typeface="+mn-lt"/>
                <a:ea typeface="+mn-ea"/>
                <a:cs typeface="+mn-cs"/>
              </a:defRPr>
            </a:lvl3pPr>
            <a:lvl4pPr marL="740664" indent="-173736"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4pPr>
            <a:lvl5pPr marL="914400" indent="-173736"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20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At S&amp;P Global, technology underpins everything we do as we seek to power the markets of the future. </a:t>
            </a:r>
          </a:p>
          <a:p>
            <a:pPr marL="0" marR="0" lvl="0" indent="0" algn="l" defTabSz="914400" rtl="0" eaLnBrk="1" fontAlgn="auto" latinLnBrk="0" hangingPunct="1">
              <a:lnSpc>
                <a:spcPct val="90000"/>
              </a:lnSpc>
              <a:spcBef>
                <a:spcPts val="1200"/>
              </a:spcBef>
              <a:spcAft>
                <a:spcPts val="200"/>
              </a:spcAft>
              <a:buClrTx/>
              <a:buSzTx/>
              <a:buFont typeface="Arial" panose="020B0604020202020204" pitchFamily="34" charset="0"/>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a:p>
            <a:pPr marL="0" marR="0" lvl="0" indent="0" algn="l" defTabSz="914400" rtl="0" eaLnBrk="1" fontAlgn="auto" latinLnBrk="0" hangingPunct="1">
              <a:lnSpc>
                <a:spcPct val="90000"/>
              </a:lnSpc>
              <a:spcBef>
                <a:spcPts val="1200"/>
              </a:spcBef>
              <a:spcAft>
                <a:spcPts val="20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Arial" panose="020B0604020202020204"/>
                <a:ea typeface="+mn-ea"/>
                <a:cs typeface="+mn-cs"/>
              </a:rPr>
              <a:t>Data, technology, and innovation sit at the center of our strategy.</a:t>
            </a:r>
            <a:br>
              <a:rPr kumimoji="0" lang="en-US" sz="1600" b="0" i="0" u="none" strike="noStrike" kern="1200" cap="none" spc="0" normalizeH="0" baseline="0" noProof="0" dirty="0">
                <a:ln>
                  <a:noFill/>
                </a:ln>
                <a:solidFill>
                  <a:prstClr val="white"/>
                </a:solidFill>
                <a:effectLst/>
                <a:uLnTx/>
                <a:uFillTx/>
                <a:latin typeface="Arial" panose="020B0604020202020204"/>
                <a:ea typeface="+mn-ea"/>
                <a:cs typeface="+mn-cs"/>
              </a:rPr>
            </a:b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27" name="Rectangle: Diagonal Corners Rounded 126">
            <a:extLst>
              <a:ext uri="{FF2B5EF4-FFF2-40B4-BE49-F238E27FC236}">
                <a16:creationId xmlns:a16="http://schemas.microsoft.com/office/drawing/2014/main" id="{88571A17-6A0D-49DF-9B84-C366DF53C192}"/>
              </a:ext>
            </a:extLst>
          </p:cNvPr>
          <p:cNvSpPr/>
          <p:nvPr/>
        </p:nvSpPr>
        <p:spPr>
          <a:xfrm>
            <a:off x="823639" y="5222875"/>
            <a:ext cx="2983315" cy="849189"/>
          </a:xfrm>
          <a:prstGeom prst="round2DiagRect">
            <a:avLst/>
          </a:prstGeom>
          <a:solidFill>
            <a:schemeClr val="bg2"/>
          </a:solidFill>
          <a:ln>
            <a:noFill/>
          </a:ln>
        </p:spPr>
        <p:txBody>
          <a:bodyPr wrap="square" anchor="t">
            <a:noAutofit/>
          </a:bodyPr>
          <a:lstStyle/>
          <a:p>
            <a:pPr marL="0" marR="0" lvl="0" indent="0" algn="l" defTabSz="914400" rtl="0" eaLnBrk="1" fontAlgn="auto" latinLnBrk="0" hangingPunct="1">
              <a:lnSpc>
                <a:spcPct val="100000"/>
              </a:lnSpc>
              <a:spcBef>
                <a:spcPts val="450"/>
              </a:spcBef>
              <a:spcAft>
                <a:spcPts val="450"/>
              </a:spcAft>
              <a:buClr>
                <a:prstClr val="black"/>
              </a:buClr>
              <a:buSzTx/>
              <a:buFontTx/>
              <a:buNone/>
              <a:tabLst/>
              <a:defRPr/>
            </a:pPr>
            <a:r>
              <a:rPr kumimoji="0" lang="en-US" sz="1200" b="0" i="0" u="none" strike="noStrike" kern="1200" cap="none" spc="0" normalizeH="0" baseline="0" noProof="0" dirty="0">
                <a:ln>
                  <a:noFill/>
                </a:ln>
                <a:solidFill>
                  <a:prstClr val="black"/>
                </a:solidFill>
                <a:effectLst/>
                <a:uLnTx/>
                <a:uFillTx/>
                <a:latin typeface="Arial" charset="0"/>
                <a:ea typeface="Arial" charset="0"/>
                <a:cs typeface="Arial" charset="0"/>
              </a:rPr>
              <a:t>Bring new, alternative, and relevant content to market faster, so clients can make decisions with conviction</a:t>
            </a:r>
          </a:p>
        </p:txBody>
      </p:sp>
      <p:sp>
        <p:nvSpPr>
          <p:cNvPr id="128" name="Rectangle: Diagonal Corners Rounded 127">
            <a:extLst>
              <a:ext uri="{FF2B5EF4-FFF2-40B4-BE49-F238E27FC236}">
                <a16:creationId xmlns:a16="http://schemas.microsoft.com/office/drawing/2014/main" id="{50228EFB-60A7-4CD3-91DD-D45D9F35524D}"/>
              </a:ext>
            </a:extLst>
          </p:cNvPr>
          <p:cNvSpPr/>
          <p:nvPr/>
        </p:nvSpPr>
        <p:spPr>
          <a:xfrm>
            <a:off x="3838624" y="5222875"/>
            <a:ext cx="2560320" cy="849189"/>
          </a:xfrm>
          <a:prstGeom prst="round2DiagRect">
            <a:avLst/>
          </a:prstGeom>
          <a:solidFill>
            <a:schemeClr val="bg2"/>
          </a:solidFill>
          <a:ln>
            <a:noFill/>
          </a:ln>
        </p:spPr>
        <p:txBody>
          <a:bodyPr wrap="square" anchor="t">
            <a:noAutofit/>
          </a:bodyPr>
          <a:lstStyle/>
          <a:p>
            <a:pPr marL="0" marR="0" lvl="0" indent="0" algn="l" defTabSz="914400" rtl="0" eaLnBrk="1" fontAlgn="auto" latinLnBrk="0" hangingPunct="1">
              <a:lnSpc>
                <a:spcPct val="100000"/>
              </a:lnSpc>
              <a:spcBef>
                <a:spcPts val="450"/>
              </a:spcBef>
              <a:spcAft>
                <a:spcPts val="45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Arial" charset="0"/>
                <a:cs typeface="Arial" panose="020B0604020202020204" pitchFamily="34" charset="0"/>
              </a:rPr>
              <a:t>A</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celerate time to market for new products &amp; features to deliver meaningful client value</a:t>
            </a:r>
          </a:p>
        </p:txBody>
      </p:sp>
      <p:sp>
        <p:nvSpPr>
          <p:cNvPr id="129" name="Rectangle: Diagonal Corners Rounded 128">
            <a:extLst>
              <a:ext uri="{FF2B5EF4-FFF2-40B4-BE49-F238E27FC236}">
                <a16:creationId xmlns:a16="http://schemas.microsoft.com/office/drawing/2014/main" id="{49960B85-CABA-40D0-844C-2CAC7BA01198}"/>
              </a:ext>
            </a:extLst>
          </p:cNvPr>
          <p:cNvSpPr/>
          <p:nvPr/>
        </p:nvSpPr>
        <p:spPr>
          <a:xfrm>
            <a:off x="6446302" y="5222875"/>
            <a:ext cx="2560320" cy="849189"/>
          </a:xfrm>
          <a:prstGeom prst="round2DiagRect">
            <a:avLst/>
          </a:prstGeom>
          <a:solidFill>
            <a:schemeClr val="bg2"/>
          </a:solidFill>
          <a:ln>
            <a:noFill/>
          </a:ln>
        </p:spPr>
        <p:txBody>
          <a:bodyPr wrap="square" anchor="t">
            <a:noAutofit/>
          </a:bodyPr>
          <a:lstStyle/>
          <a:p>
            <a:pPr marL="0" marR="0" lvl="0" indent="0" algn="l" defTabSz="914400" rtl="0" eaLnBrk="1" fontAlgn="auto" latinLnBrk="0" hangingPunct="1">
              <a:lnSpc>
                <a:spcPct val="100000"/>
              </a:lnSpc>
              <a:spcBef>
                <a:spcPts val="450"/>
              </a:spcBef>
              <a:spcAft>
                <a:spcPts val="45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charset="0"/>
                <a:ea typeface="Arial" charset="0"/>
                <a:cs typeface="Arial" charset="0"/>
              </a:rPr>
              <a:t>Enable new product innovation to help clients sharpen their competitive edge</a:t>
            </a:r>
          </a:p>
        </p:txBody>
      </p:sp>
      <p:cxnSp>
        <p:nvCxnSpPr>
          <p:cNvPr id="116" name="Straight Connector 115">
            <a:extLst>
              <a:ext uri="{FF2B5EF4-FFF2-40B4-BE49-F238E27FC236}">
                <a16:creationId xmlns:a16="http://schemas.microsoft.com/office/drawing/2014/main" id="{D7E1D2A6-84FC-4A54-AA05-016A2D16168C}"/>
              </a:ext>
            </a:extLst>
          </p:cNvPr>
          <p:cNvCxnSpPr>
            <a:cxnSpLocks/>
          </p:cNvCxnSpPr>
          <p:nvPr/>
        </p:nvCxnSpPr>
        <p:spPr>
          <a:xfrm>
            <a:off x="3826720" y="5261610"/>
            <a:ext cx="0" cy="64008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8CB0FAF5-9DAA-4B7A-9A1D-02E9AC651B3A}"/>
              </a:ext>
            </a:extLst>
          </p:cNvPr>
          <p:cNvCxnSpPr>
            <a:cxnSpLocks/>
          </p:cNvCxnSpPr>
          <p:nvPr/>
        </p:nvCxnSpPr>
        <p:spPr>
          <a:xfrm>
            <a:off x="6452864" y="5261610"/>
            <a:ext cx="0" cy="64008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E535BF5F-96A6-465E-A919-3B8EE147E48C}"/>
              </a:ext>
            </a:extLst>
          </p:cNvPr>
          <p:cNvSpPr/>
          <p:nvPr/>
        </p:nvSpPr>
        <p:spPr>
          <a:xfrm>
            <a:off x="838153" y="4111652"/>
            <a:ext cx="2870305" cy="646331"/>
          </a:xfrm>
          <a:prstGeom prst="rect">
            <a:avLst/>
          </a:prstGeom>
        </p:spPr>
        <p:txBody>
          <a:bodyPr wrap="square">
            <a:spAutoFit/>
          </a:bodyPr>
          <a:lstStyle/>
          <a:p>
            <a:pPr marL="0" marR="0" lvl="0" indent="0" algn="l" defTabSz="914400" rtl="0" eaLnBrk="1" fontAlgn="auto" latinLnBrk="0" hangingPunct="1">
              <a:lnSpc>
                <a:spcPct val="100000"/>
              </a:lnSpc>
              <a:spcBef>
                <a:spcPts val="450"/>
              </a:spcBef>
              <a:spcAft>
                <a:spcPts val="450"/>
              </a:spcAft>
              <a:buClr>
                <a:prstClr val="black"/>
              </a:buClr>
              <a:buSzTx/>
              <a:buFontTx/>
              <a:buNone/>
              <a:tabLst/>
              <a:defRPr/>
            </a:pPr>
            <a:r>
              <a:rPr kumimoji="0" lang="en-US" sz="1200" b="0" i="0" u="none" strike="noStrike" kern="1200" cap="none" spc="0" normalizeH="0" baseline="0" noProof="0" dirty="0">
                <a:ln>
                  <a:noFill/>
                </a:ln>
                <a:solidFill>
                  <a:prstClr val="black"/>
                </a:solidFill>
                <a:effectLst/>
                <a:uLnTx/>
                <a:uFillTx/>
                <a:latin typeface="Arial" charset="0"/>
                <a:ea typeface="Arial" charset="0"/>
                <a:cs typeface="Arial" charset="0"/>
              </a:rPr>
              <a:t>Use “Data-as-a-Service” to ingest, link, and manage S&amp;P </a:t>
            </a:r>
            <a:r>
              <a:rPr kumimoji="0" lang="en-US" sz="1200" b="0" i="0" u="none" strike="noStrike" kern="1200" cap="none" spc="0" normalizeH="0" baseline="0" noProof="0" dirty="0" err="1">
                <a:ln>
                  <a:noFill/>
                </a:ln>
                <a:solidFill>
                  <a:prstClr val="black"/>
                </a:solidFill>
                <a:effectLst/>
                <a:uLnTx/>
                <a:uFillTx/>
                <a:latin typeface="Arial" charset="0"/>
                <a:ea typeface="Arial" charset="0"/>
                <a:cs typeface="Arial" charset="0"/>
              </a:rPr>
              <a:t>Global’s</a:t>
            </a:r>
            <a:r>
              <a:rPr kumimoji="0" lang="en-US" sz="1200" b="0" i="0" u="none" strike="noStrike" kern="1200" cap="none" spc="0" normalizeH="0" baseline="0" noProof="0" dirty="0">
                <a:ln>
                  <a:noFill/>
                </a:ln>
                <a:solidFill>
                  <a:prstClr val="black"/>
                </a:solidFill>
                <a:effectLst/>
                <a:uLnTx/>
                <a:uFillTx/>
                <a:latin typeface="Arial" charset="0"/>
                <a:ea typeface="Arial" charset="0"/>
                <a:cs typeface="Arial" charset="0"/>
              </a:rPr>
              <a:t> industry-leading breadth of data</a:t>
            </a:r>
          </a:p>
        </p:txBody>
      </p:sp>
      <p:sp>
        <p:nvSpPr>
          <p:cNvPr id="113" name="Rectangle 112">
            <a:extLst>
              <a:ext uri="{FF2B5EF4-FFF2-40B4-BE49-F238E27FC236}">
                <a16:creationId xmlns:a16="http://schemas.microsoft.com/office/drawing/2014/main" id="{A9B79AC2-B387-48C7-9198-10D3297D4BE9}"/>
              </a:ext>
            </a:extLst>
          </p:cNvPr>
          <p:cNvSpPr/>
          <p:nvPr/>
        </p:nvSpPr>
        <p:spPr>
          <a:xfrm>
            <a:off x="3838624" y="4111652"/>
            <a:ext cx="2468880" cy="1015663"/>
          </a:xfrm>
          <a:prstGeom prst="rect">
            <a:avLst/>
          </a:prstGeom>
        </p:spPr>
        <p:txBody>
          <a:bodyPr wrap="square">
            <a:spAutoFit/>
          </a:bodyPr>
          <a:lstStyle/>
          <a:p>
            <a:pPr marL="0" marR="0" lvl="0" indent="0" algn="l" defTabSz="914400" rtl="0" eaLnBrk="1" fontAlgn="auto" latinLnBrk="0" hangingPunct="1">
              <a:lnSpc>
                <a:spcPct val="100000"/>
              </a:lnSpc>
              <a:spcBef>
                <a:spcPts val="450"/>
              </a:spcBef>
              <a:spcAft>
                <a:spcPts val="45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Arial" charset="0"/>
                <a:cs typeface="Arial" panose="020B0604020202020204" pitchFamily="34" charset="0"/>
              </a:rPr>
              <a:t>Leverage our cloud-based S&amp;P Global platform as a service for all divisions to build on; develop next-gen enterprise-grade tools and APIs</a:t>
            </a:r>
          </a:p>
        </p:txBody>
      </p:sp>
      <p:sp>
        <p:nvSpPr>
          <p:cNvPr id="114" name="Rectangle 113">
            <a:extLst>
              <a:ext uri="{FF2B5EF4-FFF2-40B4-BE49-F238E27FC236}">
                <a16:creationId xmlns:a16="http://schemas.microsoft.com/office/drawing/2014/main" id="{CE3E347D-B56B-4C5A-BCB9-005E42EB678A}"/>
              </a:ext>
            </a:extLst>
          </p:cNvPr>
          <p:cNvSpPr/>
          <p:nvPr/>
        </p:nvSpPr>
        <p:spPr>
          <a:xfrm>
            <a:off x="6476781" y="4111652"/>
            <a:ext cx="2788305" cy="830997"/>
          </a:xfrm>
          <a:prstGeom prst="rect">
            <a:avLst/>
          </a:prstGeom>
        </p:spPr>
        <p:txBody>
          <a:bodyPr wrap="square">
            <a:spAutoFit/>
          </a:bodyPr>
          <a:lstStyle/>
          <a:p>
            <a:pPr marL="0" marR="0" lvl="0" indent="0" algn="l" defTabSz="914400" rtl="0" eaLnBrk="1" fontAlgn="auto" latinLnBrk="0" hangingPunct="1">
              <a:lnSpc>
                <a:spcPct val="100000"/>
              </a:lnSpc>
              <a:spcBef>
                <a:spcPts val="450"/>
              </a:spcBef>
              <a:spcAft>
                <a:spcPts val="45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charset="0"/>
                <a:ea typeface="Arial" charset="0"/>
                <a:cs typeface="Arial" charset="0"/>
              </a:rPr>
              <a:t>Embed expertise for emerging technologies across the organization; partner on new opportunities with bleeding-edge firms</a:t>
            </a:r>
          </a:p>
        </p:txBody>
      </p:sp>
      <p:cxnSp>
        <p:nvCxnSpPr>
          <p:cNvPr id="131" name="Straight Connector 130">
            <a:extLst>
              <a:ext uri="{FF2B5EF4-FFF2-40B4-BE49-F238E27FC236}">
                <a16:creationId xmlns:a16="http://schemas.microsoft.com/office/drawing/2014/main" id="{5D6B356B-BFA4-422F-B518-40B54E9937E2}"/>
              </a:ext>
            </a:extLst>
          </p:cNvPr>
          <p:cNvCxnSpPr>
            <a:cxnSpLocks/>
          </p:cNvCxnSpPr>
          <p:nvPr/>
        </p:nvCxnSpPr>
        <p:spPr>
          <a:xfrm>
            <a:off x="823640" y="4172612"/>
            <a:ext cx="0" cy="507832"/>
          </a:xfrm>
          <a:prstGeom prst="line">
            <a:avLst/>
          </a:prstGeom>
          <a:ln w="22225">
            <a:solidFill>
              <a:srgbClr val="08C3A5"/>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F891C2AB-056E-498F-90C0-6948092B919D}"/>
              </a:ext>
            </a:extLst>
          </p:cNvPr>
          <p:cNvCxnSpPr>
            <a:cxnSpLocks/>
          </p:cNvCxnSpPr>
          <p:nvPr/>
        </p:nvCxnSpPr>
        <p:spPr>
          <a:xfrm>
            <a:off x="3826720" y="4172612"/>
            <a:ext cx="0" cy="507832"/>
          </a:xfrm>
          <a:prstGeom prst="line">
            <a:avLst/>
          </a:prstGeom>
          <a:ln w="222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2463E0C8-E9B3-4D0E-B1BB-D07055872F29}"/>
              </a:ext>
            </a:extLst>
          </p:cNvPr>
          <p:cNvCxnSpPr>
            <a:cxnSpLocks/>
          </p:cNvCxnSpPr>
          <p:nvPr/>
        </p:nvCxnSpPr>
        <p:spPr>
          <a:xfrm>
            <a:off x="6452864" y="4172612"/>
            <a:ext cx="0" cy="507832"/>
          </a:xfrm>
          <a:prstGeom prst="line">
            <a:avLst/>
          </a:prstGeom>
          <a:ln w="22225">
            <a:solidFill>
              <a:srgbClr val="A39382"/>
            </a:solidFill>
          </a:ln>
        </p:spPr>
        <p:style>
          <a:lnRef idx="1">
            <a:schemeClr val="accent1"/>
          </a:lnRef>
          <a:fillRef idx="0">
            <a:schemeClr val="accent1"/>
          </a:fillRef>
          <a:effectRef idx="0">
            <a:schemeClr val="accent1"/>
          </a:effectRef>
          <a:fontRef idx="minor">
            <a:schemeClr val="tx1"/>
          </a:fontRef>
        </p:style>
      </p:cxnSp>
      <p:sp>
        <p:nvSpPr>
          <p:cNvPr id="126" name="Oval 125">
            <a:extLst>
              <a:ext uri="{FF2B5EF4-FFF2-40B4-BE49-F238E27FC236}">
                <a16:creationId xmlns:a16="http://schemas.microsoft.com/office/drawing/2014/main" id="{1535DAA4-617F-4BC3-B381-5B8C4022C386}"/>
              </a:ext>
            </a:extLst>
          </p:cNvPr>
          <p:cNvSpPr/>
          <p:nvPr/>
        </p:nvSpPr>
        <p:spPr>
          <a:xfrm>
            <a:off x="6398341" y="3346702"/>
            <a:ext cx="1005840" cy="5029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152" name="Group 151">
            <a:extLst>
              <a:ext uri="{FF2B5EF4-FFF2-40B4-BE49-F238E27FC236}">
                <a16:creationId xmlns:a16="http://schemas.microsoft.com/office/drawing/2014/main" id="{330AE851-2BAF-4D5B-B880-3AD80351644D}"/>
              </a:ext>
            </a:extLst>
          </p:cNvPr>
          <p:cNvGrpSpPr/>
          <p:nvPr/>
        </p:nvGrpSpPr>
        <p:grpSpPr>
          <a:xfrm>
            <a:off x="5909488" y="1602701"/>
            <a:ext cx="1963737" cy="1982394"/>
            <a:chOff x="6078213" y="1391994"/>
            <a:chExt cx="1740828" cy="1740828"/>
          </a:xfrm>
        </p:grpSpPr>
        <p:sp>
          <p:nvSpPr>
            <p:cNvPr id="148" name="Oval 147">
              <a:extLst>
                <a:ext uri="{FF2B5EF4-FFF2-40B4-BE49-F238E27FC236}">
                  <a16:creationId xmlns:a16="http://schemas.microsoft.com/office/drawing/2014/main" id="{188D4D48-6E2A-4A5F-A29E-8E09B0018FCE}"/>
                </a:ext>
              </a:extLst>
            </p:cNvPr>
            <p:cNvSpPr/>
            <p:nvPr/>
          </p:nvSpPr>
          <p:spPr>
            <a:xfrm>
              <a:off x="6078213" y="1391994"/>
              <a:ext cx="1740828" cy="1740828"/>
            </a:xfrm>
            <a:prstGeom prst="ellipse">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135" name="Group 134">
              <a:extLst>
                <a:ext uri="{FF2B5EF4-FFF2-40B4-BE49-F238E27FC236}">
                  <a16:creationId xmlns:a16="http://schemas.microsoft.com/office/drawing/2014/main" id="{C9D27EC3-D57E-4E24-8402-61044E4E401E}"/>
                </a:ext>
              </a:extLst>
            </p:cNvPr>
            <p:cNvGrpSpPr/>
            <p:nvPr/>
          </p:nvGrpSpPr>
          <p:grpSpPr>
            <a:xfrm>
              <a:off x="6219960" y="1527464"/>
              <a:ext cx="1469890" cy="1469888"/>
              <a:chOff x="5934769" y="1507248"/>
              <a:chExt cx="1586746" cy="1586744"/>
            </a:xfrm>
          </p:grpSpPr>
          <p:grpSp>
            <p:nvGrpSpPr>
              <p:cNvPr id="10" name="Group 9">
                <a:extLst>
                  <a:ext uri="{FF2B5EF4-FFF2-40B4-BE49-F238E27FC236}">
                    <a16:creationId xmlns:a16="http://schemas.microsoft.com/office/drawing/2014/main" id="{FA5AA57F-E332-4994-8DDE-2482F303DEE9}"/>
                  </a:ext>
                </a:extLst>
              </p:cNvPr>
              <p:cNvGrpSpPr/>
              <p:nvPr/>
            </p:nvGrpSpPr>
            <p:grpSpPr>
              <a:xfrm>
                <a:off x="5934769" y="1507248"/>
                <a:ext cx="1586746" cy="1586744"/>
                <a:chOff x="3679240" y="3197849"/>
                <a:chExt cx="1959402" cy="1959401"/>
              </a:xfrm>
            </p:grpSpPr>
            <p:sp>
              <p:nvSpPr>
                <p:cNvPr id="89" name="Oval 88">
                  <a:extLst>
                    <a:ext uri="{FF2B5EF4-FFF2-40B4-BE49-F238E27FC236}">
                      <a16:creationId xmlns:a16="http://schemas.microsoft.com/office/drawing/2014/main" id="{ADA81BD7-4D5E-49B5-9833-042E66CBBA10}"/>
                    </a:ext>
                  </a:extLst>
                </p:cNvPr>
                <p:cNvSpPr/>
                <p:nvPr/>
              </p:nvSpPr>
              <p:spPr>
                <a:xfrm>
                  <a:off x="3679240" y="3197849"/>
                  <a:ext cx="1959402" cy="1959401"/>
                </a:xfrm>
                <a:prstGeom prst="ellipse">
                  <a:avLst/>
                </a:prstGeom>
                <a:solidFill>
                  <a:srgbClr val="A3938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84" name="TextBox 83">
                  <a:extLst>
                    <a:ext uri="{FF2B5EF4-FFF2-40B4-BE49-F238E27FC236}">
                      <a16:creationId xmlns:a16="http://schemas.microsoft.com/office/drawing/2014/main" id="{6448F679-613B-4A1F-8262-DBE309AD8227}"/>
                    </a:ext>
                  </a:extLst>
                </p:cNvPr>
                <p:cNvSpPr txBox="1"/>
                <p:nvPr/>
              </p:nvSpPr>
              <p:spPr>
                <a:xfrm>
                  <a:off x="3788288" y="4243887"/>
                  <a:ext cx="1717840" cy="356918"/>
                </a:xfrm>
                <a:prstGeom prst="rect">
                  <a:avLst/>
                </a:prstGeom>
                <a:noFill/>
              </p:spPr>
              <p:txBody>
                <a:bodyPr wrap="square" lIns="0" tIns="0" rIns="0" bIns="0" rtlCol="0">
                  <a:spAutoFit/>
                </a:bodyPr>
                <a:lstStyle>
                  <a:defPPr>
                    <a:defRPr lang="en-US"/>
                  </a:defPPr>
                  <a:lvl1pPr>
                    <a:defRPr sz="4400" b="1" spc="-150">
                      <a:latin typeface="Akkurat Pro" charset="0"/>
                      <a:ea typeface="Akkurat Pro" charset="0"/>
                      <a:cs typeface="Akkurat Pro"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a:rPr>
                    <a:t>Innovation</a:t>
                  </a:r>
                </a:p>
              </p:txBody>
            </p:sp>
            <p:sp>
              <p:nvSpPr>
                <p:cNvPr id="93" name="Block Arc 92">
                  <a:extLst>
                    <a:ext uri="{FF2B5EF4-FFF2-40B4-BE49-F238E27FC236}">
                      <a16:creationId xmlns:a16="http://schemas.microsoft.com/office/drawing/2014/main" id="{AFFC01C9-EF3B-40C6-BECF-83538DBAAA4A}"/>
                    </a:ext>
                  </a:extLst>
                </p:cNvPr>
                <p:cNvSpPr/>
                <p:nvPr/>
              </p:nvSpPr>
              <p:spPr>
                <a:xfrm rot="21134848">
                  <a:off x="3743813" y="3288832"/>
                  <a:ext cx="1815750" cy="1815751"/>
                </a:xfrm>
                <a:prstGeom prst="blockArc">
                  <a:avLst>
                    <a:gd name="adj1" fmla="val 17907341"/>
                    <a:gd name="adj2" fmla="val 8087676"/>
                    <a:gd name="adj3" fmla="val 85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grpSp>
            <p:nvGrpSpPr>
              <p:cNvPr id="100" name="Group 99">
                <a:extLst>
                  <a:ext uri="{FF2B5EF4-FFF2-40B4-BE49-F238E27FC236}">
                    <a16:creationId xmlns:a16="http://schemas.microsoft.com/office/drawing/2014/main" id="{3C855B81-EC51-4D0B-A678-B00C40F8F403}"/>
                  </a:ext>
                </a:extLst>
              </p:cNvPr>
              <p:cNvGrpSpPr/>
              <p:nvPr/>
            </p:nvGrpSpPr>
            <p:grpSpPr>
              <a:xfrm>
                <a:off x="6466218" y="1795430"/>
                <a:ext cx="529777" cy="569733"/>
                <a:chOff x="3665538" y="3175"/>
                <a:chExt cx="4864101" cy="5230981"/>
              </a:xfrm>
              <a:solidFill>
                <a:schemeClr val="bg1"/>
              </a:solidFill>
            </p:grpSpPr>
            <p:sp>
              <p:nvSpPr>
                <p:cNvPr id="86" name="Freeform 21">
                  <a:extLst>
                    <a:ext uri="{FF2B5EF4-FFF2-40B4-BE49-F238E27FC236}">
                      <a16:creationId xmlns:a16="http://schemas.microsoft.com/office/drawing/2014/main" id="{3798114F-FF9B-4B0B-8A09-FCA237298254}"/>
                    </a:ext>
                  </a:extLst>
                </p:cNvPr>
                <p:cNvSpPr>
                  <a:spLocks noEditPoints="1"/>
                </p:cNvSpPr>
                <p:nvPr/>
              </p:nvSpPr>
              <p:spPr bwMode="auto">
                <a:xfrm>
                  <a:off x="4743447" y="1043153"/>
                  <a:ext cx="2708274" cy="4191003"/>
                </a:xfrm>
                <a:custGeom>
                  <a:avLst/>
                  <a:gdLst>
                    <a:gd name="T0" fmla="*/ 250 w 910"/>
                    <a:gd name="T1" fmla="*/ 862 h 1412"/>
                    <a:gd name="T2" fmla="*/ 204 w 910"/>
                    <a:gd name="T3" fmla="*/ 961 h 1412"/>
                    <a:gd name="T4" fmla="*/ 199 w 910"/>
                    <a:gd name="T5" fmla="*/ 1101 h 1412"/>
                    <a:gd name="T6" fmla="*/ 277 w 910"/>
                    <a:gd name="T7" fmla="*/ 1271 h 1412"/>
                    <a:gd name="T8" fmla="*/ 303 w 910"/>
                    <a:gd name="T9" fmla="*/ 1311 h 1412"/>
                    <a:gd name="T10" fmla="*/ 506 w 910"/>
                    <a:gd name="T11" fmla="*/ 1412 h 1412"/>
                    <a:gd name="T12" fmla="*/ 607 w 910"/>
                    <a:gd name="T13" fmla="*/ 1271 h 1412"/>
                    <a:gd name="T14" fmla="*/ 707 w 910"/>
                    <a:gd name="T15" fmla="*/ 1241 h 1412"/>
                    <a:gd name="T16" fmla="*/ 711 w 910"/>
                    <a:gd name="T17" fmla="*/ 1101 h 1412"/>
                    <a:gd name="T18" fmla="*/ 660 w 910"/>
                    <a:gd name="T19" fmla="*/ 934 h 1412"/>
                    <a:gd name="T20" fmla="*/ 910 w 910"/>
                    <a:gd name="T21" fmla="*/ 455 h 1412"/>
                    <a:gd name="T22" fmla="*/ 0 w 910"/>
                    <a:gd name="T23" fmla="*/ 455 h 1412"/>
                    <a:gd name="T24" fmla="*/ 506 w 910"/>
                    <a:gd name="T25" fmla="*/ 1340 h 1412"/>
                    <a:gd name="T26" fmla="*/ 375 w 910"/>
                    <a:gd name="T27" fmla="*/ 1311 h 1412"/>
                    <a:gd name="T28" fmla="*/ 535 w 910"/>
                    <a:gd name="T29" fmla="*/ 1271 h 1412"/>
                    <a:gd name="T30" fmla="*/ 655 w 910"/>
                    <a:gd name="T31" fmla="*/ 1190 h 1412"/>
                    <a:gd name="T32" fmla="*/ 571 w 910"/>
                    <a:gd name="T33" fmla="*/ 1199 h 1412"/>
                    <a:gd name="T34" fmla="*/ 277 w 910"/>
                    <a:gd name="T35" fmla="*/ 1199 h 1412"/>
                    <a:gd name="T36" fmla="*/ 254 w 910"/>
                    <a:gd name="T37" fmla="*/ 1146 h 1412"/>
                    <a:gd name="T38" fmla="*/ 633 w 910"/>
                    <a:gd name="T39" fmla="*/ 1137 h 1412"/>
                    <a:gd name="T40" fmla="*/ 655 w 910"/>
                    <a:gd name="T41" fmla="*/ 1190 h 1412"/>
                    <a:gd name="T42" fmla="*/ 633 w 910"/>
                    <a:gd name="T43" fmla="*/ 1065 h 1412"/>
                    <a:gd name="T44" fmla="*/ 246 w 910"/>
                    <a:gd name="T45" fmla="*/ 1034 h 1412"/>
                    <a:gd name="T46" fmla="*/ 277 w 910"/>
                    <a:gd name="T47" fmla="*/ 1003 h 1412"/>
                    <a:gd name="T48" fmla="*/ 624 w 910"/>
                    <a:gd name="T49" fmla="*/ 1003 h 1412"/>
                    <a:gd name="T50" fmla="*/ 664 w 910"/>
                    <a:gd name="T51" fmla="*/ 1034 h 1412"/>
                    <a:gd name="T52" fmla="*/ 455 w 910"/>
                    <a:gd name="T53" fmla="*/ 73 h 1412"/>
                    <a:gd name="T54" fmla="*/ 610 w 910"/>
                    <a:gd name="T55" fmla="*/ 806 h 1412"/>
                    <a:gd name="T56" fmla="*/ 588 w 910"/>
                    <a:gd name="T57" fmla="*/ 930 h 1412"/>
                    <a:gd name="T58" fmla="*/ 491 w 910"/>
                    <a:gd name="T59" fmla="*/ 502 h 1412"/>
                    <a:gd name="T60" fmla="*/ 491 w 910"/>
                    <a:gd name="T61" fmla="*/ 501 h 1412"/>
                    <a:gd name="T62" fmla="*/ 656 w 910"/>
                    <a:gd name="T63" fmla="*/ 538 h 1412"/>
                    <a:gd name="T64" fmla="*/ 455 w 910"/>
                    <a:gd name="T65" fmla="*/ 410 h 1412"/>
                    <a:gd name="T66" fmla="*/ 254 w 910"/>
                    <a:gd name="T67" fmla="*/ 538 h 1412"/>
                    <a:gd name="T68" fmla="*/ 419 w 910"/>
                    <a:gd name="T69" fmla="*/ 501 h 1412"/>
                    <a:gd name="T70" fmla="*/ 419 w 910"/>
                    <a:gd name="T71" fmla="*/ 930 h 1412"/>
                    <a:gd name="T72" fmla="*/ 322 w 910"/>
                    <a:gd name="T73" fmla="*/ 839 h 1412"/>
                    <a:gd name="T74" fmla="*/ 72 w 910"/>
                    <a:gd name="T75" fmla="*/ 455 h 1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10" h="1412">
                      <a:moveTo>
                        <a:pt x="0" y="455"/>
                      </a:moveTo>
                      <a:cubicBezTo>
                        <a:pt x="0" y="627"/>
                        <a:pt x="97" y="784"/>
                        <a:pt x="250" y="862"/>
                      </a:cubicBezTo>
                      <a:cubicBezTo>
                        <a:pt x="250" y="935"/>
                        <a:pt x="250" y="935"/>
                        <a:pt x="250" y="935"/>
                      </a:cubicBezTo>
                      <a:cubicBezTo>
                        <a:pt x="233" y="939"/>
                        <a:pt x="217" y="948"/>
                        <a:pt x="204" y="961"/>
                      </a:cubicBezTo>
                      <a:cubicBezTo>
                        <a:pt x="184" y="980"/>
                        <a:pt x="174" y="1006"/>
                        <a:pt x="174" y="1034"/>
                      </a:cubicBezTo>
                      <a:cubicBezTo>
                        <a:pt x="174" y="1059"/>
                        <a:pt x="183" y="1083"/>
                        <a:pt x="199" y="1101"/>
                      </a:cubicBezTo>
                      <a:cubicBezTo>
                        <a:pt x="183" y="1120"/>
                        <a:pt x="174" y="1143"/>
                        <a:pt x="174" y="1168"/>
                      </a:cubicBezTo>
                      <a:cubicBezTo>
                        <a:pt x="174" y="1225"/>
                        <a:pt x="220" y="1271"/>
                        <a:pt x="277" y="1271"/>
                      </a:cubicBezTo>
                      <a:cubicBezTo>
                        <a:pt x="303" y="1271"/>
                        <a:pt x="303" y="1271"/>
                        <a:pt x="303" y="1271"/>
                      </a:cubicBezTo>
                      <a:cubicBezTo>
                        <a:pt x="303" y="1311"/>
                        <a:pt x="303" y="1311"/>
                        <a:pt x="303" y="1311"/>
                      </a:cubicBezTo>
                      <a:cubicBezTo>
                        <a:pt x="303" y="1367"/>
                        <a:pt x="348" y="1412"/>
                        <a:pt x="404" y="1412"/>
                      </a:cubicBezTo>
                      <a:cubicBezTo>
                        <a:pt x="506" y="1412"/>
                        <a:pt x="506" y="1412"/>
                        <a:pt x="506" y="1412"/>
                      </a:cubicBezTo>
                      <a:cubicBezTo>
                        <a:pt x="562" y="1412"/>
                        <a:pt x="607" y="1367"/>
                        <a:pt x="607" y="1311"/>
                      </a:cubicBezTo>
                      <a:cubicBezTo>
                        <a:pt x="607" y="1271"/>
                        <a:pt x="607" y="1271"/>
                        <a:pt x="607" y="1271"/>
                      </a:cubicBezTo>
                      <a:cubicBezTo>
                        <a:pt x="633" y="1271"/>
                        <a:pt x="633" y="1271"/>
                        <a:pt x="633" y="1271"/>
                      </a:cubicBezTo>
                      <a:cubicBezTo>
                        <a:pt x="661" y="1271"/>
                        <a:pt x="687" y="1261"/>
                        <a:pt x="707" y="1241"/>
                      </a:cubicBezTo>
                      <a:cubicBezTo>
                        <a:pt x="726" y="1221"/>
                        <a:pt x="736" y="1195"/>
                        <a:pt x="736" y="1168"/>
                      </a:cubicBezTo>
                      <a:cubicBezTo>
                        <a:pt x="736" y="1142"/>
                        <a:pt x="727" y="1119"/>
                        <a:pt x="711" y="1101"/>
                      </a:cubicBezTo>
                      <a:cubicBezTo>
                        <a:pt x="727" y="1082"/>
                        <a:pt x="736" y="1059"/>
                        <a:pt x="736" y="1034"/>
                      </a:cubicBezTo>
                      <a:cubicBezTo>
                        <a:pt x="736" y="986"/>
                        <a:pt x="704" y="946"/>
                        <a:pt x="660" y="934"/>
                      </a:cubicBezTo>
                      <a:cubicBezTo>
                        <a:pt x="660" y="861"/>
                        <a:pt x="660" y="861"/>
                        <a:pt x="660" y="861"/>
                      </a:cubicBezTo>
                      <a:cubicBezTo>
                        <a:pt x="813" y="784"/>
                        <a:pt x="910" y="628"/>
                        <a:pt x="910" y="455"/>
                      </a:cubicBezTo>
                      <a:cubicBezTo>
                        <a:pt x="910" y="204"/>
                        <a:pt x="706" y="0"/>
                        <a:pt x="455" y="0"/>
                      </a:cubicBezTo>
                      <a:cubicBezTo>
                        <a:pt x="204" y="0"/>
                        <a:pt x="0" y="204"/>
                        <a:pt x="0" y="455"/>
                      </a:cubicBezTo>
                      <a:close/>
                      <a:moveTo>
                        <a:pt x="535" y="1311"/>
                      </a:moveTo>
                      <a:cubicBezTo>
                        <a:pt x="535" y="1327"/>
                        <a:pt x="522" y="1340"/>
                        <a:pt x="506" y="1340"/>
                      </a:cubicBezTo>
                      <a:cubicBezTo>
                        <a:pt x="404" y="1340"/>
                        <a:pt x="404" y="1340"/>
                        <a:pt x="404" y="1340"/>
                      </a:cubicBezTo>
                      <a:cubicBezTo>
                        <a:pt x="388" y="1340"/>
                        <a:pt x="375" y="1327"/>
                        <a:pt x="375" y="1311"/>
                      </a:cubicBezTo>
                      <a:cubicBezTo>
                        <a:pt x="375" y="1271"/>
                        <a:pt x="375" y="1271"/>
                        <a:pt x="375" y="1271"/>
                      </a:cubicBezTo>
                      <a:cubicBezTo>
                        <a:pt x="535" y="1271"/>
                        <a:pt x="535" y="1271"/>
                        <a:pt x="535" y="1271"/>
                      </a:cubicBezTo>
                      <a:lnTo>
                        <a:pt x="535" y="1311"/>
                      </a:lnTo>
                      <a:close/>
                      <a:moveTo>
                        <a:pt x="655" y="1190"/>
                      </a:moveTo>
                      <a:cubicBezTo>
                        <a:pt x="650" y="1196"/>
                        <a:pt x="642" y="1199"/>
                        <a:pt x="633" y="1199"/>
                      </a:cubicBezTo>
                      <a:cubicBezTo>
                        <a:pt x="571" y="1199"/>
                        <a:pt x="571" y="1199"/>
                        <a:pt x="571" y="1199"/>
                      </a:cubicBezTo>
                      <a:cubicBezTo>
                        <a:pt x="339" y="1199"/>
                        <a:pt x="339" y="1199"/>
                        <a:pt x="339" y="1199"/>
                      </a:cubicBezTo>
                      <a:cubicBezTo>
                        <a:pt x="277" y="1199"/>
                        <a:pt x="277" y="1199"/>
                        <a:pt x="277" y="1199"/>
                      </a:cubicBezTo>
                      <a:cubicBezTo>
                        <a:pt x="260" y="1199"/>
                        <a:pt x="246" y="1185"/>
                        <a:pt x="246" y="1168"/>
                      </a:cubicBezTo>
                      <a:cubicBezTo>
                        <a:pt x="246" y="1157"/>
                        <a:pt x="251" y="1150"/>
                        <a:pt x="254" y="1146"/>
                      </a:cubicBezTo>
                      <a:cubicBezTo>
                        <a:pt x="261" y="1140"/>
                        <a:pt x="268" y="1137"/>
                        <a:pt x="277" y="1137"/>
                      </a:cubicBezTo>
                      <a:cubicBezTo>
                        <a:pt x="633" y="1137"/>
                        <a:pt x="633" y="1137"/>
                        <a:pt x="633" y="1137"/>
                      </a:cubicBezTo>
                      <a:cubicBezTo>
                        <a:pt x="650" y="1137"/>
                        <a:pt x="664" y="1151"/>
                        <a:pt x="664" y="1168"/>
                      </a:cubicBezTo>
                      <a:cubicBezTo>
                        <a:pt x="664" y="1179"/>
                        <a:pt x="659" y="1186"/>
                        <a:pt x="655" y="1190"/>
                      </a:cubicBezTo>
                      <a:close/>
                      <a:moveTo>
                        <a:pt x="655" y="1056"/>
                      </a:moveTo>
                      <a:cubicBezTo>
                        <a:pt x="649" y="1062"/>
                        <a:pt x="642" y="1065"/>
                        <a:pt x="633" y="1065"/>
                      </a:cubicBezTo>
                      <a:cubicBezTo>
                        <a:pt x="277" y="1065"/>
                        <a:pt x="277" y="1065"/>
                        <a:pt x="277" y="1065"/>
                      </a:cubicBezTo>
                      <a:cubicBezTo>
                        <a:pt x="260" y="1065"/>
                        <a:pt x="246" y="1051"/>
                        <a:pt x="246" y="1034"/>
                      </a:cubicBezTo>
                      <a:cubicBezTo>
                        <a:pt x="246" y="1025"/>
                        <a:pt x="249" y="1018"/>
                        <a:pt x="254" y="1012"/>
                      </a:cubicBezTo>
                      <a:cubicBezTo>
                        <a:pt x="258" y="1009"/>
                        <a:pt x="266" y="1003"/>
                        <a:pt x="277" y="1003"/>
                      </a:cubicBezTo>
                      <a:cubicBezTo>
                        <a:pt x="286" y="1003"/>
                        <a:pt x="286" y="1003"/>
                        <a:pt x="286" y="1003"/>
                      </a:cubicBezTo>
                      <a:cubicBezTo>
                        <a:pt x="624" y="1003"/>
                        <a:pt x="624" y="1003"/>
                        <a:pt x="624" y="1003"/>
                      </a:cubicBezTo>
                      <a:cubicBezTo>
                        <a:pt x="633" y="1003"/>
                        <a:pt x="633" y="1003"/>
                        <a:pt x="633" y="1003"/>
                      </a:cubicBezTo>
                      <a:cubicBezTo>
                        <a:pt x="650" y="1003"/>
                        <a:pt x="664" y="1017"/>
                        <a:pt x="664" y="1034"/>
                      </a:cubicBezTo>
                      <a:cubicBezTo>
                        <a:pt x="664" y="1044"/>
                        <a:pt x="659" y="1052"/>
                        <a:pt x="655" y="1056"/>
                      </a:cubicBezTo>
                      <a:close/>
                      <a:moveTo>
                        <a:pt x="455" y="73"/>
                      </a:moveTo>
                      <a:cubicBezTo>
                        <a:pt x="666" y="73"/>
                        <a:pt x="838" y="244"/>
                        <a:pt x="838" y="455"/>
                      </a:cubicBezTo>
                      <a:cubicBezTo>
                        <a:pt x="838" y="607"/>
                        <a:pt x="748" y="745"/>
                        <a:pt x="610" y="806"/>
                      </a:cubicBezTo>
                      <a:cubicBezTo>
                        <a:pt x="596" y="811"/>
                        <a:pt x="588" y="824"/>
                        <a:pt x="588" y="839"/>
                      </a:cubicBezTo>
                      <a:cubicBezTo>
                        <a:pt x="588" y="930"/>
                        <a:pt x="588" y="930"/>
                        <a:pt x="588" y="930"/>
                      </a:cubicBezTo>
                      <a:cubicBezTo>
                        <a:pt x="491" y="930"/>
                        <a:pt x="491" y="930"/>
                        <a:pt x="491" y="930"/>
                      </a:cubicBezTo>
                      <a:cubicBezTo>
                        <a:pt x="491" y="502"/>
                        <a:pt x="491" y="502"/>
                        <a:pt x="491" y="502"/>
                      </a:cubicBezTo>
                      <a:cubicBezTo>
                        <a:pt x="491" y="502"/>
                        <a:pt x="491" y="502"/>
                        <a:pt x="491" y="501"/>
                      </a:cubicBezTo>
                      <a:cubicBezTo>
                        <a:pt x="491" y="501"/>
                        <a:pt x="491" y="501"/>
                        <a:pt x="491" y="501"/>
                      </a:cubicBezTo>
                      <a:cubicBezTo>
                        <a:pt x="492" y="416"/>
                        <a:pt x="620" y="416"/>
                        <a:pt x="620" y="501"/>
                      </a:cubicBezTo>
                      <a:cubicBezTo>
                        <a:pt x="620" y="521"/>
                        <a:pt x="637" y="538"/>
                        <a:pt x="656" y="538"/>
                      </a:cubicBezTo>
                      <a:cubicBezTo>
                        <a:pt x="676" y="538"/>
                        <a:pt x="693" y="521"/>
                        <a:pt x="693" y="501"/>
                      </a:cubicBezTo>
                      <a:cubicBezTo>
                        <a:pt x="693" y="377"/>
                        <a:pt x="540" y="317"/>
                        <a:pt x="455" y="410"/>
                      </a:cubicBezTo>
                      <a:cubicBezTo>
                        <a:pt x="371" y="317"/>
                        <a:pt x="218" y="377"/>
                        <a:pt x="218" y="501"/>
                      </a:cubicBezTo>
                      <a:cubicBezTo>
                        <a:pt x="218" y="521"/>
                        <a:pt x="234" y="538"/>
                        <a:pt x="254" y="538"/>
                      </a:cubicBezTo>
                      <a:cubicBezTo>
                        <a:pt x="274" y="538"/>
                        <a:pt x="290" y="521"/>
                        <a:pt x="290" y="501"/>
                      </a:cubicBezTo>
                      <a:cubicBezTo>
                        <a:pt x="290" y="416"/>
                        <a:pt x="418" y="416"/>
                        <a:pt x="419" y="501"/>
                      </a:cubicBezTo>
                      <a:cubicBezTo>
                        <a:pt x="419" y="501"/>
                        <a:pt x="419" y="501"/>
                        <a:pt x="419" y="501"/>
                      </a:cubicBezTo>
                      <a:cubicBezTo>
                        <a:pt x="419" y="930"/>
                        <a:pt x="419" y="930"/>
                        <a:pt x="419" y="930"/>
                      </a:cubicBezTo>
                      <a:cubicBezTo>
                        <a:pt x="322" y="930"/>
                        <a:pt x="322" y="930"/>
                        <a:pt x="322" y="930"/>
                      </a:cubicBezTo>
                      <a:cubicBezTo>
                        <a:pt x="322" y="839"/>
                        <a:pt x="322" y="839"/>
                        <a:pt x="322" y="839"/>
                      </a:cubicBezTo>
                      <a:cubicBezTo>
                        <a:pt x="322" y="824"/>
                        <a:pt x="314" y="811"/>
                        <a:pt x="300" y="806"/>
                      </a:cubicBezTo>
                      <a:cubicBezTo>
                        <a:pt x="162" y="744"/>
                        <a:pt x="72" y="607"/>
                        <a:pt x="72" y="455"/>
                      </a:cubicBezTo>
                      <a:cubicBezTo>
                        <a:pt x="72" y="244"/>
                        <a:pt x="244" y="73"/>
                        <a:pt x="455"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 name="Freeform 23">
                  <a:extLst>
                    <a:ext uri="{FF2B5EF4-FFF2-40B4-BE49-F238E27FC236}">
                      <a16:creationId xmlns:a16="http://schemas.microsoft.com/office/drawing/2014/main" id="{DB67D334-956D-4E5A-A4CC-57986BE15DBD}"/>
                    </a:ext>
                  </a:extLst>
                </p:cNvPr>
                <p:cNvSpPr>
                  <a:spLocks/>
                </p:cNvSpPr>
                <p:nvPr/>
              </p:nvSpPr>
              <p:spPr bwMode="auto">
                <a:xfrm>
                  <a:off x="7427913" y="671513"/>
                  <a:ext cx="431800" cy="430213"/>
                </a:xfrm>
                <a:custGeom>
                  <a:avLst/>
                  <a:gdLst>
                    <a:gd name="T0" fmla="*/ 80 w 145"/>
                    <a:gd name="T1" fmla="*/ 14 h 145"/>
                    <a:gd name="T2" fmla="*/ 14 w 145"/>
                    <a:gd name="T3" fmla="*/ 80 h 145"/>
                    <a:gd name="T4" fmla="*/ 14 w 145"/>
                    <a:gd name="T5" fmla="*/ 131 h 145"/>
                    <a:gd name="T6" fmla="*/ 65 w 145"/>
                    <a:gd name="T7" fmla="*/ 131 h 145"/>
                    <a:gd name="T8" fmla="*/ 131 w 145"/>
                    <a:gd name="T9" fmla="*/ 65 h 145"/>
                    <a:gd name="T10" fmla="*/ 131 w 145"/>
                    <a:gd name="T11" fmla="*/ 14 h 145"/>
                    <a:gd name="T12" fmla="*/ 80 w 145"/>
                    <a:gd name="T13" fmla="*/ 14 h 145"/>
                  </a:gdLst>
                  <a:ahLst/>
                  <a:cxnLst>
                    <a:cxn ang="0">
                      <a:pos x="T0" y="T1"/>
                    </a:cxn>
                    <a:cxn ang="0">
                      <a:pos x="T2" y="T3"/>
                    </a:cxn>
                    <a:cxn ang="0">
                      <a:pos x="T4" y="T5"/>
                    </a:cxn>
                    <a:cxn ang="0">
                      <a:pos x="T6" y="T7"/>
                    </a:cxn>
                    <a:cxn ang="0">
                      <a:pos x="T8" y="T9"/>
                    </a:cxn>
                    <a:cxn ang="0">
                      <a:pos x="T10" y="T11"/>
                    </a:cxn>
                    <a:cxn ang="0">
                      <a:pos x="T12" y="T13"/>
                    </a:cxn>
                  </a:cxnLst>
                  <a:rect l="0" t="0" r="r" b="b"/>
                  <a:pathLst>
                    <a:path w="145" h="145">
                      <a:moveTo>
                        <a:pt x="80" y="14"/>
                      </a:moveTo>
                      <a:cubicBezTo>
                        <a:pt x="14" y="80"/>
                        <a:pt x="14" y="80"/>
                        <a:pt x="14" y="80"/>
                      </a:cubicBezTo>
                      <a:cubicBezTo>
                        <a:pt x="0" y="94"/>
                        <a:pt x="0" y="117"/>
                        <a:pt x="14" y="131"/>
                      </a:cubicBezTo>
                      <a:cubicBezTo>
                        <a:pt x="28" y="145"/>
                        <a:pt x="51" y="145"/>
                        <a:pt x="65" y="131"/>
                      </a:cubicBezTo>
                      <a:cubicBezTo>
                        <a:pt x="131" y="65"/>
                        <a:pt x="131" y="65"/>
                        <a:pt x="131" y="65"/>
                      </a:cubicBezTo>
                      <a:cubicBezTo>
                        <a:pt x="145" y="51"/>
                        <a:pt x="145" y="28"/>
                        <a:pt x="131" y="14"/>
                      </a:cubicBezTo>
                      <a:cubicBezTo>
                        <a:pt x="117" y="0"/>
                        <a:pt x="94" y="0"/>
                        <a:pt x="8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 name="Freeform 24">
                  <a:extLst>
                    <a:ext uri="{FF2B5EF4-FFF2-40B4-BE49-F238E27FC236}">
                      <a16:creationId xmlns:a16="http://schemas.microsoft.com/office/drawing/2014/main" id="{F7759828-0DCA-46D8-A018-A92D8FC475BD}"/>
                    </a:ext>
                  </a:extLst>
                </p:cNvPr>
                <p:cNvSpPr>
                  <a:spLocks/>
                </p:cNvSpPr>
                <p:nvPr/>
              </p:nvSpPr>
              <p:spPr bwMode="auto">
                <a:xfrm>
                  <a:off x="8039101" y="2320925"/>
                  <a:ext cx="490538" cy="214313"/>
                </a:xfrm>
                <a:custGeom>
                  <a:avLst/>
                  <a:gdLst>
                    <a:gd name="T0" fmla="*/ 129 w 165"/>
                    <a:gd name="T1" fmla="*/ 72 h 72"/>
                    <a:gd name="T2" fmla="*/ 165 w 165"/>
                    <a:gd name="T3" fmla="*/ 36 h 72"/>
                    <a:gd name="T4" fmla="*/ 129 w 165"/>
                    <a:gd name="T5" fmla="*/ 0 h 72"/>
                    <a:gd name="T6" fmla="*/ 36 w 165"/>
                    <a:gd name="T7" fmla="*/ 0 h 72"/>
                    <a:gd name="T8" fmla="*/ 0 w 165"/>
                    <a:gd name="T9" fmla="*/ 36 h 72"/>
                    <a:gd name="T10" fmla="*/ 36 w 165"/>
                    <a:gd name="T11" fmla="*/ 72 h 72"/>
                    <a:gd name="T12" fmla="*/ 129 w 165"/>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165" h="72">
                      <a:moveTo>
                        <a:pt x="129" y="72"/>
                      </a:moveTo>
                      <a:cubicBezTo>
                        <a:pt x="149" y="72"/>
                        <a:pt x="165" y="56"/>
                        <a:pt x="165" y="36"/>
                      </a:cubicBezTo>
                      <a:cubicBezTo>
                        <a:pt x="165" y="16"/>
                        <a:pt x="149" y="0"/>
                        <a:pt x="129" y="0"/>
                      </a:cubicBezTo>
                      <a:cubicBezTo>
                        <a:pt x="36" y="0"/>
                        <a:pt x="36" y="0"/>
                        <a:pt x="36" y="0"/>
                      </a:cubicBezTo>
                      <a:cubicBezTo>
                        <a:pt x="16" y="0"/>
                        <a:pt x="0" y="16"/>
                        <a:pt x="0" y="36"/>
                      </a:cubicBezTo>
                      <a:cubicBezTo>
                        <a:pt x="0" y="56"/>
                        <a:pt x="16" y="72"/>
                        <a:pt x="36" y="72"/>
                      </a:cubicBezTo>
                      <a:lnTo>
                        <a:pt x="129"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 name="Freeform 25">
                  <a:extLst>
                    <a:ext uri="{FF2B5EF4-FFF2-40B4-BE49-F238E27FC236}">
                      <a16:creationId xmlns:a16="http://schemas.microsoft.com/office/drawing/2014/main" id="{CC20C77B-7D5B-4EDD-9B60-718658394B35}"/>
                    </a:ext>
                  </a:extLst>
                </p:cNvPr>
                <p:cNvSpPr>
                  <a:spLocks/>
                </p:cNvSpPr>
                <p:nvPr/>
              </p:nvSpPr>
              <p:spPr bwMode="auto">
                <a:xfrm>
                  <a:off x="3665538" y="2320925"/>
                  <a:ext cx="490538" cy="214313"/>
                </a:xfrm>
                <a:custGeom>
                  <a:avLst/>
                  <a:gdLst>
                    <a:gd name="T0" fmla="*/ 165 w 165"/>
                    <a:gd name="T1" fmla="*/ 36 h 72"/>
                    <a:gd name="T2" fmla="*/ 129 w 165"/>
                    <a:gd name="T3" fmla="*/ 0 h 72"/>
                    <a:gd name="T4" fmla="*/ 36 w 165"/>
                    <a:gd name="T5" fmla="*/ 0 h 72"/>
                    <a:gd name="T6" fmla="*/ 0 w 165"/>
                    <a:gd name="T7" fmla="*/ 36 h 72"/>
                    <a:gd name="T8" fmla="*/ 36 w 165"/>
                    <a:gd name="T9" fmla="*/ 72 h 72"/>
                    <a:gd name="T10" fmla="*/ 129 w 165"/>
                    <a:gd name="T11" fmla="*/ 72 h 72"/>
                    <a:gd name="T12" fmla="*/ 165 w 165"/>
                    <a:gd name="T13" fmla="*/ 36 h 72"/>
                  </a:gdLst>
                  <a:ahLst/>
                  <a:cxnLst>
                    <a:cxn ang="0">
                      <a:pos x="T0" y="T1"/>
                    </a:cxn>
                    <a:cxn ang="0">
                      <a:pos x="T2" y="T3"/>
                    </a:cxn>
                    <a:cxn ang="0">
                      <a:pos x="T4" y="T5"/>
                    </a:cxn>
                    <a:cxn ang="0">
                      <a:pos x="T6" y="T7"/>
                    </a:cxn>
                    <a:cxn ang="0">
                      <a:pos x="T8" y="T9"/>
                    </a:cxn>
                    <a:cxn ang="0">
                      <a:pos x="T10" y="T11"/>
                    </a:cxn>
                    <a:cxn ang="0">
                      <a:pos x="T12" y="T13"/>
                    </a:cxn>
                  </a:cxnLst>
                  <a:rect l="0" t="0" r="r" b="b"/>
                  <a:pathLst>
                    <a:path w="165" h="72">
                      <a:moveTo>
                        <a:pt x="165" y="36"/>
                      </a:moveTo>
                      <a:cubicBezTo>
                        <a:pt x="165" y="16"/>
                        <a:pt x="149" y="0"/>
                        <a:pt x="129" y="0"/>
                      </a:cubicBezTo>
                      <a:cubicBezTo>
                        <a:pt x="36" y="0"/>
                        <a:pt x="36" y="0"/>
                        <a:pt x="36" y="0"/>
                      </a:cubicBezTo>
                      <a:cubicBezTo>
                        <a:pt x="16" y="0"/>
                        <a:pt x="0" y="16"/>
                        <a:pt x="0" y="36"/>
                      </a:cubicBezTo>
                      <a:cubicBezTo>
                        <a:pt x="0" y="56"/>
                        <a:pt x="16" y="72"/>
                        <a:pt x="36" y="72"/>
                      </a:cubicBezTo>
                      <a:cubicBezTo>
                        <a:pt x="129" y="72"/>
                        <a:pt x="129" y="72"/>
                        <a:pt x="129" y="72"/>
                      </a:cubicBezTo>
                      <a:cubicBezTo>
                        <a:pt x="149" y="72"/>
                        <a:pt x="165" y="56"/>
                        <a:pt x="165"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 name="Freeform 26">
                  <a:extLst>
                    <a:ext uri="{FF2B5EF4-FFF2-40B4-BE49-F238E27FC236}">
                      <a16:creationId xmlns:a16="http://schemas.microsoft.com/office/drawing/2014/main" id="{E495BAF8-DC87-4865-B6B8-B0BC3E439952}"/>
                    </a:ext>
                  </a:extLst>
                </p:cNvPr>
                <p:cNvSpPr>
                  <a:spLocks/>
                </p:cNvSpPr>
                <p:nvPr/>
              </p:nvSpPr>
              <p:spPr bwMode="auto">
                <a:xfrm>
                  <a:off x="4335463" y="671513"/>
                  <a:ext cx="431800" cy="430213"/>
                </a:xfrm>
                <a:custGeom>
                  <a:avLst/>
                  <a:gdLst>
                    <a:gd name="T0" fmla="*/ 65 w 145"/>
                    <a:gd name="T1" fmla="*/ 14 h 145"/>
                    <a:gd name="T2" fmla="*/ 14 w 145"/>
                    <a:gd name="T3" fmla="*/ 14 h 145"/>
                    <a:gd name="T4" fmla="*/ 14 w 145"/>
                    <a:gd name="T5" fmla="*/ 65 h 145"/>
                    <a:gd name="T6" fmla="*/ 80 w 145"/>
                    <a:gd name="T7" fmla="*/ 131 h 145"/>
                    <a:gd name="T8" fmla="*/ 131 w 145"/>
                    <a:gd name="T9" fmla="*/ 131 h 145"/>
                    <a:gd name="T10" fmla="*/ 131 w 145"/>
                    <a:gd name="T11" fmla="*/ 80 h 145"/>
                    <a:gd name="T12" fmla="*/ 65 w 145"/>
                    <a:gd name="T13" fmla="*/ 14 h 145"/>
                  </a:gdLst>
                  <a:ahLst/>
                  <a:cxnLst>
                    <a:cxn ang="0">
                      <a:pos x="T0" y="T1"/>
                    </a:cxn>
                    <a:cxn ang="0">
                      <a:pos x="T2" y="T3"/>
                    </a:cxn>
                    <a:cxn ang="0">
                      <a:pos x="T4" y="T5"/>
                    </a:cxn>
                    <a:cxn ang="0">
                      <a:pos x="T6" y="T7"/>
                    </a:cxn>
                    <a:cxn ang="0">
                      <a:pos x="T8" y="T9"/>
                    </a:cxn>
                    <a:cxn ang="0">
                      <a:pos x="T10" y="T11"/>
                    </a:cxn>
                    <a:cxn ang="0">
                      <a:pos x="T12" y="T13"/>
                    </a:cxn>
                  </a:cxnLst>
                  <a:rect l="0" t="0" r="r" b="b"/>
                  <a:pathLst>
                    <a:path w="145" h="145">
                      <a:moveTo>
                        <a:pt x="65" y="14"/>
                      </a:moveTo>
                      <a:cubicBezTo>
                        <a:pt x="51" y="0"/>
                        <a:pt x="28" y="0"/>
                        <a:pt x="14" y="14"/>
                      </a:cubicBezTo>
                      <a:cubicBezTo>
                        <a:pt x="0" y="28"/>
                        <a:pt x="0" y="51"/>
                        <a:pt x="14" y="65"/>
                      </a:cubicBezTo>
                      <a:cubicBezTo>
                        <a:pt x="80" y="131"/>
                        <a:pt x="80" y="131"/>
                        <a:pt x="80" y="131"/>
                      </a:cubicBezTo>
                      <a:cubicBezTo>
                        <a:pt x="94" y="145"/>
                        <a:pt x="117" y="145"/>
                        <a:pt x="131" y="131"/>
                      </a:cubicBezTo>
                      <a:cubicBezTo>
                        <a:pt x="145" y="117"/>
                        <a:pt x="145" y="94"/>
                        <a:pt x="131" y="80"/>
                      </a:cubicBezTo>
                      <a:lnTo>
                        <a:pt x="65"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 name="Freeform 27">
                  <a:extLst>
                    <a:ext uri="{FF2B5EF4-FFF2-40B4-BE49-F238E27FC236}">
                      <a16:creationId xmlns:a16="http://schemas.microsoft.com/office/drawing/2014/main" id="{183B13A9-A10B-4B98-BB86-14038467F64D}"/>
                    </a:ext>
                  </a:extLst>
                </p:cNvPr>
                <p:cNvSpPr>
                  <a:spLocks/>
                </p:cNvSpPr>
                <p:nvPr/>
              </p:nvSpPr>
              <p:spPr bwMode="auto">
                <a:xfrm>
                  <a:off x="5989638" y="3175"/>
                  <a:ext cx="214313" cy="488950"/>
                </a:xfrm>
                <a:custGeom>
                  <a:avLst/>
                  <a:gdLst>
                    <a:gd name="T0" fmla="*/ 72 w 72"/>
                    <a:gd name="T1" fmla="*/ 129 h 165"/>
                    <a:gd name="T2" fmla="*/ 72 w 72"/>
                    <a:gd name="T3" fmla="*/ 36 h 165"/>
                    <a:gd name="T4" fmla="*/ 36 w 72"/>
                    <a:gd name="T5" fmla="*/ 0 h 165"/>
                    <a:gd name="T6" fmla="*/ 0 w 72"/>
                    <a:gd name="T7" fmla="*/ 36 h 165"/>
                    <a:gd name="T8" fmla="*/ 0 w 72"/>
                    <a:gd name="T9" fmla="*/ 129 h 165"/>
                    <a:gd name="T10" fmla="*/ 36 w 72"/>
                    <a:gd name="T11" fmla="*/ 165 h 165"/>
                    <a:gd name="T12" fmla="*/ 72 w 72"/>
                    <a:gd name="T13" fmla="*/ 129 h 165"/>
                  </a:gdLst>
                  <a:ahLst/>
                  <a:cxnLst>
                    <a:cxn ang="0">
                      <a:pos x="T0" y="T1"/>
                    </a:cxn>
                    <a:cxn ang="0">
                      <a:pos x="T2" y="T3"/>
                    </a:cxn>
                    <a:cxn ang="0">
                      <a:pos x="T4" y="T5"/>
                    </a:cxn>
                    <a:cxn ang="0">
                      <a:pos x="T6" y="T7"/>
                    </a:cxn>
                    <a:cxn ang="0">
                      <a:pos x="T8" y="T9"/>
                    </a:cxn>
                    <a:cxn ang="0">
                      <a:pos x="T10" y="T11"/>
                    </a:cxn>
                    <a:cxn ang="0">
                      <a:pos x="T12" y="T13"/>
                    </a:cxn>
                  </a:cxnLst>
                  <a:rect l="0" t="0" r="r" b="b"/>
                  <a:pathLst>
                    <a:path w="72" h="165">
                      <a:moveTo>
                        <a:pt x="72" y="129"/>
                      </a:moveTo>
                      <a:cubicBezTo>
                        <a:pt x="72" y="36"/>
                        <a:pt x="72" y="36"/>
                        <a:pt x="72" y="36"/>
                      </a:cubicBezTo>
                      <a:cubicBezTo>
                        <a:pt x="72" y="16"/>
                        <a:pt x="56" y="0"/>
                        <a:pt x="36" y="0"/>
                      </a:cubicBezTo>
                      <a:cubicBezTo>
                        <a:pt x="16" y="0"/>
                        <a:pt x="0" y="16"/>
                        <a:pt x="0" y="36"/>
                      </a:cubicBezTo>
                      <a:cubicBezTo>
                        <a:pt x="0" y="129"/>
                        <a:pt x="0" y="129"/>
                        <a:pt x="0" y="129"/>
                      </a:cubicBezTo>
                      <a:cubicBezTo>
                        <a:pt x="0" y="149"/>
                        <a:pt x="16" y="165"/>
                        <a:pt x="36" y="165"/>
                      </a:cubicBezTo>
                      <a:cubicBezTo>
                        <a:pt x="56" y="165"/>
                        <a:pt x="72" y="149"/>
                        <a:pt x="72" y="1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grpSp>
        <p:nvGrpSpPr>
          <p:cNvPr id="150" name="Group 149">
            <a:extLst>
              <a:ext uri="{FF2B5EF4-FFF2-40B4-BE49-F238E27FC236}">
                <a16:creationId xmlns:a16="http://schemas.microsoft.com/office/drawing/2014/main" id="{7A0FEB48-2944-4218-AD2C-3A7436C79DB2}"/>
              </a:ext>
            </a:extLst>
          </p:cNvPr>
          <p:cNvGrpSpPr/>
          <p:nvPr/>
        </p:nvGrpSpPr>
        <p:grpSpPr>
          <a:xfrm>
            <a:off x="1785229" y="1541695"/>
            <a:ext cx="2145625" cy="2145625"/>
            <a:chOff x="1604433" y="1557194"/>
            <a:chExt cx="2136490" cy="2136490"/>
          </a:xfrm>
        </p:grpSpPr>
        <p:sp>
          <p:nvSpPr>
            <p:cNvPr id="147" name="Oval 146">
              <a:extLst>
                <a:ext uri="{FF2B5EF4-FFF2-40B4-BE49-F238E27FC236}">
                  <a16:creationId xmlns:a16="http://schemas.microsoft.com/office/drawing/2014/main" id="{FC5BBA90-FE6C-4CEC-BCD4-17F14DC2168A}"/>
                </a:ext>
              </a:extLst>
            </p:cNvPr>
            <p:cNvSpPr/>
            <p:nvPr/>
          </p:nvSpPr>
          <p:spPr>
            <a:xfrm>
              <a:off x="1604433" y="1557194"/>
              <a:ext cx="2136490" cy="2136490"/>
            </a:xfrm>
            <a:prstGeom prst="ellipse">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134" name="Group 133">
              <a:extLst>
                <a:ext uri="{FF2B5EF4-FFF2-40B4-BE49-F238E27FC236}">
                  <a16:creationId xmlns:a16="http://schemas.microsoft.com/office/drawing/2014/main" id="{0B9A0E72-A8ED-4140-8875-089DA92AB82F}"/>
                </a:ext>
              </a:extLst>
            </p:cNvPr>
            <p:cNvGrpSpPr/>
            <p:nvPr/>
          </p:nvGrpSpPr>
          <p:grpSpPr>
            <a:xfrm>
              <a:off x="1777669" y="1707673"/>
              <a:ext cx="1839881" cy="1839878"/>
              <a:chOff x="3941020" y="1563464"/>
              <a:chExt cx="1839881" cy="1839878"/>
            </a:xfrm>
          </p:grpSpPr>
          <p:grpSp>
            <p:nvGrpSpPr>
              <p:cNvPr id="9" name="Group 8">
                <a:extLst>
                  <a:ext uri="{FF2B5EF4-FFF2-40B4-BE49-F238E27FC236}">
                    <a16:creationId xmlns:a16="http://schemas.microsoft.com/office/drawing/2014/main" id="{1037AA33-8205-4625-83C1-363C5EDD447A}"/>
                  </a:ext>
                </a:extLst>
              </p:cNvPr>
              <p:cNvGrpSpPr/>
              <p:nvPr/>
            </p:nvGrpSpPr>
            <p:grpSpPr>
              <a:xfrm>
                <a:off x="3941020" y="1563464"/>
                <a:ext cx="1839881" cy="1839878"/>
                <a:chOff x="3044348" y="1893102"/>
                <a:chExt cx="1959402" cy="1959401"/>
              </a:xfrm>
            </p:grpSpPr>
            <p:sp>
              <p:nvSpPr>
                <p:cNvPr id="87" name="Oval 86">
                  <a:extLst>
                    <a:ext uri="{FF2B5EF4-FFF2-40B4-BE49-F238E27FC236}">
                      <a16:creationId xmlns:a16="http://schemas.microsoft.com/office/drawing/2014/main" id="{6E0E953E-5843-4006-AADC-F6ECC5B42A5F}"/>
                    </a:ext>
                  </a:extLst>
                </p:cNvPr>
                <p:cNvSpPr/>
                <p:nvPr/>
              </p:nvSpPr>
              <p:spPr>
                <a:xfrm>
                  <a:off x="3044348" y="1893102"/>
                  <a:ext cx="1959402" cy="1959401"/>
                </a:xfrm>
                <a:prstGeom prst="ellipse">
                  <a:avLst/>
                </a:prstGeom>
                <a:solidFill>
                  <a:srgbClr val="08C3A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72" name="TextBox 71">
                  <a:extLst>
                    <a:ext uri="{FF2B5EF4-FFF2-40B4-BE49-F238E27FC236}">
                      <a16:creationId xmlns:a16="http://schemas.microsoft.com/office/drawing/2014/main" id="{5D9E9FE7-FAC6-4CEC-9A40-BEE7FAC0B4E3}"/>
                    </a:ext>
                  </a:extLst>
                </p:cNvPr>
                <p:cNvSpPr txBox="1"/>
                <p:nvPr/>
              </p:nvSpPr>
              <p:spPr>
                <a:xfrm>
                  <a:off x="3296383" y="2971703"/>
                  <a:ext cx="1454924" cy="373864"/>
                </a:xfrm>
                <a:prstGeom prst="rect">
                  <a:avLst/>
                </a:prstGeom>
                <a:noFill/>
              </p:spPr>
              <p:txBody>
                <a:bodyPr wrap="square" lIns="0" tIns="0" rIns="0" bIns="0" rtlCol="0">
                  <a:spAutoFit/>
                </a:bodyPr>
                <a:lstStyle>
                  <a:defPPr>
                    <a:defRPr lang="en-US"/>
                  </a:defPPr>
                  <a:lvl1pPr>
                    <a:defRPr sz="4400" b="1" spc="-150">
                      <a:latin typeface="Akkurat Pro" charset="0"/>
                      <a:ea typeface="Akkurat Pro" charset="0"/>
                      <a:cs typeface="Akkurat Pro"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150" normalizeH="0" baseline="0" noProof="0" dirty="0">
                      <a:ln>
                        <a:noFill/>
                      </a:ln>
                      <a:solidFill>
                        <a:prstClr val="white"/>
                      </a:solidFill>
                      <a:effectLst/>
                      <a:uLnTx/>
                      <a:uFillTx/>
                      <a:latin typeface="Arial" panose="020B0604020202020204"/>
                    </a:rPr>
                    <a:t>Data</a:t>
                  </a:r>
                </a:p>
              </p:txBody>
            </p:sp>
            <p:sp>
              <p:nvSpPr>
                <p:cNvPr id="92" name="Block Arc 91">
                  <a:extLst>
                    <a:ext uri="{FF2B5EF4-FFF2-40B4-BE49-F238E27FC236}">
                      <a16:creationId xmlns:a16="http://schemas.microsoft.com/office/drawing/2014/main" id="{6B41BFA0-80CF-4290-9797-4BDAD2FA6B9F}"/>
                    </a:ext>
                  </a:extLst>
                </p:cNvPr>
                <p:cNvSpPr/>
                <p:nvPr/>
              </p:nvSpPr>
              <p:spPr>
                <a:xfrm rot="10560850">
                  <a:off x="3110829" y="1956073"/>
                  <a:ext cx="1815750" cy="1815751"/>
                </a:xfrm>
                <a:prstGeom prst="blockArc">
                  <a:avLst>
                    <a:gd name="adj1" fmla="val 17907341"/>
                    <a:gd name="adj2" fmla="val 8087676"/>
                    <a:gd name="adj3" fmla="val 85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grpSp>
            <p:nvGrpSpPr>
              <p:cNvPr id="58" name="Group 57">
                <a:extLst>
                  <a:ext uri="{FF2B5EF4-FFF2-40B4-BE49-F238E27FC236}">
                    <a16:creationId xmlns:a16="http://schemas.microsoft.com/office/drawing/2014/main" id="{F658A6F0-76D0-4346-8776-1949DF607C51}"/>
                  </a:ext>
                </a:extLst>
              </p:cNvPr>
              <p:cNvGrpSpPr/>
              <p:nvPr/>
            </p:nvGrpSpPr>
            <p:grpSpPr>
              <a:xfrm>
                <a:off x="4648334" y="2022139"/>
                <a:ext cx="498574" cy="499263"/>
                <a:chOff x="2655888" y="3175"/>
                <a:chExt cx="6873875" cy="6883401"/>
              </a:xfrm>
              <a:solidFill>
                <a:schemeClr val="bg1"/>
              </a:solidFill>
            </p:grpSpPr>
            <p:sp>
              <p:nvSpPr>
                <p:cNvPr id="50" name="Freeform 5">
                  <a:extLst>
                    <a:ext uri="{FF2B5EF4-FFF2-40B4-BE49-F238E27FC236}">
                      <a16:creationId xmlns:a16="http://schemas.microsoft.com/office/drawing/2014/main" id="{5F7CD53F-3735-443A-8098-0B169E4D3E33}"/>
                    </a:ext>
                  </a:extLst>
                </p:cNvPr>
                <p:cNvSpPr>
                  <a:spLocks noEditPoints="1"/>
                </p:cNvSpPr>
                <p:nvPr/>
              </p:nvSpPr>
              <p:spPr bwMode="auto">
                <a:xfrm>
                  <a:off x="2655888" y="3175"/>
                  <a:ext cx="5154613" cy="1712913"/>
                </a:xfrm>
                <a:custGeom>
                  <a:avLst/>
                  <a:gdLst>
                    <a:gd name="T0" fmla="*/ 893 w 1786"/>
                    <a:gd name="T1" fmla="*/ 595 h 595"/>
                    <a:gd name="T2" fmla="*/ 1786 w 1786"/>
                    <a:gd name="T3" fmla="*/ 297 h 595"/>
                    <a:gd name="T4" fmla="*/ 893 w 1786"/>
                    <a:gd name="T5" fmla="*/ 0 h 595"/>
                    <a:gd name="T6" fmla="*/ 0 w 1786"/>
                    <a:gd name="T7" fmla="*/ 297 h 595"/>
                    <a:gd name="T8" fmla="*/ 893 w 1786"/>
                    <a:gd name="T9" fmla="*/ 595 h 595"/>
                    <a:gd name="T10" fmla="*/ 893 w 1786"/>
                    <a:gd name="T11" fmla="*/ 74 h 595"/>
                    <a:gd name="T12" fmla="*/ 1712 w 1786"/>
                    <a:gd name="T13" fmla="*/ 297 h 595"/>
                    <a:gd name="T14" fmla="*/ 893 w 1786"/>
                    <a:gd name="T15" fmla="*/ 521 h 595"/>
                    <a:gd name="T16" fmla="*/ 75 w 1786"/>
                    <a:gd name="T17" fmla="*/ 297 h 595"/>
                    <a:gd name="T18" fmla="*/ 893 w 1786"/>
                    <a:gd name="T19" fmla="*/ 74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6" h="595">
                      <a:moveTo>
                        <a:pt x="893" y="595"/>
                      </a:moveTo>
                      <a:cubicBezTo>
                        <a:pt x="1387" y="595"/>
                        <a:pt x="1786" y="462"/>
                        <a:pt x="1786" y="297"/>
                      </a:cubicBezTo>
                      <a:cubicBezTo>
                        <a:pt x="1786" y="133"/>
                        <a:pt x="1387" y="0"/>
                        <a:pt x="893" y="0"/>
                      </a:cubicBezTo>
                      <a:cubicBezTo>
                        <a:pt x="400" y="0"/>
                        <a:pt x="0" y="133"/>
                        <a:pt x="0" y="297"/>
                      </a:cubicBezTo>
                      <a:cubicBezTo>
                        <a:pt x="0" y="462"/>
                        <a:pt x="400" y="595"/>
                        <a:pt x="893" y="595"/>
                      </a:cubicBezTo>
                      <a:close/>
                      <a:moveTo>
                        <a:pt x="893" y="74"/>
                      </a:moveTo>
                      <a:cubicBezTo>
                        <a:pt x="1423" y="74"/>
                        <a:pt x="1712" y="222"/>
                        <a:pt x="1712" y="297"/>
                      </a:cubicBezTo>
                      <a:cubicBezTo>
                        <a:pt x="1712" y="373"/>
                        <a:pt x="1423" y="521"/>
                        <a:pt x="893" y="521"/>
                      </a:cubicBezTo>
                      <a:cubicBezTo>
                        <a:pt x="364" y="521"/>
                        <a:pt x="75" y="373"/>
                        <a:pt x="75" y="297"/>
                      </a:cubicBezTo>
                      <a:cubicBezTo>
                        <a:pt x="75" y="222"/>
                        <a:pt x="364" y="74"/>
                        <a:pt x="893" y="74"/>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1" name="Freeform 6">
                  <a:extLst>
                    <a:ext uri="{FF2B5EF4-FFF2-40B4-BE49-F238E27FC236}">
                      <a16:creationId xmlns:a16="http://schemas.microsoft.com/office/drawing/2014/main" id="{1E73C8E2-DB5E-4811-A045-E006D8486FC9}"/>
                    </a:ext>
                  </a:extLst>
                </p:cNvPr>
                <p:cNvSpPr>
                  <a:spLocks/>
                </p:cNvSpPr>
                <p:nvPr/>
              </p:nvSpPr>
              <p:spPr bwMode="auto">
                <a:xfrm>
                  <a:off x="7702551" y="1928813"/>
                  <a:ext cx="107950" cy="271463"/>
                </a:xfrm>
                <a:custGeom>
                  <a:avLst/>
                  <a:gdLst>
                    <a:gd name="T0" fmla="*/ 37 w 37"/>
                    <a:gd name="T1" fmla="*/ 94 h 94"/>
                    <a:gd name="T2" fmla="*/ 37 w 37"/>
                    <a:gd name="T3" fmla="*/ 33 h 94"/>
                    <a:gd name="T4" fmla="*/ 7 w 37"/>
                    <a:gd name="T5" fmla="*/ 0 h 94"/>
                    <a:gd name="T6" fmla="*/ 0 w 37"/>
                    <a:gd name="T7" fmla="*/ 2 h 94"/>
                    <a:gd name="T8" fmla="*/ 2 w 37"/>
                    <a:gd name="T9" fmla="*/ 25 h 94"/>
                    <a:gd name="T10" fmla="*/ 2 w 37"/>
                    <a:gd name="T11" fmla="*/ 81 h 94"/>
                    <a:gd name="T12" fmla="*/ 37 w 37"/>
                    <a:gd name="T13" fmla="*/ 94 h 94"/>
                  </a:gdLst>
                  <a:ahLst/>
                  <a:cxnLst>
                    <a:cxn ang="0">
                      <a:pos x="T0" y="T1"/>
                    </a:cxn>
                    <a:cxn ang="0">
                      <a:pos x="T2" y="T3"/>
                    </a:cxn>
                    <a:cxn ang="0">
                      <a:pos x="T4" y="T5"/>
                    </a:cxn>
                    <a:cxn ang="0">
                      <a:pos x="T6" y="T7"/>
                    </a:cxn>
                    <a:cxn ang="0">
                      <a:pos x="T8" y="T9"/>
                    </a:cxn>
                    <a:cxn ang="0">
                      <a:pos x="T10" y="T11"/>
                    </a:cxn>
                    <a:cxn ang="0">
                      <a:pos x="T12" y="T13"/>
                    </a:cxn>
                  </a:cxnLst>
                  <a:rect l="0" t="0" r="r" b="b"/>
                  <a:pathLst>
                    <a:path w="37" h="94">
                      <a:moveTo>
                        <a:pt x="37" y="94"/>
                      </a:moveTo>
                      <a:cubicBezTo>
                        <a:pt x="37" y="33"/>
                        <a:pt x="37" y="33"/>
                        <a:pt x="37" y="33"/>
                      </a:cubicBezTo>
                      <a:cubicBezTo>
                        <a:pt x="37" y="15"/>
                        <a:pt x="24" y="0"/>
                        <a:pt x="7" y="0"/>
                      </a:cubicBezTo>
                      <a:cubicBezTo>
                        <a:pt x="5" y="0"/>
                        <a:pt x="2" y="1"/>
                        <a:pt x="0" y="2"/>
                      </a:cubicBezTo>
                      <a:cubicBezTo>
                        <a:pt x="1" y="9"/>
                        <a:pt x="2" y="17"/>
                        <a:pt x="2" y="25"/>
                      </a:cubicBezTo>
                      <a:cubicBezTo>
                        <a:pt x="2" y="81"/>
                        <a:pt x="2" y="81"/>
                        <a:pt x="2" y="81"/>
                      </a:cubicBezTo>
                      <a:cubicBezTo>
                        <a:pt x="14" y="84"/>
                        <a:pt x="26" y="89"/>
                        <a:pt x="37" y="94"/>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 name="Freeform 7">
                  <a:extLst>
                    <a:ext uri="{FF2B5EF4-FFF2-40B4-BE49-F238E27FC236}">
                      <a16:creationId xmlns:a16="http://schemas.microsoft.com/office/drawing/2014/main" id="{10834B18-06E4-4604-9575-E430848E506C}"/>
                    </a:ext>
                  </a:extLst>
                </p:cNvPr>
                <p:cNvSpPr>
                  <a:spLocks/>
                </p:cNvSpPr>
                <p:nvPr/>
              </p:nvSpPr>
              <p:spPr bwMode="auto">
                <a:xfrm>
                  <a:off x="2655888" y="1928813"/>
                  <a:ext cx="2525713" cy="1500188"/>
                </a:xfrm>
                <a:custGeom>
                  <a:avLst/>
                  <a:gdLst>
                    <a:gd name="T0" fmla="*/ 19 w 875"/>
                    <a:gd name="T1" fmla="*/ 331 h 521"/>
                    <a:gd name="T2" fmla="*/ 843 w 875"/>
                    <a:gd name="T3" fmla="*/ 521 h 521"/>
                    <a:gd name="T4" fmla="*/ 875 w 875"/>
                    <a:gd name="T5" fmla="*/ 453 h 521"/>
                    <a:gd name="T6" fmla="*/ 867 w 875"/>
                    <a:gd name="T7" fmla="*/ 445 h 521"/>
                    <a:gd name="T8" fmla="*/ 75 w 875"/>
                    <a:gd name="T9" fmla="*/ 277 h 521"/>
                    <a:gd name="T10" fmla="*/ 75 w 875"/>
                    <a:gd name="T11" fmla="*/ 38 h 521"/>
                    <a:gd name="T12" fmla="*/ 38 w 875"/>
                    <a:gd name="T13" fmla="*/ 0 h 521"/>
                    <a:gd name="T14" fmla="*/ 38 w 875"/>
                    <a:gd name="T15" fmla="*/ 0 h 521"/>
                    <a:gd name="T16" fmla="*/ 0 w 875"/>
                    <a:gd name="T17" fmla="*/ 38 h 521"/>
                    <a:gd name="T18" fmla="*/ 1 w 875"/>
                    <a:gd name="T19" fmla="*/ 299 h 521"/>
                    <a:gd name="T20" fmla="*/ 19 w 875"/>
                    <a:gd name="T21" fmla="*/ 33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75" h="521">
                      <a:moveTo>
                        <a:pt x="19" y="331"/>
                      </a:moveTo>
                      <a:cubicBezTo>
                        <a:pt x="37" y="342"/>
                        <a:pt x="334" y="516"/>
                        <a:pt x="843" y="521"/>
                      </a:cubicBezTo>
                      <a:cubicBezTo>
                        <a:pt x="852" y="498"/>
                        <a:pt x="863" y="475"/>
                        <a:pt x="875" y="453"/>
                      </a:cubicBezTo>
                      <a:cubicBezTo>
                        <a:pt x="867" y="445"/>
                        <a:pt x="867" y="445"/>
                        <a:pt x="867" y="445"/>
                      </a:cubicBezTo>
                      <a:cubicBezTo>
                        <a:pt x="428" y="443"/>
                        <a:pt x="147" y="314"/>
                        <a:pt x="75" y="277"/>
                      </a:cubicBezTo>
                      <a:cubicBezTo>
                        <a:pt x="75" y="38"/>
                        <a:pt x="75" y="38"/>
                        <a:pt x="75" y="38"/>
                      </a:cubicBezTo>
                      <a:cubicBezTo>
                        <a:pt x="75" y="17"/>
                        <a:pt x="58" y="0"/>
                        <a:pt x="38" y="0"/>
                      </a:cubicBezTo>
                      <a:cubicBezTo>
                        <a:pt x="38" y="0"/>
                        <a:pt x="38" y="0"/>
                        <a:pt x="38" y="0"/>
                      </a:cubicBezTo>
                      <a:cubicBezTo>
                        <a:pt x="17" y="1"/>
                        <a:pt x="0" y="17"/>
                        <a:pt x="0" y="38"/>
                      </a:cubicBezTo>
                      <a:cubicBezTo>
                        <a:pt x="1" y="299"/>
                        <a:pt x="1" y="299"/>
                        <a:pt x="1" y="299"/>
                      </a:cubicBezTo>
                      <a:cubicBezTo>
                        <a:pt x="1" y="312"/>
                        <a:pt x="8" y="324"/>
                        <a:pt x="19" y="331"/>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 name="Freeform 8">
                  <a:extLst>
                    <a:ext uri="{FF2B5EF4-FFF2-40B4-BE49-F238E27FC236}">
                      <a16:creationId xmlns:a16="http://schemas.microsoft.com/office/drawing/2014/main" id="{87118EB6-0B31-4F5F-94D3-EC508CC710A8}"/>
                    </a:ext>
                  </a:extLst>
                </p:cNvPr>
                <p:cNvSpPr>
                  <a:spLocks/>
                </p:cNvSpPr>
                <p:nvPr/>
              </p:nvSpPr>
              <p:spPr bwMode="auto">
                <a:xfrm>
                  <a:off x="2655888" y="3644900"/>
                  <a:ext cx="2525713" cy="1500188"/>
                </a:xfrm>
                <a:custGeom>
                  <a:avLst/>
                  <a:gdLst>
                    <a:gd name="T0" fmla="*/ 19 w 875"/>
                    <a:gd name="T1" fmla="*/ 330 h 521"/>
                    <a:gd name="T2" fmla="*/ 875 w 875"/>
                    <a:gd name="T3" fmla="*/ 521 h 521"/>
                    <a:gd name="T4" fmla="*/ 843 w 875"/>
                    <a:gd name="T5" fmla="*/ 444 h 521"/>
                    <a:gd name="T6" fmla="*/ 77 w 875"/>
                    <a:gd name="T7" fmla="*/ 276 h 521"/>
                    <a:gd name="T8" fmla="*/ 76 w 875"/>
                    <a:gd name="T9" fmla="*/ 37 h 521"/>
                    <a:gd name="T10" fmla="*/ 38 w 875"/>
                    <a:gd name="T11" fmla="*/ 0 h 521"/>
                    <a:gd name="T12" fmla="*/ 38 w 875"/>
                    <a:gd name="T13" fmla="*/ 0 h 521"/>
                    <a:gd name="T14" fmla="*/ 0 w 875"/>
                    <a:gd name="T15" fmla="*/ 37 h 521"/>
                    <a:gd name="T16" fmla="*/ 1 w 875"/>
                    <a:gd name="T17" fmla="*/ 298 h 521"/>
                    <a:gd name="T18" fmla="*/ 19 w 875"/>
                    <a:gd name="T19" fmla="*/ 33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5" h="521">
                      <a:moveTo>
                        <a:pt x="19" y="330"/>
                      </a:moveTo>
                      <a:cubicBezTo>
                        <a:pt x="38" y="341"/>
                        <a:pt x="346" y="519"/>
                        <a:pt x="875" y="521"/>
                      </a:cubicBezTo>
                      <a:cubicBezTo>
                        <a:pt x="863" y="496"/>
                        <a:pt x="852" y="470"/>
                        <a:pt x="843" y="444"/>
                      </a:cubicBezTo>
                      <a:cubicBezTo>
                        <a:pt x="419" y="435"/>
                        <a:pt x="147" y="312"/>
                        <a:pt x="77" y="276"/>
                      </a:cubicBezTo>
                      <a:cubicBezTo>
                        <a:pt x="76" y="37"/>
                        <a:pt x="76" y="37"/>
                        <a:pt x="76" y="37"/>
                      </a:cubicBezTo>
                      <a:cubicBezTo>
                        <a:pt x="76" y="16"/>
                        <a:pt x="59" y="0"/>
                        <a:pt x="38" y="0"/>
                      </a:cubicBezTo>
                      <a:cubicBezTo>
                        <a:pt x="38" y="0"/>
                        <a:pt x="38" y="0"/>
                        <a:pt x="38" y="0"/>
                      </a:cubicBezTo>
                      <a:cubicBezTo>
                        <a:pt x="17" y="0"/>
                        <a:pt x="0" y="16"/>
                        <a:pt x="0" y="37"/>
                      </a:cubicBezTo>
                      <a:cubicBezTo>
                        <a:pt x="1" y="298"/>
                        <a:pt x="1" y="298"/>
                        <a:pt x="1" y="298"/>
                      </a:cubicBezTo>
                      <a:cubicBezTo>
                        <a:pt x="1" y="311"/>
                        <a:pt x="8" y="323"/>
                        <a:pt x="19" y="33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 name="Freeform 9">
                  <a:extLst>
                    <a:ext uri="{FF2B5EF4-FFF2-40B4-BE49-F238E27FC236}">
                      <a16:creationId xmlns:a16="http://schemas.microsoft.com/office/drawing/2014/main" id="{F41EBED5-D817-49FB-B6E8-A675E13ED10E}"/>
                    </a:ext>
                  </a:extLst>
                </p:cNvPr>
                <p:cNvSpPr>
                  <a:spLocks/>
                </p:cNvSpPr>
                <p:nvPr/>
              </p:nvSpPr>
              <p:spPr bwMode="auto">
                <a:xfrm>
                  <a:off x="2655888" y="5357813"/>
                  <a:ext cx="3867150" cy="1528763"/>
                </a:xfrm>
                <a:custGeom>
                  <a:avLst/>
                  <a:gdLst>
                    <a:gd name="T0" fmla="*/ 19 w 1340"/>
                    <a:gd name="T1" fmla="*/ 330 h 531"/>
                    <a:gd name="T2" fmla="*/ 863 w 1340"/>
                    <a:gd name="T3" fmla="*/ 521 h 531"/>
                    <a:gd name="T4" fmla="*/ 1340 w 1340"/>
                    <a:gd name="T5" fmla="*/ 473 h 531"/>
                    <a:gd name="T6" fmla="*/ 1309 w 1340"/>
                    <a:gd name="T7" fmla="*/ 403 h 531"/>
                    <a:gd name="T8" fmla="*/ 75 w 1340"/>
                    <a:gd name="T9" fmla="*/ 276 h 531"/>
                    <a:gd name="T10" fmla="*/ 75 w 1340"/>
                    <a:gd name="T11" fmla="*/ 37 h 531"/>
                    <a:gd name="T12" fmla="*/ 38 w 1340"/>
                    <a:gd name="T13" fmla="*/ 0 h 531"/>
                    <a:gd name="T14" fmla="*/ 38 w 1340"/>
                    <a:gd name="T15" fmla="*/ 0 h 531"/>
                    <a:gd name="T16" fmla="*/ 0 w 1340"/>
                    <a:gd name="T17" fmla="*/ 37 h 531"/>
                    <a:gd name="T18" fmla="*/ 1 w 1340"/>
                    <a:gd name="T19" fmla="*/ 298 h 531"/>
                    <a:gd name="T20" fmla="*/ 19 w 1340"/>
                    <a:gd name="T21" fmla="*/ 33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0" h="531">
                      <a:moveTo>
                        <a:pt x="19" y="330"/>
                      </a:moveTo>
                      <a:cubicBezTo>
                        <a:pt x="37" y="341"/>
                        <a:pt x="341" y="521"/>
                        <a:pt x="863" y="521"/>
                      </a:cubicBezTo>
                      <a:cubicBezTo>
                        <a:pt x="1006" y="521"/>
                        <a:pt x="1165" y="507"/>
                        <a:pt x="1340" y="473"/>
                      </a:cubicBezTo>
                      <a:cubicBezTo>
                        <a:pt x="1324" y="453"/>
                        <a:pt x="1313" y="429"/>
                        <a:pt x="1309" y="403"/>
                      </a:cubicBezTo>
                      <a:cubicBezTo>
                        <a:pt x="618" y="531"/>
                        <a:pt x="168" y="325"/>
                        <a:pt x="75" y="276"/>
                      </a:cubicBezTo>
                      <a:cubicBezTo>
                        <a:pt x="75" y="37"/>
                        <a:pt x="75" y="37"/>
                        <a:pt x="75" y="37"/>
                      </a:cubicBezTo>
                      <a:cubicBezTo>
                        <a:pt x="75" y="17"/>
                        <a:pt x="58" y="0"/>
                        <a:pt x="38" y="0"/>
                      </a:cubicBezTo>
                      <a:cubicBezTo>
                        <a:pt x="38" y="0"/>
                        <a:pt x="38" y="0"/>
                        <a:pt x="38" y="0"/>
                      </a:cubicBezTo>
                      <a:cubicBezTo>
                        <a:pt x="17" y="0"/>
                        <a:pt x="0" y="17"/>
                        <a:pt x="0" y="37"/>
                      </a:cubicBezTo>
                      <a:cubicBezTo>
                        <a:pt x="1" y="298"/>
                        <a:pt x="1" y="298"/>
                        <a:pt x="1" y="298"/>
                      </a:cubicBezTo>
                      <a:cubicBezTo>
                        <a:pt x="1" y="311"/>
                        <a:pt x="8" y="323"/>
                        <a:pt x="19" y="33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 name="Freeform 10">
                  <a:extLst>
                    <a:ext uri="{FF2B5EF4-FFF2-40B4-BE49-F238E27FC236}">
                      <a16:creationId xmlns:a16="http://schemas.microsoft.com/office/drawing/2014/main" id="{254223FD-272F-4E87-B06C-2F3EEADCD724}"/>
                    </a:ext>
                  </a:extLst>
                </p:cNvPr>
                <p:cNvSpPr>
                  <a:spLocks/>
                </p:cNvSpPr>
                <p:nvPr/>
              </p:nvSpPr>
              <p:spPr bwMode="auto">
                <a:xfrm>
                  <a:off x="7686676" y="6224588"/>
                  <a:ext cx="123825" cy="180975"/>
                </a:xfrm>
                <a:custGeom>
                  <a:avLst/>
                  <a:gdLst>
                    <a:gd name="T0" fmla="*/ 43 w 43"/>
                    <a:gd name="T1" fmla="*/ 22 h 63"/>
                    <a:gd name="T2" fmla="*/ 43 w 43"/>
                    <a:gd name="T3" fmla="*/ 0 h 63"/>
                    <a:gd name="T4" fmla="*/ 0 w 43"/>
                    <a:gd name="T5" fmla="*/ 15 h 63"/>
                    <a:gd name="T6" fmla="*/ 0 w 43"/>
                    <a:gd name="T7" fmla="*/ 63 h 63"/>
                    <a:gd name="T8" fmla="*/ 19 w 43"/>
                    <a:gd name="T9" fmla="*/ 57 h 63"/>
                    <a:gd name="T10" fmla="*/ 43 w 43"/>
                    <a:gd name="T11" fmla="*/ 22 h 63"/>
                  </a:gdLst>
                  <a:ahLst/>
                  <a:cxnLst>
                    <a:cxn ang="0">
                      <a:pos x="T0" y="T1"/>
                    </a:cxn>
                    <a:cxn ang="0">
                      <a:pos x="T2" y="T3"/>
                    </a:cxn>
                    <a:cxn ang="0">
                      <a:pos x="T4" y="T5"/>
                    </a:cxn>
                    <a:cxn ang="0">
                      <a:pos x="T6" y="T7"/>
                    </a:cxn>
                    <a:cxn ang="0">
                      <a:pos x="T8" y="T9"/>
                    </a:cxn>
                    <a:cxn ang="0">
                      <a:pos x="T10" y="T11"/>
                    </a:cxn>
                  </a:cxnLst>
                  <a:rect l="0" t="0" r="r" b="b"/>
                  <a:pathLst>
                    <a:path w="43" h="63">
                      <a:moveTo>
                        <a:pt x="43" y="22"/>
                      </a:moveTo>
                      <a:cubicBezTo>
                        <a:pt x="43" y="0"/>
                        <a:pt x="43" y="0"/>
                        <a:pt x="43" y="0"/>
                      </a:cubicBezTo>
                      <a:cubicBezTo>
                        <a:pt x="29" y="6"/>
                        <a:pt x="15" y="11"/>
                        <a:pt x="0" y="15"/>
                      </a:cubicBezTo>
                      <a:cubicBezTo>
                        <a:pt x="0" y="63"/>
                        <a:pt x="0" y="63"/>
                        <a:pt x="0" y="63"/>
                      </a:cubicBezTo>
                      <a:cubicBezTo>
                        <a:pt x="6" y="61"/>
                        <a:pt x="12" y="59"/>
                        <a:pt x="19" y="57"/>
                      </a:cubicBezTo>
                      <a:cubicBezTo>
                        <a:pt x="33" y="51"/>
                        <a:pt x="43" y="37"/>
                        <a:pt x="43" y="22"/>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 name="Freeform 11">
                  <a:extLst>
                    <a:ext uri="{FF2B5EF4-FFF2-40B4-BE49-F238E27FC236}">
                      <a16:creationId xmlns:a16="http://schemas.microsoft.com/office/drawing/2014/main" id="{BA66C131-1BDC-4DE9-BE8C-041F49996136}"/>
                    </a:ext>
                  </a:extLst>
                </p:cNvPr>
                <p:cNvSpPr>
                  <a:spLocks noEditPoints="1"/>
                </p:cNvSpPr>
                <p:nvPr/>
              </p:nvSpPr>
              <p:spPr bwMode="auto">
                <a:xfrm>
                  <a:off x="4589463" y="1716088"/>
                  <a:ext cx="4940300" cy="4926013"/>
                </a:xfrm>
                <a:custGeom>
                  <a:avLst/>
                  <a:gdLst>
                    <a:gd name="T0" fmla="*/ 1506 w 1712"/>
                    <a:gd name="T1" fmla="*/ 713 h 1711"/>
                    <a:gd name="T2" fmla="*/ 1502 w 1712"/>
                    <a:gd name="T3" fmla="*/ 411 h 1711"/>
                    <a:gd name="T4" fmla="*/ 1427 w 1712"/>
                    <a:gd name="T5" fmla="*/ 217 h 1711"/>
                    <a:gd name="T6" fmla="*/ 1300 w 1712"/>
                    <a:gd name="T7" fmla="*/ 210 h 1711"/>
                    <a:gd name="T8" fmla="*/ 998 w 1712"/>
                    <a:gd name="T9" fmla="*/ 206 h 1711"/>
                    <a:gd name="T10" fmla="*/ 903 w 1712"/>
                    <a:gd name="T11" fmla="*/ 0 h 1711"/>
                    <a:gd name="T12" fmla="*/ 713 w 1712"/>
                    <a:gd name="T13" fmla="*/ 85 h 1711"/>
                    <a:gd name="T14" fmla="*/ 497 w 1712"/>
                    <a:gd name="T15" fmla="*/ 295 h 1711"/>
                    <a:gd name="T16" fmla="*/ 355 w 1712"/>
                    <a:gd name="T17" fmla="*/ 187 h 1711"/>
                    <a:gd name="T18" fmla="*/ 217 w 1712"/>
                    <a:gd name="T19" fmla="*/ 284 h 1711"/>
                    <a:gd name="T20" fmla="*/ 295 w 1712"/>
                    <a:gd name="T21" fmla="*/ 497 h 1711"/>
                    <a:gd name="T22" fmla="*/ 85 w 1712"/>
                    <a:gd name="T23" fmla="*/ 713 h 1711"/>
                    <a:gd name="T24" fmla="*/ 0 w 1712"/>
                    <a:gd name="T25" fmla="*/ 903 h 1711"/>
                    <a:gd name="T26" fmla="*/ 206 w 1712"/>
                    <a:gd name="T27" fmla="*/ 998 h 1711"/>
                    <a:gd name="T28" fmla="*/ 210 w 1712"/>
                    <a:gd name="T29" fmla="*/ 1300 h 1711"/>
                    <a:gd name="T30" fmla="*/ 284 w 1712"/>
                    <a:gd name="T31" fmla="*/ 1494 h 1711"/>
                    <a:gd name="T32" fmla="*/ 411 w 1712"/>
                    <a:gd name="T33" fmla="*/ 1502 h 1711"/>
                    <a:gd name="T34" fmla="*/ 713 w 1712"/>
                    <a:gd name="T35" fmla="*/ 1506 h 1711"/>
                    <a:gd name="T36" fmla="*/ 808 w 1712"/>
                    <a:gd name="T37" fmla="*/ 1711 h 1711"/>
                    <a:gd name="T38" fmla="*/ 998 w 1712"/>
                    <a:gd name="T39" fmla="*/ 1627 h 1711"/>
                    <a:gd name="T40" fmla="*/ 1215 w 1712"/>
                    <a:gd name="T41" fmla="*/ 1416 h 1711"/>
                    <a:gd name="T42" fmla="*/ 1357 w 1712"/>
                    <a:gd name="T43" fmla="*/ 1525 h 1711"/>
                    <a:gd name="T44" fmla="*/ 1495 w 1712"/>
                    <a:gd name="T45" fmla="*/ 1427 h 1711"/>
                    <a:gd name="T46" fmla="*/ 1416 w 1712"/>
                    <a:gd name="T47" fmla="*/ 1215 h 1711"/>
                    <a:gd name="T48" fmla="*/ 1627 w 1712"/>
                    <a:gd name="T49" fmla="*/ 998 h 1711"/>
                    <a:gd name="T50" fmla="*/ 1712 w 1712"/>
                    <a:gd name="T51" fmla="*/ 808 h 1711"/>
                    <a:gd name="T52" fmla="*/ 1637 w 1712"/>
                    <a:gd name="T53" fmla="*/ 903 h 1711"/>
                    <a:gd name="T54" fmla="*/ 1446 w 1712"/>
                    <a:gd name="T55" fmla="*/ 924 h 1711"/>
                    <a:gd name="T56" fmla="*/ 1354 w 1712"/>
                    <a:gd name="T57" fmla="*/ 1174 h 1711"/>
                    <a:gd name="T58" fmla="*/ 1449 w 1712"/>
                    <a:gd name="T59" fmla="*/ 1353 h 1711"/>
                    <a:gd name="T60" fmla="*/ 1375 w 1712"/>
                    <a:gd name="T61" fmla="*/ 1442 h 1711"/>
                    <a:gd name="T62" fmla="*/ 1225 w 1712"/>
                    <a:gd name="T63" fmla="*/ 1321 h 1711"/>
                    <a:gd name="T64" fmla="*/ 983 w 1712"/>
                    <a:gd name="T65" fmla="*/ 1433 h 1711"/>
                    <a:gd name="T66" fmla="*/ 924 w 1712"/>
                    <a:gd name="T67" fmla="*/ 1627 h 1711"/>
                    <a:gd name="T68" fmla="*/ 808 w 1712"/>
                    <a:gd name="T69" fmla="*/ 1637 h 1711"/>
                    <a:gd name="T70" fmla="*/ 788 w 1712"/>
                    <a:gd name="T71" fmla="*/ 1446 h 1711"/>
                    <a:gd name="T72" fmla="*/ 537 w 1712"/>
                    <a:gd name="T73" fmla="*/ 1354 h 1711"/>
                    <a:gd name="T74" fmla="*/ 359 w 1712"/>
                    <a:gd name="T75" fmla="*/ 1449 h 1711"/>
                    <a:gd name="T76" fmla="*/ 270 w 1712"/>
                    <a:gd name="T77" fmla="*/ 1375 h 1711"/>
                    <a:gd name="T78" fmla="*/ 390 w 1712"/>
                    <a:gd name="T79" fmla="*/ 1225 h 1711"/>
                    <a:gd name="T80" fmla="*/ 279 w 1712"/>
                    <a:gd name="T81" fmla="*/ 983 h 1711"/>
                    <a:gd name="T82" fmla="*/ 85 w 1712"/>
                    <a:gd name="T83" fmla="*/ 924 h 1711"/>
                    <a:gd name="T84" fmla="*/ 75 w 1712"/>
                    <a:gd name="T85" fmla="*/ 808 h 1711"/>
                    <a:gd name="T86" fmla="*/ 266 w 1712"/>
                    <a:gd name="T87" fmla="*/ 788 h 1711"/>
                    <a:gd name="T88" fmla="*/ 358 w 1712"/>
                    <a:gd name="T89" fmla="*/ 537 h 1711"/>
                    <a:gd name="T90" fmla="*/ 262 w 1712"/>
                    <a:gd name="T91" fmla="*/ 359 h 1711"/>
                    <a:gd name="T92" fmla="*/ 337 w 1712"/>
                    <a:gd name="T93" fmla="*/ 270 h 1711"/>
                    <a:gd name="T94" fmla="*/ 487 w 1712"/>
                    <a:gd name="T95" fmla="*/ 390 h 1711"/>
                    <a:gd name="T96" fmla="*/ 729 w 1712"/>
                    <a:gd name="T97" fmla="*/ 278 h 1711"/>
                    <a:gd name="T98" fmla="*/ 788 w 1712"/>
                    <a:gd name="T99" fmla="*/ 85 h 1711"/>
                    <a:gd name="T100" fmla="*/ 903 w 1712"/>
                    <a:gd name="T101" fmla="*/ 75 h 1711"/>
                    <a:gd name="T102" fmla="*/ 924 w 1712"/>
                    <a:gd name="T103" fmla="*/ 266 h 1711"/>
                    <a:gd name="T104" fmla="*/ 1174 w 1712"/>
                    <a:gd name="T105" fmla="*/ 358 h 1711"/>
                    <a:gd name="T106" fmla="*/ 1353 w 1712"/>
                    <a:gd name="T107" fmla="*/ 262 h 1711"/>
                    <a:gd name="T108" fmla="*/ 1442 w 1712"/>
                    <a:gd name="T109" fmla="*/ 337 h 1711"/>
                    <a:gd name="T110" fmla="*/ 1321 w 1712"/>
                    <a:gd name="T111" fmla="*/ 487 h 1711"/>
                    <a:gd name="T112" fmla="*/ 1433 w 1712"/>
                    <a:gd name="T113" fmla="*/ 729 h 1711"/>
                    <a:gd name="T114" fmla="*/ 1627 w 1712"/>
                    <a:gd name="T115" fmla="*/ 788 h 1711"/>
                    <a:gd name="T116" fmla="*/ 1637 w 1712"/>
                    <a:gd name="T117" fmla="*/ 903 h 1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12" h="1711">
                      <a:moveTo>
                        <a:pt x="1627" y="713"/>
                      </a:moveTo>
                      <a:cubicBezTo>
                        <a:pt x="1506" y="713"/>
                        <a:pt x="1506" y="713"/>
                        <a:pt x="1506" y="713"/>
                      </a:cubicBezTo>
                      <a:cubicBezTo>
                        <a:pt x="1489" y="635"/>
                        <a:pt x="1458" y="562"/>
                        <a:pt x="1416" y="497"/>
                      </a:cubicBezTo>
                      <a:cubicBezTo>
                        <a:pt x="1502" y="411"/>
                        <a:pt x="1502" y="411"/>
                        <a:pt x="1502" y="411"/>
                      </a:cubicBezTo>
                      <a:cubicBezTo>
                        <a:pt x="1535" y="378"/>
                        <a:pt x="1532" y="322"/>
                        <a:pt x="1495" y="284"/>
                      </a:cubicBezTo>
                      <a:cubicBezTo>
                        <a:pt x="1427" y="217"/>
                        <a:pt x="1427" y="217"/>
                        <a:pt x="1427" y="217"/>
                      </a:cubicBezTo>
                      <a:cubicBezTo>
                        <a:pt x="1407" y="197"/>
                        <a:pt x="1382" y="187"/>
                        <a:pt x="1357" y="187"/>
                      </a:cubicBezTo>
                      <a:cubicBezTo>
                        <a:pt x="1336" y="187"/>
                        <a:pt x="1316" y="194"/>
                        <a:pt x="1300" y="210"/>
                      </a:cubicBezTo>
                      <a:cubicBezTo>
                        <a:pt x="1215" y="295"/>
                        <a:pt x="1215" y="295"/>
                        <a:pt x="1215" y="295"/>
                      </a:cubicBezTo>
                      <a:cubicBezTo>
                        <a:pt x="1149" y="254"/>
                        <a:pt x="1077" y="223"/>
                        <a:pt x="998" y="206"/>
                      </a:cubicBezTo>
                      <a:cubicBezTo>
                        <a:pt x="998" y="85"/>
                        <a:pt x="998" y="85"/>
                        <a:pt x="998" y="85"/>
                      </a:cubicBezTo>
                      <a:cubicBezTo>
                        <a:pt x="998" y="38"/>
                        <a:pt x="956" y="0"/>
                        <a:pt x="903" y="0"/>
                      </a:cubicBezTo>
                      <a:cubicBezTo>
                        <a:pt x="808" y="0"/>
                        <a:pt x="808" y="0"/>
                        <a:pt x="808" y="0"/>
                      </a:cubicBezTo>
                      <a:cubicBezTo>
                        <a:pt x="756" y="0"/>
                        <a:pt x="713" y="38"/>
                        <a:pt x="713" y="85"/>
                      </a:cubicBezTo>
                      <a:cubicBezTo>
                        <a:pt x="713" y="206"/>
                        <a:pt x="713" y="206"/>
                        <a:pt x="713" y="206"/>
                      </a:cubicBezTo>
                      <a:cubicBezTo>
                        <a:pt x="635" y="223"/>
                        <a:pt x="562" y="254"/>
                        <a:pt x="497" y="295"/>
                      </a:cubicBezTo>
                      <a:cubicBezTo>
                        <a:pt x="411" y="210"/>
                        <a:pt x="411" y="210"/>
                        <a:pt x="411" y="210"/>
                      </a:cubicBezTo>
                      <a:cubicBezTo>
                        <a:pt x="396" y="194"/>
                        <a:pt x="376" y="187"/>
                        <a:pt x="355" y="187"/>
                      </a:cubicBezTo>
                      <a:cubicBezTo>
                        <a:pt x="330" y="187"/>
                        <a:pt x="304" y="197"/>
                        <a:pt x="284" y="217"/>
                      </a:cubicBezTo>
                      <a:cubicBezTo>
                        <a:pt x="217" y="284"/>
                        <a:pt x="217" y="284"/>
                        <a:pt x="217" y="284"/>
                      </a:cubicBezTo>
                      <a:cubicBezTo>
                        <a:pt x="180" y="322"/>
                        <a:pt x="177" y="378"/>
                        <a:pt x="210" y="411"/>
                      </a:cubicBezTo>
                      <a:cubicBezTo>
                        <a:pt x="295" y="497"/>
                        <a:pt x="295" y="497"/>
                        <a:pt x="295" y="497"/>
                      </a:cubicBezTo>
                      <a:cubicBezTo>
                        <a:pt x="254" y="562"/>
                        <a:pt x="223" y="635"/>
                        <a:pt x="206" y="713"/>
                      </a:cubicBezTo>
                      <a:cubicBezTo>
                        <a:pt x="85" y="713"/>
                        <a:pt x="85" y="713"/>
                        <a:pt x="85" y="713"/>
                      </a:cubicBezTo>
                      <a:cubicBezTo>
                        <a:pt x="38" y="713"/>
                        <a:pt x="0" y="756"/>
                        <a:pt x="0" y="808"/>
                      </a:cubicBezTo>
                      <a:cubicBezTo>
                        <a:pt x="0" y="903"/>
                        <a:pt x="0" y="903"/>
                        <a:pt x="0" y="903"/>
                      </a:cubicBezTo>
                      <a:cubicBezTo>
                        <a:pt x="0" y="956"/>
                        <a:pt x="38" y="998"/>
                        <a:pt x="85" y="998"/>
                      </a:cubicBezTo>
                      <a:cubicBezTo>
                        <a:pt x="206" y="998"/>
                        <a:pt x="206" y="998"/>
                        <a:pt x="206" y="998"/>
                      </a:cubicBezTo>
                      <a:cubicBezTo>
                        <a:pt x="223" y="1076"/>
                        <a:pt x="254" y="1149"/>
                        <a:pt x="295" y="1215"/>
                      </a:cubicBezTo>
                      <a:cubicBezTo>
                        <a:pt x="210" y="1300"/>
                        <a:pt x="210" y="1300"/>
                        <a:pt x="210" y="1300"/>
                      </a:cubicBezTo>
                      <a:cubicBezTo>
                        <a:pt x="177" y="1333"/>
                        <a:pt x="180" y="1390"/>
                        <a:pt x="217" y="1427"/>
                      </a:cubicBezTo>
                      <a:cubicBezTo>
                        <a:pt x="284" y="1494"/>
                        <a:pt x="284" y="1494"/>
                        <a:pt x="284" y="1494"/>
                      </a:cubicBezTo>
                      <a:cubicBezTo>
                        <a:pt x="304" y="1514"/>
                        <a:pt x="330" y="1525"/>
                        <a:pt x="355" y="1525"/>
                      </a:cubicBezTo>
                      <a:cubicBezTo>
                        <a:pt x="376" y="1525"/>
                        <a:pt x="396" y="1517"/>
                        <a:pt x="411" y="1502"/>
                      </a:cubicBezTo>
                      <a:cubicBezTo>
                        <a:pt x="497" y="1416"/>
                        <a:pt x="497" y="1416"/>
                        <a:pt x="497" y="1416"/>
                      </a:cubicBezTo>
                      <a:cubicBezTo>
                        <a:pt x="562" y="1458"/>
                        <a:pt x="635" y="1489"/>
                        <a:pt x="713" y="1506"/>
                      </a:cubicBezTo>
                      <a:cubicBezTo>
                        <a:pt x="713" y="1627"/>
                        <a:pt x="713" y="1627"/>
                        <a:pt x="713" y="1627"/>
                      </a:cubicBezTo>
                      <a:cubicBezTo>
                        <a:pt x="713" y="1674"/>
                        <a:pt x="756" y="1711"/>
                        <a:pt x="808" y="1711"/>
                      </a:cubicBezTo>
                      <a:cubicBezTo>
                        <a:pt x="903" y="1711"/>
                        <a:pt x="903" y="1711"/>
                        <a:pt x="903" y="1711"/>
                      </a:cubicBezTo>
                      <a:cubicBezTo>
                        <a:pt x="956" y="1711"/>
                        <a:pt x="998" y="1674"/>
                        <a:pt x="998" y="1627"/>
                      </a:cubicBezTo>
                      <a:cubicBezTo>
                        <a:pt x="998" y="1506"/>
                        <a:pt x="998" y="1506"/>
                        <a:pt x="998" y="1506"/>
                      </a:cubicBezTo>
                      <a:cubicBezTo>
                        <a:pt x="1077" y="1489"/>
                        <a:pt x="1149" y="1458"/>
                        <a:pt x="1215" y="1416"/>
                      </a:cubicBezTo>
                      <a:cubicBezTo>
                        <a:pt x="1300" y="1502"/>
                        <a:pt x="1300" y="1502"/>
                        <a:pt x="1300" y="1502"/>
                      </a:cubicBezTo>
                      <a:cubicBezTo>
                        <a:pt x="1316" y="1517"/>
                        <a:pt x="1336" y="1525"/>
                        <a:pt x="1357" y="1525"/>
                      </a:cubicBezTo>
                      <a:cubicBezTo>
                        <a:pt x="1382" y="1525"/>
                        <a:pt x="1407" y="1514"/>
                        <a:pt x="1427" y="1494"/>
                      </a:cubicBezTo>
                      <a:cubicBezTo>
                        <a:pt x="1495" y="1427"/>
                        <a:pt x="1495" y="1427"/>
                        <a:pt x="1495" y="1427"/>
                      </a:cubicBezTo>
                      <a:cubicBezTo>
                        <a:pt x="1532" y="1390"/>
                        <a:pt x="1535" y="1333"/>
                        <a:pt x="1502" y="1300"/>
                      </a:cubicBezTo>
                      <a:cubicBezTo>
                        <a:pt x="1416" y="1215"/>
                        <a:pt x="1416" y="1215"/>
                        <a:pt x="1416" y="1215"/>
                      </a:cubicBezTo>
                      <a:cubicBezTo>
                        <a:pt x="1458" y="1149"/>
                        <a:pt x="1489" y="1076"/>
                        <a:pt x="1506" y="998"/>
                      </a:cubicBezTo>
                      <a:cubicBezTo>
                        <a:pt x="1627" y="998"/>
                        <a:pt x="1627" y="998"/>
                        <a:pt x="1627" y="998"/>
                      </a:cubicBezTo>
                      <a:cubicBezTo>
                        <a:pt x="1674" y="998"/>
                        <a:pt x="1712" y="956"/>
                        <a:pt x="1712" y="903"/>
                      </a:cubicBezTo>
                      <a:cubicBezTo>
                        <a:pt x="1712" y="808"/>
                        <a:pt x="1712" y="808"/>
                        <a:pt x="1712" y="808"/>
                      </a:cubicBezTo>
                      <a:cubicBezTo>
                        <a:pt x="1712" y="756"/>
                        <a:pt x="1674" y="713"/>
                        <a:pt x="1627" y="713"/>
                      </a:cubicBezTo>
                      <a:close/>
                      <a:moveTo>
                        <a:pt x="1637" y="903"/>
                      </a:moveTo>
                      <a:cubicBezTo>
                        <a:pt x="1637" y="917"/>
                        <a:pt x="1630" y="924"/>
                        <a:pt x="1627" y="924"/>
                      </a:cubicBezTo>
                      <a:cubicBezTo>
                        <a:pt x="1446" y="924"/>
                        <a:pt x="1446" y="924"/>
                        <a:pt x="1446" y="924"/>
                      </a:cubicBezTo>
                      <a:cubicBezTo>
                        <a:pt x="1433" y="983"/>
                        <a:pt x="1433" y="983"/>
                        <a:pt x="1433" y="983"/>
                      </a:cubicBezTo>
                      <a:cubicBezTo>
                        <a:pt x="1418" y="1051"/>
                        <a:pt x="1392" y="1115"/>
                        <a:pt x="1354" y="1174"/>
                      </a:cubicBezTo>
                      <a:cubicBezTo>
                        <a:pt x="1321" y="1225"/>
                        <a:pt x="1321" y="1225"/>
                        <a:pt x="1321" y="1225"/>
                      </a:cubicBezTo>
                      <a:cubicBezTo>
                        <a:pt x="1449" y="1353"/>
                        <a:pt x="1449" y="1353"/>
                        <a:pt x="1449" y="1353"/>
                      </a:cubicBezTo>
                      <a:cubicBezTo>
                        <a:pt x="1451" y="1355"/>
                        <a:pt x="1451" y="1365"/>
                        <a:pt x="1442" y="1375"/>
                      </a:cubicBezTo>
                      <a:cubicBezTo>
                        <a:pt x="1375" y="1442"/>
                        <a:pt x="1375" y="1442"/>
                        <a:pt x="1375" y="1442"/>
                      </a:cubicBezTo>
                      <a:cubicBezTo>
                        <a:pt x="1371" y="1445"/>
                        <a:pt x="1358" y="1455"/>
                        <a:pt x="1353" y="1449"/>
                      </a:cubicBezTo>
                      <a:cubicBezTo>
                        <a:pt x="1225" y="1321"/>
                        <a:pt x="1225" y="1321"/>
                        <a:pt x="1225" y="1321"/>
                      </a:cubicBezTo>
                      <a:cubicBezTo>
                        <a:pt x="1174" y="1354"/>
                        <a:pt x="1174" y="1354"/>
                        <a:pt x="1174" y="1354"/>
                      </a:cubicBezTo>
                      <a:cubicBezTo>
                        <a:pt x="1115" y="1392"/>
                        <a:pt x="1051" y="1418"/>
                        <a:pt x="983" y="1433"/>
                      </a:cubicBezTo>
                      <a:cubicBezTo>
                        <a:pt x="924" y="1446"/>
                        <a:pt x="924" y="1446"/>
                        <a:pt x="924" y="1446"/>
                      </a:cubicBezTo>
                      <a:cubicBezTo>
                        <a:pt x="924" y="1627"/>
                        <a:pt x="924" y="1627"/>
                        <a:pt x="924" y="1627"/>
                      </a:cubicBezTo>
                      <a:cubicBezTo>
                        <a:pt x="924" y="1629"/>
                        <a:pt x="917" y="1637"/>
                        <a:pt x="903" y="1637"/>
                      </a:cubicBezTo>
                      <a:cubicBezTo>
                        <a:pt x="808" y="1637"/>
                        <a:pt x="808" y="1637"/>
                        <a:pt x="808" y="1637"/>
                      </a:cubicBezTo>
                      <a:cubicBezTo>
                        <a:pt x="795" y="1637"/>
                        <a:pt x="788" y="1629"/>
                        <a:pt x="788" y="1627"/>
                      </a:cubicBezTo>
                      <a:cubicBezTo>
                        <a:pt x="788" y="1446"/>
                        <a:pt x="788" y="1446"/>
                        <a:pt x="788" y="1446"/>
                      </a:cubicBezTo>
                      <a:cubicBezTo>
                        <a:pt x="729" y="1433"/>
                        <a:pt x="729" y="1433"/>
                        <a:pt x="729" y="1433"/>
                      </a:cubicBezTo>
                      <a:cubicBezTo>
                        <a:pt x="661" y="1418"/>
                        <a:pt x="596" y="1392"/>
                        <a:pt x="537" y="1354"/>
                      </a:cubicBezTo>
                      <a:cubicBezTo>
                        <a:pt x="487" y="1321"/>
                        <a:pt x="487" y="1321"/>
                        <a:pt x="487" y="1321"/>
                      </a:cubicBezTo>
                      <a:cubicBezTo>
                        <a:pt x="487" y="1321"/>
                        <a:pt x="359" y="1449"/>
                        <a:pt x="359" y="1449"/>
                      </a:cubicBezTo>
                      <a:cubicBezTo>
                        <a:pt x="353" y="1455"/>
                        <a:pt x="340" y="1445"/>
                        <a:pt x="337" y="1442"/>
                      </a:cubicBezTo>
                      <a:cubicBezTo>
                        <a:pt x="270" y="1375"/>
                        <a:pt x="270" y="1375"/>
                        <a:pt x="270" y="1375"/>
                      </a:cubicBezTo>
                      <a:cubicBezTo>
                        <a:pt x="266" y="1371"/>
                        <a:pt x="257" y="1358"/>
                        <a:pt x="262" y="1353"/>
                      </a:cubicBezTo>
                      <a:cubicBezTo>
                        <a:pt x="390" y="1225"/>
                        <a:pt x="390" y="1225"/>
                        <a:pt x="390" y="1225"/>
                      </a:cubicBezTo>
                      <a:cubicBezTo>
                        <a:pt x="358" y="1174"/>
                        <a:pt x="358" y="1174"/>
                        <a:pt x="358" y="1174"/>
                      </a:cubicBezTo>
                      <a:cubicBezTo>
                        <a:pt x="320" y="1115"/>
                        <a:pt x="293" y="1051"/>
                        <a:pt x="279" y="983"/>
                      </a:cubicBezTo>
                      <a:cubicBezTo>
                        <a:pt x="266" y="924"/>
                        <a:pt x="266" y="924"/>
                        <a:pt x="266" y="924"/>
                      </a:cubicBezTo>
                      <a:cubicBezTo>
                        <a:pt x="85" y="924"/>
                        <a:pt x="85" y="924"/>
                        <a:pt x="85" y="924"/>
                      </a:cubicBezTo>
                      <a:cubicBezTo>
                        <a:pt x="82" y="924"/>
                        <a:pt x="75" y="917"/>
                        <a:pt x="75" y="903"/>
                      </a:cubicBezTo>
                      <a:cubicBezTo>
                        <a:pt x="75" y="808"/>
                        <a:pt x="75" y="808"/>
                        <a:pt x="75" y="808"/>
                      </a:cubicBezTo>
                      <a:cubicBezTo>
                        <a:pt x="75" y="795"/>
                        <a:pt x="82" y="788"/>
                        <a:pt x="85" y="788"/>
                      </a:cubicBezTo>
                      <a:cubicBezTo>
                        <a:pt x="266" y="788"/>
                        <a:pt x="266" y="788"/>
                        <a:pt x="266" y="788"/>
                      </a:cubicBezTo>
                      <a:cubicBezTo>
                        <a:pt x="279" y="729"/>
                        <a:pt x="279" y="729"/>
                        <a:pt x="279" y="729"/>
                      </a:cubicBezTo>
                      <a:cubicBezTo>
                        <a:pt x="293" y="661"/>
                        <a:pt x="320" y="596"/>
                        <a:pt x="358" y="537"/>
                      </a:cubicBezTo>
                      <a:cubicBezTo>
                        <a:pt x="390" y="487"/>
                        <a:pt x="390" y="487"/>
                        <a:pt x="390" y="487"/>
                      </a:cubicBezTo>
                      <a:cubicBezTo>
                        <a:pt x="390" y="487"/>
                        <a:pt x="263" y="359"/>
                        <a:pt x="262" y="359"/>
                      </a:cubicBezTo>
                      <a:cubicBezTo>
                        <a:pt x="257" y="353"/>
                        <a:pt x="266" y="340"/>
                        <a:pt x="270" y="337"/>
                      </a:cubicBezTo>
                      <a:cubicBezTo>
                        <a:pt x="337" y="270"/>
                        <a:pt x="337" y="270"/>
                        <a:pt x="337" y="270"/>
                      </a:cubicBezTo>
                      <a:cubicBezTo>
                        <a:pt x="341" y="266"/>
                        <a:pt x="353" y="257"/>
                        <a:pt x="359" y="262"/>
                      </a:cubicBezTo>
                      <a:cubicBezTo>
                        <a:pt x="487" y="390"/>
                        <a:pt x="487" y="390"/>
                        <a:pt x="487" y="390"/>
                      </a:cubicBezTo>
                      <a:cubicBezTo>
                        <a:pt x="537" y="358"/>
                        <a:pt x="537" y="358"/>
                        <a:pt x="537" y="358"/>
                      </a:cubicBezTo>
                      <a:cubicBezTo>
                        <a:pt x="596" y="320"/>
                        <a:pt x="661" y="293"/>
                        <a:pt x="729" y="278"/>
                      </a:cubicBezTo>
                      <a:cubicBezTo>
                        <a:pt x="788" y="266"/>
                        <a:pt x="788" y="266"/>
                        <a:pt x="788" y="266"/>
                      </a:cubicBezTo>
                      <a:cubicBezTo>
                        <a:pt x="788" y="85"/>
                        <a:pt x="788" y="85"/>
                        <a:pt x="788" y="85"/>
                      </a:cubicBezTo>
                      <a:cubicBezTo>
                        <a:pt x="788" y="82"/>
                        <a:pt x="795" y="75"/>
                        <a:pt x="808" y="75"/>
                      </a:cubicBezTo>
                      <a:cubicBezTo>
                        <a:pt x="903" y="75"/>
                        <a:pt x="903" y="75"/>
                        <a:pt x="903" y="75"/>
                      </a:cubicBezTo>
                      <a:cubicBezTo>
                        <a:pt x="917" y="75"/>
                        <a:pt x="924" y="82"/>
                        <a:pt x="924" y="85"/>
                      </a:cubicBezTo>
                      <a:cubicBezTo>
                        <a:pt x="924" y="266"/>
                        <a:pt x="924" y="266"/>
                        <a:pt x="924" y="266"/>
                      </a:cubicBezTo>
                      <a:cubicBezTo>
                        <a:pt x="983" y="278"/>
                        <a:pt x="983" y="278"/>
                        <a:pt x="983" y="278"/>
                      </a:cubicBezTo>
                      <a:cubicBezTo>
                        <a:pt x="1051" y="293"/>
                        <a:pt x="1115" y="320"/>
                        <a:pt x="1174" y="358"/>
                      </a:cubicBezTo>
                      <a:cubicBezTo>
                        <a:pt x="1225" y="390"/>
                        <a:pt x="1225" y="390"/>
                        <a:pt x="1225" y="390"/>
                      </a:cubicBezTo>
                      <a:cubicBezTo>
                        <a:pt x="1225" y="390"/>
                        <a:pt x="1352" y="263"/>
                        <a:pt x="1353" y="262"/>
                      </a:cubicBezTo>
                      <a:cubicBezTo>
                        <a:pt x="1358" y="257"/>
                        <a:pt x="1371" y="266"/>
                        <a:pt x="1375" y="270"/>
                      </a:cubicBezTo>
                      <a:cubicBezTo>
                        <a:pt x="1442" y="337"/>
                        <a:pt x="1442" y="337"/>
                        <a:pt x="1442" y="337"/>
                      </a:cubicBezTo>
                      <a:cubicBezTo>
                        <a:pt x="1451" y="346"/>
                        <a:pt x="1451" y="357"/>
                        <a:pt x="1449" y="359"/>
                      </a:cubicBezTo>
                      <a:cubicBezTo>
                        <a:pt x="1321" y="487"/>
                        <a:pt x="1321" y="487"/>
                        <a:pt x="1321" y="487"/>
                      </a:cubicBezTo>
                      <a:cubicBezTo>
                        <a:pt x="1354" y="537"/>
                        <a:pt x="1354" y="537"/>
                        <a:pt x="1354" y="537"/>
                      </a:cubicBezTo>
                      <a:cubicBezTo>
                        <a:pt x="1392" y="596"/>
                        <a:pt x="1418" y="661"/>
                        <a:pt x="1433" y="729"/>
                      </a:cubicBezTo>
                      <a:cubicBezTo>
                        <a:pt x="1446" y="788"/>
                        <a:pt x="1446" y="788"/>
                        <a:pt x="1446" y="788"/>
                      </a:cubicBezTo>
                      <a:cubicBezTo>
                        <a:pt x="1627" y="788"/>
                        <a:pt x="1627" y="788"/>
                        <a:pt x="1627" y="788"/>
                      </a:cubicBezTo>
                      <a:cubicBezTo>
                        <a:pt x="1630" y="788"/>
                        <a:pt x="1637" y="795"/>
                        <a:pt x="1637" y="808"/>
                      </a:cubicBezTo>
                      <a:lnTo>
                        <a:pt x="1637" y="903"/>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 name="Freeform 12">
                  <a:extLst>
                    <a:ext uri="{FF2B5EF4-FFF2-40B4-BE49-F238E27FC236}">
                      <a16:creationId xmlns:a16="http://schemas.microsoft.com/office/drawing/2014/main" id="{D5A8A49D-6B10-486C-9791-28CE1C886C98}"/>
                    </a:ext>
                  </a:extLst>
                </p:cNvPr>
                <p:cNvSpPr>
                  <a:spLocks noEditPoints="1"/>
                </p:cNvSpPr>
                <p:nvPr/>
              </p:nvSpPr>
              <p:spPr bwMode="auto">
                <a:xfrm>
                  <a:off x="5880101" y="3003550"/>
                  <a:ext cx="2360613" cy="2354263"/>
                </a:xfrm>
                <a:custGeom>
                  <a:avLst/>
                  <a:gdLst>
                    <a:gd name="T0" fmla="*/ 409 w 818"/>
                    <a:gd name="T1" fmla="*/ 0 h 818"/>
                    <a:gd name="T2" fmla="*/ 0 w 818"/>
                    <a:gd name="T3" fmla="*/ 409 h 818"/>
                    <a:gd name="T4" fmla="*/ 409 w 818"/>
                    <a:gd name="T5" fmla="*/ 818 h 818"/>
                    <a:gd name="T6" fmla="*/ 818 w 818"/>
                    <a:gd name="T7" fmla="*/ 409 h 818"/>
                    <a:gd name="T8" fmla="*/ 409 w 818"/>
                    <a:gd name="T9" fmla="*/ 0 h 818"/>
                    <a:gd name="T10" fmla="*/ 409 w 818"/>
                    <a:gd name="T11" fmla="*/ 744 h 818"/>
                    <a:gd name="T12" fmla="*/ 74 w 818"/>
                    <a:gd name="T13" fmla="*/ 409 h 818"/>
                    <a:gd name="T14" fmla="*/ 409 w 818"/>
                    <a:gd name="T15" fmla="*/ 74 h 818"/>
                    <a:gd name="T16" fmla="*/ 744 w 818"/>
                    <a:gd name="T17" fmla="*/ 409 h 818"/>
                    <a:gd name="T18" fmla="*/ 409 w 818"/>
                    <a:gd name="T19" fmla="*/ 744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8" h="818">
                      <a:moveTo>
                        <a:pt x="409" y="0"/>
                      </a:moveTo>
                      <a:cubicBezTo>
                        <a:pt x="183" y="0"/>
                        <a:pt x="0" y="183"/>
                        <a:pt x="0" y="409"/>
                      </a:cubicBezTo>
                      <a:cubicBezTo>
                        <a:pt x="0" y="635"/>
                        <a:pt x="183" y="818"/>
                        <a:pt x="409" y="818"/>
                      </a:cubicBezTo>
                      <a:cubicBezTo>
                        <a:pt x="635" y="818"/>
                        <a:pt x="818" y="635"/>
                        <a:pt x="818" y="409"/>
                      </a:cubicBezTo>
                      <a:cubicBezTo>
                        <a:pt x="818" y="183"/>
                        <a:pt x="635" y="0"/>
                        <a:pt x="409" y="0"/>
                      </a:cubicBezTo>
                      <a:close/>
                      <a:moveTo>
                        <a:pt x="409" y="744"/>
                      </a:moveTo>
                      <a:cubicBezTo>
                        <a:pt x="224" y="744"/>
                        <a:pt x="74" y="593"/>
                        <a:pt x="74" y="409"/>
                      </a:cubicBezTo>
                      <a:cubicBezTo>
                        <a:pt x="74" y="224"/>
                        <a:pt x="224" y="74"/>
                        <a:pt x="409" y="74"/>
                      </a:cubicBezTo>
                      <a:cubicBezTo>
                        <a:pt x="593" y="74"/>
                        <a:pt x="744" y="224"/>
                        <a:pt x="744" y="409"/>
                      </a:cubicBezTo>
                      <a:cubicBezTo>
                        <a:pt x="744" y="593"/>
                        <a:pt x="593" y="744"/>
                        <a:pt x="409" y="744"/>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sp>
        <p:nvSpPr>
          <p:cNvPr id="110" name="Oval 109">
            <a:extLst>
              <a:ext uri="{FF2B5EF4-FFF2-40B4-BE49-F238E27FC236}">
                <a16:creationId xmlns:a16="http://schemas.microsoft.com/office/drawing/2014/main" id="{323A3054-797F-47BF-A6AC-AA5ED091B7EB}"/>
              </a:ext>
            </a:extLst>
          </p:cNvPr>
          <p:cNvSpPr/>
          <p:nvPr/>
        </p:nvSpPr>
        <p:spPr>
          <a:xfrm>
            <a:off x="2244874" y="3676676"/>
            <a:ext cx="1250475" cy="5309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153" name="Group 152">
            <a:extLst>
              <a:ext uri="{FF2B5EF4-FFF2-40B4-BE49-F238E27FC236}">
                <a16:creationId xmlns:a16="http://schemas.microsoft.com/office/drawing/2014/main" id="{A5B25820-FB4E-44B8-924B-F095E793C3C0}"/>
              </a:ext>
            </a:extLst>
          </p:cNvPr>
          <p:cNvGrpSpPr/>
          <p:nvPr/>
        </p:nvGrpSpPr>
        <p:grpSpPr>
          <a:xfrm>
            <a:off x="3587856" y="1363505"/>
            <a:ext cx="2584344" cy="2584342"/>
            <a:chOff x="3666324" y="1392836"/>
            <a:chExt cx="2508975" cy="2508975"/>
          </a:xfrm>
        </p:grpSpPr>
        <p:sp>
          <p:nvSpPr>
            <p:cNvPr id="136" name="Oval 135">
              <a:extLst>
                <a:ext uri="{FF2B5EF4-FFF2-40B4-BE49-F238E27FC236}">
                  <a16:creationId xmlns:a16="http://schemas.microsoft.com/office/drawing/2014/main" id="{2C4DF681-DDFF-42A6-B545-49DA470D547C}"/>
                </a:ext>
              </a:extLst>
            </p:cNvPr>
            <p:cNvSpPr/>
            <p:nvPr/>
          </p:nvSpPr>
          <p:spPr>
            <a:xfrm>
              <a:off x="3666324" y="1392836"/>
              <a:ext cx="2508975" cy="2508975"/>
            </a:xfrm>
            <a:prstGeom prst="ellipse">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125" name="Oval 124">
              <a:extLst>
                <a:ext uri="{FF2B5EF4-FFF2-40B4-BE49-F238E27FC236}">
                  <a16:creationId xmlns:a16="http://schemas.microsoft.com/office/drawing/2014/main" id="{3940420C-B71B-417D-97AE-B147DA34C30E}"/>
                </a:ext>
              </a:extLst>
            </p:cNvPr>
            <p:cNvSpPr/>
            <p:nvPr/>
          </p:nvSpPr>
          <p:spPr>
            <a:xfrm>
              <a:off x="4157113" y="3609012"/>
              <a:ext cx="1348830" cy="5727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149" name="Group 148">
              <a:extLst>
                <a:ext uri="{FF2B5EF4-FFF2-40B4-BE49-F238E27FC236}">
                  <a16:creationId xmlns:a16="http://schemas.microsoft.com/office/drawing/2014/main" id="{FEAD3A56-980C-4369-8330-5B55DA24D59B}"/>
                </a:ext>
              </a:extLst>
            </p:cNvPr>
            <p:cNvGrpSpPr/>
            <p:nvPr/>
          </p:nvGrpSpPr>
          <p:grpSpPr>
            <a:xfrm>
              <a:off x="3834401" y="1577842"/>
              <a:ext cx="2156487" cy="2120707"/>
              <a:chOff x="1702047" y="1625123"/>
              <a:chExt cx="2156487" cy="2120707"/>
            </a:xfrm>
          </p:grpSpPr>
          <p:grpSp>
            <p:nvGrpSpPr>
              <p:cNvPr id="6" name="Group 5">
                <a:extLst>
                  <a:ext uri="{FF2B5EF4-FFF2-40B4-BE49-F238E27FC236}">
                    <a16:creationId xmlns:a16="http://schemas.microsoft.com/office/drawing/2014/main" id="{966C4E47-14EA-426F-AE30-CE0416158A9A}"/>
                  </a:ext>
                </a:extLst>
              </p:cNvPr>
              <p:cNvGrpSpPr/>
              <p:nvPr/>
            </p:nvGrpSpPr>
            <p:grpSpPr>
              <a:xfrm>
                <a:off x="1737820" y="1625123"/>
                <a:ext cx="2120714" cy="2120707"/>
                <a:chOff x="4773183" y="2067158"/>
                <a:chExt cx="1959402" cy="1959401"/>
              </a:xfrm>
            </p:grpSpPr>
            <p:sp>
              <p:nvSpPr>
                <p:cNvPr id="90" name="Oval 89">
                  <a:extLst>
                    <a:ext uri="{FF2B5EF4-FFF2-40B4-BE49-F238E27FC236}">
                      <a16:creationId xmlns:a16="http://schemas.microsoft.com/office/drawing/2014/main" id="{B8158DF8-5693-4197-BC46-D93C7A27E231}"/>
                    </a:ext>
                  </a:extLst>
                </p:cNvPr>
                <p:cNvSpPr/>
                <p:nvPr/>
              </p:nvSpPr>
              <p:spPr>
                <a:xfrm>
                  <a:off x="4773183" y="2067158"/>
                  <a:ext cx="1959402" cy="1959401"/>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91" name="Block Arc 90">
                  <a:extLst>
                    <a:ext uri="{FF2B5EF4-FFF2-40B4-BE49-F238E27FC236}">
                      <a16:creationId xmlns:a16="http://schemas.microsoft.com/office/drawing/2014/main" id="{F88ACA1A-E9BB-4A6C-B2C5-90F6706EF38E}"/>
                    </a:ext>
                  </a:extLst>
                </p:cNvPr>
                <p:cNvSpPr/>
                <p:nvPr/>
              </p:nvSpPr>
              <p:spPr>
                <a:xfrm>
                  <a:off x="4854954" y="2149635"/>
                  <a:ext cx="1815750" cy="1815751"/>
                </a:xfrm>
                <a:prstGeom prst="blockArc">
                  <a:avLst>
                    <a:gd name="adj1" fmla="val 12329822"/>
                    <a:gd name="adj2" fmla="val 6863456"/>
                    <a:gd name="adj3" fmla="val 7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sp>
            <p:nvSpPr>
              <p:cNvPr id="73" name="TextBox 72">
                <a:extLst>
                  <a:ext uri="{FF2B5EF4-FFF2-40B4-BE49-F238E27FC236}">
                    <a16:creationId xmlns:a16="http://schemas.microsoft.com/office/drawing/2014/main" id="{C8E66DBA-4D82-4BC3-850A-2F3B07157833}"/>
                  </a:ext>
                </a:extLst>
              </p:cNvPr>
              <p:cNvSpPr txBox="1"/>
              <p:nvPr/>
            </p:nvSpPr>
            <p:spPr>
              <a:xfrm>
                <a:off x="1702047" y="2812058"/>
                <a:ext cx="2120715" cy="327059"/>
              </a:xfrm>
              <a:prstGeom prst="rect">
                <a:avLst/>
              </a:prstGeom>
              <a:noFill/>
            </p:spPr>
            <p:txBody>
              <a:bodyPr wrap="square" lIns="0" tIns="0" rIns="0" bIns="0" rtlCol="0">
                <a:spAutoFit/>
              </a:bodyPr>
              <a:lstStyle>
                <a:defPPr>
                  <a:defRPr lang="en-US"/>
                </a:defPPr>
                <a:lvl1pPr>
                  <a:defRPr sz="4400" b="1" spc="-150">
                    <a:latin typeface="Akkurat Pro" charset="0"/>
                    <a:ea typeface="Akkurat Pro" charset="0"/>
                    <a:cs typeface="Akkurat Pro"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150" normalizeH="0" baseline="0" noProof="0" dirty="0">
                    <a:ln>
                      <a:noFill/>
                    </a:ln>
                    <a:solidFill>
                      <a:prstClr val="white"/>
                    </a:solidFill>
                    <a:effectLst/>
                    <a:uLnTx/>
                    <a:uFillTx/>
                    <a:latin typeface="Arial" panose="020B0604020202020204"/>
                  </a:rPr>
                  <a:t>Technology</a:t>
                </a:r>
              </a:p>
            </p:txBody>
          </p:sp>
          <p:grpSp>
            <p:nvGrpSpPr>
              <p:cNvPr id="64" name="Group 63">
                <a:extLst>
                  <a:ext uri="{FF2B5EF4-FFF2-40B4-BE49-F238E27FC236}">
                    <a16:creationId xmlns:a16="http://schemas.microsoft.com/office/drawing/2014/main" id="{E9D1FD60-B6A3-410C-97F4-295465FBC321}"/>
                  </a:ext>
                </a:extLst>
              </p:cNvPr>
              <p:cNvGrpSpPr/>
              <p:nvPr/>
            </p:nvGrpSpPr>
            <p:grpSpPr>
              <a:xfrm>
                <a:off x="2458612" y="2114132"/>
                <a:ext cx="646698" cy="643130"/>
                <a:chOff x="2630488" y="-9525"/>
                <a:chExt cx="6902450" cy="6864350"/>
              </a:xfrm>
              <a:solidFill>
                <a:schemeClr val="bg1"/>
              </a:solidFill>
            </p:grpSpPr>
            <p:sp>
              <p:nvSpPr>
                <p:cNvPr id="62" name="Freeform 16">
                  <a:extLst>
                    <a:ext uri="{FF2B5EF4-FFF2-40B4-BE49-F238E27FC236}">
                      <a16:creationId xmlns:a16="http://schemas.microsoft.com/office/drawing/2014/main" id="{8B79CED0-527F-45FB-85D5-ABDCCA4386C2}"/>
                    </a:ext>
                  </a:extLst>
                </p:cNvPr>
                <p:cNvSpPr>
                  <a:spLocks noEditPoints="1"/>
                </p:cNvSpPr>
                <p:nvPr/>
              </p:nvSpPr>
              <p:spPr bwMode="auto">
                <a:xfrm>
                  <a:off x="4978401" y="2198688"/>
                  <a:ext cx="2235200" cy="2233613"/>
                </a:xfrm>
                <a:custGeom>
                  <a:avLst/>
                  <a:gdLst>
                    <a:gd name="T0" fmla="*/ 0 w 1408"/>
                    <a:gd name="T1" fmla="*/ 1407 h 1407"/>
                    <a:gd name="T2" fmla="*/ 1408 w 1408"/>
                    <a:gd name="T3" fmla="*/ 1407 h 1407"/>
                    <a:gd name="T4" fmla="*/ 1408 w 1408"/>
                    <a:gd name="T5" fmla="*/ 0 h 1407"/>
                    <a:gd name="T6" fmla="*/ 0 w 1408"/>
                    <a:gd name="T7" fmla="*/ 0 h 1407"/>
                    <a:gd name="T8" fmla="*/ 0 w 1408"/>
                    <a:gd name="T9" fmla="*/ 1407 h 1407"/>
                    <a:gd name="T10" fmla="*/ 1268 w 1408"/>
                    <a:gd name="T11" fmla="*/ 142 h 1407"/>
                    <a:gd name="T12" fmla="*/ 1268 w 1408"/>
                    <a:gd name="T13" fmla="*/ 1265 h 1407"/>
                    <a:gd name="T14" fmla="*/ 140 w 1408"/>
                    <a:gd name="T15" fmla="*/ 1265 h 1407"/>
                    <a:gd name="T16" fmla="*/ 140 w 1408"/>
                    <a:gd name="T17" fmla="*/ 142 h 1407"/>
                    <a:gd name="T18" fmla="*/ 1268 w 1408"/>
                    <a:gd name="T19" fmla="*/ 142 h 1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08" h="1407">
                      <a:moveTo>
                        <a:pt x="0" y="1407"/>
                      </a:moveTo>
                      <a:lnTo>
                        <a:pt x="1408" y="1407"/>
                      </a:lnTo>
                      <a:lnTo>
                        <a:pt x="1408" y="0"/>
                      </a:lnTo>
                      <a:lnTo>
                        <a:pt x="0" y="0"/>
                      </a:lnTo>
                      <a:lnTo>
                        <a:pt x="0" y="1407"/>
                      </a:lnTo>
                      <a:close/>
                      <a:moveTo>
                        <a:pt x="1268" y="142"/>
                      </a:moveTo>
                      <a:lnTo>
                        <a:pt x="1268" y="1265"/>
                      </a:lnTo>
                      <a:lnTo>
                        <a:pt x="140" y="1265"/>
                      </a:lnTo>
                      <a:lnTo>
                        <a:pt x="140" y="142"/>
                      </a:lnTo>
                      <a:lnTo>
                        <a:pt x="1268"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 name="Freeform 17">
                  <a:extLst>
                    <a:ext uri="{FF2B5EF4-FFF2-40B4-BE49-F238E27FC236}">
                      <a16:creationId xmlns:a16="http://schemas.microsoft.com/office/drawing/2014/main" id="{F2A42237-E472-4D7F-A9D2-4B15D5B32685}"/>
                    </a:ext>
                  </a:extLst>
                </p:cNvPr>
                <p:cNvSpPr>
                  <a:spLocks noEditPoints="1"/>
                </p:cNvSpPr>
                <p:nvPr/>
              </p:nvSpPr>
              <p:spPr bwMode="auto">
                <a:xfrm>
                  <a:off x="2630488" y="-9525"/>
                  <a:ext cx="6902450" cy="6864350"/>
                </a:xfrm>
                <a:custGeom>
                  <a:avLst/>
                  <a:gdLst>
                    <a:gd name="T0" fmla="*/ 1993 w 2205"/>
                    <a:gd name="T1" fmla="*/ 827 h 2198"/>
                    <a:gd name="T2" fmla="*/ 1931 w 2205"/>
                    <a:gd name="T3" fmla="*/ 777 h 2198"/>
                    <a:gd name="T4" fmla="*/ 1878 w 2205"/>
                    <a:gd name="T5" fmla="*/ 567 h 2198"/>
                    <a:gd name="T6" fmla="*/ 1340 w 2205"/>
                    <a:gd name="T7" fmla="*/ 565 h 2198"/>
                    <a:gd name="T8" fmla="*/ 1867 w 2205"/>
                    <a:gd name="T9" fmla="*/ 184 h 2198"/>
                    <a:gd name="T10" fmla="*/ 1274 w 2205"/>
                    <a:gd name="T11" fmla="*/ 174 h 2198"/>
                    <a:gd name="T12" fmla="*/ 1188 w 2205"/>
                    <a:gd name="T13" fmla="*/ 357 h 2198"/>
                    <a:gd name="T14" fmla="*/ 990 w 2205"/>
                    <a:gd name="T15" fmla="*/ 331 h 2198"/>
                    <a:gd name="T16" fmla="*/ 940 w 2205"/>
                    <a:gd name="T17" fmla="*/ 215 h 2198"/>
                    <a:gd name="T18" fmla="*/ 812 w 2205"/>
                    <a:gd name="T19" fmla="*/ 57 h 2198"/>
                    <a:gd name="T20" fmla="*/ 750 w 2205"/>
                    <a:gd name="T21" fmla="*/ 562 h 2198"/>
                    <a:gd name="T22" fmla="*/ 688 w 2205"/>
                    <a:gd name="T23" fmla="*/ 196 h 2198"/>
                    <a:gd name="T24" fmla="*/ 678 w 2205"/>
                    <a:gd name="T25" fmla="*/ 560 h 2198"/>
                    <a:gd name="T26" fmla="*/ 297 w 2205"/>
                    <a:gd name="T27" fmla="*/ 527 h 2198"/>
                    <a:gd name="T28" fmla="*/ 171 w 2205"/>
                    <a:gd name="T29" fmla="*/ 369 h 2198"/>
                    <a:gd name="T30" fmla="*/ 609 w 2205"/>
                    <a:gd name="T31" fmla="*/ 910 h 2198"/>
                    <a:gd name="T32" fmla="*/ 283 w 2205"/>
                    <a:gd name="T33" fmla="*/ 984 h 2198"/>
                    <a:gd name="T34" fmla="*/ 336 w 2205"/>
                    <a:gd name="T35" fmla="*/ 1193 h 2198"/>
                    <a:gd name="T36" fmla="*/ 221 w 2205"/>
                    <a:gd name="T37" fmla="*/ 1243 h 2198"/>
                    <a:gd name="T38" fmla="*/ 119 w 2205"/>
                    <a:gd name="T39" fmla="*/ 1386 h 2198"/>
                    <a:gd name="T40" fmla="*/ 412 w 2205"/>
                    <a:gd name="T41" fmla="*/ 1434 h 2198"/>
                    <a:gd name="T42" fmla="*/ 257 w 2205"/>
                    <a:gd name="T43" fmla="*/ 1562 h 2198"/>
                    <a:gd name="T44" fmla="*/ 607 w 2205"/>
                    <a:gd name="T45" fmla="*/ 1565 h 2198"/>
                    <a:gd name="T46" fmla="*/ 440 w 2205"/>
                    <a:gd name="T47" fmla="*/ 1841 h 2198"/>
                    <a:gd name="T48" fmla="*/ 952 w 2205"/>
                    <a:gd name="T49" fmla="*/ 1979 h 2198"/>
                    <a:gd name="T50" fmla="*/ 1024 w 2205"/>
                    <a:gd name="T51" fmla="*/ 1924 h 2198"/>
                    <a:gd name="T52" fmla="*/ 1162 w 2205"/>
                    <a:gd name="T53" fmla="*/ 1798 h 2198"/>
                    <a:gd name="T54" fmla="*/ 1209 w 2205"/>
                    <a:gd name="T55" fmla="*/ 2117 h 2198"/>
                    <a:gd name="T56" fmla="*/ 1407 w 2205"/>
                    <a:gd name="T57" fmla="*/ 2146 h 2198"/>
                    <a:gd name="T58" fmla="*/ 1467 w 2205"/>
                    <a:gd name="T59" fmla="*/ 1569 h 2198"/>
                    <a:gd name="T60" fmla="*/ 1448 w 2205"/>
                    <a:gd name="T61" fmla="*/ 1996 h 2198"/>
                    <a:gd name="T62" fmla="*/ 1536 w 2205"/>
                    <a:gd name="T63" fmla="*/ 1572 h 2198"/>
                    <a:gd name="T64" fmla="*/ 1964 w 2205"/>
                    <a:gd name="T65" fmla="*/ 1622 h 2198"/>
                    <a:gd name="T66" fmla="*/ 2033 w 2205"/>
                    <a:gd name="T67" fmla="*/ 1622 h 2198"/>
                    <a:gd name="T68" fmla="*/ 1802 w 2205"/>
                    <a:gd name="T69" fmla="*/ 1088 h 2198"/>
                    <a:gd name="T70" fmla="*/ 2009 w 2205"/>
                    <a:gd name="T71" fmla="*/ 1027 h 2198"/>
                    <a:gd name="T72" fmla="*/ 1602 w 2205"/>
                    <a:gd name="T73" fmla="*/ 1017 h 2198"/>
                    <a:gd name="T74" fmla="*/ 2190 w 2205"/>
                    <a:gd name="T75" fmla="*/ 917 h 2198"/>
                    <a:gd name="T76" fmla="*/ 2059 w 2205"/>
                    <a:gd name="T77" fmla="*/ 862 h 2198"/>
                    <a:gd name="T78" fmla="*/ 2000 w 2205"/>
                    <a:gd name="T79" fmla="*/ 1755 h 2198"/>
                    <a:gd name="T80" fmla="*/ 1512 w 2205"/>
                    <a:gd name="T81" fmla="*/ 1862 h 2198"/>
                    <a:gd name="T82" fmla="*/ 1512 w 2205"/>
                    <a:gd name="T83" fmla="*/ 1862 h 2198"/>
                    <a:gd name="T84" fmla="*/ 1286 w 2205"/>
                    <a:gd name="T85" fmla="*/ 2089 h 2198"/>
                    <a:gd name="T86" fmla="*/ 297 w 2205"/>
                    <a:gd name="T87" fmla="*/ 422 h 2198"/>
                    <a:gd name="T88" fmla="*/ 678 w 2205"/>
                    <a:gd name="T89" fmla="*/ 636 h 2198"/>
                    <a:gd name="T90" fmla="*/ 714 w 2205"/>
                    <a:gd name="T91" fmla="*/ 338 h 2198"/>
                    <a:gd name="T92" fmla="*/ 714 w 2205"/>
                    <a:gd name="T93" fmla="*/ 338 h 2198"/>
                    <a:gd name="T94" fmla="*/ 940 w 2205"/>
                    <a:gd name="T95" fmla="*/ 112 h 2198"/>
                    <a:gd name="T96" fmla="*/ 1131 w 2205"/>
                    <a:gd name="T97" fmla="*/ 303 h 2198"/>
                    <a:gd name="T98" fmla="*/ 1167 w 2205"/>
                    <a:gd name="T99" fmla="*/ 1898 h 2198"/>
                    <a:gd name="T100" fmla="*/ 1869 w 2205"/>
                    <a:gd name="T101" fmla="*/ 672 h 2198"/>
                    <a:gd name="T102" fmla="*/ 1869 w 2205"/>
                    <a:gd name="T103" fmla="*/ 672 h 2198"/>
                    <a:gd name="T104" fmla="*/ 1762 w 2205"/>
                    <a:gd name="T105" fmla="*/ 243 h 2198"/>
                    <a:gd name="T106" fmla="*/ 274 w 2205"/>
                    <a:gd name="T107" fmla="*/ 1088 h 2198"/>
                    <a:gd name="T108" fmla="*/ 119 w 2205"/>
                    <a:gd name="T109" fmla="*/ 1315 h 2198"/>
                    <a:gd name="T110" fmla="*/ 345 w 2205"/>
                    <a:gd name="T111" fmla="*/ 1469 h 2198"/>
                    <a:gd name="T112" fmla="*/ 345 w 2205"/>
                    <a:gd name="T113" fmla="*/ 1469 h 2198"/>
                    <a:gd name="T114" fmla="*/ 464 w 2205"/>
                    <a:gd name="T115" fmla="*/ 1910 h 2198"/>
                    <a:gd name="T116" fmla="*/ 1940 w 2205"/>
                    <a:gd name="T117" fmla="*/ 1053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05" h="2198">
                      <a:moveTo>
                        <a:pt x="2198" y="836"/>
                      </a:moveTo>
                      <a:cubicBezTo>
                        <a:pt x="2190" y="807"/>
                        <a:pt x="2174" y="786"/>
                        <a:pt x="2148" y="769"/>
                      </a:cubicBezTo>
                      <a:cubicBezTo>
                        <a:pt x="2124" y="755"/>
                        <a:pt x="2095" y="750"/>
                        <a:pt x="2067" y="757"/>
                      </a:cubicBezTo>
                      <a:cubicBezTo>
                        <a:pt x="2031" y="767"/>
                        <a:pt x="2005" y="793"/>
                        <a:pt x="1993" y="827"/>
                      </a:cubicBezTo>
                      <a:cubicBezTo>
                        <a:pt x="1600" y="827"/>
                        <a:pt x="1600" y="827"/>
                        <a:pt x="1600" y="827"/>
                      </a:cubicBezTo>
                      <a:cubicBezTo>
                        <a:pt x="1600" y="707"/>
                        <a:pt x="1600" y="707"/>
                        <a:pt x="1600" y="707"/>
                      </a:cubicBezTo>
                      <a:cubicBezTo>
                        <a:pt x="1802" y="707"/>
                        <a:pt x="1802" y="707"/>
                        <a:pt x="1802" y="707"/>
                      </a:cubicBezTo>
                      <a:cubicBezTo>
                        <a:pt x="1821" y="760"/>
                        <a:pt x="1876" y="788"/>
                        <a:pt x="1931" y="777"/>
                      </a:cubicBezTo>
                      <a:cubicBezTo>
                        <a:pt x="1959" y="769"/>
                        <a:pt x="1981" y="753"/>
                        <a:pt x="1998" y="727"/>
                      </a:cubicBezTo>
                      <a:cubicBezTo>
                        <a:pt x="2012" y="703"/>
                        <a:pt x="2017" y="674"/>
                        <a:pt x="2009" y="646"/>
                      </a:cubicBezTo>
                      <a:cubicBezTo>
                        <a:pt x="2002" y="617"/>
                        <a:pt x="1986" y="596"/>
                        <a:pt x="1959" y="579"/>
                      </a:cubicBezTo>
                      <a:cubicBezTo>
                        <a:pt x="1936" y="565"/>
                        <a:pt x="1907" y="560"/>
                        <a:pt x="1878" y="567"/>
                      </a:cubicBezTo>
                      <a:cubicBezTo>
                        <a:pt x="1843" y="577"/>
                        <a:pt x="1817" y="603"/>
                        <a:pt x="1805" y="636"/>
                      </a:cubicBezTo>
                      <a:cubicBezTo>
                        <a:pt x="1602" y="636"/>
                        <a:pt x="1602" y="636"/>
                        <a:pt x="1602" y="636"/>
                      </a:cubicBezTo>
                      <a:cubicBezTo>
                        <a:pt x="1602" y="565"/>
                        <a:pt x="1602" y="565"/>
                        <a:pt x="1602" y="565"/>
                      </a:cubicBezTo>
                      <a:cubicBezTo>
                        <a:pt x="1340" y="565"/>
                        <a:pt x="1340" y="565"/>
                        <a:pt x="1340" y="565"/>
                      </a:cubicBezTo>
                      <a:cubicBezTo>
                        <a:pt x="1340" y="243"/>
                        <a:pt x="1340" y="243"/>
                        <a:pt x="1340" y="243"/>
                      </a:cubicBezTo>
                      <a:cubicBezTo>
                        <a:pt x="1662" y="243"/>
                        <a:pt x="1662" y="243"/>
                        <a:pt x="1662" y="243"/>
                      </a:cubicBezTo>
                      <a:cubicBezTo>
                        <a:pt x="1678" y="296"/>
                        <a:pt x="1733" y="326"/>
                        <a:pt x="1788" y="312"/>
                      </a:cubicBezTo>
                      <a:cubicBezTo>
                        <a:pt x="1845" y="298"/>
                        <a:pt x="1881" y="241"/>
                        <a:pt x="1867" y="184"/>
                      </a:cubicBezTo>
                      <a:cubicBezTo>
                        <a:pt x="1859" y="155"/>
                        <a:pt x="1843" y="131"/>
                        <a:pt x="1819" y="117"/>
                      </a:cubicBezTo>
                      <a:cubicBezTo>
                        <a:pt x="1795" y="103"/>
                        <a:pt x="1767" y="98"/>
                        <a:pt x="1738" y="105"/>
                      </a:cubicBezTo>
                      <a:cubicBezTo>
                        <a:pt x="1702" y="115"/>
                        <a:pt x="1674" y="141"/>
                        <a:pt x="1662" y="174"/>
                      </a:cubicBezTo>
                      <a:cubicBezTo>
                        <a:pt x="1274" y="174"/>
                        <a:pt x="1274" y="174"/>
                        <a:pt x="1274" y="174"/>
                      </a:cubicBezTo>
                      <a:cubicBezTo>
                        <a:pt x="1274" y="565"/>
                        <a:pt x="1274" y="565"/>
                        <a:pt x="1274" y="565"/>
                      </a:cubicBezTo>
                      <a:cubicBezTo>
                        <a:pt x="1131" y="565"/>
                        <a:pt x="1131" y="565"/>
                        <a:pt x="1131" y="565"/>
                      </a:cubicBezTo>
                      <a:cubicBezTo>
                        <a:pt x="1131" y="405"/>
                        <a:pt x="1131" y="405"/>
                        <a:pt x="1131" y="405"/>
                      </a:cubicBezTo>
                      <a:cubicBezTo>
                        <a:pt x="1155" y="396"/>
                        <a:pt x="1174" y="381"/>
                        <a:pt x="1188" y="357"/>
                      </a:cubicBezTo>
                      <a:cubicBezTo>
                        <a:pt x="1202" y="334"/>
                        <a:pt x="1207" y="305"/>
                        <a:pt x="1200" y="276"/>
                      </a:cubicBezTo>
                      <a:cubicBezTo>
                        <a:pt x="1186" y="219"/>
                        <a:pt x="1126" y="184"/>
                        <a:pt x="1069" y="200"/>
                      </a:cubicBezTo>
                      <a:cubicBezTo>
                        <a:pt x="1040" y="207"/>
                        <a:pt x="1019" y="224"/>
                        <a:pt x="1002" y="250"/>
                      </a:cubicBezTo>
                      <a:cubicBezTo>
                        <a:pt x="988" y="274"/>
                        <a:pt x="983" y="303"/>
                        <a:pt x="990" y="331"/>
                      </a:cubicBezTo>
                      <a:cubicBezTo>
                        <a:pt x="1000" y="367"/>
                        <a:pt x="1026" y="393"/>
                        <a:pt x="1059" y="405"/>
                      </a:cubicBezTo>
                      <a:cubicBezTo>
                        <a:pt x="1059" y="565"/>
                        <a:pt x="1059" y="565"/>
                        <a:pt x="1059" y="565"/>
                      </a:cubicBezTo>
                      <a:cubicBezTo>
                        <a:pt x="940" y="565"/>
                        <a:pt x="940" y="565"/>
                        <a:pt x="940" y="565"/>
                      </a:cubicBezTo>
                      <a:cubicBezTo>
                        <a:pt x="940" y="215"/>
                        <a:pt x="940" y="215"/>
                        <a:pt x="940" y="215"/>
                      </a:cubicBezTo>
                      <a:cubicBezTo>
                        <a:pt x="993" y="196"/>
                        <a:pt x="1021" y="141"/>
                        <a:pt x="1009" y="86"/>
                      </a:cubicBezTo>
                      <a:cubicBezTo>
                        <a:pt x="1002" y="57"/>
                        <a:pt x="986" y="36"/>
                        <a:pt x="959" y="19"/>
                      </a:cubicBezTo>
                      <a:cubicBezTo>
                        <a:pt x="936" y="5"/>
                        <a:pt x="907" y="0"/>
                        <a:pt x="878" y="7"/>
                      </a:cubicBezTo>
                      <a:cubicBezTo>
                        <a:pt x="850" y="15"/>
                        <a:pt x="828" y="31"/>
                        <a:pt x="812" y="57"/>
                      </a:cubicBezTo>
                      <a:cubicBezTo>
                        <a:pt x="797" y="81"/>
                        <a:pt x="793" y="110"/>
                        <a:pt x="800" y="138"/>
                      </a:cubicBezTo>
                      <a:cubicBezTo>
                        <a:pt x="809" y="174"/>
                        <a:pt x="836" y="200"/>
                        <a:pt x="869" y="212"/>
                      </a:cubicBezTo>
                      <a:cubicBezTo>
                        <a:pt x="869" y="562"/>
                        <a:pt x="869" y="562"/>
                        <a:pt x="869" y="562"/>
                      </a:cubicBezTo>
                      <a:cubicBezTo>
                        <a:pt x="750" y="562"/>
                        <a:pt x="750" y="562"/>
                        <a:pt x="750" y="562"/>
                      </a:cubicBezTo>
                      <a:cubicBezTo>
                        <a:pt x="750" y="403"/>
                        <a:pt x="750" y="403"/>
                        <a:pt x="750" y="403"/>
                      </a:cubicBezTo>
                      <a:cubicBezTo>
                        <a:pt x="802" y="384"/>
                        <a:pt x="831" y="329"/>
                        <a:pt x="819" y="274"/>
                      </a:cubicBezTo>
                      <a:cubicBezTo>
                        <a:pt x="812" y="246"/>
                        <a:pt x="795" y="224"/>
                        <a:pt x="769" y="207"/>
                      </a:cubicBezTo>
                      <a:cubicBezTo>
                        <a:pt x="745" y="193"/>
                        <a:pt x="716" y="188"/>
                        <a:pt x="688" y="196"/>
                      </a:cubicBezTo>
                      <a:cubicBezTo>
                        <a:pt x="659" y="203"/>
                        <a:pt x="638" y="219"/>
                        <a:pt x="621" y="246"/>
                      </a:cubicBezTo>
                      <a:cubicBezTo>
                        <a:pt x="607" y="269"/>
                        <a:pt x="602" y="298"/>
                        <a:pt x="609" y="326"/>
                      </a:cubicBezTo>
                      <a:cubicBezTo>
                        <a:pt x="619" y="362"/>
                        <a:pt x="645" y="388"/>
                        <a:pt x="678" y="400"/>
                      </a:cubicBezTo>
                      <a:cubicBezTo>
                        <a:pt x="678" y="560"/>
                        <a:pt x="678" y="560"/>
                        <a:pt x="678" y="560"/>
                      </a:cubicBezTo>
                      <a:cubicBezTo>
                        <a:pt x="607" y="560"/>
                        <a:pt x="607" y="560"/>
                        <a:pt x="607" y="560"/>
                      </a:cubicBezTo>
                      <a:cubicBezTo>
                        <a:pt x="607" y="838"/>
                        <a:pt x="607" y="838"/>
                        <a:pt x="607" y="838"/>
                      </a:cubicBezTo>
                      <a:cubicBezTo>
                        <a:pt x="297" y="838"/>
                        <a:pt x="297" y="838"/>
                        <a:pt x="297" y="838"/>
                      </a:cubicBezTo>
                      <a:cubicBezTo>
                        <a:pt x="297" y="527"/>
                        <a:pt x="297" y="527"/>
                        <a:pt x="297" y="527"/>
                      </a:cubicBezTo>
                      <a:cubicBezTo>
                        <a:pt x="350" y="510"/>
                        <a:pt x="381" y="455"/>
                        <a:pt x="366" y="400"/>
                      </a:cubicBezTo>
                      <a:cubicBezTo>
                        <a:pt x="359" y="372"/>
                        <a:pt x="343" y="348"/>
                        <a:pt x="319" y="334"/>
                      </a:cubicBezTo>
                      <a:cubicBezTo>
                        <a:pt x="295" y="319"/>
                        <a:pt x="266" y="315"/>
                        <a:pt x="238" y="322"/>
                      </a:cubicBezTo>
                      <a:cubicBezTo>
                        <a:pt x="209" y="329"/>
                        <a:pt x="186" y="346"/>
                        <a:pt x="171" y="369"/>
                      </a:cubicBezTo>
                      <a:cubicBezTo>
                        <a:pt x="157" y="393"/>
                        <a:pt x="152" y="422"/>
                        <a:pt x="159" y="450"/>
                      </a:cubicBezTo>
                      <a:cubicBezTo>
                        <a:pt x="169" y="486"/>
                        <a:pt x="195" y="515"/>
                        <a:pt x="228" y="527"/>
                      </a:cubicBezTo>
                      <a:cubicBezTo>
                        <a:pt x="228" y="910"/>
                        <a:pt x="228" y="910"/>
                        <a:pt x="228" y="910"/>
                      </a:cubicBezTo>
                      <a:cubicBezTo>
                        <a:pt x="609" y="910"/>
                        <a:pt x="609" y="910"/>
                        <a:pt x="609" y="910"/>
                      </a:cubicBezTo>
                      <a:cubicBezTo>
                        <a:pt x="609" y="1053"/>
                        <a:pt x="609" y="1053"/>
                        <a:pt x="609" y="1053"/>
                      </a:cubicBezTo>
                      <a:cubicBezTo>
                        <a:pt x="412" y="1053"/>
                        <a:pt x="412" y="1053"/>
                        <a:pt x="412" y="1053"/>
                      </a:cubicBezTo>
                      <a:cubicBezTo>
                        <a:pt x="402" y="1029"/>
                        <a:pt x="388" y="1010"/>
                        <a:pt x="364" y="996"/>
                      </a:cubicBezTo>
                      <a:cubicBezTo>
                        <a:pt x="340" y="981"/>
                        <a:pt x="312" y="977"/>
                        <a:pt x="283" y="984"/>
                      </a:cubicBezTo>
                      <a:cubicBezTo>
                        <a:pt x="255" y="991"/>
                        <a:pt x="233" y="1007"/>
                        <a:pt x="216" y="1034"/>
                      </a:cubicBezTo>
                      <a:cubicBezTo>
                        <a:pt x="202" y="1057"/>
                        <a:pt x="197" y="1086"/>
                        <a:pt x="205" y="1115"/>
                      </a:cubicBezTo>
                      <a:cubicBezTo>
                        <a:pt x="212" y="1143"/>
                        <a:pt x="228" y="1165"/>
                        <a:pt x="255" y="1181"/>
                      </a:cubicBezTo>
                      <a:cubicBezTo>
                        <a:pt x="278" y="1196"/>
                        <a:pt x="307" y="1200"/>
                        <a:pt x="336" y="1193"/>
                      </a:cubicBezTo>
                      <a:cubicBezTo>
                        <a:pt x="371" y="1184"/>
                        <a:pt x="397" y="1158"/>
                        <a:pt x="409" y="1124"/>
                      </a:cubicBezTo>
                      <a:cubicBezTo>
                        <a:pt x="607" y="1124"/>
                        <a:pt x="607" y="1124"/>
                        <a:pt x="607" y="1124"/>
                      </a:cubicBezTo>
                      <a:cubicBezTo>
                        <a:pt x="607" y="1243"/>
                        <a:pt x="607" y="1243"/>
                        <a:pt x="607" y="1243"/>
                      </a:cubicBezTo>
                      <a:cubicBezTo>
                        <a:pt x="221" y="1243"/>
                        <a:pt x="221" y="1243"/>
                        <a:pt x="221" y="1243"/>
                      </a:cubicBezTo>
                      <a:cubicBezTo>
                        <a:pt x="202" y="1191"/>
                        <a:pt x="147" y="1162"/>
                        <a:pt x="93" y="1174"/>
                      </a:cubicBezTo>
                      <a:cubicBezTo>
                        <a:pt x="35" y="1188"/>
                        <a:pt x="0" y="1248"/>
                        <a:pt x="16" y="1305"/>
                      </a:cubicBezTo>
                      <a:cubicBezTo>
                        <a:pt x="28" y="1353"/>
                        <a:pt x="71" y="1386"/>
                        <a:pt x="119" y="1386"/>
                      </a:cubicBezTo>
                      <a:cubicBezTo>
                        <a:pt x="119" y="1386"/>
                        <a:pt x="119" y="1386"/>
                        <a:pt x="119" y="1386"/>
                      </a:cubicBezTo>
                      <a:cubicBezTo>
                        <a:pt x="164" y="1386"/>
                        <a:pt x="205" y="1358"/>
                        <a:pt x="219" y="1315"/>
                      </a:cubicBezTo>
                      <a:cubicBezTo>
                        <a:pt x="607" y="1315"/>
                        <a:pt x="607" y="1315"/>
                        <a:pt x="607" y="1315"/>
                      </a:cubicBezTo>
                      <a:cubicBezTo>
                        <a:pt x="607" y="1434"/>
                        <a:pt x="607" y="1434"/>
                        <a:pt x="607" y="1434"/>
                      </a:cubicBezTo>
                      <a:cubicBezTo>
                        <a:pt x="412" y="1434"/>
                        <a:pt x="412" y="1434"/>
                        <a:pt x="412" y="1434"/>
                      </a:cubicBezTo>
                      <a:cubicBezTo>
                        <a:pt x="402" y="1410"/>
                        <a:pt x="388" y="1391"/>
                        <a:pt x="364" y="1377"/>
                      </a:cubicBezTo>
                      <a:cubicBezTo>
                        <a:pt x="340" y="1362"/>
                        <a:pt x="312" y="1358"/>
                        <a:pt x="283" y="1365"/>
                      </a:cubicBezTo>
                      <a:cubicBezTo>
                        <a:pt x="226" y="1379"/>
                        <a:pt x="190" y="1438"/>
                        <a:pt x="207" y="1496"/>
                      </a:cubicBezTo>
                      <a:cubicBezTo>
                        <a:pt x="214" y="1524"/>
                        <a:pt x="231" y="1546"/>
                        <a:pt x="257" y="1562"/>
                      </a:cubicBezTo>
                      <a:cubicBezTo>
                        <a:pt x="281" y="1577"/>
                        <a:pt x="309" y="1581"/>
                        <a:pt x="338" y="1574"/>
                      </a:cubicBezTo>
                      <a:cubicBezTo>
                        <a:pt x="374" y="1565"/>
                        <a:pt x="400" y="1538"/>
                        <a:pt x="412" y="1505"/>
                      </a:cubicBezTo>
                      <a:cubicBezTo>
                        <a:pt x="607" y="1505"/>
                        <a:pt x="607" y="1505"/>
                        <a:pt x="607" y="1505"/>
                      </a:cubicBezTo>
                      <a:cubicBezTo>
                        <a:pt x="607" y="1565"/>
                        <a:pt x="607" y="1565"/>
                        <a:pt x="607" y="1565"/>
                      </a:cubicBezTo>
                      <a:cubicBezTo>
                        <a:pt x="881" y="1565"/>
                        <a:pt x="881" y="1565"/>
                        <a:pt x="881" y="1565"/>
                      </a:cubicBezTo>
                      <a:cubicBezTo>
                        <a:pt x="881" y="1910"/>
                        <a:pt x="881" y="1910"/>
                        <a:pt x="881" y="1910"/>
                      </a:cubicBezTo>
                      <a:cubicBezTo>
                        <a:pt x="566" y="1910"/>
                        <a:pt x="566" y="1910"/>
                        <a:pt x="566" y="1910"/>
                      </a:cubicBezTo>
                      <a:cubicBezTo>
                        <a:pt x="550" y="1858"/>
                        <a:pt x="495" y="1827"/>
                        <a:pt x="440" y="1841"/>
                      </a:cubicBezTo>
                      <a:cubicBezTo>
                        <a:pt x="383" y="1855"/>
                        <a:pt x="347" y="1912"/>
                        <a:pt x="362" y="1969"/>
                      </a:cubicBezTo>
                      <a:cubicBezTo>
                        <a:pt x="376" y="2027"/>
                        <a:pt x="433" y="2062"/>
                        <a:pt x="490" y="2048"/>
                      </a:cubicBezTo>
                      <a:cubicBezTo>
                        <a:pt x="526" y="2039"/>
                        <a:pt x="555" y="2012"/>
                        <a:pt x="566" y="1979"/>
                      </a:cubicBezTo>
                      <a:cubicBezTo>
                        <a:pt x="952" y="1979"/>
                        <a:pt x="952" y="1979"/>
                        <a:pt x="952" y="1979"/>
                      </a:cubicBezTo>
                      <a:cubicBezTo>
                        <a:pt x="952" y="1562"/>
                        <a:pt x="952" y="1562"/>
                        <a:pt x="952" y="1562"/>
                      </a:cubicBezTo>
                      <a:cubicBezTo>
                        <a:pt x="1093" y="1562"/>
                        <a:pt x="1093" y="1562"/>
                        <a:pt x="1093" y="1562"/>
                      </a:cubicBezTo>
                      <a:cubicBezTo>
                        <a:pt x="1093" y="1796"/>
                        <a:pt x="1093" y="1796"/>
                        <a:pt x="1093" y="1796"/>
                      </a:cubicBezTo>
                      <a:cubicBezTo>
                        <a:pt x="1040" y="1815"/>
                        <a:pt x="1012" y="1869"/>
                        <a:pt x="1024" y="1924"/>
                      </a:cubicBezTo>
                      <a:cubicBezTo>
                        <a:pt x="1031" y="1953"/>
                        <a:pt x="1047" y="1974"/>
                        <a:pt x="1074" y="1991"/>
                      </a:cubicBezTo>
                      <a:cubicBezTo>
                        <a:pt x="1097" y="2005"/>
                        <a:pt x="1126" y="2010"/>
                        <a:pt x="1155" y="2003"/>
                      </a:cubicBezTo>
                      <a:cubicBezTo>
                        <a:pt x="1212" y="1989"/>
                        <a:pt x="1247" y="1929"/>
                        <a:pt x="1231" y="1872"/>
                      </a:cubicBezTo>
                      <a:cubicBezTo>
                        <a:pt x="1221" y="1836"/>
                        <a:pt x="1195" y="1810"/>
                        <a:pt x="1162" y="1798"/>
                      </a:cubicBezTo>
                      <a:cubicBezTo>
                        <a:pt x="1162" y="1567"/>
                        <a:pt x="1162" y="1567"/>
                        <a:pt x="1162" y="1567"/>
                      </a:cubicBezTo>
                      <a:cubicBezTo>
                        <a:pt x="1278" y="1567"/>
                        <a:pt x="1278" y="1567"/>
                        <a:pt x="1278" y="1567"/>
                      </a:cubicBezTo>
                      <a:cubicBezTo>
                        <a:pt x="1278" y="1989"/>
                        <a:pt x="1278" y="1989"/>
                        <a:pt x="1278" y="1989"/>
                      </a:cubicBezTo>
                      <a:cubicBezTo>
                        <a:pt x="1226" y="2008"/>
                        <a:pt x="1197" y="2062"/>
                        <a:pt x="1209" y="2117"/>
                      </a:cubicBezTo>
                      <a:cubicBezTo>
                        <a:pt x="1217" y="2146"/>
                        <a:pt x="1233" y="2167"/>
                        <a:pt x="1259" y="2184"/>
                      </a:cubicBezTo>
                      <a:cubicBezTo>
                        <a:pt x="1276" y="2193"/>
                        <a:pt x="1295" y="2198"/>
                        <a:pt x="1314" y="2198"/>
                      </a:cubicBezTo>
                      <a:cubicBezTo>
                        <a:pt x="1324" y="2198"/>
                        <a:pt x="1333" y="2198"/>
                        <a:pt x="1340" y="2196"/>
                      </a:cubicBezTo>
                      <a:cubicBezTo>
                        <a:pt x="1369" y="2189"/>
                        <a:pt x="1390" y="2172"/>
                        <a:pt x="1407" y="2146"/>
                      </a:cubicBezTo>
                      <a:cubicBezTo>
                        <a:pt x="1421" y="2122"/>
                        <a:pt x="1426" y="2093"/>
                        <a:pt x="1419" y="2065"/>
                      </a:cubicBezTo>
                      <a:cubicBezTo>
                        <a:pt x="1409" y="2029"/>
                        <a:pt x="1383" y="2003"/>
                        <a:pt x="1350" y="1991"/>
                      </a:cubicBezTo>
                      <a:cubicBezTo>
                        <a:pt x="1350" y="1569"/>
                        <a:pt x="1350" y="1569"/>
                        <a:pt x="1350" y="1569"/>
                      </a:cubicBezTo>
                      <a:cubicBezTo>
                        <a:pt x="1467" y="1569"/>
                        <a:pt x="1467" y="1569"/>
                        <a:pt x="1467" y="1569"/>
                      </a:cubicBezTo>
                      <a:cubicBezTo>
                        <a:pt x="1467" y="1800"/>
                        <a:pt x="1467" y="1800"/>
                        <a:pt x="1467" y="1800"/>
                      </a:cubicBezTo>
                      <a:cubicBezTo>
                        <a:pt x="1443" y="1810"/>
                        <a:pt x="1424" y="1824"/>
                        <a:pt x="1409" y="1848"/>
                      </a:cubicBezTo>
                      <a:cubicBezTo>
                        <a:pt x="1395" y="1872"/>
                        <a:pt x="1390" y="1900"/>
                        <a:pt x="1397" y="1929"/>
                      </a:cubicBezTo>
                      <a:cubicBezTo>
                        <a:pt x="1405" y="1958"/>
                        <a:pt x="1421" y="1979"/>
                        <a:pt x="1448" y="1996"/>
                      </a:cubicBezTo>
                      <a:cubicBezTo>
                        <a:pt x="1471" y="2010"/>
                        <a:pt x="1500" y="2015"/>
                        <a:pt x="1528" y="2008"/>
                      </a:cubicBezTo>
                      <a:cubicBezTo>
                        <a:pt x="1586" y="1993"/>
                        <a:pt x="1621" y="1934"/>
                        <a:pt x="1605" y="1877"/>
                      </a:cubicBezTo>
                      <a:cubicBezTo>
                        <a:pt x="1595" y="1841"/>
                        <a:pt x="1569" y="1815"/>
                        <a:pt x="1536" y="1803"/>
                      </a:cubicBezTo>
                      <a:cubicBezTo>
                        <a:pt x="1536" y="1572"/>
                        <a:pt x="1536" y="1572"/>
                        <a:pt x="1536" y="1572"/>
                      </a:cubicBezTo>
                      <a:cubicBezTo>
                        <a:pt x="1595" y="1572"/>
                        <a:pt x="1595" y="1572"/>
                        <a:pt x="1595" y="1572"/>
                      </a:cubicBezTo>
                      <a:cubicBezTo>
                        <a:pt x="1595" y="1310"/>
                        <a:pt x="1595" y="1310"/>
                        <a:pt x="1595" y="1310"/>
                      </a:cubicBezTo>
                      <a:cubicBezTo>
                        <a:pt x="1964" y="1310"/>
                        <a:pt x="1964" y="1310"/>
                        <a:pt x="1964" y="1310"/>
                      </a:cubicBezTo>
                      <a:cubicBezTo>
                        <a:pt x="1964" y="1622"/>
                        <a:pt x="1964" y="1622"/>
                        <a:pt x="1964" y="1622"/>
                      </a:cubicBezTo>
                      <a:cubicBezTo>
                        <a:pt x="1912" y="1638"/>
                        <a:pt x="1881" y="1693"/>
                        <a:pt x="1895" y="1748"/>
                      </a:cubicBezTo>
                      <a:cubicBezTo>
                        <a:pt x="1909" y="1805"/>
                        <a:pt x="1967" y="1841"/>
                        <a:pt x="2024" y="1827"/>
                      </a:cubicBezTo>
                      <a:cubicBezTo>
                        <a:pt x="2081" y="1812"/>
                        <a:pt x="2117" y="1755"/>
                        <a:pt x="2102" y="1698"/>
                      </a:cubicBezTo>
                      <a:cubicBezTo>
                        <a:pt x="2093" y="1662"/>
                        <a:pt x="2067" y="1634"/>
                        <a:pt x="2033" y="1622"/>
                      </a:cubicBezTo>
                      <a:cubicBezTo>
                        <a:pt x="2033" y="1231"/>
                        <a:pt x="2033" y="1231"/>
                        <a:pt x="2033" y="1231"/>
                      </a:cubicBezTo>
                      <a:cubicBezTo>
                        <a:pt x="1600" y="1231"/>
                        <a:pt x="1600" y="1231"/>
                        <a:pt x="1600" y="1231"/>
                      </a:cubicBezTo>
                      <a:cubicBezTo>
                        <a:pt x="1600" y="1088"/>
                        <a:pt x="1600" y="1088"/>
                        <a:pt x="1600" y="1088"/>
                      </a:cubicBezTo>
                      <a:cubicBezTo>
                        <a:pt x="1802" y="1088"/>
                        <a:pt x="1802" y="1088"/>
                        <a:pt x="1802" y="1088"/>
                      </a:cubicBezTo>
                      <a:cubicBezTo>
                        <a:pt x="1812" y="1112"/>
                        <a:pt x="1826" y="1131"/>
                        <a:pt x="1850" y="1146"/>
                      </a:cubicBezTo>
                      <a:cubicBezTo>
                        <a:pt x="1874" y="1160"/>
                        <a:pt x="1902" y="1165"/>
                        <a:pt x="1931" y="1158"/>
                      </a:cubicBezTo>
                      <a:cubicBezTo>
                        <a:pt x="1959" y="1150"/>
                        <a:pt x="1981" y="1134"/>
                        <a:pt x="1998" y="1108"/>
                      </a:cubicBezTo>
                      <a:cubicBezTo>
                        <a:pt x="2014" y="1081"/>
                        <a:pt x="2017" y="1055"/>
                        <a:pt x="2009" y="1027"/>
                      </a:cubicBezTo>
                      <a:cubicBezTo>
                        <a:pt x="2002" y="998"/>
                        <a:pt x="1986" y="977"/>
                        <a:pt x="1959" y="960"/>
                      </a:cubicBezTo>
                      <a:cubicBezTo>
                        <a:pt x="1933" y="943"/>
                        <a:pt x="1907" y="941"/>
                        <a:pt x="1878" y="948"/>
                      </a:cubicBezTo>
                      <a:cubicBezTo>
                        <a:pt x="1843" y="957"/>
                        <a:pt x="1817" y="984"/>
                        <a:pt x="1805" y="1017"/>
                      </a:cubicBezTo>
                      <a:cubicBezTo>
                        <a:pt x="1602" y="1017"/>
                        <a:pt x="1602" y="1017"/>
                        <a:pt x="1602" y="1017"/>
                      </a:cubicBezTo>
                      <a:cubicBezTo>
                        <a:pt x="1602" y="898"/>
                        <a:pt x="1602" y="898"/>
                        <a:pt x="1602" y="898"/>
                      </a:cubicBezTo>
                      <a:cubicBezTo>
                        <a:pt x="1995" y="898"/>
                        <a:pt x="1995" y="898"/>
                        <a:pt x="1995" y="898"/>
                      </a:cubicBezTo>
                      <a:cubicBezTo>
                        <a:pt x="2014" y="950"/>
                        <a:pt x="2069" y="979"/>
                        <a:pt x="2124" y="967"/>
                      </a:cubicBezTo>
                      <a:cubicBezTo>
                        <a:pt x="2152" y="960"/>
                        <a:pt x="2174" y="943"/>
                        <a:pt x="2190" y="917"/>
                      </a:cubicBezTo>
                      <a:cubicBezTo>
                        <a:pt x="2202" y="891"/>
                        <a:pt x="2205" y="862"/>
                        <a:pt x="2198" y="836"/>
                      </a:cubicBezTo>
                      <a:close/>
                      <a:moveTo>
                        <a:pt x="2131" y="862"/>
                      </a:moveTo>
                      <a:cubicBezTo>
                        <a:pt x="2131" y="881"/>
                        <a:pt x="2114" y="898"/>
                        <a:pt x="2095" y="898"/>
                      </a:cubicBezTo>
                      <a:cubicBezTo>
                        <a:pt x="2076" y="898"/>
                        <a:pt x="2059" y="881"/>
                        <a:pt x="2059" y="862"/>
                      </a:cubicBezTo>
                      <a:cubicBezTo>
                        <a:pt x="2059" y="843"/>
                        <a:pt x="2076" y="827"/>
                        <a:pt x="2095" y="827"/>
                      </a:cubicBezTo>
                      <a:cubicBezTo>
                        <a:pt x="2114" y="827"/>
                        <a:pt x="2131" y="843"/>
                        <a:pt x="2131" y="862"/>
                      </a:cubicBezTo>
                      <a:close/>
                      <a:moveTo>
                        <a:pt x="2036" y="1719"/>
                      </a:moveTo>
                      <a:cubicBezTo>
                        <a:pt x="2036" y="1738"/>
                        <a:pt x="2019" y="1755"/>
                        <a:pt x="2000" y="1755"/>
                      </a:cubicBezTo>
                      <a:cubicBezTo>
                        <a:pt x="1981" y="1755"/>
                        <a:pt x="1964" y="1738"/>
                        <a:pt x="1964" y="1719"/>
                      </a:cubicBezTo>
                      <a:cubicBezTo>
                        <a:pt x="1964" y="1700"/>
                        <a:pt x="1981" y="1684"/>
                        <a:pt x="2000" y="1684"/>
                      </a:cubicBezTo>
                      <a:cubicBezTo>
                        <a:pt x="2019" y="1684"/>
                        <a:pt x="2036" y="1700"/>
                        <a:pt x="2036" y="1719"/>
                      </a:cubicBezTo>
                      <a:close/>
                      <a:moveTo>
                        <a:pt x="1512" y="1862"/>
                      </a:moveTo>
                      <a:cubicBezTo>
                        <a:pt x="1531" y="1862"/>
                        <a:pt x="1548" y="1879"/>
                        <a:pt x="1548" y="1898"/>
                      </a:cubicBezTo>
                      <a:cubicBezTo>
                        <a:pt x="1548" y="1917"/>
                        <a:pt x="1531" y="1934"/>
                        <a:pt x="1512" y="1934"/>
                      </a:cubicBezTo>
                      <a:cubicBezTo>
                        <a:pt x="1493" y="1934"/>
                        <a:pt x="1476" y="1917"/>
                        <a:pt x="1476" y="1898"/>
                      </a:cubicBezTo>
                      <a:cubicBezTo>
                        <a:pt x="1476" y="1879"/>
                        <a:pt x="1493" y="1862"/>
                        <a:pt x="1512" y="1862"/>
                      </a:cubicBezTo>
                      <a:close/>
                      <a:moveTo>
                        <a:pt x="1321" y="2053"/>
                      </a:moveTo>
                      <a:cubicBezTo>
                        <a:pt x="1340" y="2053"/>
                        <a:pt x="1357" y="2069"/>
                        <a:pt x="1357" y="2089"/>
                      </a:cubicBezTo>
                      <a:cubicBezTo>
                        <a:pt x="1357" y="2108"/>
                        <a:pt x="1340" y="2124"/>
                        <a:pt x="1321" y="2124"/>
                      </a:cubicBezTo>
                      <a:cubicBezTo>
                        <a:pt x="1302" y="2124"/>
                        <a:pt x="1286" y="2108"/>
                        <a:pt x="1286" y="2089"/>
                      </a:cubicBezTo>
                      <a:cubicBezTo>
                        <a:pt x="1286" y="2069"/>
                        <a:pt x="1302" y="2053"/>
                        <a:pt x="1321" y="2053"/>
                      </a:cubicBezTo>
                      <a:close/>
                      <a:moveTo>
                        <a:pt x="226" y="422"/>
                      </a:moveTo>
                      <a:cubicBezTo>
                        <a:pt x="226" y="403"/>
                        <a:pt x="243" y="386"/>
                        <a:pt x="262" y="386"/>
                      </a:cubicBezTo>
                      <a:cubicBezTo>
                        <a:pt x="281" y="386"/>
                        <a:pt x="297" y="403"/>
                        <a:pt x="297" y="422"/>
                      </a:cubicBezTo>
                      <a:cubicBezTo>
                        <a:pt x="297" y="441"/>
                        <a:pt x="281" y="457"/>
                        <a:pt x="262" y="457"/>
                      </a:cubicBezTo>
                      <a:cubicBezTo>
                        <a:pt x="243" y="457"/>
                        <a:pt x="226" y="441"/>
                        <a:pt x="226" y="422"/>
                      </a:cubicBezTo>
                      <a:close/>
                      <a:moveTo>
                        <a:pt x="678" y="1493"/>
                      </a:moveTo>
                      <a:cubicBezTo>
                        <a:pt x="678" y="636"/>
                        <a:pt x="678" y="636"/>
                        <a:pt x="678" y="636"/>
                      </a:cubicBezTo>
                      <a:cubicBezTo>
                        <a:pt x="1536" y="636"/>
                        <a:pt x="1536" y="636"/>
                        <a:pt x="1536" y="636"/>
                      </a:cubicBezTo>
                      <a:cubicBezTo>
                        <a:pt x="1536" y="1493"/>
                        <a:pt x="1536" y="1493"/>
                        <a:pt x="1536" y="1493"/>
                      </a:cubicBezTo>
                      <a:lnTo>
                        <a:pt x="678" y="1493"/>
                      </a:lnTo>
                      <a:close/>
                      <a:moveTo>
                        <a:pt x="714" y="338"/>
                      </a:moveTo>
                      <a:cubicBezTo>
                        <a:pt x="695" y="338"/>
                        <a:pt x="678" y="322"/>
                        <a:pt x="678" y="303"/>
                      </a:cubicBezTo>
                      <a:cubicBezTo>
                        <a:pt x="678" y="284"/>
                        <a:pt x="695" y="267"/>
                        <a:pt x="714" y="267"/>
                      </a:cubicBezTo>
                      <a:cubicBezTo>
                        <a:pt x="733" y="267"/>
                        <a:pt x="750" y="284"/>
                        <a:pt x="750" y="303"/>
                      </a:cubicBezTo>
                      <a:cubicBezTo>
                        <a:pt x="750" y="322"/>
                        <a:pt x="733" y="338"/>
                        <a:pt x="714" y="338"/>
                      </a:cubicBezTo>
                      <a:close/>
                      <a:moveTo>
                        <a:pt x="905" y="148"/>
                      </a:moveTo>
                      <a:cubicBezTo>
                        <a:pt x="886" y="148"/>
                        <a:pt x="869" y="131"/>
                        <a:pt x="869" y="112"/>
                      </a:cubicBezTo>
                      <a:cubicBezTo>
                        <a:pt x="869" y="93"/>
                        <a:pt x="886" y="76"/>
                        <a:pt x="905" y="76"/>
                      </a:cubicBezTo>
                      <a:cubicBezTo>
                        <a:pt x="924" y="76"/>
                        <a:pt x="940" y="93"/>
                        <a:pt x="940" y="112"/>
                      </a:cubicBezTo>
                      <a:cubicBezTo>
                        <a:pt x="940" y="131"/>
                        <a:pt x="924" y="148"/>
                        <a:pt x="905" y="148"/>
                      </a:cubicBezTo>
                      <a:close/>
                      <a:moveTo>
                        <a:pt x="1059" y="303"/>
                      </a:moveTo>
                      <a:cubicBezTo>
                        <a:pt x="1059" y="284"/>
                        <a:pt x="1076" y="267"/>
                        <a:pt x="1095" y="267"/>
                      </a:cubicBezTo>
                      <a:cubicBezTo>
                        <a:pt x="1114" y="267"/>
                        <a:pt x="1131" y="284"/>
                        <a:pt x="1131" y="303"/>
                      </a:cubicBezTo>
                      <a:cubicBezTo>
                        <a:pt x="1131" y="322"/>
                        <a:pt x="1114" y="338"/>
                        <a:pt x="1095" y="338"/>
                      </a:cubicBezTo>
                      <a:cubicBezTo>
                        <a:pt x="1076" y="338"/>
                        <a:pt x="1059" y="322"/>
                        <a:pt x="1059" y="303"/>
                      </a:cubicBezTo>
                      <a:close/>
                      <a:moveTo>
                        <a:pt x="1131" y="1862"/>
                      </a:moveTo>
                      <a:cubicBezTo>
                        <a:pt x="1150" y="1862"/>
                        <a:pt x="1167" y="1879"/>
                        <a:pt x="1167" y="1898"/>
                      </a:cubicBezTo>
                      <a:cubicBezTo>
                        <a:pt x="1167" y="1917"/>
                        <a:pt x="1150" y="1934"/>
                        <a:pt x="1131" y="1934"/>
                      </a:cubicBezTo>
                      <a:cubicBezTo>
                        <a:pt x="1112" y="1934"/>
                        <a:pt x="1095" y="1917"/>
                        <a:pt x="1095" y="1898"/>
                      </a:cubicBezTo>
                      <a:cubicBezTo>
                        <a:pt x="1095" y="1879"/>
                        <a:pt x="1112" y="1862"/>
                        <a:pt x="1131" y="1862"/>
                      </a:cubicBezTo>
                      <a:close/>
                      <a:moveTo>
                        <a:pt x="1869" y="672"/>
                      </a:moveTo>
                      <a:cubicBezTo>
                        <a:pt x="1869" y="653"/>
                        <a:pt x="1886" y="636"/>
                        <a:pt x="1905" y="636"/>
                      </a:cubicBezTo>
                      <a:cubicBezTo>
                        <a:pt x="1924" y="636"/>
                        <a:pt x="1940" y="653"/>
                        <a:pt x="1940" y="672"/>
                      </a:cubicBezTo>
                      <a:cubicBezTo>
                        <a:pt x="1940" y="691"/>
                        <a:pt x="1924" y="707"/>
                        <a:pt x="1905" y="707"/>
                      </a:cubicBezTo>
                      <a:cubicBezTo>
                        <a:pt x="1886" y="707"/>
                        <a:pt x="1869" y="691"/>
                        <a:pt x="1869" y="672"/>
                      </a:cubicBezTo>
                      <a:close/>
                      <a:moveTo>
                        <a:pt x="1726" y="207"/>
                      </a:moveTo>
                      <a:cubicBezTo>
                        <a:pt x="1726" y="188"/>
                        <a:pt x="1743" y="172"/>
                        <a:pt x="1762" y="172"/>
                      </a:cubicBezTo>
                      <a:cubicBezTo>
                        <a:pt x="1781" y="172"/>
                        <a:pt x="1798" y="188"/>
                        <a:pt x="1798" y="207"/>
                      </a:cubicBezTo>
                      <a:cubicBezTo>
                        <a:pt x="1798" y="226"/>
                        <a:pt x="1781" y="243"/>
                        <a:pt x="1762" y="243"/>
                      </a:cubicBezTo>
                      <a:cubicBezTo>
                        <a:pt x="1743" y="243"/>
                        <a:pt x="1726" y="226"/>
                        <a:pt x="1726" y="207"/>
                      </a:cubicBezTo>
                      <a:close/>
                      <a:moveTo>
                        <a:pt x="345" y="1088"/>
                      </a:moveTo>
                      <a:cubicBezTo>
                        <a:pt x="345" y="1108"/>
                        <a:pt x="328" y="1124"/>
                        <a:pt x="309" y="1124"/>
                      </a:cubicBezTo>
                      <a:cubicBezTo>
                        <a:pt x="290" y="1124"/>
                        <a:pt x="274" y="1108"/>
                        <a:pt x="274" y="1088"/>
                      </a:cubicBezTo>
                      <a:cubicBezTo>
                        <a:pt x="274" y="1069"/>
                        <a:pt x="290" y="1053"/>
                        <a:pt x="309" y="1053"/>
                      </a:cubicBezTo>
                      <a:cubicBezTo>
                        <a:pt x="328" y="1053"/>
                        <a:pt x="345" y="1069"/>
                        <a:pt x="345" y="1088"/>
                      </a:cubicBezTo>
                      <a:close/>
                      <a:moveTo>
                        <a:pt x="155" y="1279"/>
                      </a:moveTo>
                      <a:cubicBezTo>
                        <a:pt x="155" y="1298"/>
                        <a:pt x="138" y="1315"/>
                        <a:pt x="119" y="1315"/>
                      </a:cubicBezTo>
                      <a:cubicBezTo>
                        <a:pt x="100" y="1315"/>
                        <a:pt x="83" y="1298"/>
                        <a:pt x="83" y="1279"/>
                      </a:cubicBezTo>
                      <a:cubicBezTo>
                        <a:pt x="83" y="1260"/>
                        <a:pt x="100" y="1243"/>
                        <a:pt x="119" y="1243"/>
                      </a:cubicBezTo>
                      <a:cubicBezTo>
                        <a:pt x="138" y="1243"/>
                        <a:pt x="155" y="1260"/>
                        <a:pt x="155" y="1279"/>
                      </a:cubicBezTo>
                      <a:close/>
                      <a:moveTo>
                        <a:pt x="345" y="1469"/>
                      </a:moveTo>
                      <a:cubicBezTo>
                        <a:pt x="345" y="1488"/>
                        <a:pt x="328" y="1505"/>
                        <a:pt x="309" y="1505"/>
                      </a:cubicBezTo>
                      <a:cubicBezTo>
                        <a:pt x="290" y="1505"/>
                        <a:pt x="274" y="1488"/>
                        <a:pt x="274" y="1469"/>
                      </a:cubicBezTo>
                      <a:cubicBezTo>
                        <a:pt x="274" y="1450"/>
                        <a:pt x="290" y="1434"/>
                        <a:pt x="309" y="1434"/>
                      </a:cubicBezTo>
                      <a:cubicBezTo>
                        <a:pt x="328" y="1434"/>
                        <a:pt x="345" y="1450"/>
                        <a:pt x="345" y="1469"/>
                      </a:cubicBezTo>
                      <a:close/>
                      <a:moveTo>
                        <a:pt x="500" y="1946"/>
                      </a:moveTo>
                      <a:cubicBezTo>
                        <a:pt x="500" y="1965"/>
                        <a:pt x="483" y="1981"/>
                        <a:pt x="464" y="1981"/>
                      </a:cubicBezTo>
                      <a:cubicBezTo>
                        <a:pt x="445" y="1981"/>
                        <a:pt x="428" y="1965"/>
                        <a:pt x="428" y="1946"/>
                      </a:cubicBezTo>
                      <a:cubicBezTo>
                        <a:pt x="428" y="1927"/>
                        <a:pt x="445" y="1910"/>
                        <a:pt x="464" y="1910"/>
                      </a:cubicBezTo>
                      <a:cubicBezTo>
                        <a:pt x="483" y="1910"/>
                        <a:pt x="500" y="1927"/>
                        <a:pt x="500" y="1946"/>
                      </a:cubicBezTo>
                      <a:close/>
                      <a:moveTo>
                        <a:pt x="1869" y="1053"/>
                      </a:moveTo>
                      <a:cubicBezTo>
                        <a:pt x="1869" y="1034"/>
                        <a:pt x="1886" y="1017"/>
                        <a:pt x="1905" y="1017"/>
                      </a:cubicBezTo>
                      <a:cubicBezTo>
                        <a:pt x="1924" y="1017"/>
                        <a:pt x="1940" y="1034"/>
                        <a:pt x="1940" y="1053"/>
                      </a:cubicBezTo>
                      <a:cubicBezTo>
                        <a:pt x="1940" y="1072"/>
                        <a:pt x="1924" y="1088"/>
                        <a:pt x="1905" y="1088"/>
                      </a:cubicBezTo>
                      <a:cubicBezTo>
                        <a:pt x="1886" y="1088"/>
                        <a:pt x="1869" y="1072"/>
                        <a:pt x="1869" y="10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sp>
        <p:nvSpPr>
          <p:cNvPr id="154" name="Oval 153">
            <a:extLst>
              <a:ext uri="{FF2B5EF4-FFF2-40B4-BE49-F238E27FC236}">
                <a16:creationId xmlns:a16="http://schemas.microsoft.com/office/drawing/2014/main" id="{4C60D3A2-EEED-4770-9E94-D35434C718D9}"/>
              </a:ext>
            </a:extLst>
          </p:cNvPr>
          <p:cNvSpPr/>
          <p:nvPr/>
        </p:nvSpPr>
        <p:spPr>
          <a:xfrm>
            <a:off x="4184251" y="3936724"/>
            <a:ext cx="1473039" cy="6254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66" name="Footer Placeholder 3"/>
          <p:cNvSpPr txBox="1">
            <a:spLocks/>
          </p:cNvSpPr>
          <p:nvPr/>
        </p:nvSpPr>
        <p:spPr>
          <a:xfrm>
            <a:off x="3762375" y="6486297"/>
            <a:ext cx="7528630" cy="2210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Permission to reprint or distribute any content from this presentation requires the prior written approval of S&amp;P Global Market Intelligence. </a:t>
            </a:r>
          </a:p>
        </p:txBody>
      </p:sp>
      <p:pic>
        <p:nvPicPr>
          <p:cNvPr id="3" name="Audio 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590275810"/>
      </p:ext>
    </p:extLst>
  </p:cSld>
  <p:clrMapOvr>
    <a:masterClrMapping/>
  </p:clrMapOvr>
  <mc:AlternateContent xmlns:mc="http://schemas.openxmlformats.org/markup-compatibility/2006" xmlns:p14="http://schemas.microsoft.com/office/powerpoint/2010/main">
    <mc:Choice Requires="p14">
      <p:transition spd="med" p14:dur="700" advTm="192">
        <p:fade/>
      </p:transition>
    </mc:Choice>
    <mc:Fallback xmlns="">
      <p:transition spd="med" advTm="19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udio 1">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552238" y="6218238"/>
            <a:ext cx="487362" cy="487362"/>
          </a:xfrm>
          <a:prstGeom prst="rect">
            <a:avLst/>
          </a:prstGeom>
        </p:spPr>
      </p:pic>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03767" y="571995"/>
            <a:ext cx="10058400" cy="5538612"/>
          </a:xfrm>
          <a:prstGeom prst="rect">
            <a:avLst/>
          </a:prstGeom>
        </p:spPr>
      </p:pic>
    </p:spTree>
    <p:extLst>
      <p:ext uri="{BB962C8B-B14F-4D97-AF65-F5344CB8AC3E}">
        <p14:creationId xmlns:p14="http://schemas.microsoft.com/office/powerpoint/2010/main" val="943391076"/>
      </p:ext>
    </p:extLst>
  </p:cSld>
  <p:clrMapOvr>
    <a:masterClrMapping/>
  </p:clrMapOvr>
  <mc:AlternateContent xmlns:mc="http://schemas.openxmlformats.org/markup-compatibility/2006" xmlns:p14="http://schemas.microsoft.com/office/powerpoint/2010/main">
    <mc:Choice Requires="p14">
      <p:transition spd="slow" p14:dur="2000" advTm="188"/>
    </mc:Choice>
    <mc:Fallback xmlns="">
      <p:transition spd="slow" advTm="18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0133A8EA-C2C6-074E-B54A-E2C8A0D2A889}"/>
              </a:ext>
            </a:extLst>
          </p:cNvPr>
          <p:cNvSpPr txBox="1">
            <a:spLocks/>
          </p:cNvSpPr>
          <p:nvPr/>
        </p:nvSpPr>
        <p:spPr>
          <a:xfrm>
            <a:off x="0" y="2521646"/>
            <a:ext cx="12192000" cy="1002640"/>
          </a:xfrm>
          <a:prstGeom prst="rect">
            <a:avLst/>
          </a:prstGeom>
          <a:solidFill>
            <a:schemeClr val="bg2"/>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b="1" dirty="0" smtClean="0">
                <a:latin typeface="Optimist" panose="020B0603020204030204" pitchFamily="34" charset="77"/>
                <a:ea typeface="Optimist" panose="020B0603020204030204" pitchFamily="34" charset="77"/>
                <a:cs typeface="Optimist" panose="020B0603020204030204" pitchFamily="34" charset="77"/>
              </a:rPr>
              <a:t>THANK YOU!</a:t>
            </a:r>
            <a:endParaRPr lang="en-US" sz="2800" b="1" dirty="0">
              <a:latin typeface="Optimist" panose="020B0603020204030204" pitchFamily="34" charset="77"/>
              <a:ea typeface="Optimist" panose="020B0603020204030204" pitchFamily="34" charset="77"/>
              <a:cs typeface="Optimist" panose="020B0603020204030204" pitchFamily="34" charset="77"/>
            </a:endParaRPr>
          </a:p>
        </p:txBody>
      </p:sp>
      <p:pic>
        <p:nvPicPr>
          <p:cNvPr id="2" name="Audio 1">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1814731600"/>
      </p:ext>
    </p:extLst>
  </p:cSld>
  <p:clrMapOvr>
    <a:masterClrMapping/>
  </p:clrMapOvr>
  <mc:AlternateContent xmlns:mc="http://schemas.openxmlformats.org/markup-compatibility/2006" xmlns:p14="http://schemas.microsoft.com/office/powerpoint/2010/main">
    <mc:Choice Requires="p14">
      <p:transition spd="slow" p14:dur="2000" advTm="188"/>
    </mc:Choice>
    <mc:Fallback xmlns="">
      <p:transition spd="slow" advTm="18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3" name="Rectangle 502">
            <a:extLst>
              <a:ext uri="{FF2B5EF4-FFF2-40B4-BE49-F238E27FC236}">
                <a16:creationId xmlns:a16="http://schemas.microsoft.com/office/drawing/2014/main" id="{8012FF38-7AE5-43B0-8159-A99737EF76C5}"/>
              </a:ext>
            </a:extLst>
          </p:cNvPr>
          <p:cNvSpPr/>
          <p:nvPr/>
        </p:nvSpPr>
        <p:spPr>
          <a:xfrm>
            <a:off x="5126" y="239843"/>
            <a:ext cx="12186875" cy="5786203"/>
          </a:xfrm>
          <a:prstGeom prst="rect">
            <a:avLst/>
          </a:prstGeom>
          <a:pattFill prst="pct20">
            <a:fgClr>
              <a:schemeClr val="bg1">
                <a:lumMod val="95000"/>
              </a:schemeClr>
            </a:fgClr>
            <a:bgClr>
              <a:schemeClr val="bg1">
                <a:lumMod val="85000"/>
              </a:schemeClr>
            </a:bgClr>
          </a:patt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529" name="Rectangle 528">
            <a:extLst>
              <a:ext uri="{FF2B5EF4-FFF2-40B4-BE49-F238E27FC236}">
                <a16:creationId xmlns:a16="http://schemas.microsoft.com/office/drawing/2014/main" id="{B754C873-8E5F-4580-A9FF-666106759F5B}"/>
              </a:ext>
            </a:extLst>
          </p:cNvPr>
          <p:cNvSpPr/>
          <p:nvPr/>
        </p:nvSpPr>
        <p:spPr>
          <a:xfrm>
            <a:off x="10967" y="214474"/>
            <a:ext cx="12192000" cy="938272"/>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514" name="Group 513">
            <a:extLst>
              <a:ext uri="{FF2B5EF4-FFF2-40B4-BE49-F238E27FC236}">
                <a16:creationId xmlns:a16="http://schemas.microsoft.com/office/drawing/2014/main" id="{FD0C0969-0DC3-4185-A77D-AE7ECA98EB4E}"/>
              </a:ext>
            </a:extLst>
          </p:cNvPr>
          <p:cNvGrpSpPr/>
          <p:nvPr/>
        </p:nvGrpSpPr>
        <p:grpSpPr>
          <a:xfrm>
            <a:off x="1274192" y="285753"/>
            <a:ext cx="783207" cy="783207"/>
            <a:chOff x="1310287" y="2177562"/>
            <a:chExt cx="2007577" cy="2007577"/>
          </a:xfrm>
        </p:grpSpPr>
        <p:sp>
          <p:nvSpPr>
            <p:cNvPr id="515" name="Oval 514">
              <a:extLst>
                <a:ext uri="{FF2B5EF4-FFF2-40B4-BE49-F238E27FC236}">
                  <a16:creationId xmlns:a16="http://schemas.microsoft.com/office/drawing/2014/main" id="{77D2037D-40CD-49B1-90F2-1D93E3EB9AE3}"/>
                </a:ext>
              </a:extLst>
            </p:cNvPr>
            <p:cNvSpPr/>
            <p:nvPr/>
          </p:nvSpPr>
          <p:spPr>
            <a:xfrm>
              <a:off x="1310287" y="2177562"/>
              <a:ext cx="2007577" cy="2007577"/>
            </a:xfrm>
            <a:prstGeom prst="ellipse">
              <a:avLst/>
            </a:prstGeom>
            <a:solidFill>
              <a:schemeClr val="bg2"/>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516" name="Oval 515">
              <a:extLst>
                <a:ext uri="{FF2B5EF4-FFF2-40B4-BE49-F238E27FC236}">
                  <a16:creationId xmlns:a16="http://schemas.microsoft.com/office/drawing/2014/main" id="{8870225D-B408-4EB0-90FB-DE80032161B0}"/>
                </a:ext>
              </a:extLst>
            </p:cNvPr>
            <p:cNvSpPr/>
            <p:nvPr/>
          </p:nvSpPr>
          <p:spPr>
            <a:xfrm>
              <a:off x="1468609" y="2335884"/>
              <a:ext cx="1690932" cy="1690932"/>
            </a:xfrm>
            <a:prstGeom prst="ellipse">
              <a:avLst/>
            </a:prstGeom>
            <a:solidFill>
              <a:schemeClr val="bg1"/>
            </a:solidFill>
            <a:ln w="28575">
              <a:solidFill>
                <a:srgbClr val="D60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grpSp>
        <p:nvGrpSpPr>
          <p:cNvPr id="517" name="Group 516">
            <a:extLst>
              <a:ext uri="{FF2B5EF4-FFF2-40B4-BE49-F238E27FC236}">
                <a16:creationId xmlns:a16="http://schemas.microsoft.com/office/drawing/2014/main" id="{B2CD2AFB-0830-4078-AA22-1E9B9D7AC7E7}"/>
              </a:ext>
            </a:extLst>
          </p:cNvPr>
          <p:cNvGrpSpPr/>
          <p:nvPr/>
        </p:nvGrpSpPr>
        <p:grpSpPr>
          <a:xfrm>
            <a:off x="4510686" y="285753"/>
            <a:ext cx="783207" cy="783207"/>
            <a:chOff x="1310287" y="2177562"/>
            <a:chExt cx="2007577" cy="2007577"/>
          </a:xfrm>
        </p:grpSpPr>
        <p:sp>
          <p:nvSpPr>
            <p:cNvPr id="518" name="Oval 517">
              <a:extLst>
                <a:ext uri="{FF2B5EF4-FFF2-40B4-BE49-F238E27FC236}">
                  <a16:creationId xmlns:a16="http://schemas.microsoft.com/office/drawing/2014/main" id="{0B8A4030-2AC3-4F03-A5FC-136C03ECCD15}"/>
                </a:ext>
              </a:extLst>
            </p:cNvPr>
            <p:cNvSpPr/>
            <p:nvPr/>
          </p:nvSpPr>
          <p:spPr>
            <a:xfrm>
              <a:off x="1310287" y="2177562"/>
              <a:ext cx="2007577" cy="2007577"/>
            </a:xfrm>
            <a:prstGeom prst="ellipse">
              <a:avLst/>
            </a:prstGeom>
            <a:solidFill>
              <a:schemeClr val="bg2"/>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519" name="Oval 518">
              <a:extLst>
                <a:ext uri="{FF2B5EF4-FFF2-40B4-BE49-F238E27FC236}">
                  <a16:creationId xmlns:a16="http://schemas.microsoft.com/office/drawing/2014/main" id="{B4D880E2-75D7-4867-92D5-5FA2B4FDE000}"/>
                </a:ext>
              </a:extLst>
            </p:cNvPr>
            <p:cNvSpPr/>
            <p:nvPr/>
          </p:nvSpPr>
          <p:spPr>
            <a:xfrm>
              <a:off x="1468609" y="2335884"/>
              <a:ext cx="1690932" cy="1690932"/>
            </a:xfrm>
            <a:prstGeom prst="ellipse">
              <a:avLst/>
            </a:prstGeom>
            <a:solidFill>
              <a:schemeClr val="bg1"/>
            </a:solidFill>
            <a:ln w="28575">
              <a:solidFill>
                <a:srgbClr val="D60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grpSp>
        <p:nvGrpSpPr>
          <p:cNvPr id="520" name="Group 519">
            <a:extLst>
              <a:ext uri="{FF2B5EF4-FFF2-40B4-BE49-F238E27FC236}">
                <a16:creationId xmlns:a16="http://schemas.microsoft.com/office/drawing/2014/main" id="{10831BBC-D640-475C-B90C-E17DDE496B60}"/>
              </a:ext>
            </a:extLst>
          </p:cNvPr>
          <p:cNvGrpSpPr/>
          <p:nvPr/>
        </p:nvGrpSpPr>
        <p:grpSpPr>
          <a:xfrm>
            <a:off x="8252507" y="285753"/>
            <a:ext cx="783207" cy="783207"/>
            <a:chOff x="1310287" y="2177562"/>
            <a:chExt cx="2007577" cy="2007577"/>
          </a:xfrm>
        </p:grpSpPr>
        <p:sp>
          <p:nvSpPr>
            <p:cNvPr id="521" name="Oval 520">
              <a:extLst>
                <a:ext uri="{FF2B5EF4-FFF2-40B4-BE49-F238E27FC236}">
                  <a16:creationId xmlns:a16="http://schemas.microsoft.com/office/drawing/2014/main" id="{9268BBDE-9682-4673-922A-A5B566FA478C}"/>
                </a:ext>
              </a:extLst>
            </p:cNvPr>
            <p:cNvSpPr/>
            <p:nvPr/>
          </p:nvSpPr>
          <p:spPr>
            <a:xfrm>
              <a:off x="1310287" y="2177562"/>
              <a:ext cx="2007577" cy="2007577"/>
            </a:xfrm>
            <a:prstGeom prst="ellipse">
              <a:avLst/>
            </a:prstGeom>
            <a:solidFill>
              <a:schemeClr val="bg2"/>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522" name="Oval 521">
              <a:extLst>
                <a:ext uri="{FF2B5EF4-FFF2-40B4-BE49-F238E27FC236}">
                  <a16:creationId xmlns:a16="http://schemas.microsoft.com/office/drawing/2014/main" id="{35E7798B-7DD2-49BC-B9B1-8A0ADC7E355E}"/>
                </a:ext>
              </a:extLst>
            </p:cNvPr>
            <p:cNvSpPr/>
            <p:nvPr/>
          </p:nvSpPr>
          <p:spPr>
            <a:xfrm>
              <a:off x="1468609" y="2335884"/>
              <a:ext cx="1690932" cy="1690932"/>
            </a:xfrm>
            <a:prstGeom prst="ellipse">
              <a:avLst/>
            </a:prstGeom>
            <a:solidFill>
              <a:schemeClr val="bg1"/>
            </a:solidFill>
            <a:ln w="28575">
              <a:solidFill>
                <a:srgbClr val="D60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sp>
        <p:nvSpPr>
          <p:cNvPr id="6" name="Flowchart: Data 5">
            <a:extLst>
              <a:ext uri="{FF2B5EF4-FFF2-40B4-BE49-F238E27FC236}">
                <a16:creationId xmlns:a16="http://schemas.microsoft.com/office/drawing/2014/main" id="{464A260D-280C-49FF-AEC6-520B55BA86E6}"/>
              </a:ext>
            </a:extLst>
          </p:cNvPr>
          <p:cNvSpPr/>
          <p:nvPr/>
        </p:nvSpPr>
        <p:spPr>
          <a:xfrm flipH="1" flipV="1">
            <a:off x="478569" y="1890324"/>
            <a:ext cx="11308866" cy="327647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2688"/>
              <a:gd name="connsiteY0" fmla="*/ 10000 h 10000"/>
              <a:gd name="connsiteX1" fmla="*/ 2000 w 12688"/>
              <a:gd name="connsiteY1" fmla="*/ 0 h 10000"/>
              <a:gd name="connsiteX2" fmla="*/ 10000 w 12688"/>
              <a:gd name="connsiteY2" fmla="*/ 0 h 10000"/>
              <a:gd name="connsiteX3" fmla="*/ 12688 w 12688"/>
              <a:gd name="connsiteY3" fmla="*/ 10000 h 10000"/>
              <a:gd name="connsiteX4" fmla="*/ 0 w 12688"/>
              <a:gd name="connsiteY4" fmla="*/ 10000 h 10000"/>
              <a:gd name="connsiteX0" fmla="*/ 0 w 12688"/>
              <a:gd name="connsiteY0" fmla="*/ 10000 h 10000"/>
              <a:gd name="connsiteX1" fmla="*/ 2000 w 12688"/>
              <a:gd name="connsiteY1" fmla="*/ 0 h 10000"/>
              <a:gd name="connsiteX2" fmla="*/ 10635 w 12688"/>
              <a:gd name="connsiteY2" fmla="*/ 92 h 10000"/>
              <a:gd name="connsiteX3" fmla="*/ 12688 w 12688"/>
              <a:gd name="connsiteY3" fmla="*/ 10000 h 10000"/>
              <a:gd name="connsiteX4" fmla="*/ 0 w 12688"/>
              <a:gd name="connsiteY4" fmla="*/ 10000 h 10000"/>
              <a:gd name="connsiteX0" fmla="*/ 0 w 12688"/>
              <a:gd name="connsiteY0" fmla="*/ 9908 h 9908"/>
              <a:gd name="connsiteX1" fmla="*/ 1031 w 12688"/>
              <a:gd name="connsiteY1" fmla="*/ 181 h 9908"/>
              <a:gd name="connsiteX2" fmla="*/ 10635 w 12688"/>
              <a:gd name="connsiteY2" fmla="*/ 0 h 9908"/>
              <a:gd name="connsiteX3" fmla="*/ 12688 w 12688"/>
              <a:gd name="connsiteY3" fmla="*/ 9908 h 9908"/>
              <a:gd name="connsiteX4" fmla="*/ 0 w 12688"/>
              <a:gd name="connsiteY4" fmla="*/ 9908 h 9908"/>
              <a:gd name="connsiteX0" fmla="*/ 0 w 10000"/>
              <a:gd name="connsiteY0" fmla="*/ 9908 h 9908"/>
              <a:gd name="connsiteX1" fmla="*/ 813 w 10000"/>
              <a:gd name="connsiteY1" fmla="*/ 91 h 9908"/>
              <a:gd name="connsiteX2" fmla="*/ 9121 w 10000"/>
              <a:gd name="connsiteY2" fmla="*/ 0 h 9908"/>
              <a:gd name="connsiteX3" fmla="*/ 10000 w 10000"/>
              <a:gd name="connsiteY3" fmla="*/ 9908 h 9908"/>
              <a:gd name="connsiteX4" fmla="*/ 0 w 10000"/>
              <a:gd name="connsiteY4" fmla="*/ 9908 h 9908"/>
              <a:gd name="connsiteX0" fmla="*/ 0 w 10000"/>
              <a:gd name="connsiteY0" fmla="*/ 10000 h 10000"/>
              <a:gd name="connsiteX1" fmla="*/ 813 w 10000"/>
              <a:gd name="connsiteY1" fmla="*/ 92 h 10000"/>
              <a:gd name="connsiteX2" fmla="*/ 8161 w 10000"/>
              <a:gd name="connsiteY2" fmla="*/ 0 h 10000"/>
              <a:gd name="connsiteX3" fmla="*/ 10000 w 10000"/>
              <a:gd name="connsiteY3" fmla="*/ 10000 h 10000"/>
              <a:gd name="connsiteX4" fmla="*/ 0 w 10000"/>
              <a:gd name="connsiteY4" fmla="*/ 10000 h 10000"/>
              <a:gd name="connsiteX0" fmla="*/ 0 w 9594"/>
              <a:gd name="connsiteY0" fmla="*/ 10000 h 10464"/>
              <a:gd name="connsiteX1" fmla="*/ 813 w 9594"/>
              <a:gd name="connsiteY1" fmla="*/ 92 h 10464"/>
              <a:gd name="connsiteX2" fmla="*/ 8161 w 9594"/>
              <a:gd name="connsiteY2" fmla="*/ 0 h 10464"/>
              <a:gd name="connsiteX3" fmla="*/ 9594 w 9594"/>
              <a:gd name="connsiteY3" fmla="*/ 10464 h 10464"/>
              <a:gd name="connsiteX4" fmla="*/ 0 w 9594"/>
              <a:gd name="connsiteY4" fmla="*/ 10000 h 10464"/>
              <a:gd name="connsiteX0" fmla="*/ 0 w 10000"/>
              <a:gd name="connsiteY0" fmla="*/ 9557 h 10000"/>
              <a:gd name="connsiteX1" fmla="*/ 1052 w 10000"/>
              <a:gd name="connsiteY1" fmla="*/ 88 h 10000"/>
              <a:gd name="connsiteX2" fmla="*/ 8506 w 10000"/>
              <a:gd name="connsiteY2" fmla="*/ 0 h 10000"/>
              <a:gd name="connsiteX3" fmla="*/ 10000 w 10000"/>
              <a:gd name="connsiteY3" fmla="*/ 10000 h 10000"/>
              <a:gd name="connsiteX4" fmla="*/ 0 w 10000"/>
              <a:gd name="connsiteY4" fmla="*/ 955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9557"/>
                </a:moveTo>
                <a:cubicBezTo>
                  <a:pt x="282" y="6401"/>
                  <a:pt x="769" y="3244"/>
                  <a:pt x="1052" y="88"/>
                </a:cubicBezTo>
                <a:lnTo>
                  <a:pt x="8506" y="0"/>
                </a:lnTo>
                <a:lnTo>
                  <a:pt x="10000" y="10000"/>
                </a:lnTo>
                <a:lnTo>
                  <a:pt x="0" y="9557"/>
                </a:lnTo>
                <a:close/>
              </a:path>
            </a:pathLst>
          </a:custGeom>
          <a:gradFill>
            <a:gsLst>
              <a:gs pos="0">
                <a:schemeClr val="accent1">
                  <a:lumMod val="5000"/>
                  <a:lumOff val="95000"/>
                </a:schemeClr>
              </a:gs>
              <a:gs pos="42000">
                <a:schemeClr val="bg1">
                  <a:lumMod val="85000"/>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7" name="Group 6">
            <a:extLst>
              <a:ext uri="{FF2B5EF4-FFF2-40B4-BE49-F238E27FC236}">
                <a16:creationId xmlns:a16="http://schemas.microsoft.com/office/drawing/2014/main" id="{C5D534CA-357C-49CF-8625-D76F2AE017F1}"/>
              </a:ext>
            </a:extLst>
          </p:cNvPr>
          <p:cNvGrpSpPr/>
          <p:nvPr/>
        </p:nvGrpSpPr>
        <p:grpSpPr>
          <a:xfrm>
            <a:off x="682134" y="1371600"/>
            <a:ext cx="9794185" cy="4134322"/>
            <a:chOff x="888613" y="1371600"/>
            <a:chExt cx="9794185" cy="4134322"/>
          </a:xfrm>
        </p:grpSpPr>
        <p:grpSp>
          <p:nvGrpSpPr>
            <p:cNvPr id="252" name="Group 251">
              <a:extLst>
                <a:ext uri="{FF2B5EF4-FFF2-40B4-BE49-F238E27FC236}">
                  <a16:creationId xmlns:a16="http://schemas.microsoft.com/office/drawing/2014/main" id="{41BDBD7F-6879-46A5-BEEC-7B57C037FBEA}"/>
                </a:ext>
              </a:extLst>
            </p:cNvPr>
            <p:cNvGrpSpPr/>
            <p:nvPr/>
          </p:nvGrpSpPr>
          <p:grpSpPr bwMode="gray">
            <a:xfrm>
              <a:off x="1175545" y="1371600"/>
              <a:ext cx="9507253" cy="4134322"/>
              <a:chOff x="590679" y="2057408"/>
              <a:chExt cx="8591903" cy="3971939"/>
            </a:xfrm>
            <a:solidFill>
              <a:schemeClr val="bg1"/>
            </a:solidFill>
            <a:effectLst>
              <a:outerShdw dist="12700" algn="l" rotWithShape="0">
                <a:schemeClr val="bg1">
                  <a:lumMod val="65000"/>
                </a:schemeClr>
              </a:outerShdw>
            </a:effectLst>
          </p:grpSpPr>
          <p:sp>
            <p:nvSpPr>
              <p:cNvPr id="322" name="Freeform 44">
                <a:extLst>
                  <a:ext uri="{FF2B5EF4-FFF2-40B4-BE49-F238E27FC236}">
                    <a16:creationId xmlns:a16="http://schemas.microsoft.com/office/drawing/2014/main" id="{A4064C61-10F6-476A-ADB9-B993F06C85CA}"/>
                  </a:ext>
                </a:extLst>
              </p:cNvPr>
              <p:cNvSpPr>
                <a:spLocks noEditPoints="1"/>
              </p:cNvSpPr>
              <p:nvPr>
                <p:custDataLst>
                  <p:tags r:id="rId3"/>
                </p:custDataLst>
              </p:nvPr>
            </p:nvSpPr>
            <p:spPr bwMode="gray">
              <a:xfrm>
                <a:off x="8947099" y="4581542"/>
                <a:ext cx="150813" cy="130176"/>
              </a:xfrm>
              <a:custGeom>
                <a:avLst/>
                <a:gdLst>
                  <a:gd name="T0" fmla="*/ 21 w 247"/>
                  <a:gd name="T1" fmla="*/ 14 h 235"/>
                  <a:gd name="T2" fmla="*/ 9 w 247"/>
                  <a:gd name="T3" fmla="*/ 0 h 235"/>
                  <a:gd name="T4" fmla="*/ 2 w 247"/>
                  <a:gd name="T5" fmla="*/ 16 h 235"/>
                  <a:gd name="T6" fmla="*/ 15 w 247"/>
                  <a:gd name="T7" fmla="*/ 32 h 235"/>
                  <a:gd name="T8" fmla="*/ 21 w 247"/>
                  <a:gd name="T9" fmla="*/ 14 h 235"/>
                  <a:gd name="T10" fmla="*/ 0 w 247"/>
                  <a:gd name="T11" fmla="*/ 84 h 235"/>
                  <a:gd name="T12" fmla="*/ 13 w 247"/>
                  <a:gd name="T13" fmla="*/ 89 h 235"/>
                  <a:gd name="T14" fmla="*/ 22 w 247"/>
                  <a:gd name="T15" fmla="*/ 67 h 235"/>
                  <a:gd name="T16" fmla="*/ 0 w 247"/>
                  <a:gd name="T17" fmla="*/ 70 h 235"/>
                  <a:gd name="T18" fmla="*/ 0 w 247"/>
                  <a:gd name="T19" fmla="*/ 84 h 235"/>
                  <a:gd name="T20" fmla="*/ 51 w 247"/>
                  <a:gd name="T21" fmla="*/ 81 h 235"/>
                  <a:gd name="T22" fmla="*/ 25 w 247"/>
                  <a:gd name="T23" fmla="*/ 81 h 235"/>
                  <a:gd name="T24" fmla="*/ 26 w 247"/>
                  <a:gd name="T25" fmla="*/ 97 h 235"/>
                  <a:gd name="T26" fmla="*/ 53 w 247"/>
                  <a:gd name="T27" fmla="*/ 91 h 235"/>
                  <a:gd name="T28" fmla="*/ 51 w 247"/>
                  <a:gd name="T29" fmla="*/ 81 h 235"/>
                  <a:gd name="T30" fmla="*/ 39 w 247"/>
                  <a:gd name="T31" fmla="*/ 126 h 235"/>
                  <a:gd name="T32" fmla="*/ 64 w 247"/>
                  <a:gd name="T33" fmla="*/ 123 h 235"/>
                  <a:gd name="T34" fmla="*/ 32 w 247"/>
                  <a:gd name="T35" fmla="*/ 103 h 235"/>
                  <a:gd name="T36" fmla="*/ 39 w 247"/>
                  <a:gd name="T37" fmla="*/ 126 h 235"/>
                  <a:gd name="T38" fmla="*/ 163 w 247"/>
                  <a:gd name="T39" fmla="*/ 149 h 235"/>
                  <a:gd name="T40" fmla="*/ 128 w 247"/>
                  <a:gd name="T41" fmla="*/ 142 h 235"/>
                  <a:gd name="T42" fmla="*/ 142 w 247"/>
                  <a:gd name="T43" fmla="*/ 169 h 235"/>
                  <a:gd name="T44" fmla="*/ 183 w 247"/>
                  <a:gd name="T45" fmla="*/ 172 h 235"/>
                  <a:gd name="T46" fmla="*/ 163 w 247"/>
                  <a:gd name="T47" fmla="*/ 149 h 235"/>
                  <a:gd name="T48" fmla="*/ 205 w 247"/>
                  <a:gd name="T49" fmla="*/ 193 h 235"/>
                  <a:gd name="T50" fmla="*/ 238 w 247"/>
                  <a:gd name="T51" fmla="*/ 235 h 235"/>
                  <a:gd name="T52" fmla="*/ 247 w 247"/>
                  <a:gd name="T53" fmla="*/ 215 h 235"/>
                  <a:gd name="T54" fmla="*/ 205 w 247"/>
                  <a:gd name="T55" fmla="*/ 193 h 235"/>
                  <a:gd name="T56" fmla="*/ 189 w 247"/>
                  <a:gd name="T57" fmla="*/ 84 h 235"/>
                  <a:gd name="T58" fmla="*/ 184 w 247"/>
                  <a:gd name="T59" fmla="*/ 130 h 235"/>
                  <a:gd name="T60" fmla="*/ 218 w 247"/>
                  <a:gd name="T61" fmla="*/ 160 h 235"/>
                  <a:gd name="T62" fmla="*/ 189 w 247"/>
                  <a:gd name="T63" fmla="*/ 84 h 235"/>
                  <a:gd name="T64" fmla="*/ 81 w 247"/>
                  <a:gd name="T65" fmla="*/ 41 h 235"/>
                  <a:gd name="T66" fmla="*/ 138 w 247"/>
                  <a:gd name="T67" fmla="*/ 102 h 235"/>
                  <a:gd name="T68" fmla="*/ 81 w 247"/>
                  <a:gd name="T69" fmla="*/ 4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7" h="235">
                    <a:moveTo>
                      <a:pt x="21" y="14"/>
                    </a:moveTo>
                    <a:cubicBezTo>
                      <a:pt x="9" y="0"/>
                      <a:pt x="9" y="0"/>
                      <a:pt x="9" y="0"/>
                    </a:cubicBezTo>
                    <a:cubicBezTo>
                      <a:pt x="2" y="16"/>
                      <a:pt x="2" y="16"/>
                      <a:pt x="2" y="16"/>
                    </a:cubicBezTo>
                    <a:cubicBezTo>
                      <a:pt x="15" y="32"/>
                      <a:pt x="15" y="32"/>
                      <a:pt x="15" y="32"/>
                    </a:cubicBezTo>
                    <a:lnTo>
                      <a:pt x="21" y="14"/>
                    </a:lnTo>
                    <a:close/>
                    <a:moveTo>
                      <a:pt x="0" y="84"/>
                    </a:moveTo>
                    <a:cubicBezTo>
                      <a:pt x="13" y="89"/>
                      <a:pt x="13" y="89"/>
                      <a:pt x="13" y="89"/>
                    </a:cubicBezTo>
                    <a:cubicBezTo>
                      <a:pt x="22" y="67"/>
                      <a:pt x="22" y="67"/>
                      <a:pt x="22" y="67"/>
                    </a:cubicBezTo>
                    <a:cubicBezTo>
                      <a:pt x="0" y="70"/>
                      <a:pt x="0" y="70"/>
                      <a:pt x="0" y="70"/>
                    </a:cubicBezTo>
                    <a:lnTo>
                      <a:pt x="0" y="84"/>
                    </a:lnTo>
                    <a:close/>
                    <a:moveTo>
                      <a:pt x="51" y="81"/>
                    </a:moveTo>
                    <a:cubicBezTo>
                      <a:pt x="25" y="81"/>
                      <a:pt x="25" y="81"/>
                      <a:pt x="25" y="81"/>
                    </a:cubicBezTo>
                    <a:cubicBezTo>
                      <a:pt x="26" y="97"/>
                      <a:pt x="26" y="97"/>
                      <a:pt x="26" y="97"/>
                    </a:cubicBezTo>
                    <a:cubicBezTo>
                      <a:pt x="53" y="91"/>
                      <a:pt x="53" y="91"/>
                      <a:pt x="53" y="91"/>
                    </a:cubicBezTo>
                    <a:lnTo>
                      <a:pt x="51" y="81"/>
                    </a:lnTo>
                    <a:close/>
                    <a:moveTo>
                      <a:pt x="39" y="126"/>
                    </a:moveTo>
                    <a:cubicBezTo>
                      <a:pt x="64" y="123"/>
                      <a:pt x="64" y="123"/>
                      <a:pt x="64" y="123"/>
                    </a:cubicBezTo>
                    <a:cubicBezTo>
                      <a:pt x="32" y="103"/>
                      <a:pt x="32" y="103"/>
                      <a:pt x="32" y="103"/>
                    </a:cubicBezTo>
                    <a:lnTo>
                      <a:pt x="39" y="126"/>
                    </a:lnTo>
                    <a:close/>
                    <a:moveTo>
                      <a:pt x="163" y="149"/>
                    </a:moveTo>
                    <a:cubicBezTo>
                      <a:pt x="145" y="139"/>
                      <a:pt x="128" y="142"/>
                      <a:pt x="128" y="142"/>
                    </a:cubicBezTo>
                    <a:cubicBezTo>
                      <a:pt x="128" y="142"/>
                      <a:pt x="124" y="161"/>
                      <a:pt x="142" y="169"/>
                    </a:cubicBezTo>
                    <a:cubicBezTo>
                      <a:pt x="168" y="180"/>
                      <a:pt x="183" y="172"/>
                      <a:pt x="183" y="172"/>
                    </a:cubicBezTo>
                    <a:cubicBezTo>
                      <a:pt x="183" y="172"/>
                      <a:pt x="182" y="160"/>
                      <a:pt x="163" y="149"/>
                    </a:cubicBezTo>
                    <a:close/>
                    <a:moveTo>
                      <a:pt x="205" y="193"/>
                    </a:moveTo>
                    <a:cubicBezTo>
                      <a:pt x="238" y="235"/>
                      <a:pt x="238" y="235"/>
                      <a:pt x="238" y="235"/>
                    </a:cubicBezTo>
                    <a:cubicBezTo>
                      <a:pt x="247" y="215"/>
                      <a:pt x="247" y="215"/>
                      <a:pt x="247" y="215"/>
                    </a:cubicBezTo>
                    <a:lnTo>
                      <a:pt x="205" y="193"/>
                    </a:lnTo>
                    <a:close/>
                    <a:moveTo>
                      <a:pt x="189" y="84"/>
                    </a:moveTo>
                    <a:cubicBezTo>
                      <a:pt x="189" y="84"/>
                      <a:pt x="178" y="119"/>
                      <a:pt x="184" y="130"/>
                    </a:cubicBezTo>
                    <a:cubicBezTo>
                      <a:pt x="191" y="140"/>
                      <a:pt x="218" y="160"/>
                      <a:pt x="218" y="160"/>
                    </a:cubicBezTo>
                    <a:lnTo>
                      <a:pt x="189" y="84"/>
                    </a:lnTo>
                    <a:close/>
                    <a:moveTo>
                      <a:pt x="81" y="41"/>
                    </a:moveTo>
                    <a:cubicBezTo>
                      <a:pt x="75" y="51"/>
                      <a:pt x="130" y="104"/>
                      <a:pt x="138" y="102"/>
                    </a:cubicBezTo>
                    <a:cubicBezTo>
                      <a:pt x="154" y="100"/>
                      <a:pt x="86" y="30"/>
                      <a:pt x="81" y="41"/>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23" name="Freeform 45">
                <a:extLst>
                  <a:ext uri="{FF2B5EF4-FFF2-40B4-BE49-F238E27FC236}">
                    <a16:creationId xmlns:a16="http://schemas.microsoft.com/office/drawing/2014/main" id="{CB2ECE27-4A32-4BF8-85CE-BE86304F3EAA}"/>
                  </a:ext>
                </a:extLst>
              </p:cNvPr>
              <p:cNvSpPr>
                <a:spLocks noEditPoints="1"/>
              </p:cNvSpPr>
              <p:nvPr>
                <p:custDataLst>
                  <p:tags r:id="rId4"/>
                </p:custDataLst>
              </p:nvPr>
            </p:nvSpPr>
            <p:spPr bwMode="gray">
              <a:xfrm>
                <a:off x="8013654" y="4629167"/>
                <a:ext cx="100012" cy="42864"/>
              </a:xfrm>
              <a:custGeom>
                <a:avLst/>
                <a:gdLst>
                  <a:gd name="T0" fmla="*/ 53 w 168"/>
                  <a:gd name="T1" fmla="*/ 33 h 77"/>
                  <a:gd name="T2" fmla="*/ 53 w 168"/>
                  <a:gd name="T3" fmla="*/ 33 h 77"/>
                  <a:gd name="T4" fmla="*/ 53 w 168"/>
                  <a:gd name="T5" fmla="*/ 33 h 77"/>
                  <a:gd name="T6" fmla="*/ 53 w 168"/>
                  <a:gd name="T7" fmla="*/ 33 h 77"/>
                  <a:gd name="T8" fmla="*/ 152 w 168"/>
                  <a:gd name="T9" fmla="*/ 0 h 77"/>
                  <a:gd name="T10" fmla="*/ 139 w 168"/>
                  <a:gd name="T11" fmla="*/ 14 h 77"/>
                  <a:gd name="T12" fmla="*/ 84 w 168"/>
                  <a:gd name="T13" fmla="*/ 15 h 77"/>
                  <a:gd name="T14" fmla="*/ 67 w 168"/>
                  <a:gd name="T15" fmla="*/ 33 h 77"/>
                  <a:gd name="T16" fmla="*/ 53 w 168"/>
                  <a:gd name="T17" fmla="*/ 33 h 77"/>
                  <a:gd name="T18" fmla="*/ 60 w 168"/>
                  <a:gd name="T19" fmla="*/ 47 h 77"/>
                  <a:gd name="T20" fmla="*/ 50 w 168"/>
                  <a:gd name="T21" fmla="*/ 66 h 77"/>
                  <a:gd name="T22" fmla="*/ 52 w 168"/>
                  <a:gd name="T23" fmla="*/ 77 h 77"/>
                  <a:gd name="T24" fmla="*/ 57 w 168"/>
                  <a:gd name="T25" fmla="*/ 72 h 77"/>
                  <a:gd name="T26" fmla="*/ 67 w 168"/>
                  <a:gd name="T27" fmla="*/ 69 h 77"/>
                  <a:gd name="T28" fmla="*/ 89 w 168"/>
                  <a:gd name="T29" fmla="*/ 53 h 77"/>
                  <a:gd name="T30" fmla="*/ 111 w 168"/>
                  <a:gd name="T31" fmla="*/ 59 h 77"/>
                  <a:gd name="T32" fmla="*/ 168 w 168"/>
                  <a:gd name="T33" fmla="*/ 9 h 77"/>
                  <a:gd name="T34" fmla="*/ 152 w 168"/>
                  <a:gd name="T35" fmla="*/ 0 h 77"/>
                  <a:gd name="T36" fmla="*/ 0 w 168"/>
                  <a:gd name="T37" fmla="*/ 58 h 77"/>
                  <a:gd name="T38" fmla="*/ 4 w 168"/>
                  <a:gd name="T39" fmla="*/ 67 h 77"/>
                  <a:gd name="T40" fmla="*/ 24 w 168"/>
                  <a:gd name="T41" fmla="*/ 61 h 77"/>
                  <a:gd name="T42" fmla="*/ 28 w 168"/>
                  <a:gd name="T43" fmla="*/ 48 h 77"/>
                  <a:gd name="T44" fmla="*/ 11 w 168"/>
                  <a:gd name="T45" fmla="*/ 47 h 77"/>
                  <a:gd name="T46" fmla="*/ 0 w 168"/>
                  <a:gd name="T47" fmla="*/ 5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8" h="77">
                    <a:moveTo>
                      <a:pt x="53" y="33"/>
                    </a:moveTo>
                    <a:cubicBezTo>
                      <a:pt x="53" y="33"/>
                      <a:pt x="53" y="33"/>
                      <a:pt x="53" y="33"/>
                    </a:cubicBezTo>
                    <a:cubicBezTo>
                      <a:pt x="53" y="33"/>
                      <a:pt x="53" y="33"/>
                      <a:pt x="53" y="33"/>
                    </a:cubicBezTo>
                    <a:cubicBezTo>
                      <a:pt x="53" y="33"/>
                      <a:pt x="53" y="33"/>
                      <a:pt x="53" y="33"/>
                    </a:cubicBezTo>
                    <a:close/>
                    <a:moveTo>
                      <a:pt x="152" y="0"/>
                    </a:moveTo>
                    <a:cubicBezTo>
                      <a:pt x="139" y="14"/>
                      <a:pt x="139" y="14"/>
                      <a:pt x="139" y="14"/>
                    </a:cubicBezTo>
                    <a:cubicBezTo>
                      <a:pt x="139" y="14"/>
                      <a:pt x="96" y="15"/>
                      <a:pt x="84" y="15"/>
                    </a:cubicBezTo>
                    <a:cubicBezTo>
                      <a:pt x="73" y="15"/>
                      <a:pt x="67" y="33"/>
                      <a:pt x="67" y="33"/>
                    </a:cubicBezTo>
                    <a:cubicBezTo>
                      <a:pt x="67" y="33"/>
                      <a:pt x="61" y="32"/>
                      <a:pt x="53" y="33"/>
                    </a:cubicBezTo>
                    <a:cubicBezTo>
                      <a:pt x="60" y="47"/>
                      <a:pt x="60" y="47"/>
                      <a:pt x="60" y="47"/>
                    </a:cubicBezTo>
                    <a:cubicBezTo>
                      <a:pt x="60" y="47"/>
                      <a:pt x="56" y="54"/>
                      <a:pt x="50" y="66"/>
                    </a:cubicBezTo>
                    <a:cubicBezTo>
                      <a:pt x="46" y="72"/>
                      <a:pt x="49" y="76"/>
                      <a:pt x="52" y="77"/>
                    </a:cubicBezTo>
                    <a:cubicBezTo>
                      <a:pt x="55" y="74"/>
                      <a:pt x="57" y="72"/>
                      <a:pt x="57" y="72"/>
                    </a:cubicBezTo>
                    <a:cubicBezTo>
                      <a:pt x="67" y="69"/>
                      <a:pt x="67" y="69"/>
                      <a:pt x="67" y="69"/>
                    </a:cubicBezTo>
                    <a:cubicBezTo>
                      <a:pt x="89" y="53"/>
                      <a:pt x="89" y="53"/>
                      <a:pt x="89" y="53"/>
                    </a:cubicBezTo>
                    <a:cubicBezTo>
                      <a:pt x="89" y="53"/>
                      <a:pt x="98" y="62"/>
                      <a:pt x="111" y="59"/>
                    </a:cubicBezTo>
                    <a:cubicBezTo>
                      <a:pt x="124" y="56"/>
                      <a:pt x="168" y="9"/>
                      <a:pt x="168" y="9"/>
                    </a:cubicBezTo>
                    <a:lnTo>
                      <a:pt x="152" y="0"/>
                    </a:lnTo>
                    <a:close/>
                    <a:moveTo>
                      <a:pt x="0" y="58"/>
                    </a:moveTo>
                    <a:cubicBezTo>
                      <a:pt x="4" y="67"/>
                      <a:pt x="4" y="67"/>
                      <a:pt x="4" y="67"/>
                    </a:cubicBezTo>
                    <a:cubicBezTo>
                      <a:pt x="15" y="58"/>
                      <a:pt x="24" y="61"/>
                      <a:pt x="24" y="61"/>
                    </a:cubicBezTo>
                    <a:cubicBezTo>
                      <a:pt x="24" y="61"/>
                      <a:pt x="24" y="54"/>
                      <a:pt x="28" y="48"/>
                    </a:cubicBezTo>
                    <a:cubicBezTo>
                      <a:pt x="11" y="47"/>
                      <a:pt x="11" y="47"/>
                      <a:pt x="11" y="47"/>
                    </a:cubicBezTo>
                    <a:lnTo>
                      <a:pt x="0" y="58"/>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24" name="Freeform 46">
                <a:extLst>
                  <a:ext uri="{FF2B5EF4-FFF2-40B4-BE49-F238E27FC236}">
                    <a16:creationId xmlns:a16="http://schemas.microsoft.com/office/drawing/2014/main" id="{88E8538B-7B36-49D3-A2C2-265370C3C09C}"/>
                  </a:ext>
                </a:extLst>
              </p:cNvPr>
              <p:cNvSpPr>
                <a:spLocks noEditPoints="1"/>
              </p:cNvSpPr>
              <p:nvPr>
                <p:custDataLst>
                  <p:tags r:id="rId5"/>
                </p:custDataLst>
              </p:nvPr>
            </p:nvSpPr>
            <p:spPr bwMode="gray">
              <a:xfrm>
                <a:off x="8488314" y="4433905"/>
                <a:ext cx="438147" cy="271462"/>
              </a:xfrm>
              <a:custGeom>
                <a:avLst/>
                <a:gdLst>
                  <a:gd name="T0" fmla="*/ 296 w 730"/>
                  <a:gd name="T1" fmla="*/ 19 h 491"/>
                  <a:gd name="T2" fmla="*/ 331 w 730"/>
                  <a:gd name="T3" fmla="*/ 7 h 491"/>
                  <a:gd name="T4" fmla="*/ 521 w 730"/>
                  <a:gd name="T5" fmla="*/ 171 h 491"/>
                  <a:gd name="T6" fmla="*/ 476 w 730"/>
                  <a:gd name="T7" fmla="*/ 209 h 491"/>
                  <a:gd name="T8" fmla="*/ 404 w 730"/>
                  <a:gd name="T9" fmla="*/ 228 h 491"/>
                  <a:gd name="T10" fmla="*/ 398 w 730"/>
                  <a:gd name="T11" fmla="*/ 257 h 491"/>
                  <a:gd name="T12" fmla="*/ 474 w 730"/>
                  <a:gd name="T13" fmla="*/ 251 h 491"/>
                  <a:gd name="T14" fmla="*/ 523 w 730"/>
                  <a:gd name="T15" fmla="*/ 228 h 491"/>
                  <a:gd name="T16" fmla="*/ 536 w 730"/>
                  <a:gd name="T17" fmla="*/ 206 h 491"/>
                  <a:gd name="T18" fmla="*/ 555 w 730"/>
                  <a:gd name="T19" fmla="*/ 140 h 491"/>
                  <a:gd name="T20" fmla="*/ 564 w 730"/>
                  <a:gd name="T21" fmla="*/ 94 h 491"/>
                  <a:gd name="T22" fmla="*/ 520 w 730"/>
                  <a:gd name="T23" fmla="*/ 58 h 491"/>
                  <a:gd name="T24" fmla="*/ 494 w 730"/>
                  <a:gd name="T25" fmla="*/ 31 h 491"/>
                  <a:gd name="T26" fmla="*/ 516 w 730"/>
                  <a:gd name="T27" fmla="*/ 69 h 491"/>
                  <a:gd name="T28" fmla="*/ 576 w 730"/>
                  <a:gd name="T29" fmla="*/ 122 h 491"/>
                  <a:gd name="T30" fmla="*/ 599 w 730"/>
                  <a:gd name="T31" fmla="*/ 131 h 491"/>
                  <a:gd name="T32" fmla="*/ 728 w 730"/>
                  <a:gd name="T33" fmla="*/ 249 h 491"/>
                  <a:gd name="T34" fmla="*/ 664 w 730"/>
                  <a:gd name="T35" fmla="*/ 185 h 491"/>
                  <a:gd name="T36" fmla="*/ 670 w 730"/>
                  <a:gd name="T37" fmla="*/ 225 h 491"/>
                  <a:gd name="T38" fmla="*/ 730 w 730"/>
                  <a:gd name="T39" fmla="*/ 300 h 491"/>
                  <a:gd name="T40" fmla="*/ 17 w 730"/>
                  <a:gd name="T41" fmla="*/ 401 h 491"/>
                  <a:gd name="T42" fmla="*/ 17 w 730"/>
                  <a:gd name="T43" fmla="*/ 401 h 491"/>
                  <a:gd name="T44" fmla="*/ 452 w 730"/>
                  <a:gd name="T45" fmla="*/ 453 h 491"/>
                  <a:gd name="T46" fmla="*/ 437 w 730"/>
                  <a:gd name="T47" fmla="*/ 426 h 491"/>
                  <a:gd name="T48" fmla="*/ 408 w 730"/>
                  <a:gd name="T49" fmla="*/ 388 h 491"/>
                  <a:gd name="T50" fmla="*/ 374 w 730"/>
                  <a:gd name="T51" fmla="*/ 375 h 491"/>
                  <a:gd name="T52" fmla="*/ 357 w 730"/>
                  <a:gd name="T53" fmla="*/ 337 h 491"/>
                  <a:gd name="T54" fmla="*/ 304 w 730"/>
                  <a:gd name="T55" fmla="*/ 274 h 491"/>
                  <a:gd name="T56" fmla="*/ 308 w 730"/>
                  <a:gd name="T57" fmla="*/ 220 h 491"/>
                  <a:gd name="T58" fmla="*/ 256 w 730"/>
                  <a:gd name="T59" fmla="*/ 169 h 491"/>
                  <a:gd name="T60" fmla="*/ 200 w 730"/>
                  <a:gd name="T61" fmla="*/ 113 h 491"/>
                  <a:gd name="T62" fmla="*/ 151 w 730"/>
                  <a:gd name="T63" fmla="*/ 91 h 491"/>
                  <a:gd name="T64" fmla="*/ 49 w 730"/>
                  <a:gd name="T65" fmla="*/ 49 h 491"/>
                  <a:gd name="T66" fmla="*/ 6 w 730"/>
                  <a:gd name="T67" fmla="*/ 36 h 491"/>
                  <a:gd name="T68" fmla="*/ 30 w 730"/>
                  <a:gd name="T69" fmla="*/ 155 h 491"/>
                  <a:gd name="T70" fmla="*/ 27 w 730"/>
                  <a:gd name="T71" fmla="*/ 253 h 491"/>
                  <a:gd name="T72" fmla="*/ 26 w 730"/>
                  <a:gd name="T73" fmla="*/ 282 h 491"/>
                  <a:gd name="T74" fmla="*/ 15 w 730"/>
                  <a:gd name="T75" fmla="*/ 353 h 491"/>
                  <a:gd name="T76" fmla="*/ 17 w 730"/>
                  <a:gd name="T77" fmla="*/ 401 h 491"/>
                  <a:gd name="T78" fmla="*/ 88 w 730"/>
                  <a:gd name="T79" fmla="*/ 408 h 491"/>
                  <a:gd name="T80" fmla="*/ 71 w 730"/>
                  <a:gd name="T81" fmla="*/ 347 h 491"/>
                  <a:gd name="T82" fmla="*/ 130 w 730"/>
                  <a:gd name="T83" fmla="*/ 329 h 491"/>
                  <a:gd name="T84" fmla="*/ 146 w 730"/>
                  <a:gd name="T85" fmla="*/ 313 h 491"/>
                  <a:gd name="T86" fmla="*/ 185 w 730"/>
                  <a:gd name="T87" fmla="*/ 311 h 491"/>
                  <a:gd name="T88" fmla="*/ 258 w 730"/>
                  <a:gd name="T89" fmla="*/ 342 h 491"/>
                  <a:gd name="T90" fmla="*/ 302 w 730"/>
                  <a:gd name="T91" fmla="*/ 398 h 491"/>
                  <a:gd name="T92" fmla="*/ 418 w 730"/>
                  <a:gd name="T93" fmla="*/ 464 h 491"/>
                  <a:gd name="T94" fmla="*/ 450 w 730"/>
                  <a:gd name="T95" fmla="*/ 464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30" h="491">
                    <a:moveTo>
                      <a:pt x="331" y="7"/>
                    </a:moveTo>
                    <a:cubicBezTo>
                      <a:pt x="318" y="0"/>
                      <a:pt x="296" y="19"/>
                      <a:pt x="296" y="19"/>
                    </a:cubicBezTo>
                    <a:cubicBezTo>
                      <a:pt x="315" y="31"/>
                      <a:pt x="315" y="31"/>
                      <a:pt x="315" y="31"/>
                    </a:cubicBezTo>
                    <a:cubicBezTo>
                      <a:pt x="333" y="35"/>
                      <a:pt x="344" y="14"/>
                      <a:pt x="331" y="7"/>
                    </a:cubicBezTo>
                    <a:close/>
                    <a:moveTo>
                      <a:pt x="508" y="150"/>
                    </a:moveTo>
                    <a:cubicBezTo>
                      <a:pt x="499" y="159"/>
                      <a:pt x="521" y="171"/>
                      <a:pt x="521" y="171"/>
                    </a:cubicBezTo>
                    <a:cubicBezTo>
                      <a:pt x="523" y="184"/>
                      <a:pt x="523" y="184"/>
                      <a:pt x="523" y="184"/>
                    </a:cubicBezTo>
                    <a:cubicBezTo>
                      <a:pt x="476" y="209"/>
                      <a:pt x="476" y="209"/>
                      <a:pt x="476" y="209"/>
                    </a:cubicBezTo>
                    <a:cubicBezTo>
                      <a:pt x="476" y="209"/>
                      <a:pt x="452" y="207"/>
                      <a:pt x="436" y="210"/>
                    </a:cubicBezTo>
                    <a:cubicBezTo>
                      <a:pt x="420" y="213"/>
                      <a:pt x="414" y="222"/>
                      <a:pt x="404" y="228"/>
                    </a:cubicBezTo>
                    <a:cubicBezTo>
                      <a:pt x="394" y="234"/>
                      <a:pt x="388" y="222"/>
                      <a:pt x="382" y="234"/>
                    </a:cubicBezTo>
                    <a:cubicBezTo>
                      <a:pt x="398" y="257"/>
                      <a:pt x="398" y="257"/>
                      <a:pt x="398" y="257"/>
                    </a:cubicBezTo>
                    <a:cubicBezTo>
                      <a:pt x="463" y="260"/>
                      <a:pt x="463" y="260"/>
                      <a:pt x="463" y="260"/>
                    </a:cubicBezTo>
                    <a:cubicBezTo>
                      <a:pt x="474" y="251"/>
                      <a:pt x="474" y="251"/>
                      <a:pt x="474" y="251"/>
                    </a:cubicBezTo>
                    <a:cubicBezTo>
                      <a:pt x="474" y="251"/>
                      <a:pt x="486" y="251"/>
                      <a:pt x="499" y="250"/>
                    </a:cubicBezTo>
                    <a:cubicBezTo>
                      <a:pt x="513" y="248"/>
                      <a:pt x="523" y="228"/>
                      <a:pt x="523" y="228"/>
                    </a:cubicBezTo>
                    <a:cubicBezTo>
                      <a:pt x="542" y="223"/>
                      <a:pt x="542" y="223"/>
                      <a:pt x="542" y="223"/>
                    </a:cubicBezTo>
                    <a:cubicBezTo>
                      <a:pt x="536" y="206"/>
                      <a:pt x="536" y="206"/>
                      <a:pt x="536" y="206"/>
                    </a:cubicBezTo>
                    <a:cubicBezTo>
                      <a:pt x="554" y="209"/>
                      <a:pt x="554" y="209"/>
                      <a:pt x="554" y="209"/>
                    </a:cubicBezTo>
                    <a:cubicBezTo>
                      <a:pt x="554" y="209"/>
                      <a:pt x="562" y="157"/>
                      <a:pt x="555" y="140"/>
                    </a:cubicBezTo>
                    <a:cubicBezTo>
                      <a:pt x="548" y="122"/>
                      <a:pt x="517" y="141"/>
                      <a:pt x="508" y="150"/>
                    </a:cubicBezTo>
                    <a:close/>
                    <a:moveTo>
                      <a:pt x="564" y="94"/>
                    </a:moveTo>
                    <a:cubicBezTo>
                      <a:pt x="555" y="94"/>
                      <a:pt x="555" y="94"/>
                      <a:pt x="555" y="94"/>
                    </a:cubicBezTo>
                    <a:cubicBezTo>
                      <a:pt x="555" y="94"/>
                      <a:pt x="524" y="60"/>
                      <a:pt x="520" y="58"/>
                    </a:cubicBezTo>
                    <a:cubicBezTo>
                      <a:pt x="516" y="55"/>
                      <a:pt x="508" y="55"/>
                      <a:pt x="508" y="55"/>
                    </a:cubicBezTo>
                    <a:cubicBezTo>
                      <a:pt x="494" y="31"/>
                      <a:pt x="494" y="31"/>
                      <a:pt x="494" y="31"/>
                    </a:cubicBezTo>
                    <a:cubicBezTo>
                      <a:pt x="486" y="63"/>
                      <a:pt x="486" y="63"/>
                      <a:pt x="486" y="63"/>
                    </a:cubicBezTo>
                    <a:cubicBezTo>
                      <a:pt x="516" y="69"/>
                      <a:pt x="516" y="69"/>
                      <a:pt x="516" y="69"/>
                    </a:cubicBezTo>
                    <a:cubicBezTo>
                      <a:pt x="516" y="69"/>
                      <a:pt x="539" y="96"/>
                      <a:pt x="545" y="102"/>
                    </a:cubicBezTo>
                    <a:cubicBezTo>
                      <a:pt x="551" y="107"/>
                      <a:pt x="571" y="109"/>
                      <a:pt x="576" y="122"/>
                    </a:cubicBezTo>
                    <a:cubicBezTo>
                      <a:pt x="580" y="135"/>
                      <a:pt x="562" y="179"/>
                      <a:pt x="589" y="181"/>
                    </a:cubicBezTo>
                    <a:cubicBezTo>
                      <a:pt x="604" y="182"/>
                      <a:pt x="612" y="150"/>
                      <a:pt x="599" y="131"/>
                    </a:cubicBezTo>
                    <a:cubicBezTo>
                      <a:pt x="586" y="112"/>
                      <a:pt x="564" y="94"/>
                      <a:pt x="564" y="94"/>
                    </a:cubicBezTo>
                    <a:close/>
                    <a:moveTo>
                      <a:pt x="728" y="249"/>
                    </a:moveTo>
                    <a:cubicBezTo>
                      <a:pt x="687" y="202"/>
                      <a:pt x="687" y="202"/>
                      <a:pt x="687" y="202"/>
                    </a:cubicBezTo>
                    <a:cubicBezTo>
                      <a:pt x="687" y="202"/>
                      <a:pt x="683" y="177"/>
                      <a:pt x="664" y="185"/>
                    </a:cubicBezTo>
                    <a:cubicBezTo>
                      <a:pt x="653" y="190"/>
                      <a:pt x="659" y="206"/>
                      <a:pt x="659" y="206"/>
                    </a:cubicBezTo>
                    <a:cubicBezTo>
                      <a:pt x="670" y="225"/>
                      <a:pt x="670" y="225"/>
                      <a:pt x="670" y="225"/>
                    </a:cubicBezTo>
                    <a:cubicBezTo>
                      <a:pt x="687" y="257"/>
                      <a:pt x="687" y="257"/>
                      <a:pt x="687" y="257"/>
                    </a:cubicBezTo>
                    <a:cubicBezTo>
                      <a:pt x="730" y="300"/>
                      <a:pt x="730" y="300"/>
                      <a:pt x="730" y="300"/>
                    </a:cubicBezTo>
                    <a:lnTo>
                      <a:pt x="728" y="249"/>
                    </a:lnTo>
                    <a:close/>
                    <a:moveTo>
                      <a:pt x="17" y="401"/>
                    </a:moveTo>
                    <a:cubicBezTo>
                      <a:pt x="17" y="401"/>
                      <a:pt x="17" y="401"/>
                      <a:pt x="17" y="401"/>
                    </a:cubicBezTo>
                    <a:cubicBezTo>
                      <a:pt x="17" y="401"/>
                      <a:pt x="17" y="401"/>
                      <a:pt x="17" y="401"/>
                    </a:cubicBezTo>
                    <a:cubicBezTo>
                      <a:pt x="17" y="401"/>
                      <a:pt x="17" y="401"/>
                      <a:pt x="17" y="401"/>
                    </a:cubicBezTo>
                    <a:close/>
                    <a:moveTo>
                      <a:pt x="452" y="453"/>
                    </a:moveTo>
                    <a:cubicBezTo>
                      <a:pt x="425" y="436"/>
                      <a:pt x="425" y="436"/>
                      <a:pt x="425" y="436"/>
                    </a:cubicBezTo>
                    <a:cubicBezTo>
                      <a:pt x="437" y="426"/>
                      <a:pt x="437" y="426"/>
                      <a:pt x="437" y="426"/>
                    </a:cubicBezTo>
                    <a:cubicBezTo>
                      <a:pt x="437" y="426"/>
                      <a:pt x="413" y="425"/>
                      <a:pt x="406" y="418"/>
                    </a:cubicBezTo>
                    <a:cubicBezTo>
                      <a:pt x="400" y="411"/>
                      <a:pt x="408" y="397"/>
                      <a:pt x="408" y="388"/>
                    </a:cubicBezTo>
                    <a:cubicBezTo>
                      <a:pt x="408" y="379"/>
                      <a:pt x="375" y="396"/>
                      <a:pt x="375" y="396"/>
                    </a:cubicBezTo>
                    <a:cubicBezTo>
                      <a:pt x="374" y="375"/>
                      <a:pt x="374" y="375"/>
                      <a:pt x="374" y="375"/>
                    </a:cubicBezTo>
                    <a:cubicBezTo>
                      <a:pt x="357" y="367"/>
                      <a:pt x="357" y="367"/>
                      <a:pt x="357" y="367"/>
                    </a:cubicBezTo>
                    <a:cubicBezTo>
                      <a:pt x="357" y="337"/>
                      <a:pt x="357" y="337"/>
                      <a:pt x="357" y="337"/>
                    </a:cubicBezTo>
                    <a:cubicBezTo>
                      <a:pt x="321" y="311"/>
                      <a:pt x="321" y="311"/>
                      <a:pt x="321" y="311"/>
                    </a:cubicBezTo>
                    <a:cubicBezTo>
                      <a:pt x="304" y="274"/>
                      <a:pt x="304" y="274"/>
                      <a:pt x="304" y="274"/>
                    </a:cubicBezTo>
                    <a:cubicBezTo>
                      <a:pt x="304" y="274"/>
                      <a:pt x="342" y="261"/>
                      <a:pt x="342" y="245"/>
                    </a:cubicBezTo>
                    <a:cubicBezTo>
                      <a:pt x="342" y="229"/>
                      <a:pt x="308" y="220"/>
                      <a:pt x="308" y="220"/>
                    </a:cubicBezTo>
                    <a:cubicBezTo>
                      <a:pt x="306" y="216"/>
                      <a:pt x="256" y="202"/>
                      <a:pt x="256" y="202"/>
                    </a:cubicBezTo>
                    <a:cubicBezTo>
                      <a:pt x="256" y="202"/>
                      <a:pt x="252" y="189"/>
                      <a:pt x="256" y="169"/>
                    </a:cubicBezTo>
                    <a:cubicBezTo>
                      <a:pt x="260" y="150"/>
                      <a:pt x="232" y="147"/>
                      <a:pt x="232" y="147"/>
                    </a:cubicBezTo>
                    <a:cubicBezTo>
                      <a:pt x="200" y="113"/>
                      <a:pt x="200" y="113"/>
                      <a:pt x="200" y="113"/>
                    </a:cubicBezTo>
                    <a:cubicBezTo>
                      <a:pt x="175" y="114"/>
                      <a:pt x="175" y="114"/>
                      <a:pt x="175" y="114"/>
                    </a:cubicBezTo>
                    <a:cubicBezTo>
                      <a:pt x="151" y="91"/>
                      <a:pt x="151" y="91"/>
                      <a:pt x="151" y="91"/>
                    </a:cubicBezTo>
                    <a:cubicBezTo>
                      <a:pt x="131" y="87"/>
                      <a:pt x="131" y="87"/>
                      <a:pt x="131" y="87"/>
                    </a:cubicBezTo>
                    <a:cubicBezTo>
                      <a:pt x="49" y="49"/>
                      <a:pt x="49" y="49"/>
                      <a:pt x="49" y="49"/>
                    </a:cubicBezTo>
                    <a:cubicBezTo>
                      <a:pt x="33" y="55"/>
                      <a:pt x="33" y="55"/>
                      <a:pt x="33" y="55"/>
                    </a:cubicBezTo>
                    <a:cubicBezTo>
                      <a:pt x="6" y="36"/>
                      <a:pt x="6" y="36"/>
                      <a:pt x="6" y="36"/>
                    </a:cubicBezTo>
                    <a:cubicBezTo>
                      <a:pt x="32" y="55"/>
                      <a:pt x="32" y="55"/>
                      <a:pt x="32" y="55"/>
                    </a:cubicBezTo>
                    <a:cubicBezTo>
                      <a:pt x="32" y="75"/>
                      <a:pt x="30" y="139"/>
                      <a:pt x="30" y="155"/>
                    </a:cubicBezTo>
                    <a:cubicBezTo>
                      <a:pt x="30" y="175"/>
                      <a:pt x="22" y="197"/>
                      <a:pt x="24" y="212"/>
                    </a:cubicBezTo>
                    <a:cubicBezTo>
                      <a:pt x="26" y="227"/>
                      <a:pt x="27" y="253"/>
                      <a:pt x="27" y="253"/>
                    </a:cubicBezTo>
                    <a:cubicBezTo>
                      <a:pt x="27" y="253"/>
                      <a:pt x="0" y="271"/>
                      <a:pt x="11" y="277"/>
                    </a:cubicBezTo>
                    <a:cubicBezTo>
                      <a:pt x="22" y="284"/>
                      <a:pt x="26" y="282"/>
                      <a:pt x="26" y="282"/>
                    </a:cubicBezTo>
                    <a:cubicBezTo>
                      <a:pt x="26" y="282"/>
                      <a:pt x="23" y="319"/>
                      <a:pt x="21" y="327"/>
                    </a:cubicBezTo>
                    <a:cubicBezTo>
                      <a:pt x="19" y="334"/>
                      <a:pt x="15" y="353"/>
                      <a:pt x="15" y="353"/>
                    </a:cubicBezTo>
                    <a:cubicBezTo>
                      <a:pt x="19" y="369"/>
                      <a:pt x="19" y="369"/>
                      <a:pt x="19" y="369"/>
                    </a:cubicBezTo>
                    <a:cubicBezTo>
                      <a:pt x="17" y="401"/>
                      <a:pt x="17" y="401"/>
                      <a:pt x="17" y="401"/>
                    </a:cubicBezTo>
                    <a:cubicBezTo>
                      <a:pt x="34" y="405"/>
                      <a:pt x="75" y="396"/>
                      <a:pt x="75" y="396"/>
                    </a:cubicBezTo>
                    <a:cubicBezTo>
                      <a:pt x="88" y="408"/>
                      <a:pt x="88" y="408"/>
                      <a:pt x="88" y="408"/>
                    </a:cubicBezTo>
                    <a:cubicBezTo>
                      <a:pt x="88" y="408"/>
                      <a:pt x="114" y="398"/>
                      <a:pt x="126" y="388"/>
                    </a:cubicBezTo>
                    <a:cubicBezTo>
                      <a:pt x="138" y="377"/>
                      <a:pt x="71" y="347"/>
                      <a:pt x="71" y="347"/>
                    </a:cubicBezTo>
                    <a:cubicBezTo>
                      <a:pt x="71" y="347"/>
                      <a:pt x="126" y="355"/>
                      <a:pt x="138" y="353"/>
                    </a:cubicBezTo>
                    <a:cubicBezTo>
                      <a:pt x="150" y="350"/>
                      <a:pt x="130" y="329"/>
                      <a:pt x="130" y="329"/>
                    </a:cubicBezTo>
                    <a:cubicBezTo>
                      <a:pt x="130" y="329"/>
                      <a:pt x="146" y="341"/>
                      <a:pt x="151" y="338"/>
                    </a:cubicBezTo>
                    <a:cubicBezTo>
                      <a:pt x="156" y="336"/>
                      <a:pt x="146" y="313"/>
                      <a:pt x="146" y="313"/>
                    </a:cubicBezTo>
                    <a:cubicBezTo>
                      <a:pt x="146" y="313"/>
                      <a:pt x="156" y="322"/>
                      <a:pt x="163" y="324"/>
                    </a:cubicBezTo>
                    <a:cubicBezTo>
                      <a:pt x="169" y="325"/>
                      <a:pt x="179" y="312"/>
                      <a:pt x="185" y="311"/>
                    </a:cubicBezTo>
                    <a:cubicBezTo>
                      <a:pt x="192" y="309"/>
                      <a:pt x="202" y="329"/>
                      <a:pt x="209" y="333"/>
                    </a:cubicBezTo>
                    <a:cubicBezTo>
                      <a:pt x="215" y="337"/>
                      <a:pt x="240" y="332"/>
                      <a:pt x="258" y="342"/>
                    </a:cubicBezTo>
                    <a:cubicBezTo>
                      <a:pt x="277" y="353"/>
                      <a:pt x="270" y="376"/>
                      <a:pt x="277" y="388"/>
                    </a:cubicBezTo>
                    <a:cubicBezTo>
                      <a:pt x="283" y="400"/>
                      <a:pt x="296" y="392"/>
                      <a:pt x="302" y="398"/>
                    </a:cubicBezTo>
                    <a:cubicBezTo>
                      <a:pt x="307" y="405"/>
                      <a:pt x="316" y="446"/>
                      <a:pt x="330" y="456"/>
                    </a:cubicBezTo>
                    <a:cubicBezTo>
                      <a:pt x="345" y="466"/>
                      <a:pt x="409" y="460"/>
                      <a:pt x="418" y="464"/>
                    </a:cubicBezTo>
                    <a:cubicBezTo>
                      <a:pt x="427" y="468"/>
                      <a:pt x="447" y="491"/>
                      <a:pt x="459" y="491"/>
                    </a:cubicBezTo>
                    <a:cubicBezTo>
                      <a:pt x="471" y="491"/>
                      <a:pt x="450" y="464"/>
                      <a:pt x="450" y="464"/>
                    </a:cubicBezTo>
                    <a:lnTo>
                      <a:pt x="452" y="453"/>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25" name="Freeform 47">
                <a:extLst>
                  <a:ext uri="{FF2B5EF4-FFF2-40B4-BE49-F238E27FC236}">
                    <a16:creationId xmlns:a16="http://schemas.microsoft.com/office/drawing/2014/main" id="{613BAB49-39BC-4786-9E62-5BEABE002A6C}"/>
                  </a:ext>
                </a:extLst>
              </p:cNvPr>
              <p:cNvSpPr>
                <a:spLocks noEditPoints="1"/>
              </p:cNvSpPr>
              <p:nvPr>
                <p:custDataLst>
                  <p:tags r:id="rId6"/>
                </p:custDataLst>
              </p:nvPr>
            </p:nvSpPr>
            <p:spPr bwMode="gray">
              <a:xfrm>
                <a:off x="7197683" y="4213241"/>
                <a:ext cx="1311267" cy="485776"/>
              </a:xfrm>
              <a:custGeom>
                <a:avLst/>
                <a:gdLst>
                  <a:gd name="T0" fmla="*/ 455 w 2179"/>
                  <a:gd name="T1" fmla="*/ 287 h 879"/>
                  <a:gd name="T2" fmla="*/ 603 w 2179"/>
                  <a:gd name="T3" fmla="*/ 446 h 879"/>
                  <a:gd name="T4" fmla="*/ 558 w 2179"/>
                  <a:gd name="T5" fmla="*/ 443 h 879"/>
                  <a:gd name="T6" fmla="*/ 162 w 2179"/>
                  <a:gd name="T7" fmla="*/ 330 h 879"/>
                  <a:gd name="T8" fmla="*/ 40 w 2179"/>
                  <a:gd name="T9" fmla="*/ 174 h 879"/>
                  <a:gd name="T10" fmla="*/ 1708 w 2179"/>
                  <a:gd name="T11" fmla="*/ 314 h 879"/>
                  <a:gd name="T12" fmla="*/ 1627 w 2179"/>
                  <a:gd name="T13" fmla="*/ 412 h 879"/>
                  <a:gd name="T14" fmla="*/ 1950 w 2179"/>
                  <a:gd name="T15" fmla="*/ 413 h 879"/>
                  <a:gd name="T16" fmla="*/ 1124 w 2179"/>
                  <a:gd name="T17" fmla="*/ 485 h 879"/>
                  <a:gd name="T18" fmla="*/ 1210 w 2179"/>
                  <a:gd name="T19" fmla="*/ 476 h 879"/>
                  <a:gd name="T20" fmla="*/ 1285 w 2179"/>
                  <a:gd name="T21" fmla="*/ 614 h 879"/>
                  <a:gd name="T22" fmla="*/ 1291 w 2179"/>
                  <a:gd name="T23" fmla="*/ 446 h 879"/>
                  <a:gd name="T24" fmla="*/ 1240 w 2179"/>
                  <a:gd name="T25" fmla="*/ 370 h 879"/>
                  <a:gd name="T26" fmla="*/ 1415 w 2179"/>
                  <a:gd name="T27" fmla="*/ 258 h 879"/>
                  <a:gd name="T28" fmla="*/ 1253 w 2179"/>
                  <a:gd name="T29" fmla="*/ 232 h 879"/>
                  <a:gd name="T30" fmla="*/ 1328 w 2179"/>
                  <a:gd name="T31" fmla="*/ 387 h 879"/>
                  <a:gd name="T32" fmla="*/ 1127 w 2179"/>
                  <a:gd name="T33" fmla="*/ 743 h 879"/>
                  <a:gd name="T34" fmla="*/ 1542 w 2179"/>
                  <a:gd name="T35" fmla="*/ 370 h 879"/>
                  <a:gd name="T36" fmla="*/ 1603 w 2179"/>
                  <a:gd name="T37" fmla="*/ 288 h 879"/>
                  <a:gd name="T38" fmla="*/ 1548 w 2179"/>
                  <a:gd name="T39" fmla="*/ 230 h 879"/>
                  <a:gd name="T40" fmla="*/ 1517 w 2179"/>
                  <a:gd name="T41" fmla="*/ 471 h 879"/>
                  <a:gd name="T42" fmla="*/ 1634 w 2179"/>
                  <a:gd name="T43" fmla="*/ 448 h 879"/>
                  <a:gd name="T44" fmla="*/ 1654 w 2179"/>
                  <a:gd name="T45" fmla="*/ 509 h 879"/>
                  <a:gd name="T46" fmla="*/ 2007 w 2179"/>
                  <a:gd name="T47" fmla="*/ 423 h 879"/>
                  <a:gd name="T48" fmla="*/ 1820 w 2179"/>
                  <a:gd name="T49" fmla="*/ 350 h 879"/>
                  <a:gd name="T50" fmla="*/ 1749 w 2179"/>
                  <a:gd name="T51" fmla="*/ 393 h 879"/>
                  <a:gd name="T52" fmla="*/ 1790 w 2179"/>
                  <a:gd name="T53" fmla="*/ 530 h 879"/>
                  <a:gd name="T54" fmla="*/ 1964 w 2179"/>
                  <a:gd name="T55" fmla="*/ 567 h 879"/>
                  <a:gd name="T56" fmla="*/ 2077 w 2179"/>
                  <a:gd name="T57" fmla="*/ 729 h 879"/>
                  <a:gd name="T58" fmla="*/ 2168 w 2179"/>
                  <a:gd name="T59" fmla="*/ 726 h 879"/>
                  <a:gd name="T60" fmla="*/ 258 w 2179"/>
                  <a:gd name="T61" fmla="*/ 478 h 879"/>
                  <a:gd name="T62" fmla="*/ 2037 w 2179"/>
                  <a:gd name="T63" fmla="*/ 711 h 879"/>
                  <a:gd name="T64" fmla="*/ 1860 w 2179"/>
                  <a:gd name="T65" fmla="*/ 679 h 879"/>
                  <a:gd name="T66" fmla="*/ 1427 w 2179"/>
                  <a:gd name="T67" fmla="*/ 403 h 879"/>
                  <a:gd name="T68" fmla="*/ 863 w 2179"/>
                  <a:gd name="T69" fmla="*/ 677 h 879"/>
                  <a:gd name="T70" fmla="*/ 499 w 2179"/>
                  <a:gd name="T71" fmla="*/ 620 h 879"/>
                  <a:gd name="T72" fmla="*/ 450 w 2179"/>
                  <a:gd name="T73" fmla="*/ 413 h 879"/>
                  <a:gd name="T74" fmla="*/ 340 w 2179"/>
                  <a:gd name="T75" fmla="*/ 238 h 879"/>
                  <a:gd name="T76" fmla="*/ 151 w 2179"/>
                  <a:gd name="T77" fmla="*/ 72 h 879"/>
                  <a:gd name="T78" fmla="*/ 119 w 2179"/>
                  <a:gd name="T79" fmla="*/ 154 h 879"/>
                  <a:gd name="T80" fmla="*/ 275 w 2179"/>
                  <a:gd name="T81" fmla="*/ 408 h 879"/>
                  <a:gd name="T82" fmla="*/ 444 w 2179"/>
                  <a:gd name="T83" fmla="*/ 630 h 879"/>
                  <a:gd name="T84" fmla="*/ 1408 w 2179"/>
                  <a:gd name="T85" fmla="*/ 828 h 879"/>
                  <a:gd name="T86" fmla="*/ 778 w 2179"/>
                  <a:gd name="T87" fmla="*/ 674 h 879"/>
                  <a:gd name="T88" fmla="*/ 535 w 2179"/>
                  <a:gd name="T89" fmla="*/ 624 h 879"/>
                  <a:gd name="T90" fmla="*/ 705 w 2179"/>
                  <a:gd name="T91" fmla="*/ 728 h 879"/>
                  <a:gd name="T92" fmla="*/ 1004 w 2179"/>
                  <a:gd name="T93" fmla="*/ 484 h 879"/>
                  <a:gd name="T94" fmla="*/ 1139 w 2179"/>
                  <a:gd name="T95" fmla="*/ 271 h 879"/>
                  <a:gd name="T96" fmla="*/ 1086 w 2179"/>
                  <a:gd name="T97" fmla="*/ 110 h 879"/>
                  <a:gd name="T98" fmla="*/ 939 w 2179"/>
                  <a:gd name="T99" fmla="*/ 208 h 879"/>
                  <a:gd name="T100" fmla="*/ 712 w 2179"/>
                  <a:gd name="T101" fmla="*/ 247 h 879"/>
                  <a:gd name="T102" fmla="*/ 716 w 2179"/>
                  <a:gd name="T103" fmla="*/ 388 h 879"/>
                  <a:gd name="T104" fmla="*/ 822 w 2179"/>
                  <a:gd name="T105" fmla="*/ 472 h 879"/>
                  <a:gd name="T106" fmla="*/ 974 w 2179"/>
                  <a:gd name="T107" fmla="*/ 755 h 879"/>
                  <a:gd name="T108" fmla="*/ 1187 w 2179"/>
                  <a:gd name="T109" fmla="*/ 827 h 879"/>
                  <a:gd name="T110" fmla="*/ 1151 w 2179"/>
                  <a:gd name="T111" fmla="*/ 787 h 879"/>
                  <a:gd name="T112" fmla="*/ 1056 w 2179"/>
                  <a:gd name="T113" fmla="*/ 774 h 879"/>
                  <a:gd name="T114" fmla="*/ 1067 w 2179"/>
                  <a:gd name="T115" fmla="*/ 771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79" h="879">
                    <a:moveTo>
                      <a:pt x="1196" y="656"/>
                    </a:moveTo>
                    <a:cubicBezTo>
                      <a:pt x="1210" y="655"/>
                      <a:pt x="1210" y="655"/>
                      <a:pt x="1210" y="655"/>
                    </a:cubicBezTo>
                    <a:cubicBezTo>
                      <a:pt x="1218" y="637"/>
                      <a:pt x="1218" y="637"/>
                      <a:pt x="1218" y="637"/>
                    </a:cubicBezTo>
                    <a:cubicBezTo>
                      <a:pt x="1215" y="622"/>
                      <a:pt x="1215" y="622"/>
                      <a:pt x="1215" y="622"/>
                    </a:cubicBezTo>
                    <a:lnTo>
                      <a:pt x="1196" y="656"/>
                    </a:lnTo>
                    <a:close/>
                    <a:moveTo>
                      <a:pt x="453" y="310"/>
                    </a:moveTo>
                    <a:cubicBezTo>
                      <a:pt x="472" y="321"/>
                      <a:pt x="472" y="321"/>
                      <a:pt x="472" y="321"/>
                    </a:cubicBezTo>
                    <a:cubicBezTo>
                      <a:pt x="472" y="300"/>
                      <a:pt x="472" y="300"/>
                      <a:pt x="472" y="300"/>
                    </a:cubicBezTo>
                    <a:cubicBezTo>
                      <a:pt x="455" y="287"/>
                      <a:pt x="455" y="287"/>
                      <a:pt x="455" y="287"/>
                    </a:cubicBezTo>
                    <a:lnTo>
                      <a:pt x="453" y="310"/>
                    </a:lnTo>
                    <a:close/>
                    <a:moveTo>
                      <a:pt x="455" y="331"/>
                    </a:moveTo>
                    <a:cubicBezTo>
                      <a:pt x="441" y="344"/>
                      <a:pt x="441" y="344"/>
                      <a:pt x="441" y="344"/>
                    </a:cubicBezTo>
                    <a:cubicBezTo>
                      <a:pt x="458" y="365"/>
                      <a:pt x="458" y="365"/>
                      <a:pt x="458" y="365"/>
                    </a:cubicBezTo>
                    <a:lnTo>
                      <a:pt x="455" y="331"/>
                    </a:lnTo>
                    <a:close/>
                    <a:moveTo>
                      <a:pt x="611" y="478"/>
                    </a:moveTo>
                    <a:cubicBezTo>
                      <a:pt x="624" y="491"/>
                      <a:pt x="624" y="491"/>
                      <a:pt x="624" y="491"/>
                    </a:cubicBezTo>
                    <a:cubicBezTo>
                      <a:pt x="630" y="474"/>
                      <a:pt x="630" y="474"/>
                      <a:pt x="630" y="474"/>
                    </a:cubicBezTo>
                    <a:cubicBezTo>
                      <a:pt x="630" y="474"/>
                      <a:pt x="622" y="444"/>
                      <a:pt x="603" y="446"/>
                    </a:cubicBezTo>
                    <a:cubicBezTo>
                      <a:pt x="584" y="447"/>
                      <a:pt x="590" y="466"/>
                      <a:pt x="596" y="484"/>
                    </a:cubicBezTo>
                    <a:lnTo>
                      <a:pt x="611" y="478"/>
                    </a:lnTo>
                    <a:close/>
                    <a:moveTo>
                      <a:pt x="459" y="249"/>
                    </a:moveTo>
                    <a:cubicBezTo>
                      <a:pt x="454" y="237"/>
                      <a:pt x="440" y="244"/>
                      <a:pt x="450" y="260"/>
                    </a:cubicBezTo>
                    <a:cubicBezTo>
                      <a:pt x="461" y="279"/>
                      <a:pt x="464" y="261"/>
                      <a:pt x="459" y="249"/>
                    </a:cubicBezTo>
                    <a:close/>
                    <a:moveTo>
                      <a:pt x="507" y="418"/>
                    </a:moveTo>
                    <a:cubicBezTo>
                      <a:pt x="507" y="418"/>
                      <a:pt x="512" y="447"/>
                      <a:pt x="523" y="459"/>
                    </a:cubicBezTo>
                    <a:cubicBezTo>
                      <a:pt x="533" y="471"/>
                      <a:pt x="559" y="471"/>
                      <a:pt x="559" y="471"/>
                    </a:cubicBezTo>
                    <a:cubicBezTo>
                      <a:pt x="558" y="443"/>
                      <a:pt x="558" y="443"/>
                      <a:pt x="558" y="443"/>
                    </a:cubicBezTo>
                    <a:cubicBezTo>
                      <a:pt x="546" y="435"/>
                      <a:pt x="546" y="435"/>
                      <a:pt x="546" y="435"/>
                    </a:cubicBezTo>
                    <a:cubicBezTo>
                      <a:pt x="545" y="415"/>
                      <a:pt x="545" y="415"/>
                      <a:pt x="545" y="415"/>
                    </a:cubicBezTo>
                    <a:cubicBezTo>
                      <a:pt x="545" y="415"/>
                      <a:pt x="530" y="390"/>
                      <a:pt x="508" y="384"/>
                    </a:cubicBezTo>
                    <a:cubicBezTo>
                      <a:pt x="486" y="378"/>
                      <a:pt x="487" y="403"/>
                      <a:pt x="487" y="403"/>
                    </a:cubicBezTo>
                    <a:cubicBezTo>
                      <a:pt x="487" y="403"/>
                      <a:pt x="473" y="399"/>
                      <a:pt x="480" y="419"/>
                    </a:cubicBezTo>
                    <a:lnTo>
                      <a:pt x="507" y="418"/>
                    </a:lnTo>
                    <a:close/>
                    <a:moveTo>
                      <a:pt x="169" y="296"/>
                    </a:moveTo>
                    <a:cubicBezTo>
                      <a:pt x="154" y="310"/>
                      <a:pt x="154" y="310"/>
                      <a:pt x="154" y="310"/>
                    </a:cubicBezTo>
                    <a:cubicBezTo>
                      <a:pt x="162" y="330"/>
                      <a:pt x="162" y="330"/>
                      <a:pt x="162" y="330"/>
                    </a:cubicBezTo>
                    <a:cubicBezTo>
                      <a:pt x="162" y="330"/>
                      <a:pt x="152" y="348"/>
                      <a:pt x="164" y="344"/>
                    </a:cubicBezTo>
                    <a:cubicBezTo>
                      <a:pt x="171" y="341"/>
                      <a:pt x="168" y="316"/>
                      <a:pt x="168" y="316"/>
                    </a:cubicBezTo>
                    <a:cubicBezTo>
                      <a:pt x="175" y="307"/>
                      <a:pt x="175" y="307"/>
                      <a:pt x="175" y="307"/>
                    </a:cubicBezTo>
                    <a:lnTo>
                      <a:pt x="169" y="296"/>
                    </a:lnTo>
                    <a:close/>
                    <a:moveTo>
                      <a:pt x="180" y="360"/>
                    </a:moveTo>
                    <a:cubicBezTo>
                      <a:pt x="170" y="372"/>
                      <a:pt x="176" y="414"/>
                      <a:pt x="198" y="410"/>
                    </a:cubicBezTo>
                    <a:cubicBezTo>
                      <a:pt x="207" y="408"/>
                      <a:pt x="191" y="348"/>
                      <a:pt x="180" y="360"/>
                    </a:cubicBezTo>
                    <a:close/>
                    <a:moveTo>
                      <a:pt x="35" y="152"/>
                    </a:moveTo>
                    <a:cubicBezTo>
                      <a:pt x="30" y="157"/>
                      <a:pt x="28" y="173"/>
                      <a:pt x="40" y="174"/>
                    </a:cubicBezTo>
                    <a:cubicBezTo>
                      <a:pt x="52" y="176"/>
                      <a:pt x="55" y="189"/>
                      <a:pt x="66" y="181"/>
                    </a:cubicBezTo>
                    <a:cubicBezTo>
                      <a:pt x="73" y="175"/>
                      <a:pt x="40" y="146"/>
                      <a:pt x="35" y="152"/>
                    </a:cubicBezTo>
                    <a:close/>
                    <a:moveTo>
                      <a:pt x="112" y="221"/>
                    </a:moveTo>
                    <a:cubicBezTo>
                      <a:pt x="104" y="221"/>
                      <a:pt x="94" y="234"/>
                      <a:pt x="106" y="242"/>
                    </a:cubicBezTo>
                    <a:cubicBezTo>
                      <a:pt x="118" y="250"/>
                      <a:pt x="122" y="280"/>
                      <a:pt x="134" y="280"/>
                    </a:cubicBezTo>
                    <a:cubicBezTo>
                      <a:pt x="141" y="280"/>
                      <a:pt x="142" y="249"/>
                      <a:pt x="138" y="245"/>
                    </a:cubicBezTo>
                    <a:cubicBezTo>
                      <a:pt x="134" y="241"/>
                      <a:pt x="120" y="221"/>
                      <a:pt x="112" y="221"/>
                    </a:cubicBezTo>
                    <a:close/>
                    <a:moveTo>
                      <a:pt x="1721" y="328"/>
                    </a:moveTo>
                    <a:cubicBezTo>
                      <a:pt x="1721" y="328"/>
                      <a:pt x="1725" y="316"/>
                      <a:pt x="1708" y="314"/>
                    </a:cubicBezTo>
                    <a:cubicBezTo>
                      <a:pt x="1691" y="311"/>
                      <a:pt x="1680" y="316"/>
                      <a:pt x="1680" y="316"/>
                    </a:cubicBezTo>
                    <a:cubicBezTo>
                      <a:pt x="1684" y="334"/>
                      <a:pt x="1684" y="334"/>
                      <a:pt x="1684" y="334"/>
                    </a:cubicBezTo>
                    <a:cubicBezTo>
                      <a:pt x="1693" y="333"/>
                      <a:pt x="1721" y="328"/>
                      <a:pt x="1721" y="328"/>
                    </a:cubicBezTo>
                    <a:close/>
                    <a:moveTo>
                      <a:pt x="230" y="434"/>
                    </a:moveTo>
                    <a:cubicBezTo>
                      <a:pt x="239" y="433"/>
                      <a:pt x="226" y="413"/>
                      <a:pt x="218" y="418"/>
                    </a:cubicBezTo>
                    <a:cubicBezTo>
                      <a:pt x="211" y="422"/>
                      <a:pt x="220" y="436"/>
                      <a:pt x="230" y="434"/>
                    </a:cubicBezTo>
                    <a:close/>
                    <a:moveTo>
                      <a:pt x="1652" y="438"/>
                    </a:moveTo>
                    <a:cubicBezTo>
                      <a:pt x="1674" y="429"/>
                      <a:pt x="1672" y="413"/>
                      <a:pt x="1672" y="413"/>
                    </a:cubicBezTo>
                    <a:cubicBezTo>
                      <a:pt x="1627" y="412"/>
                      <a:pt x="1627" y="412"/>
                      <a:pt x="1627" y="412"/>
                    </a:cubicBezTo>
                    <a:cubicBezTo>
                      <a:pt x="1627" y="412"/>
                      <a:pt x="1630" y="447"/>
                      <a:pt x="1652" y="438"/>
                    </a:cubicBezTo>
                    <a:close/>
                    <a:moveTo>
                      <a:pt x="1609" y="194"/>
                    </a:moveTo>
                    <a:cubicBezTo>
                      <a:pt x="1624" y="182"/>
                      <a:pt x="1618" y="175"/>
                      <a:pt x="1605" y="171"/>
                    </a:cubicBezTo>
                    <a:cubicBezTo>
                      <a:pt x="1592" y="167"/>
                      <a:pt x="1586" y="172"/>
                      <a:pt x="1586" y="172"/>
                    </a:cubicBezTo>
                    <a:cubicBezTo>
                      <a:pt x="1586" y="172"/>
                      <a:pt x="1601" y="202"/>
                      <a:pt x="1609" y="194"/>
                    </a:cubicBezTo>
                    <a:close/>
                    <a:moveTo>
                      <a:pt x="1918" y="353"/>
                    </a:moveTo>
                    <a:cubicBezTo>
                      <a:pt x="1937" y="362"/>
                      <a:pt x="1945" y="353"/>
                      <a:pt x="1930" y="346"/>
                    </a:cubicBezTo>
                    <a:cubicBezTo>
                      <a:pt x="1916" y="340"/>
                      <a:pt x="1910" y="349"/>
                      <a:pt x="1918" y="353"/>
                    </a:cubicBezTo>
                    <a:close/>
                    <a:moveTo>
                      <a:pt x="1950" y="413"/>
                    </a:moveTo>
                    <a:cubicBezTo>
                      <a:pt x="1959" y="413"/>
                      <a:pt x="1986" y="406"/>
                      <a:pt x="1986" y="406"/>
                    </a:cubicBezTo>
                    <a:cubicBezTo>
                      <a:pt x="1986" y="406"/>
                      <a:pt x="1962" y="396"/>
                      <a:pt x="1957" y="395"/>
                    </a:cubicBezTo>
                    <a:cubicBezTo>
                      <a:pt x="1953" y="394"/>
                      <a:pt x="1924" y="400"/>
                      <a:pt x="1924" y="400"/>
                    </a:cubicBezTo>
                    <a:cubicBezTo>
                      <a:pt x="1924" y="400"/>
                      <a:pt x="1940" y="413"/>
                      <a:pt x="1950" y="413"/>
                    </a:cubicBezTo>
                    <a:close/>
                    <a:moveTo>
                      <a:pt x="1145" y="370"/>
                    </a:moveTo>
                    <a:cubicBezTo>
                      <a:pt x="1142" y="380"/>
                      <a:pt x="1161" y="400"/>
                      <a:pt x="1153" y="409"/>
                    </a:cubicBezTo>
                    <a:cubicBezTo>
                      <a:pt x="1145" y="418"/>
                      <a:pt x="1122" y="424"/>
                      <a:pt x="1120" y="437"/>
                    </a:cubicBezTo>
                    <a:cubicBezTo>
                      <a:pt x="1119" y="451"/>
                      <a:pt x="1130" y="464"/>
                      <a:pt x="1130" y="464"/>
                    </a:cubicBezTo>
                    <a:cubicBezTo>
                      <a:pt x="1130" y="464"/>
                      <a:pt x="1114" y="478"/>
                      <a:pt x="1124" y="485"/>
                    </a:cubicBezTo>
                    <a:cubicBezTo>
                      <a:pt x="1135" y="492"/>
                      <a:pt x="1153" y="477"/>
                      <a:pt x="1157" y="489"/>
                    </a:cubicBezTo>
                    <a:cubicBezTo>
                      <a:pt x="1161" y="501"/>
                      <a:pt x="1153" y="510"/>
                      <a:pt x="1153" y="510"/>
                    </a:cubicBezTo>
                    <a:cubicBezTo>
                      <a:pt x="1164" y="524"/>
                      <a:pt x="1164" y="524"/>
                      <a:pt x="1164" y="524"/>
                    </a:cubicBezTo>
                    <a:cubicBezTo>
                      <a:pt x="1158" y="568"/>
                      <a:pt x="1158" y="568"/>
                      <a:pt x="1158" y="568"/>
                    </a:cubicBezTo>
                    <a:cubicBezTo>
                      <a:pt x="1158" y="568"/>
                      <a:pt x="1134" y="582"/>
                      <a:pt x="1146" y="606"/>
                    </a:cubicBezTo>
                    <a:cubicBezTo>
                      <a:pt x="1157" y="630"/>
                      <a:pt x="1173" y="630"/>
                      <a:pt x="1191" y="612"/>
                    </a:cubicBezTo>
                    <a:cubicBezTo>
                      <a:pt x="1208" y="595"/>
                      <a:pt x="1188" y="566"/>
                      <a:pt x="1188" y="566"/>
                    </a:cubicBezTo>
                    <a:cubicBezTo>
                      <a:pt x="1188" y="566"/>
                      <a:pt x="1209" y="551"/>
                      <a:pt x="1209" y="530"/>
                    </a:cubicBezTo>
                    <a:cubicBezTo>
                      <a:pt x="1208" y="508"/>
                      <a:pt x="1217" y="489"/>
                      <a:pt x="1210" y="476"/>
                    </a:cubicBezTo>
                    <a:cubicBezTo>
                      <a:pt x="1202" y="464"/>
                      <a:pt x="1198" y="439"/>
                      <a:pt x="1200" y="434"/>
                    </a:cubicBezTo>
                    <a:cubicBezTo>
                      <a:pt x="1201" y="429"/>
                      <a:pt x="1207" y="401"/>
                      <a:pt x="1217" y="419"/>
                    </a:cubicBezTo>
                    <a:cubicBezTo>
                      <a:pt x="1228" y="437"/>
                      <a:pt x="1228" y="468"/>
                      <a:pt x="1228" y="468"/>
                    </a:cubicBezTo>
                    <a:cubicBezTo>
                      <a:pt x="1251" y="494"/>
                      <a:pt x="1251" y="494"/>
                      <a:pt x="1251" y="494"/>
                    </a:cubicBezTo>
                    <a:cubicBezTo>
                      <a:pt x="1248" y="529"/>
                      <a:pt x="1248" y="529"/>
                      <a:pt x="1248" y="529"/>
                    </a:cubicBezTo>
                    <a:cubicBezTo>
                      <a:pt x="1265" y="551"/>
                      <a:pt x="1265" y="551"/>
                      <a:pt x="1265" y="551"/>
                    </a:cubicBezTo>
                    <a:cubicBezTo>
                      <a:pt x="1266" y="575"/>
                      <a:pt x="1266" y="575"/>
                      <a:pt x="1266" y="575"/>
                    </a:cubicBezTo>
                    <a:cubicBezTo>
                      <a:pt x="1275" y="624"/>
                      <a:pt x="1275" y="624"/>
                      <a:pt x="1275" y="624"/>
                    </a:cubicBezTo>
                    <a:cubicBezTo>
                      <a:pt x="1285" y="614"/>
                      <a:pt x="1285" y="614"/>
                      <a:pt x="1285" y="614"/>
                    </a:cubicBezTo>
                    <a:cubicBezTo>
                      <a:pt x="1312" y="622"/>
                      <a:pt x="1312" y="622"/>
                      <a:pt x="1312" y="622"/>
                    </a:cubicBezTo>
                    <a:cubicBezTo>
                      <a:pt x="1312" y="622"/>
                      <a:pt x="1314" y="605"/>
                      <a:pt x="1313" y="592"/>
                    </a:cubicBezTo>
                    <a:cubicBezTo>
                      <a:pt x="1312" y="579"/>
                      <a:pt x="1319" y="572"/>
                      <a:pt x="1319" y="572"/>
                    </a:cubicBezTo>
                    <a:cubicBezTo>
                      <a:pt x="1325" y="588"/>
                      <a:pt x="1325" y="588"/>
                      <a:pt x="1325" y="588"/>
                    </a:cubicBezTo>
                    <a:cubicBezTo>
                      <a:pt x="1325" y="588"/>
                      <a:pt x="1342" y="590"/>
                      <a:pt x="1344" y="574"/>
                    </a:cubicBezTo>
                    <a:cubicBezTo>
                      <a:pt x="1345" y="558"/>
                      <a:pt x="1341" y="546"/>
                      <a:pt x="1341" y="546"/>
                    </a:cubicBezTo>
                    <a:cubicBezTo>
                      <a:pt x="1341" y="546"/>
                      <a:pt x="1301" y="514"/>
                      <a:pt x="1303" y="502"/>
                    </a:cubicBezTo>
                    <a:cubicBezTo>
                      <a:pt x="1305" y="490"/>
                      <a:pt x="1324" y="477"/>
                      <a:pt x="1313" y="467"/>
                    </a:cubicBezTo>
                    <a:cubicBezTo>
                      <a:pt x="1301" y="457"/>
                      <a:pt x="1292" y="454"/>
                      <a:pt x="1291" y="446"/>
                    </a:cubicBezTo>
                    <a:cubicBezTo>
                      <a:pt x="1291" y="437"/>
                      <a:pt x="1304" y="418"/>
                      <a:pt x="1290" y="412"/>
                    </a:cubicBezTo>
                    <a:cubicBezTo>
                      <a:pt x="1277" y="407"/>
                      <a:pt x="1257" y="390"/>
                      <a:pt x="1257" y="390"/>
                    </a:cubicBezTo>
                    <a:cubicBezTo>
                      <a:pt x="1257" y="390"/>
                      <a:pt x="1279" y="395"/>
                      <a:pt x="1289" y="385"/>
                    </a:cubicBezTo>
                    <a:cubicBezTo>
                      <a:pt x="1298" y="376"/>
                      <a:pt x="1308" y="354"/>
                      <a:pt x="1308" y="354"/>
                    </a:cubicBezTo>
                    <a:cubicBezTo>
                      <a:pt x="1308" y="354"/>
                      <a:pt x="1347" y="356"/>
                      <a:pt x="1348" y="348"/>
                    </a:cubicBezTo>
                    <a:cubicBezTo>
                      <a:pt x="1349" y="339"/>
                      <a:pt x="1338" y="324"/>
                      <a:pt x="1328" y="323"/>
                    </a:cubicBezTo>
                    <a:cubicBezTo>
                      <a:pt x="1317" y="323"/>
                      <a:pt x="1310" y="341"/>
                      <a:pt x="1310" y="341"/>
                    </a:cubicBezTo>
                    <a:cubicBezTo>
                      <a:pt x="1310" y="341"/>
                      <a:pt x="1281" y="333"/>
                      <a:pt x="1269" y="337"/>
                    </a:cubicBezTo>
                    <a:cubicBezTo>
                      <a:pt x="1258" y="340"/>
                      <a:pt x="1252" y="369"/>
                      <a:pt x="1240" y="370"/>
                    </a:cubicBezTo>
                    <a:cubicBezTo>
                      <a:pt x="1229" y="370"/>
                      <a:pt x="1230" y="350"/>
                      <a:pt x="1213" y="340"/>
                    </a:cubicBezTo>
                    <a:cubicBezTo>
                      <a:pt x="1196" y="330"/>
                      <a:pt x="1188" y="333"/>
                      <a:pt x="1188" y="333"/>
                    </a:cubicBezTo>
                    <a:cubicBezTo>
                      <a:pt x="1188" y="333"/>
                      <a:pt x="1193" y="274"/>
                      <a:pt x="1209" y="273"/>
                    </a:cubicBezTo>
                    <a:cubicBezTo>
                      <a:pt x="1225" y="272"/>
                      <a:pt x="1255" y="283"/>
                      <a:pt x="1269" y="279"/>
                    </a:cubicBezTo>
                    <a:cubicBezTo>
                      <a:pt x="1282" y="276"/>
                      <a:pt x="1273" y="264"/>
                      <a:pt x="1284" y="266"/>
                    </a:cubicBezTo>
                    <a:cubicBezTo>
                      <a:pt x="1296" y="267"/>
                      <a:pt x="1349" y="293"/>
                      <a:pt x="1359" y="294"/>
                    </a:cubicBezTo>
                    <a:cubicBezTo>
                      <a:pt x="1370" y="294"/>
                      <a:pt x="1372" y="285"/>
                      <a:pt x="1379" y="281"/>
                    </a:cubicBezTo>
                    <a:cubicBezTo>
                      <a:pt x="1386" y="277"/>
                      <a:pt x="1399" y="283"/>
                      <a:pt x="1408" y="278"/>
                    </a:cubicBezTo>
                    <a:cubicBezTo>
                      <a:pt x="1417" y="272"/>
                      <a:pt x="1406" y="267"/>
                      <a:pt x="1415" y="258"/>
                    </a:cubicBezTo>
                    <a:cubicBezTo>
                      <a:pt x="1423" y="249"/>
                      <a:pt x="1443" y="240"/>
                      <a:pt x="1443" y="240"/>
                    </a:cubicBezTo>
                    <a:cubicBezTo>
                      <a:pt x="1436" y="220"/>
                      <a:pt x="1436" y="220"/>
                      <a:pt x="1436" y="220"/>
                    </a:cubicBezTo>
                    <a:cubicBezTo>
                      <a:pt x="1384" y="242"/>
                      <a:pt x="1384" y="242"/>
                      <a:pt x="1384" y="242"/>
                    </a:cubicBezTo>
                    <a:cubicBezTo>
                      <a:pt x="1384" y="242"/>
                      <a:pt x="1396" y="255"/>
                      <a:pt x="1381" y="256"/>
                    </a:cubicBezTo>
                    <a:cubicBezTo>
                      <a:pt x="1366" y="257"/>
                      <a:pt x="1353" y="248"/>
                      <a:pt x="1344" y="248"/>
                    </a:cubicBezTo>
                    <a:cubicBezTo>
                      <a:pt x="1336" y="248"/>
                      <a:pt x="1321" y="261"/>
                      <a:pt x="1311" y="259"/>
                    </a:cubicBezTo>
                    <a:cubicBezTo>
                      <a:pt x="1300" y="256"/>
                      <a:pt x="1275" y="244"/>
                      <a:pt x="1268" y="244"/>
                    </a:cubicBezTo>
                    <a:cubicBezTo>
                      <a:pt x="1261" y="244"/>
                      <a:pt x="1245" y="244"/>
                      <a:pt x="1245" y="244"/>
                    </a:cubicBezTo>
                    <a:cubicBezTo>
                      <a:pt x="1253" y="232"/>
                      <a:pt x="1253" y="232"/>
                      <a:pt x="1253" y="232"/>
                    </a:cubicBezTo>
                    <a:cubicBezTo>
                      <a:pt x="1253" y="232"/>
                      <a:pt x="1226" y="225"/>
                      <a:pt x="1223" y="228"/>
                    </a:cubicBezTo>
                    <a:cubicBezTo>
                      <a:pt x="1219" y="232"/>
                      <a:pt x="1224" y="249"/>
                      <a:pt x="1212" y="256"/>
                    </a:cubicBezTo>
                    <a:cubicBezTo>
                      <a:pt x="1201" y="263"/>
                      <a:pt x="1179" y="261"/>
                      <a:pt x="1179" y="267"/>
                    </a:cubicBezTo>
                    <a:cubicBezTo>
                      <a:pt x="1179" y="273"/>
                      <a:pt x="1178" y="287"/>
                      <a:pt x="1178" y="287"/>
                    </a:cubicBezTo>
                    <a:cubicBezTo>
                      <a:pt x="1164" y="289"/>
                      <a:pt x="1164" y="289"/>
                      <a:pt x="1164" y="289"/>
                    </a:cubicBezTo>
                    <a:cubicBezTo>
                      <a:pt x="1174" y="336"/>
                      <a:pt x="1174" y="336"/>
                      <a:pt x="1174" y="336"/>
                    </a:cubicBezTo>
                    <a:cubicBezTo>
                      <a:pt x="1164" y="335"/>
                      <a:pt x="1164" y="335"/>
                      <a:pt x="1164" y="335"/>
                    </a:cubicBezTo>
                    <a:cubicBezTo>
                      <a:pt x="1164" y="335"/>
                      <a:pt x="1147" y="360"/>
                      <a:pt x="1145" y="370"/>
                    </a:cubicBezTo>
                    <a:close/>
                    <a:moveTo>
                      <a:pt x="1328" y="387"/>
                    </a:moveTo>
                    <a:cubicBezTo>
                      <a:pt x="1328" y="400"/>
                      <a:pt x="1328" y="400"/>
                      <a:pt x="1328" y="400"/>
                    </a:cubicBezTo>
                    <a:cubicBezTo>
                      <a:pt x="1328" y="400"/>
                      <a:pt x="1343" y="412"/>
                      <a:pt x="1350" y="395"/>
                    </a:cubicBezTo>
                    <a:cubicBezTo>
                      <a:pt x="1358" y="379"/>
                      <a:pt x="1328" y="387"/>
                      <a:pt x="1328" y="387"/>
                    </a:cubicBezTo>
                    <a:close/>
                    <a:moveTo>
                      <a:pt x="1127" y="743"/>
                    </a:moveTo>
                    <a:cubicBezTo>
                      <a:pt x="1118" y="740"/>
                      <a:pt x="1111" y="746"/>
                      <a:pt x="1111" y="746"/>
                    </a:cubicBezTo>
                    <a:cubicBezTo>
                      <a:pt x="1080" y="739"/>
                      <a:pt x="1080" y="739"/>
                      <a:pt x="1080" y="739"/>
                    </a:cubicBezTo>
                    <a:cubicBezTo>
                      <a:pt x="1099" y="766"/>
                      <a:pt x="1099" y="766"/>
                      <a:pt x="1099" y="766"/>
                    </a:cubicBezTo>
                    <a:cubicBezTo>
                      <a:pt x="1099" y="766"/>
                      <a:pt x="1126" y="793"/>
                      <a:pt x="1132" y="775"/>
                    </a:cubicBezTo>
                    <a:cubicBezTo>
                      <a:pt x="1137" y="758"/>
                      <a:pt x="1136" y="746"/>
                      <a:pt x="1127" y="743"/>
                    </a:cubicBezTo>
                    <a:close/>
                    <a:moveTo>
                      <a:pt x="1400" y="740"/>
                    </a:moveTo>
                    <a:cubicBezTo>
                      <a:pt x="1379" y="754"/>
                      <a:pt x="1379" y="754"/>
                      <a:pt x="1379" y="754"/>
                    </a:cubicBezTo>
                    <a:cubicBezTo>
                      <a:pt x="1400" y="759"/>
                      <a:pt x="1400" y="759"/>
                      <a:pt x="1400" y="759"/>
                    </a:cubicBezTo>
                    <a:lnTo>
                      <a:pt x="1400" y="740"/>
                    </a:lnTo>
                    <a:close/>
                    <a:moveTo>
                      <a:pt x="327" y="200"/>
                    </a:moveTo>
                    <a:cubicBezTo>
                      <a:pt x="315" y="190"/>
                      <a:pt x="304" y="196"/>
                      <a:pt x="310" y="212"/>
                    </a:cubicBezTo>
                    <a:cubicBezTo>
                      <a:pt x="314" y="226"/>
                      <a:pt x="339" y="209"/>
                      <a:pt x="327" y="200"/>
                    </a:cubicBezTo>
                    <a:close/>
                    <a:moveTo>
                      <a:pt x="1569" y="393"/>
                    </a:moveTo>
                    <a:cubicBezTo>
                      <a:pt x="1561" y="383"/>
                      <a:pt x="1542" y="370"/>
                      <a:pt x="1542" y="370"/>
                    </a:cubicBezTo>
                    <a:cubicBezTo>
                      <a:pt x="1540" y="400"/>
                      <a:pt x="1540" y="400"/>
                      <a:pt x="1540" y="400"/>
                    </a:cubicBezTo>
                    <a:cubicBezTo>
                      <a:pt x="1552" y="408"/>
                      <a:pt x="1578" y="404"/>
                      <a:pt x="1569" y="393"/>
                    </a:cubicBezTo>
                    <a:close/>
                    <a:moveTo>
                      <a:pt x="1543" y="318"/>
                    </a:moveTo>
                    <a:cubicBezTo>
                      <a:pt x="1552" y="325"/>
                      <a:pt x="1590" y="359"/>
                      <a:pt x="1599" y="356"/>
                    </a:cubicBezTo>
                    <a:cubicBezTo>
                      <a:pt x="1608" y="353"/>
                      <a:pt x="1598" y="340"/>
                      <a:pt x="1587" y="334"/>
                    </a:cubicBezTo>
                    <a:cubicBezTo>
                      <a:pt x="1577" y="328"/>
                      <a:pt x="1571" y="316"/>
                      <a:pt x="1581" y="306"/>
                    </a:cubicBezTo>
                    <a:cubicBezTo>
                      <a:pt x="1592" y="296"/>
                      <a:pt x="1611" y="306"/>
                      <a:pt x="1611" y="306"/>
                    </a:cubicBezTo>
                    <a:cubicBezTo>
                      <a:pt x="1620" y="299"/>
                      <a:pt x="1620" y="299"/>
                      <a:pt x="1620" y="299"/>
                    </a:cubicBezTo>
                    <a:cubicBezTo>
                      <a:pt x="1603" y="288"/>
                      <a:pt x="1603" y="288"/>
                      <a:pt x="1603" y="288"/>
                    </a:cubicBezTo>
                    <a:cubicBezTo>
                      <a:pt x="1603" y="288"/>
                      <a:pt x="1617" y="281"/>
                      <a:pt x="1620" y="269"/>
                    </a:cubicBezTo>
                    <a:cubicBezTo>
                      <a:pt x="1623" y="258"/>
                      <a:pt x="1608" y="250"/>
                      <a:pt x="1598" y="249"/>
                    </a:cubicBezTo>
                    <a:cubicBezTo>
                      <a:pt x="1587" y="247"/>
                      <a:pt x="1577" y="274"/>
                      <a:pt x="1565" y="275"/>
                    </a:cubicBezTo>
                    <a:cubicBezTo>
                      <a:pt x="1554" y="277"/>
                      <a:pt x="1557" y="250"/>
                      <a:pt x="1557" y="250"/>
                    </a:cubicBezTo>
                    <a:cubicBezTo>
                      <a:pt x="1557" y="250"/>
                      <a:pt x="1567" y="237"/>
                      <a:pt x="1570" y="227"/>
                    </a:cubicBezTo>
                    <a:cubicBezTo>
                      <a:pt x="1573" y="216"/>
                      <a:pt x="1567" y="211"/>
                      <a:pt x="1567" y="211"/>
                    </a:cubicBezTo>
                    <a:cubicBezTo>
                      <a:pt x="1576" y="184"/>
                      <a:pt x="1576" y="184"/>
                      <a:pt x="1576" y="184"/>
                    </a:cubicBezTo>
                    <a:cubicBezTo>
                      <a:pt x="1548" y="211"/>
                      <a:pt x="1548" y="211"/>
                      <a:pt x="1548" y="211"/>
                    </a:cubicBezTo>
                    <a:cubicBezTo>
                      <a:pt x="1548" y="230"/>
                      <a:pt x="1548" y="230"/>
                      <a:pt x="1548" y="230"/>
                    </a:cubicBezTo>
                    <a:cubicBezTo>
                      <a:pt x="1548" y="230"/>
                      <a:pt x="1525" y="240"/>
                      <a:pt x="1527" y="265"/>
                    </a:cubicBezTo>
                    <a:cubicBezTo>
                      <a:pt x="1529" y="281"/>
                      <a:pt x="1540" y="284"/>
                      <a:pt x="1543" y="293"/>
                    </a:cubicBezTo>
                    <a:cubicBezTo>
                      <a:pt x="1546" y="302"/>
                      <a:pt x="1535" y="310"/>
                      <a:pt x="1543" y="318"/>
                    </a:cubicBezTo>
                    <a:close/>
                    <a:moveTo>
                      <a:pt x="1505" y="474"/>
                    </a:moveTo>
                    <a:cubicBezTo>
                      <a:pt x="1496" y="464"/>
                      <a:pt x="1496" y="464"/>
                      <a:pt x="1496" y="464"/>
                    </a:cubicBezTo>
                    <a:cubicBezTo>
                      <a:pt x="1482" y="475"/>
                      <a:pt x="1482" y="475"/>
                      <a:pt x="1482" y="475"/>
                    </a:cubicBezTo>
                    <a:cubicBezTo>
                      <a:pt x="1482" y="475"/>
                      <a:pt x="1475" y="494"/>
                      <a:pt x="1489" y="503"/>
                    </a:cubicBezTo>
                    <a:cubicBezTo>
                      <a:pt x="1502" y="513"/>
                      <a:pt x="1521" y="509"/>
                      <a:pt x="1521" y="509"/>
                    </a:cubicBezTo>
                    <a:cubicBezTo>
                      <a:pt x="1529" y="498"/>
                      <a:pt x="1517" y="471"/>
                      <a:pt x="1517" y="471"/>
                    </a:cubicBezTo>
                    <a:lnTo>
                      <a:pt x="1505" y="474"/>
                    </a:lnTo>
                    <a:close/>
                    <a:moveTo>
                      <a:pt x="1437" y="740"/>
                    </a:moveTo>
                    <a:cubicBezTo>
                      <a:pt x="1487" y="728"/>
                      <a:pt x="1487" y="728"/>
                      <a:pt x="1487" y="728"/>
                    </a:cubicBezTo>
                    <a:cubicBezTo>
                      <a:pt x="1449" y="718"/>
                      <a:pt x="1449" y="718"/>
                      <a:pt x="1449" y="718"/>
                    </a:cubicBezTo>
                    <a:lnTo>
                      <a:pt x="1437" y="740"/>
                    </a:lnTo>
                    <a:close/>
                    <a:moveTo>
                      <a:pt x="1700" y="502"/>
                    </a:moveTo>
                    <a:cubicBezTo>
                      <a:pt x="1686" y="490"/>
                      <a:pt x="1686" y="490"/>
                      <a:pt x="1686" y="490"/>
                    </a:cubicBezTo>
                    <a:cubicBezTo>
                      <a:pt x="1687" y="479"/>
                      <a:pt x="1687" y="479"/>
                      <a:pt x="1687" y="479"/>
                    </a:cubicBezTo>
                    <a:cubicBezTo>
                      <a:pt x="1687" y="479"/>
                      <a:pt x="1681" y="458"/>
                      <a:pt x="1634" y="448"/>
                    </a:cubicBezTo>
                    <a:cubicBezTo>
                      <a:pt x="1618" y="444"/>
                      <a:pt x="1608" y="454"/>
                      <a:pt x="1597" y="459"/>
                    </a:cubicBezTo>
                    <a:cubicBezTo>
                      <a:pt x="1591" y="461"/>
                      <a:pt x="1583" y="457"/>
                      <a:pt x="1579" y="460"/>
                    </a:cubicBezTo>
                    <a:cubicBezTo>
                      <a:pt x="1566" y="468"/>
                      <a:pt x="1562" y="484"/>
                      <a:pt x="1566" y="487"/>
                    </a:cubicBezTo>
                    <a:cubicBezTo>
                      <a:pt x="1573" y="493"/>
                      <a:pt x="1580" y="479"/>
                      <a:pt x="1580" y="479"/>
                    </a:cubicBezTo>
                    <a:cubicBezTo>
                      <a:pt x="1580" y="479"/>
                      <a:pt x="1580" y="495"/>
                      <a:pt x="1591" y="497"/>
                    </a:cubicBezTo>
                    <a:cubicBezTo>
                      <a:pt x="1602" y="498"/>
                      <a:pt x="1604" y="478"/>
                      <a:pt x="1604" y="478"/>
                    </a:cubicBezTo>
                    <a:cubicBezTo>
                      <a:pt x="1604" y="478"/>
                      <a:pt x="1612" y="489"/>
                      <a:pt x="1619" y="489"/>
                    </a:cubicBezTo>
                    <a:cubicBezTo>
                      <a:pt x="1626" y="489"/>
                      <a:pt x="1644" y="474"/>
                      <a:pt x="1644" y="474"/>
                    </a:cubicBezTo>
                    <a:cubicBezTo>
                      <a:pt x="1654" y="509"/>
                      <a:pt x="1654" y="509"/>
                      <a:pt x="1654" y="509"/>
                    </a:cubicBezTo>
                    <a:cubicBezTo>
                      <a:pt x="1673" y="495"/>
                      <a:pt x="1673" y="495"/>
                      <a:pt x="1673" y="495"/>
                    </a:cubicBezTo>
                    <a:cubicBezTo>
                      <a:pt x="1695" y="519"/>
                      <a:pt x="1695" y="519"/>
                      <a:pt x="1695" y="519"/>
                    </a:cubicBezTo>
                    <a:lnTo>
                      <a:pt x="1700" y="502"/>
                    </a:lnTo>
                    <a:close/>
                    <a:moveTo>
                      <a:pt x="2179" y="454"/>
                    </a:moveTo>
                    <a:cubicBezTo>
                      <a:pt x="2153" y="435"/>
                      <a:pt x="2153" y="435"/>
                      <a:pt x="2153" y="435"/>
                    </a:cubicBezTo>
                    <a:cubicBezTo>
                      <a:pt x="2153" y="435"/>
                      <a:pt x="2134" y="437"/>
                      <a:pt x="2124" y="437"/>
                    </a:cubicBezTo>
                    <a:cubicBezTo>
                      <a:pt x="2113" y="437"/>
                      <a:pt x="2045" y="394"/>
                      <a:pt x="2032" y="390"/>
                    </a:cubicBezTo>
                    <a:cubicBezTo>
                      <a:pt x="2019" y="386"/>
                      <a:pt x="1998" y="405"/>
                      <a:pt x="1998" y="405"/>
                    </a:cubicBezTo>
                    <a:cubicBezTo>
                      <a:pt x="2007" y="423"/>
                      <a:pt x="2007" y="423"/>
                      <a:pt x="2007" y="423"/>
                    </a:cubicBezTo>
                    <a:cubicBezTo>
                      <a:pt x="1956" y="428"/>
                      <a:pt x="1956" y="428"/>
                      <a:pt x="1956" y="428"/>
                    </a:cubicBezTo>
                    <a:cubicBezTo>
                      <a:pt x="1960" y="446"/>
                      <a:pt x="1960" y="446"/>
                      <a:pt x="1960" y="446"/>
                    </a:cubicBezTo>
                    <a:cubicBezTo>
                      <a:pt x="1960" y="446"/>
                      <a:pt x="1950" y="477"/>
                      <a:pt x="1913" y="484"/>
                    </a:cubicBezTo>
                    <a:cubicBezTo>
                      <a:pt x="1876" y="492"/>
                      <a:pt x="1886" y="443"/>
                      <a:pt x="1880" y="443"/>
                    </a:cubicBezTo>
                    <a:cubicBezTo>
                      <a:pt x="1875" y="443"/>
                      <a:pt x="1869" y="465"/>
                      <a:pt x="1869" y="465"/>
                    </a:cubicBezTo>
                    <a:cubicBezTo>
                      <a:pt x="1869" y="465"/>
                      <a:pt x="1861" y="448"/>
                      <a:pt x="1861" y="439"/>
                    </a:cubicBezTo>
                    <a:cubicBezTo>
                      <a:pt x="1861" y="429"/>
                      <a:pt x="1862" y="402"/>
                      <a:pt x="1859" y="385"/>
                    </a:cubicBezTo>
                    <a:cubicBezTo>
                      <a:pt x="1857" y="368"/>
                      <a:pt x="1846" y="350"/>
                      <a:pt x="1846" y="350"/>
                    </a:cubicBezTo>
                    <a:cubicBezTo>
                      <a:pt x="1820" y="350"/>
                      <a:pt x="1820" y="350"/>
                      <a:pt x="1820" y="350"/>
                    </a:cubicBezTo>
                    <a:cubicBezTo>
                      <a:pt x="1820" y="350"/>
                      <a:pt x="1799" y="326"/>
                      <a:pt x="1781" y="326"/>
                    </a:cubicBezTo>
                    <a:cubicBezTo>
                      <a:pt x="1763" y="326"/>
                      <a:pt x="1744" y="351"/>
                      <a:pt x="1744" y="351"/>
                    </a:cubicBezTo>
                    <a:cubicBezTo>
                      <a:pt x="1728" y="355"/>
                      <a:pt x="1728" y="355"/>
                      <a:pt x="1728" y="355"/>
                    </a:cubicBezTo>
                    <a:cubicBezTo>
                      <a:pt x="1723" y="367"/>
                      <a:pt x="1723" y="367"/>
                      <a:pt x="1723" y="367"/>
                    </a:cubicBezTo>
                    <a:cubicBezTo>
                      <a:pt x="1711" y="373"/>
                      <a:pt x="1711" y="373"/>
                      <a:pt x="1711" y="373"/>
                    </a:cubicBezTo>
                    <a:cubicBezTo>
                      <a:pt x="1711" y="364"/>
                      <a:pt x="1711" y="364"/>
                      <a:pt x="1711" y="364"/>
                    </a:cubicBezTo>
                    <a:cubicBezTo>
                      <a:pt x="1711" y="364"/>
                      <a:pt x="1704" y="352"/>
                      <a:pt x="1693" y="356"/>
                    </a:cubicBezTo>
                    <a:cubicBezTo>
                      <a:pt x="1693" y="356"/>
                      <a:pt x="1693" y="369"/>
                      <a:pt x="1702" y="382"/>
                    </a:cubicBezTo>
                    <a:cubicBezTo>
                      <a:pt x="1711" y="395"/>
                      <a:pt x="1732" y="388"/>
                      <a:pt x="1749" y="393"/>
                    </a:cubicBezTo>
                    <a:cubicBezTo>
                      <a:pt x="1766" y="398"/>
                      <a:pt x="1751" y="406"/>
                      <a:pt x="1760" y="422"/>
                    </a:cubicBezTo>
                    <a:cubicBezTo>
                      <a:pt x="1769" y="437"/>
                      <a:pt x="1799" y="424"/>
                      <a:pt x="1821" y="424"/>
                    </a:cubicBezTo>
                    <a:cubicBezTo>
                      <a:pt x="1844" y="424"/>
                      <a:pt x="1845" y="429"/>
                      <a:pt x="1845" y="440"/>
                    </a:cubicBezTo>
                    <a:cubicBezTo>
                      <a:pt x="1845" y="450"/>
                      <a:pt x="1819" y="440"/>
                      <a:pt x="1811" y="441"/>
                    </a:cubicBezTo>
                    <a:cubicBezTo>
                      <a:pt x="1803" y="443"/>
                      <a:pt x="1785" y="454"/>
                      <a:pt x="1785" y="454"/>
                    </a:cubicBezTo>
                    <a:cubicBezTo>
                      <a:pt x="1785" y="454"/>
                      <a:pt x="1757" y="454"/>
                      <a:pt x="1751" y="461"/>
                    </a:cubicBezTo>
                    <a:cubicBezTo>
                      <a:pt x="1744" y="467"/>
                      <a:pt x="1774" y="474"/>
                      <a:pt x="1781" y="478"/>
                    </a:cubicBezTo>
                    <a:cubicBezTo>
                      <a:pt x="1787" y="482"/>
                      <a:pt x="1797" y="498"/>
                      <a:pt x="1797" y="498"/>
                    </a:cubicBezTo>
                    <a:cubicBezTo>
                      <a:pt x="1797" y="498"/>
                      <a:pt x="1781" y="517"/>
                      <a:pt x="1790" y="530"/>
                    </a:cubicBezTo>
                    <a:cubicBezTo>
                      <a:pt x="1799" y="543"/>
                      <a:pt x="1819" y="508"/>
                      <a:pt x="1819" y="504"/>
                    </a:cubicBezTo>
                    <a:cubicBezTo>
                      <a:pt x="1819" y="500"/>
                      <a:pt x="1838" y="471"/>
                      <a:pt x="1838" y="471"/>
                    </a:cubicBezTo>
                    <a:cubicBezTo>
                      <a:pt x="1836" y="496"/>
                      <a:pt x="1836" y="496"/>
                      <a:pt x="1836" y="496"/>
                    </a:cubicBezTo>
                    <a:cubicBezTo>
                      <a:pt x="1836" y="496"/>
                      <a:pt x="1849" y="509"/>
                      <a:pt x="1859" y="518"/>
                    </a:cubicBezTo>
                    <a:cubicBezTo>
                      <a:pt x="1870" y="528"/>
                      <a:pt x="1891" y="520"/>
                      <a:pt x="1891" y="520"/>
                    </a:cubicBezTo>
                    <a:cubicBezTo>
                      <a:pt x="1882" y="529"/>
                      <a:pt x="1882" y="529"/>
                      <a:pt x="1882" y="529"/>
                    </a:cubicBezTo>
                    <a:cubicBezTo>
                      <a:pt x="1903" y="549"/>
                      <a:pt x="1903" y="549"/>
                      <a:pt x="1903" y="549"/>
                    </a:cubicBezTo>
                    <a:cubicBezTo>
                      <a:pt x="1941" y="550"/>
                      <a:pt x="1941" y="550"/>
                      <a:pt x="1941" y="550"/>
                    </a:cubicBezTo>
                    <a:cubicBezTo>
                      <a:pt x="1964" y="567"/>
                      <a:pt x="1964" y="567"/>
                      <a:pt x="1964" y="567"/>
                    </a:cubicBezTo>
                    <a:cubicBezTo>
                      <a:pt x="1964" y="567"/>
                      <a:pt x="2006" y="581"/>
                      <a:pt x="2030" y="598"/>
                    </a:cubicBezTo>
                    <a:cubicBezTo>
                      <a:pt x="2053" y="615"/>
                      <a:pt x="2048" y="621"/>
                      <a:pt x="2049" y="640"/>
                    </a:cubicBezTo>
                    <a:cubicBezTo>
                      <a:pt x="2051" y="660"/>
                      <a:pt x="2073" y="669"/>
                      <a:pt x="2073" y="669"/>
                    </a:cubicBezTo>
                    <a:cubicBezTo>
                      <a:pt x="2073" y="669"/>
                      <a:pt x="2056" y="672"/>
                      <a:pt x="2056" y="681"/>
                    </a:cubicBezTo>
                    <a:cubicBezTo>
                      <a:pt x="2056" y="690"/>
                      <a:pt x="2082" y="691"/>
                      <a:pt x="2082" y="691"/>
                    </a:cubicBezTo>
                    <a:cubicBezTo>
                      <a:pt x="2066" y="697"/>
                      <a:pt x="2066" y="697"/>
                      <a:pt x="2066" y="697"/>
                    </a:cubicBezTo>
                    <a:cubicBezTo>
                      <a:pt x="2067" y="705"/>
                      <a:pt x="2067" y="705"/>
                      <a:pt x="2067" y="705"/>
                    </a:cubicBezTo>
                    <a:cubicBezTo>
                      <a:pt x="2072" y="708"/>
                      <a:pt x="2072" y="708"/>
                      <a:pt x="2072" y="708"/>
                    </a:cubicBezTo>
                    <a:cubicBezTo>
                      <a:pt x="2077" y="729"/>
                      <a:pt x="2077" y="729"/>
                      <a:pt x="2077" y="729"/>
                    </a:cubicBezTo>
                    <a:cubicBezTo>
                      <a:pt x="2067" y="750"/>
                      <a:pt x="2067" y="750"/>
                      <a:pt x="2067" y="750"/>
                    </a:cubicBezTo>
                    <a:cubicBezTo>
                      <a:pt x="2073" y="749"/>
                      <a:pt x="2078" y="748"/>
                      <a:pt x="2081" y="749"/>
                    </a:cubicBezTo>
                    <a:cubicBezTo>
                      <a:pt x="2086" y="752"/>
                      <a:pt x="2120" y="737"/>
                      <a:pt x="2120" y="737"/>
                    </a:cubicBezTo>
                    <a:cubicBezTo>
                      <a:pt x="2120" y="755"/>
                      <a:pt x="2120" y="755"/>
                      <a:pt x="2120" y="755"/>
                    </a:cubicBezTo>
                    <a:cubicBezTo>
                      <a:pt x="2120" y="755"/>
                      <a:pt x="2147" y="788"/>
                      <a:pt x="2159" y="797"/>
                    </a:cubicBezTo>
                    <a:cubicBezTo>
                      <a:pt x="2161" y="798"/>
                      <a:pt x="2162" y="799"/>
                      <a:pt x="2164" y="800"/>
                    </a:cubicBezTo>
                    <a:cubicBezTo>
                      <a:pt x="2166" y="768"/>
                      <a:pt x="2166" y="768"/>
                      <a:pt x="2166" y="768"/>
                    </a:cubicBezTo>
                    <a:cubicBezTo>
                      <a:pt x="2162" y="752"/>
                      <a:pt x="2162" y="752"/>
                      <a:pt x="2162" y="752"/>
                    </a:cubicBezTo>
                    <a:cubicBezTo>
                      <a:pt x="2162" y="752"/>
                      <a:pt x="2166" y="733"/>
                      <a:pt x="2168" y="726"/>
                    </a:cubicBezTo>
                    <a:cubicBezTo>
                      <a:pt x="2170" y="718"/>
                      <a:pt x="2173" y="681"/>
                      <a:pt x="2173" y="681"/>
                    </a:cubicBezTo>
                    <a:cubicBezTo>
                      <a:pt x="2173" y="681"/>
                      <a:pt x="2169" y="683"/>
                      <a:pt x="2158" y="676"/>
                    </a:cubicBezTo>
                    <a:cubicBezTo>
                      <a:pt x="2147" y="670"/>
                      <a:pt x="2174" y="652"/>
                      <a:pt x="2174" y="652"/>
                    </a:cubicBezTo>
                    <a:cubicBezTo>
                      <a:pt x="2174" y="652"/>
                      <a:pt x="2173" y="626"/>
                      <a:pt x="2171" y="611"/>
                    </a:cubicBezTo>
                    <a:cubicBezTo>
                      <a:pt x="2169" y="596"/>
                      <a:pt x="2177" y="574"/>
                      <a:pt x="2177" y="554"/>
                    </a:cubicBezTo>
                    <a:cubicBezTo>
                      <a:pt x="2177" y="538"/>
                      <a:pt x="2179" y="474"/>
                      <a:pt x="2179" y="454"/>
                    </a:cubicBezTo>
                    <a:close/>
                    <a:moveTo>
                      <a:pt x="228" y="446"/>
                    </a:moveTo>
                    <a:cubicBezTo>
                      <a:pt x="220" y="453"/>
                      <a:pt x="238" y="462"/>
                      <a:pt x="238" y="462"/>
                    </a:cubicBezTo>
                    <a:cubicBezTo>
                      <a:pt x="238" y="462"/>
                      <a:pt x="250" y="486"/>
                      <a:pt x="258" y="478"/>
                    </a:cubicBezTo>
                    <a:cubicBezTo>
                      <a:pt x="266" y="470"/>
                      <a:pt x="234" y="442"/>
                      <a:pt x="228" y="446"/>
                    </a:cubicBezTo>
                    <a:close/>
                    <a:moveTo>
                      <a:pt x="1691" y="739"/>
                    </a:moveTo>
                    <a:cubicBezTo>
                      <a:pt x="1701" y="745"/>
                      <a:pt x="1701" y="745"/>
                      <a:pt x="1701" y="745"/>
                    </a:cubicBezTo>
                    <a:cubicBezTo>
                      <a:pt x="1720" y="730"/>
                      <a:pt x="1720" y="730"/>
                      <a:pt x="1720" y="730"/>
                    </a:cubicBezTo>
                    <a:cubicBezTo>
                      <a:pt x="1720" y="730"/>
                      <a:pt x="1742" y="738"/>
                      <a:pt x="1742" y="716"/>
                    </a:cubicBezTo>
                    <a:cubicBezTo>
                      <a:pt x="1742" y="694"/>
                      <a:pt x="1691" y="720"/>
                      <a:pt x="1691" y="739"/>
                    </a:cubicBezTo>
                    <a:close/>
                    <a:moveTo>
                      <a:pt x="2068" y="714"/>
                    </a:moveTo>
                    <a:cubicBezTo>
                      <a:pt x="2067" y="713"/>
                      <a:pt x="2067" y="713"/>
                      <a:pt x="2067" y="713"/>
                    </a:cubicBezTo>
                    <a:cubicBezTo>
                      <a:pt x="2065" y="710"/>
                      <a:pt x="2056" y="702"/>
                      <a:pt x="2037" y="711"/>
                    </a:cubicBezTo>
                    <a:cubicBezTo>
                      <a:pt x="2015" y="721"/>
                      <a:pt x="2011" y="759"/>
                      <a:pt x="2011" y="759"/>
                    </a:cubicBezTo>
                    <a:cubicBezTo>
                      <a:pt x="2053" y="754"/>
                      <a:pt x="2053" y="754"/>
                      <a:pt x="2053" y="754"/>
                    </a:cubicBezTo>
                    <a:cubicBezTo>
                      <a:pt x="2053" y="754"/>
                      <a:pt x="2059" y="752"/>
                      <a:pt x="2066" y="750"/>
                    </a:cubicBezTo>
                    <a:cubicBezTo>
                      <a:pt x="2072" y="728"/>
                      <a:pt x="2072" y="728"/>
                      <a:pt x="2072" y="728"/>
                    </a:cubicBezTo>
                    <a:lnTo>
                      <a:pt x="2068" y="714"/>
                    </a:lnTo>
                    <a:close/>
                    <a:moveTo>
                      <a:pt x="1857" y="631"/>
                    </a:moveTo>
                    <a:cubicBezTo>
                      <a:pt x="1847" y="641"/>
                      <a:pt x="1847" y="641"/>
                      <a:pt x="1847" y="641"/>
                    </a:cubicBezTo>
                    <a:cubicBezTo>
                      <a:pt x="1849" y="676"/>
                      <a:pt x="1849" y="676"/>
                      <a:pt x="1849" y="676"/>
                    </a:cubicBezTo>
                    <a:cubicBezTo>
                      <a:pt x="1860" y="679"/>
                      <a:pt x="1860" y="679"/>
                      <a:pt x="1860" y="679"/>
                    </a:cubicBezTo>
                    <a:cubicBezTo>
                      <a:pt x="1859" y="666"/>
                      <a:pt x="1859" y="666"/>
                      <a:pt x="1859" y="666"/>
                    </a:cubicBezTo>
                    <a:cubicBezTo>
                      <a:pt x="1866" y="663"/>
                      <a:pt x="1866" y="663"/>
                      <a:pt x="1866" y="663"/>
                    </a:cubicBezTo>
                    <a:cubicBezTo>
                      <a:pt x="1865" y="648"/>
                      <a:pt x="1865" y="648"/>
                      <a:pt x="1865" y="648"/>
                    </a:cubicBezTo>
                    <a:cubicBezTo>
                      <a:pt x="1856" y="648"/>
                      <a:pt x="1856" y="648"/>
                      <a:pt x="1856" y="648"/>
                    </a:cubicBezTo>
                    <a:cubicBezTo>
                      <a:pt x="1868" y="628"/>
                      <a:pt x="1868" y="628"/>
                      <a:pt x="1868" y="628"/>
                    </a:cubicBezTo>
                    <a:cubicBezTo>
                      <a:pt x="1881" y="606"/>
                      <a:pt x="1881" y="606"/>
                      <a:pt x="1881" y="606"/>
                    </a:cubicBezTo>
                    <a:cubicBezTo>
                      <a:pt x="1862" y="610"/>
                      <a:pt x="1862" y="610"/>
                      <a:pt x="1862" y="610"/>
                    </a:cubicBezTo>
                    <a:lnTo>
                      <a:pt x="1857" y="631"/>
                    </a:lnTo>
                    <a:close/>
                    <a:moveTo>
                      <a:pt x="1427" y="403"/>
                    </a:moveTo>
                    <a:cubicBezTo>
                      <a:pt x="1427" y="403"/>
                      <a:pt x="1405" y="391"/>
                      <a:pt x="1398" y="394"/>
                    </a:cubicBezTo>
                    <a:cubicBezTo>
                      <a:pt x="1392" y="397"/>
                      <a:pt x="1389" y="406"/>
                      <a:pt x="1389" y="406"/>
                    </a:cubicBezTo>
                    <a:cubicBezTo>
                      <a:pt x="1396" y="420"/>
                      <a:pt x="1427" y="415"/>
                      <a:pt x="1427" y="415"/>
                    </a:cubicBezTo>
                    <a:cubicBezTo>
                      <a:pt x="1480" y="405"/>
                      <a:pt x="1480" y="405"/>
                      <a:pt x="1480" y="405"/>
                    </a:cubicBezTo>
                    <a:lnTo>
                      <a:pt x="1427" y="403"/>
                    </a:lnTo>
                    <a:close/>
                    <a:moveTo>
                      <a:pt x="879" y="696"/>
                    </a:moveTo>
                    <a:cubicBezTo>
                      <a:pt x="917" y="669"/>
                      <a:pt x="917" y="669"/>
                      <a:pt x="917" y="669"/>
                    </a:cubicBezTo>
                    <a:cubicBezTo>
                      <a:pt x="914" y="663"/>
                      <a:pt x="914" y="663"/>
                      <a:pt x="914" y="663"/>
                    </a:cubicBezTo>
                    <a:cubicBezTo>
                      <a:pt x="914" y="663"/>
                      <a:pt x="864" y="667"/>
                      <a:pt x="863" y="677"/>
                    </a:cubicBezTo>
                    <a:cubicBezTo>
                      <a:pt x="858" y="702"/>
                      <a:pt x="879" y="696"/>
                      <a:pt x="879" y="696"/>
                    </a:cubicBezTo>
                    <a:close/>
                    <a:moveTo>
                      <a:pt x="959" y="747"/>
                    </a:moveTo>
                    <a:cubicBezTo>
                      <a:pt x="949" y="747"/>
                      <a:pt x="933" y="747"/>
                      <a:pt x="933" y="747"/>
                    </a:cubicBezTo>
                    <a:cubicBezTo>
                      <a:pt x="930" y="766"/>
                      <a:pt x="930" y="766"/>
                      <a:pt x="930" y="766"/>
                    </a:cubicBezTo>
                    <a:cubicBezTo>
                      <a:pt x="930" y="766"/>
                      <a:pt x="940" y="794"/>
                      <a:pt x="953" y="783"/>
                    </a:cubicBezTo>
                    <a:cubicBezTo>
                      <a:pt x="966" y="773"/>
                      <a:pt x="969" y="747"/>
                      <a:pt x="959" y="747"/>
                    </a:cubicBezTo>
                    <a:close/>
                    <a:moveTo>
                      <a:pt x="475" y="622"/>
                    </a:moveTo>
                    <a:cubicBezTo>
                      <a:pt x="480" y="617"/>
                      <a:pt x="480" y="602"/>
                      <a:pt x="480" y="602"/>
                    </a:cubicBezTo>
                    <a:cubicBezTo>
                      <a:pt x="499" y="620"/>
                      <a:pt x="499" y="620"/>
                      <a:pt x="499" y="620"/>
                    </a:cubicBezTo>
                    <a:cubicBezTo>
                      <a:pt x="499" y="620"/>
                      <a:pt x="507" y="597"/>
                      <a:pt x="507" y="581"/>
                    </a:cubicBezTo>
                    <a:cubicBezTo>
                      <a:pt x="507" y="565"/>
                      <a:pt x="516" y="521"/>
                      <a:pt x="516" y="521"/>
                    </a:cubicBezTo>
                    <a:cubicBezTo>
                      <a:pt x="516" y="521"/>
                      <a:pt x="507" y="516"/>
                      <a:pt x="507" y="506"/>
                    </a:cubicBezTo>
                    <a:cubicBezTo>
                      <a:pt x="507" y="497"/>
                      <a:pt x="526" y="482"/>
                      <a:pt x="520" y="477"/>
                    </a:cubicBezTo>
                    <a:cubicBezTo>
                      <a:pt x="515" y="472"/>
                      <a:pt x="510" y="468"/>
                      <a:pt x="510" y="468"/>
                    </a:cubicBezTo>
                    <a:cubicBezTo>
                      <a:pt x="502" y="437"/>
                      <a:pt x="502" y="437"/>
                      <a:pt x="502" y="437"/>
                    </a:cubicBezTo>
                    <a:cubicBezTo>
                      <a:pt x="474" y="438"/>
                      <a:pt x="474" y="438"/>
                      <a:pt x="474" y="438"/>
                    </a:cubicBezTo>
                    <a:cubicBezTo>
                      <a:pt x="474" y="438"/>
                      <a:pt x="478" y="420"/>
                      <a:pt x="471" y="416"/>
                    </a:cubicBezTo>
                    <a:cubicBezTo>
                      <a:pt x="464" y="412"/>
                      <a:pt x="450" y="413"/>
                      <a:pt x="450" y="413"/>
                    </a:cubicBezTo>
                    <a:cubicBezTo>
                      <a:pt x="444" y="366"/>
                      <a:pt x="444" y="366"/>
                      <a:pt x="444" y="366"/>
                    </a:cubicBezTo>
                    <a:cubicBezTo>
                      <a:pt x="444" y="366"/>
                      <a:pt x="402" y="370"/>
                      <a:pt x="399" y="357"/>
                    </a:cubicBezTo>
                    <a:cubicBezTo>
                      <a:pt x="396" y="344"/>
                      <a:pt x="410" y="328"/>
                      <a:pt x="410" y="328"/>
                    </a:cubicBezTo>
                    <a:cubicBezTo>
                      <a:pt x="394" y="326"/>
                      <a:pt x="394" y="326"/>
                      <a:pt x="394" y="326"/>
                    </a:cubicBezTo>
                    <a:cubicBezTo>
                      <a:pt x="394" y="326"/>
                      <a:pt x="419" y="297"/>
                      <a:pt x="410" y="289"/>
                    </a:cubicBezTo>
                    <a:cubicBezTo>
                      <a:pt x="400" y="281"/>
                      <a:pt x="358" y="300"/>
                      <a:pt x="358" y="300"/>
                    </a:cubicBezTo>
                    <a:cubicBezTo>
                      <a:pt x="358" y="300"/>
                      <a:pt x="383" y="276"/>
                      <a:pt x="375" y="272"/>
                    </a:cubicBezTo>
                    <a:cubicBezTo>
                      <a:pt x="367" y="268"/>
                      <a:pt x="343" y="264"/>
                      <a:pt x="343" y="264"/>
                    </a:cubicBezTo>
                    <a:cubicBezTo>
                      <a:pt x="343" y="264"/>
                      <a:pt x="354" y="256"/>
                      <a:pt x="340" y="238"/>
                    </a:cubicBezTo>
                    <a:cubicBezTo>
                      <a:pt x="327" y="221"/>
                      <a:pt x="304" y="220"/>
                      <a:pt x="304" y="220"/>
                    </a:cubicBezTo>
                    <a:cubicBezTo>
                      <a:pt x="304" y="220"/>
                      <a:pt x="298" y="200"/>
                      <a:pt x="291" y="192"/>
                    </a:cubicBezTo>
                    <a:cubicBezTo>
                      <a:pt x="284" y="184"/>
                      <a:pt x="275" y="190"/>
                      <a:pt x="275" y="190"/>
                    </a:cubicBezTo>
                    <a:cubicBezTo>
                      <a:pt x="279" y="205"/>
                      <a:pt x="279" y="205"/>
                      <a:pt x="279" y="205"/>
                    </a:cubicBezTo>
                    <a:cubicBezTo>
                      <a:pt x="279" y="205"/>
                      <a:pt x="254" y="186"/>
                      <a:pt x="248" y="180"/>
                    </a:cubicBezTo>
                    <a:cubicBezTo>
                      <a:pt x="243" y="173"/>
                      <a:pt x="232" y="146"/>
                      <a:pt x="232" y="146"/>
                    </a:cubicBezTo>
                    <a:cubicBezTo>
                      <a:pt x="232" y="146"/>
                      <a:pt x="202" y="125"/>
                      <a:pt x="188" y="113"/>
                    </a:cubicBezTo>
                    <a:cubicBezTo>
                      <a:pt x="175" y="101"/>
                      <a:pt x="152" y="82"/>
                      <a:pt x="152" y="82"/>
                    </a:cubicBezTo>
                    <a:cubicBezTo>
                      <a:pt x="152" y="82"/>
                      <a:pt x="156" y="77"/>
                      <a:pt x="151" y="72"/>
                    </a:cubicBezTo>
                    <a:cubicBezTo>
                      <a:pt x="146" y="66"/>
                      <a:pt x="139" y="60"/>
                      <a:pt x="139" y="60"/>
                    </a:cubicBezTo>
                    <a:cubicBezTo>
                      <a:pt x="139" y="60"/>
                      <a:pt x="128" y="41"/>
                      <a:pt x="120" y="34"/>
                    </a:cubicBezTo>
                    <a:cubicBezTo>
                      <a:pt x="112" y="28"/>
                      <a:pt x="104" y="29"/>
                      <a:pt x="104" y="29"/>
                    </a:cubicBezTo>
                    <a:cubicBezTo>
                      <a:pt x="47" y="25"/>
                      <a:pt x="47" y="25"/>
                      <a:pt x="47" y="25"/>
                    </a:cubicBezTo>
                    <a:cubicBezTo>
                      <a:pt x="47" y="25"/>
                      <a:pt x="27" y="0"/>
                      <a:pt x="16" y="2"/>
                    </a:cubicBezTo>
                    <a:cubicBezTo>
                      <a:pt x="6" y="5"/>
                      <a:pt x="0" y="29"/>
                      <a:pt x="7" y="41"/>
                    </a:cubicBezTo>
                    <a:cubicBezTo>
                      <a:pt x="14" y="53"/>
                      <a:pt x="88" y="121"/>
                      <a:pt x="88" y="121"/>
                    </a:cubicBezTo>
                    <a:cubicBezTo>
                      <a:pt x="111" y="157"/>
                      <a:pt x="111" y="157"/>
                      <a:pt x="111" y="157"/>
                    </a:cubicBezTo>
                    <a:cubicBezTo>
                      <a:pt x="119" y="154"/>
                      <a:pt x="119" y="154"/>
                      <a:pt x="119" y="154"/>
                    </a:cubicBezTo>
                    <a:cubicBezTo>
                      <a:pt x="119" y="154"/>
                      <a:pt x="122" y="178"/>
                      <a:pt x="128" y="184"/>
                    </a:cubicBezTo>
                    <a:cubicBezTo>
                      <a:pt x="135" y="189"/>
                      <a:pt x="170" y="202"/>
                      <a:pt x="178" y="218"/>
                    </a:cubicBezTo>
                    <a:cubicBezTo>
                      <a:pt x="186" y="234"/>
                      <a:pt x="194" y="266"/>
                      <a:pt x="194" y="266"/>
                    </a:cubicBezTo>
                    <a:cubicBezTo>
                      <a:pt x="194" y="266"/>
                      <a:pt x="191" y="301"/>
                      <a:pt x="199" y="301"/>
                    </a:cubicBezTo>
                    <a:cubicBezTo>
                      <a:pt x="207" y="301"/>
                      <a:pt x="219" y="293"/>
                      <a:pt x="222" y="302"/>
                    </a:cubicBezTo>
                    <a:cubicBezTo>
                      <a:pt x="224" y="312"/>
                      <a:pt x="230" y="328"/>
                      <a:pt x="230" y="328"/>
                    </a:cubicBezTo>
                    <a:cubicBezTo>
                      <a:pt x="255" y="349"/>
                      <a:pt x="255" y="349"/>
                      <a:pt x="255" y="349"/>
                    </a:cubicBezTo>
                    <a:cubicBezTo>
                      <a:pt x="254" y="365"/>
                      <a:pt x="254" y="365"/>
                      <a:pt x="254" y="365"/>
                    </a:cubicBezTo>
                    <a:cubicBezTo>
                      <a:pt x="275" y="408"/>
                      <a:pt x="275" y="408"/>
                      <a:pt x="275" y="408"/>
                    </a:cubicBezTo>
                    <a:cubicBezTo>
                      <a:pt x="275" y="408"/>
                      <a:pt x="268" y="421"/>
                      <a:pt x="278" y="436"/>
                    </a:cubicBezTo>
                    <a:cubicBezTo>
                      <a:pt x="287" y="450"/>
                      <a:pt x="296" y="453"/>
                      <a:pt x="296" y="453"/>
                    </a:cubicBezTo>
                    <a:cubicBezTo>
                      <a:pt x="296" y="453"/>
                      <a:pt x="306" y="477"/>
                      <a:pt x="314" y="485"/>
                    </a:cubicBezTo>
                    <a:cubicBezTo>
                      <a:pt x="322" y="493"/>
                      <a:pt x="343" y="501"/>
                      <a:pt x="343" y="501"/>
                    </a:cubicBezTo>
                    <a:cubicBezTo>
                      <a:pt x="343" y="526"/>
                      <a:pt x="343" y="526"/>
                      <a:pt x="343" y="526"/>
                    </a:cubicBezTo>
                    <a:cubicBezTo>
                      <a:pt x="343" y="526"/>
                      <a:pt x="392" y="568"/>
                      <a:pt x="395" y="572"/>
                    </a:cubicBezTo>
                    <a:cubicBezTo>
                      <a:pt x="398" y="576"/>
                      <a:pt x="411" y="577"/>
                      <a:pt x="411" y="577"/>
                    </a:cubicBezTo>
                    <a:cubicBezTo>
                      <a:pt x="411" y="577"/>
                      <a:pt x="422" y="602"/>
                      <a:pt x="430" y="606"/>
                    </a:cubicBezTo>
                    <a:cubicBezTo>
                      <a:pt x="438" y="610"/>
                      <a:pt x="440" y="632"/>
                      <a:pt x="444" y="630"/>
                    </a:cubicBezTo>
                    <a:cubicBezTo>
                      <a:pt x="448" y="629"/>
                      <a:pt x="442" y="608"/>
                      <a:pt x="447" y="605"/>
                    </a:cubicBezTo>
                    <a:cubicBezTo>
                      <a:pt x="452" y="602"/>
                      <a:pt x="470" y="628"/>
                      <a:pt x="475" y="622"/>
                    </a:cubicBezTo>
                    <a:close/>
                    <a:moveTo>
                      <a:pt x="1416" y="798"/>
                    </a:moveTo>
                    <a:cubicBezTo>
                      <a:pt x="1409" y="784"/>
                      <a:pt x="1409" y="784"/>
                      <a:pt x="1409" y="784"/>
                    </a:cubicBezTo>
                    <a:cubicBezTo>
                      <a:pt x="1404" y="785"/>
                      <a:pt x="1397" y="786"/>
                      <a:pt x="1392" y="790"/>
                    </a:cubicBezTo>
                    <a:cubicBezTo>
                      <a:pt x="1380" y="797"/>
                      <a:pt x="1380" y="812"/>
                      <a:pt x="1380" y="812"/>
                    </a:cubicBezTo>
                    <a:cubicBezTo>
                      <a:pt x="1380" y="812"/>
                      <a:pt x="1369" y="809"/>
                      <a:pt x="1357" y="820"/>
                    </a:cubicBezTo>
                    <a:cubicBezTo>
                      <a:pt x="1345" y="832"/>
                      <a:pt x="1322" y="855"/>
                      <a:pt x="1342" y="870"/>
                    </a:cubicBezTo>
                    <a:cubicBezTo>
                      <a:pt x="1353" y="879"/>
                      <a:pt x="1393" y="842"/>
                      <a:pt x="1408" y="828"/>
                    </a:cubicBezTo>
                    <a:cubicBezTo>
                      <a:pt x="1405" y="827"/>
                      <a:pt x="1402" y="823"/>
                      <a:pt x="1406" y="817"/>
                    </a:cubicBezTo>
                    <a:cubicBezTo>
                      <a:pt x="1412" y="805"/>
                      <a:pt x="1416" y="798"/>
                      <a:pt x="1416" y="798"/>
                    </a:cubicBezTo>
                    <a:close/>
                    <a:moveTo>
                      <a:pt x="921" y="753"/>
                    </a:moveTo>
                    <a:cubicBezTo>
                      <a:pt x="921" y="734"/>
                      <a:pt x="894" y="734"/>
                      <a:pt x="879" y="731"/>
                    </a:cubicBezTo>
                    <a:cubicBezTo>
                      <a:pt x="865" y="728"/>
                      <a:pt x="866" y="759"/>
                      <a:pt x="866" y="759"/>
                    </a:cubicBezTo>
                    <a:cubicBezTo>
                      <a:pt x="841" y="740"/>
                      <a:pt x="841" y="740"/>
                      <a:pt x="841" y="740"/>
                    </a:cubicBezTo>
                    <a:cubicBezTo>
                      <a:pt x="841" y="740"/>
                      <a:pt x="847" y="724"/>
                      <a:pt x="847" y="700"/>
                    </a:cubicBezTo>
                    <a:cubicBezTo>
                      <a:pt x="847" y="677"/>
                      <a:pt x="799" y="686"/>
                      <a:pt x="799" y="686"/>
                    </a:cubicBezTo>
                    <a:cubicBezTo>
                      <a:pt x="778" y="674"/>
                      <a:pt x="778" y="674"/>
                      <a:pt x="778" y="674"/>
                    </a:cubicBezTo>
                    <a:cubicBezTo>
                      <a:pt x="775" y="659"/>
                      <a:pt x="775" y="659"/>
                      <a:pt x="775" y="659"/>
                    </a:cubicBezTo>
                    <a:cubicBezTo>
                      <a:pt x="749" y="659"/>
                      <a:pt x="749" y="659"/>
                      <a:pt x="749" y="659"/>
                    </a:cubicBezTo>
                    <a:cubicBezTo>
                      <a:pt x="749" y="659"/>
                      <a:pt x="744" y="680"/>
                      <a:pt x="744" y="684"/>
                    </a:cubicBezTo>
                    <a:cubicBezTo>
                      <a:pt x="744" y="688"/>
                      <a:pt x="709" y="677"/>
                      <a:pt x="693" y="674"/>
                    </a:cubicBezTo>
                    <a:cubicBezTo>
                      <a:pt x="677" y="671"/>
                      <a:pt x="648" y="672"/>
                      <a:pt x="648" y="672"/>
                    </a:cubicBezTo>
                    <a:cubicBezTo>
                      <a:pt x="648" y="672"/>
                      <a:pt x="630" y="650"/>
                      <a:pt x="621" y="640"/>
                    </a:cubicBezTo>
                    <a:cubicBezTo>
                      <a:pt x="612" y="630"/>
                      <a:pt x="598" y="641"/>
                      <a:pt x="598" y="641"/>
                    </a:cubicBezTo>
                    <a:cubicBezTo>
                      <a:pt x="598" y="641"/>
                      <a:pt x="573" y="628"/>
                      <a:pt x="567" y="627"/>
                    </a:cubicBezTo>
                    <a:cubicBezTo>
                      <a:pt x="561" y="625"/>
                      <a:pt x="535" y="624"/>
                      <a:pt x="535" y="624"/>
                    </a:cubicBezTo>
                    <a:cubicBezTo>
                      <a:pt x="535" y="624"/>
                      <a:pt x="524" y="615"/>
                      <a:pt x="511" y="619"/>
                    </a:cubicBezTo>
                    <a:cubicBezTo>
                      <a:pt x="498" y="624"/>
                      <a:pt x="498" y="652"/>
                      <a:pt x="491" y="656"/>
                    </a:cubicBezTo>
                    <a:cubicBezTo>
                      <a:pt x="483" y="661"/>
                      <a:pt x="469" y="666"/>
                      <a:pt x="472" y="677"/>
                    </a:cubicBezTo>
                    <a:cubicBezTo>
                      <a:pt x="496" y="672"/>
                      <a:pt x="496" y="672"/>
                      <a:pt x="496" y="672"/>
                    </a:cubicBezTo>
                    <a:cubicBezTo>
                      <a:pt x="527" y="675"/>
                      <a:pt x="527" y="675"/>
                      <a:pt x="527" y="675"/>
                    </a:cubicBezTo>
                    <a:cubicBezTo>
                      <a:pt x="527" y="675"/>
                      <a:pt x="504" y="688"/>
                      <a:pt x="514" y="699"/>
                    </a:cubicBezTo>
                    <a:cubicBezTo>
                      <a:pt x="524" y="709"/>
                      <a:pt x="558" y="691"/>
                      <a:pt x="558" y="691"/>
                    </a:cubicBezTo>
                    <a:cubicBezTo>
                      <a:pt x="558" y="691"/>
                      <a:pt x="608" y="718"/>
                      <a:pt x="623" y="722"/>
                    </a:cubicBezTo>
                    <a:cubicBezTo>
                      <a:pt x="637" y="727"/>
                      <a:pt x="687" y="728"/>
                      <a:pt x="705" y="728"/>
                    </a:cubicBezTo>
                    <a:cubicBezTo>
                      <a:pt x="722" y="728"/>
                      <a:pt x="727" y="747"/>
                      <a:pt x="737" y="756"/>
                    </a:cubicBezTo>
                    <a:cubicBezTo>
                      <a:pt x="747" y="765"/>
                      <a:pt x="780" y="771"/>
                      <a:pt x="794" y="772"/>
                    </a:cubicBezTo>
                    <a:cubicBezTo>
                      <a:pt x="809" y="774"/>
                      <a:pt x="815" y="771"/>
                      <a:pt x="837" y="772"/>
                    </a:cubicBezTo>
                    <a:cubicBezTo>
                      <a:pt x="859" y="774"/>
                      <a:pt x="877" y="801"/>
                      <a:pt x="885" y="806"/>
                    </a:cubicBezTo>
                    <a:cubicBezTo>
                      <a:pt x="894" y="810"/>
                      <a:pt x="904" y="801"/>
                      <a:pt x="904" y="801"/>
                    </a:cubicBezTo>
                    <a:cubicBezTo>
                      <a:pt x="904" y="801"/>
                      <a:pt x="921" y="810"/>
                      <a:pt x="921" y="804"/>
                    </a:cubicBezTo>
                    <a:cubicBezTo>
                      <a:pt x="921" y="793"/>
                      <a:pt x="910" y="778"/>
                      <a:pt x="910" y="778"/>
                    </a:cubicBezTo>
                    <a:cubicBezTo>
                      <a:pt x="910" y="778"/>
                      <a:pt x="921" y="772"/>
                      <a:pt x="921" y="753"/>
                    </a:cubicBezTo>
                    <a:close/>
                    <a:moveTo>
                      <a:pt x="1004" y="484"/>
                    </a:moveTo>
                    <a:cubicBezTo>
                      <a:pt x="1004" y="484"/>
                      <a:pt x="1025" y="467"/>
                      <a:pt x="1031" y="460"/>
                    </a:cubicBezTo>
                    <a:cubicBezTo>
                      <a:pt x="1036" y="453"/>
                      <a:pt x="1055" y="403"/>
                      <a:pt x="1055" y="403"/>
                    </a:cubicBezTo>
                    <a:cubicBezTo>
                      <a:pt x="1055" y="403"/>
                      <a:pt x="1037" y="401"/>
                      <a:pt x="1034" y="388"/>
                    </a:cubicBezTo>
                    <a:cubicBezTo>
                      <a:pt x="1031" y="376"/>
                      <a:pt x="1037" y="361"/>
                      <a:pt x="1042" y="348"/>
                    </a:cubicBezTo>
                    <a:cubicBezTo>
                      <a:pt x="1048" y="334"/>
                      <a:pt x="1070" y="336"/>
                      <a:pt x="1083" y="334"/>
                    </a:cubicBezTo>
                    <a:cubicBezTo>
                      <a:pt x="1095" y="333"/>
                      <a:pt x="1102" y="309"/>
                      <a:pt x="1101" y="301"/>
                    </a:cubicBezTo>
                    <a:cubicBezTo>
                      <a:pt x="1099" y="293"/>
                      <a:pt x="1079" y="301"/>
                      <a:pt x="1079" y="301"/>
                    </a:cubicBezTo>
                    <a:cubicBezTo>
                      <a:pt x="1079" y="301"/>
                      <a:pt x="1076" y="288"/>
                      <a:pt x="1088" y="275"/>
                    </a:cubicBezTo>
                    <a:cubicBezTo>
                      <a:pt x="1101" y="264"/>
                      <a:pt x="1128" y="269"/>
                      <a:pt x="1139" y="271"/>
                    </a:cubicBezTo>
                    <a:cubicBezTo>
                      <a:pt x="1150" y="274"/>
                      <a:pt x="1150" y="257"/>
                      <a:pt x="1150" y="257"/>
                    </a:cubicBezTo>
                    <a:cubicBezTo>
                      <a:pt x="1124" y="235"/>
                      <a:pt x="1124" y="235"/>
                      <a:pt x="1124" y="235"/>
                    </a:cubicBezTo>
                    <a:cubicBezTo>
                      <a:pt x="1124" y="208"/>
                      <a:pt x="1124" y="208"/>
                      <a:pt x="1124" y="208"/>
                    </a:cubicBezTo>
                    <a:cubicBezTo>
                      <a:pt x="1124" y="208"/>
                      <a:pt x="1105" y="207"/>
                      <a:pt x="1105" y="199"/>
                    </a:cubicBezTo>
                    <a:cubicBezTo>
                      <a:pt x="1105" y="191"/>
                      <a:pt x="1117" y="179"/>
                      <a:pt x="1116" y="168"/>
                    </a:cubicBezTo>
                    <a:cubicBezTo>
                      <a:pt x="1115" y="156"/>
                      <a:pt x="1082" y="153"/>
                      <a:pt x="1082" y="153"/>
                    </a:cubicBezTo>
                    <a:cubicBezTo>
                      <a:pt x="1093" y="135"/>
                      <a:pt x="1093" y="135"/>
                      <a:pt x="1093" y="135"/>
                    </a:cubicBezTo>
                    <a:cubicBezTo>
                      <a:pt x="1082" y="130"/>
                      <a:pt x="1082" y="130"/>
                      <a:pt x="1082" y="130"/>
                    </a:cubicBezTo>
                    <a:cubicBezTo>
                      <a:pt x="1086" y="110"/>
                      <a:pt x="1086" y="110"/>
                      <a:pt x="1086" y="110"/>
                    </a:cubicBezTo>
                    <a:cubicBezTo>
                      <a:pt x="1078" y="99"/>
                      <a:pt x="1078" y="99"/>
                      <a:pt x="1078" y="99"/>
                    </a:cubicBezTo>
                    <a:cubicBezTo>
                      <a:pt x="1070" y="92"/>
                      <a:pt x="1051" y="75"/>
                      <a:pt x="1047" y="75"/>
                    </a:cubicBezTo>
                    <a:cubicBezTo>
                      <a:pt x="1043" y="74"/>
                      <a:pt x="1002" y="73"/>
                      <a:pt x="987" y="74"/>
                    </a:cubicBezTo>
                    <a:cubicBezTo>
                      <a:pt x="973" y="75"/>
                      <a:pt x="980" y="97"/>
                      <a:pt x="978" y="113"/>
                    </a:cubicBezTo>
                    <a:cubicBezTo>
                      <a:pt x="977" y="129"/>
                      <a:pt x="968" y="144"/>
                      <a:pt x="968" y="144"/>
                    </a:cubicBezTo>
                    <a:cubicBezTo>
                      <a:pt x="968" y="144"/>
                      <a:pt x="961" y="143"/>
                      <a:pt x="955" y="152"/>
                    </a:cubicBezTo>
                    <a:cubicBezTo>
                      <a:pt x="948" y="161"/>
                      <a:pt x="960" y="177"/>
                      <a:pt x="960" y="177"/>
                    </a:cubicBezTo>
                    <a:cubicBezTo>
                      <a:pt x="938" y="196"/>
                      <a:pt x="938" y="196"/>
                      <a:pt x="938" y="196"/>
                    </a:cubicBezTo>
                    <a:cubicBezTo>
                      <a:pt x="939" y="208"/>
                      <a:pt x="939" y="208"/>
                      <a:pt x="939" y="208"/>
                    </a:cubicBezTo>
                    <a:cubicBezTo>
                      <a:pt x="922" y="231"/>
                      <a:pt x="922" y="231"/>
                      <a:pt x="922" y="231"/>
                    </a:cubicBezTo>
                    <a:cubicBezTo>
                      <a:pt x="906" y="231"/>
                      <a:pt x="906" y="231"/>
                      <a:pt x="906" y="231"/>
                    </a:cubicBezTo>
                    <a:cubicBezTo>
                      <a:pt x="906" y="231"/>
                      <a:pt x="888" y="244"/>
                      <a:pt x="885" y="244"/>
                    </a:cubicBezTo>
                    <a:cubicBezTo>
                      <a:pt x="882" y="245"/>
                      <a:pt x="857" y="229"/>
                      <a:pt x="853" y="227"/>
                    </a:cubicBezTo>
                    <a:cubicBezTo>
                      <a:pt x="849" y="224"/>
                      <a:pt x="824" y="227"/>
                      <a:pt x="824" y="227"/>
                    </a:cubicBezTo>
                    <a:cubicBezTo>
                      <a:pt x="824" y="227"/>
                      <a:pt x="811" y="248"/>
                      <a:pt x="801" y="254"/>
                    </a:cubicBezTo>
                    <a:cubicBezTo>
                      <a:pt x="791" y="260"/>
                      <a:pt x="778" y="251"/>
                      <a:pt x="764" y="251"/>
                    </a:cubicBezTo>
                    <a:cubicBezTo>
                      <a:pt x="749" y="251"/>
                      <a:pt x="750" y="259"/>
                      <a:pt x="746" y="261"/>
                    </a:cubicBezTo>
                    <a:cubicBezTo>
                      <a:pt x="742" y="264"/>
                      <a:pt x="720" y="256"/>
                      <a:pt x="712" y="247"/>
                    </a:cubicBezTo>
                    <a:cubicBezTo>
                      <a:pt x="708" y="243"/>
                      <a:pt x="706" y="237"/>
                      <a:pt x="703" y="231"/>
                    </a:cubicBezTo>
                    <a:cubicBezTo>
                      <a:pt x="703" y="231"/>
                      <a:pt x="703" y="231"/>
                      <a:pt x="703" y="231"/>
                    </a:cubicBezTo>
                    <a:cubicBezTo>
                      <a:pt x="703" y="231"/>
                      <a:pt x="684" y="213"/>
                      <a:pt x="671" y="227"/>
                    </a:cubicBezTo>
                    <a:cubicBezTo>
                      <a:pt x="657" y="242"/>
                      <a:pt x="650" y="278"/>
                      <a:pt x="650" y="278"/>
                    </a:cubicBezTo>
                    <a:cubicBezTo>
                      <a:pt x="666" y="300"/>
                      <a:pt x="666" y="300"/>
                      <a:pt x="666" y="300"/>
                    </a:cubicBezTo>
                    <a:cubicBezTo>
                      <a:pt x="673" y="335"/>
                      <a:pt x="673" y="335"/>
                      <a:pt x="673" y="335"/>
                    </a:cubicBezTo>
                    <a:cubicBezTo>
                      <a:pt x="704" y="353"/>
                      <a:pt x="704" y="353"/>
                      <a:pt x="704" y="353"/>
                    </a:cubicBezTo>
                    <a:cubicBezTo>
                      <a:pt x="699" y="377"/>
                      <a:pt x="699" y="377"/>
                      <a:pt x="699" y="377"/>
                    </a:cubicBezTo>
                    <a:cubicBezTo>
                      <a:pt x="716" y="388"/>
                      <a:pt x="716" y="388"/>
                      <a:pt x="716" y="388"/>
                    </a:cubicBezTo>
                    <a:cubicBezTo>
                      <a:pt x="705" y="407"/>
                      <a:pt x="705" y="407"/>
                      <a:pt x="705" y="407"/>
                    </a:cubicBezTo>
                    <a:cubicBezTo>
                      <a:pt x="718" y="425"/>
                      <a:pt x="718" y="425"/>
                      <a:pt x="718" y="425"/>
                    </a:cubicBezTo>
                    <a:cubicBezTo>
                      <a:pt x="707" y="432"/>
                      <a:pt x="707" y="432"/>
                      <a:pt x="707" y="432"/>
                    </a:cubicBezTo>
                    <a:cubicBezTo>
                      <a:pt x="717" y="470"/>
                      <a:pt x="717" y="470"/>
                      <a:pt x="717" y="470"/>
                    </a:cubicBezTo>
                    <a:cubicBezTo>
                      <a:pt x="745" y="466"/>
                      <a:pt x="745" y="466"/>
                      <a:pt x="745" y="466"/>
                    </a:cubicBezTo>
                    <a:cubicBezTo>
                      <a:pt x="765" y="473"/>
                      <a:pt x="765" y="473"/>
                      <a:pt x="765" y="473"/>
                    </a:cubicBezTo>
                    <a:cubicBezTo>
                      <a:pt x="765" y="473"/>
                      <a:pt x="777" y="451"/>
                      <a:pt x="789" y="451"/>
                    </a:cubicBezTo>
                    <a:cubicBezTo>
                      <a:pt x="801" y="451"/>
                      <a:pt x="789" y="483"/>
                      <a:pt x="801" y="493"/>
                    </a:cubicBezTo>
                    <a:cubicBezTo>
                      <a:pt x="812" y="502"/>
                      <a:pt x="822" y="472"/>
                      <a:pt x="822" y="472"/>
                    </a:cubicBezTo>
                    <a:cubicBezTo>
                      <a:pt x="840" y="484"/>
                      <a:pt x="840" y="484"/>
                      <a:pt x="840" y="484"/>
                    </a:cubicBezTo>
                    <a:cubicBezTo>
                      <a:pt x="840" y="484"/>
                      <a:pt x="856" y="470"/>
                      <a:pt x="865" y="470"/>
                    </a:cubicBezTo>
                    <a:cubicBezTo>
                      <a:pt x="874" y="469"/>
                      <a:pt x="868" y="495"/>
                      <a:pt x="878" y="498"/>
                    </a:cubicBezTo>
                    <a:cubicBezTo>
                      <a:pt x="888" y="502"/>
                      <a:pt x="919" y="486"/>
                      <a:pt x="935" y="489"/>
                    </a:cubicBezTo>
                    <a:cubicBezTo>
                      <a:pt x="951" y="493"/>
                      <a:pt x="936" y="542"/>
                      <a:pt x="936" y="542"/>
                    </a:cubicBezTo>
                    <a:cubicBezTo>
                      <a:pt x="936" y="542"/>
                      <a:pt x="950" y="538"/>
                      <a:pt x="966" y="531"/>
                    </a:cubicBezTo>
                    <a:cubicBezTo>
                      <a:pt x="982" y="523"/>
                      <a:pt x="1004" y="484"/>
                      <a:pt x="1004" y="484"/>
                    </a:cubicBezTo>
                    <a:close/>
                    <a:moveTo>
                      <a:pt x="990" y="745"/>
                    </a:moveTo>
                    <a:cubicBezTo>
                      <a:pt x="980" y="744"/>
                      <a:pt x="974" y="755"/>
                      <a:pt x="974" y="755"/>
                    </a:cubicBezTo>
                    <a:cubicBezTo>
                      <a:pt x="974" y="755"/>
                      <a:pt x="991" y="770"/>
                      <a:pt x="1002" y="763"/>
                    </a:cubicBezTo>
                    <a:cubicBezTo>
                      <a:pt x="1012" y="755"/>
                      <a:pt x="1000" y="747"/>
                      <a:pt x="990" y="745"/>
                    </a:cubicBezTo>
                    <a:close/>
                    <a:moveTo>
                      <a:pt x="1148" y="822"/>
                    </a:moveTo>
                    <a:cubicBezTo>
                      <a:pt x="1125" y="815"/>
                      <a:pt x="1125" y="815"/>
                      <a:pt x="1125" y="815"/>
                    </a:cubicBezTo>
                    <a:cubicBezTo>
                      <a:pt x="1118" y="821"/>
                      <a:pt x="1119" y="822"/>
                      <a:pt x="1129" y="838"/>
                    </a:cubicBezTo>
                    <a:cubicBezTo>
                      <a:pt x="1140" y="854"/>
                      <a:pt x="1147" y="843"/>
                      <a:pt x="1160" y="843"/>
                    </a:cubicBezTo>
                    <a:cubicBezTo>
                      <a:pt x="1173" y="843"/>
                      <a:pt x="1163" y="852"/>
                      <a:pt x="1173" y="862"/>
                    </a:cubicBezTo>
                    <a:cubicBezTo>
                      <a:pt x="1184" y="872"/>
                      <a:pt x="1204" y="863"/>
                      <a:pt x="1204" y="863"/>
                    </a:cubicBezTo>
                    <a:cubicBezTo>
                      <a:pt x="1204" y="863"/>
                      <a:pt x="1200" y="844"/>
                      <a:pt x="1187" y="827"/>
                    </a:cubicBezTo>
                    <a:cubicBezTo>
                      <a:pt x="1173" y="809"/>
                      <a:pt x="1148" y="822"/>
                      <a:pt x="1148" y="822"/>
                    </a:cubicBezTo>
                    <a:close/>
                    <a:moveTo>
                      <a:pt x="1312" y="751"/>
                    </a:moveTo>
                    <a:cubicBezTo>
                      <a:pt x="1293" y="767"/>
                      <a:pt x="1293" y="767"/>
                      <a:pt x="1293" y="767"/>
                    </a:cubicBezTo>
                    <a:cubicBezTo>
                      <a:pt x="1293" y="767"/>
                      <a:pt x="1282" y="755"/>
                      <a:pt x="1271" y="756"/>
                    </a:cubicBezTo>
                    <a:cubicBezTo>
                      <a:pt x="1261" y="758"/>
                      <a:pt x="1249" y="771"/>
                      <a:pt x="1249" y="771"/>
                    </a:cubicBezTo>
                    <a:cubicBezTo>
                      <a:pt x="1249" y="771"/>
                      <a:pt x="1239" y="745"/>
                      <a:pt x="1221" y="748"/>
                    </a:cubicBezTo>
                    <a:cubicBezTo>
                      <a:pt x="1204" y="751"/>
                      <a:pt x="1182" y="777"/>
                      <a:pt x="1182" y="777"/>
                    </a:cubicBezTo>
                    <a:cubicBezTo>
                      <a:pt x="1158" y="775"/>
                      <a:pt x="1158" y="775"/>
                      <a:pt x="1158" y="775"/>
                    </a:cubicBezTo>
                    <a:cubicBezTo>
                      <a:pt x="1151" y="787"/>
                      <a:pt x="1151" y="787"/>
                      <a:pt x="1151" y="787"/>
                    </a:cubicBezTo>
                    <a:cubicBezTo>
                      <a:pt x="1167" y="784"/>
                      <a:pt x="1167" y="784"/>
                      <a:pt x="1167" y="784"/>
                    </a:cubicBezTo>
                    <a:cubicBezTo>
                      <a:pt x="1167" y="784"/>
                      <a:pt x="1179" y="790"/>
                      <a:pt x="1191" y="795"/>
                    </a:cubicBezTo>
                    <a:cubicBezTo>
                      <a:pt x="1202" y="799"/>
                      <a:pt x="1214" y="781"/>
                      <a:pt x="1214" y="781"/>
                    </a:cubicBezTo>
                    <a:cubicBezTo>
                      <a:pt x="1276" y="780"/>
                      <a:pt x="1276" y="780"/>
                      <a:pt x="1276" y="780"/>
                    </a:cubicBezTo>
                    <a:cubicBezTo>
                      <a:pt x="1308" y="775"/>
                      <a:pt x="1308" y="775"/>
                      <a:pt x="1308" y="775"/>
                    </a:cubicBezTo>
                    <a:cubicBezTo>
                      <a:pt x="1334" y="752"/>
                      <a:pt x="1334" y="752"/>
                      <a:pt x="1334" y="752"/>
                    </a:cubicBezTo>
                    <a:cubicBezTo>
                      <a:pt x="1333" y="742"/>
                      <a:pt x="1333" y="742"/>
                      <a:pt x="1333" y="742"/>
                    </a:cubicBezTo>
                    <a:lnTo>
                      <a:pt x="1312" y="751"/>
                    </a:lnTo>
                    <a:close/>
                    <a:moveTo>
                      <a:pt x="1056" y="774"/>
                    </a:moveTo>
                    <a:cubicBezTo>
                      <a:pt x="1056" y="774"/>
                      <a:pt x="1042" y="759"/>
                      <a:pt x="1034" y="761"/>
                    </a:cubicBezTo>
                    <a:cubicBezTo>
                      <a:pt x="1025" y="762"/>
                      <a:pt x="1006" y="791"/>
                      <a:pt x="1006" y="791"/>
                    </a:cubicBezTo>
                    <a:cubicBezTo>
                      <a:pt x="1041" y="796"/>
                      <a:pt x="1041" y="796"/>
                      <a:pt x="1041" y="796"/>
                    </a:cubicBezTo>
                    <a:cubicBezTo>
                      <a:pt x="1042" y="810"/>
                      <a:pt x="1042" y="810"/>
                      <a:pt x="1042" y="810"/>
                    </a:cubicBezTo>
                    <a:cubicBezTo>
                      <a:pt x="1057" y="808"/>
                      <a:pt x="1057" y="808"/>
                      <a:pt x="1057" y="808"/>
                    </a:cubicBezTo>
                    <a:cubicBezTo>
                      <a:pt x="1063" y="794"/>
                      <a:pt x="1063" y="794"/>
                      <a:pt x="1063" y="794"/>
                    </a:cubicBezTo>
                    <a:cubicBezTo>
                      <a:pt x="1082" y="805"/>
                      <a:pt x="1082" y="805"/>
                      <a:pt x="1082" y="805"/>
                    </a:cubicBezTo>
                    <a:cubicBezTo>
                      <a:pt x="1101" y="783"/>
                      <a:pt x="1101" y="783"/>
                      <a:pt x="1101" y="783"/>
                    </a:cubicBezTo>
                    <a:cubicBezTo>
                      <a:pt x="1067" y="771"/>
                      <a:pt x="1067" y="771"/>
                      <a:pt x="1067" y="771"/>
                    </a:cubicBezTo>
                    <a:lnTo>
                      <a:pt x="1056" y="774"/>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26" name="Freeform 48">
                <a:extLst>
                  <a:ext uri="{FF2B5EF4-FFF2-40B4-BE49-F238E27FC236}">
                    <a16:creationId xmlns:a16="http://schemas.microsoft.com/office/drawing/2014/main" id="{228AF25F-AA4C-4338-B887-113A51575DAD}"/>
                  </a:ext>
                </a:extLst>
              </p:cNvPr>
              <p:cNvSpPr>
                <a:spLocks noEditPoints="1"/>
              </p:cNvSpPr>
              <p:nvPr>
                <p:custDataLst>
                  <p:tags r:id="rId7"/>
                </p:custDataLst>
              </p:nvPr>
            </p:nvSpPr>
            <p:spPr bwMode="gray">
              <a:xfrm>
                <a:off x="8669823" y="5407045"/>
                <a:ext cx="512759" cy="361951"/>
              </a:xfrm>
              <a:custGeom>
                <a:avLst/>
                <a:gdLst>
                  <a:gd name="T0" fmla="*/ 489 w 851"/>
                  <a:gd name="T1" fmla="*/ 375 h 656"/>
                  <a:gd name="T2" fmla="*/ 477 w 851"/>
                  <a:gd name="T3" fmla="*/ 361 h 656"/>
                  <a:gd name="T4" fmla="*/ 456 w 851"/>
                  <a:gd name="T5" fmla="*/ 351 h 656"/>
                  <a:gd name="T6" fmla="*/ 425 w 851"/>
                  <a:gd name="T7" fmla="*/ 380 h 656"/>
                  <a:gd name="T8" fmla="*/ 360 w 851"/>
                  <a:gd name="T9" fmla="*/ 432 h 656"/>
                  <a:gd name="T10" fmla="*/ 261 w 851"/>
                  <a:gd name="T11" fmla="*/ 484 h 656"/>
                  <a:gd name="T12" fmla="*/ 177 w 851"/>
                  <a:gd name="T13" fmla="*/ 513 h 656"/>
                  <a:gd name="T14" fmla="*/ 112 w 851"/>
                  <a:gd name="T15" fmla="*/ 564 h 656"/>
                  <a:gd name="T16" fmla="*/ 56 w 851"/>
                  <a:gd name="T17" fmla="*/ 583 h 656"/>
                  <a:gd name="T18" fmla="*/ 0 w 851"/>
                  <a:gd name="T19" fmla="*/ 608 h 656"/>
                  <a:gd name="T20" fmla="*/ 12 w 851"/>
                  <a:gd name="T21" fmla="*/ 629 h 656"/>
                  <a:gd name="T22" fmla="*/ 47 w 851"/>
                  <a:gd name="T23" fmla="*/ 631 h 656"/>
                  <a:gd name="T24" fmla="*/ 65 w 851"/>
                  <a:gd name="T25" fmla="*/ 637 h 656"/>
                  <a:gd name="T26" fmla="*/ 96 w 851"/>
                  <a:gd name="T27" fmla="*/ 648 h 656"/>
                  <a:gd name="T28" fmla="*/ 152 w 851"/>
                  <a:gd name="T29" fmla="*/ 653 h 656"/>
                  <a:gd name="T30" fmla="*/ 215 w 851"/>
                  <a:gd name="T31" fmla="*/ 620 h 656"/>
                  <a:gd name="T32" fmla="*/ 265 w 851"/>
                  <a:gd name="T33" fmla="*/ 574 h 656"/>
                  <a:gd name="T34" fmla="*/ 279 w 851"/>
                  <a:gd name="T35" fmla="*/ 557 h 656"/>
                  <a:gd name="T36" fmla="*/ 306 w 851"/>
                  <a:gd name="T37" fmla="*/ 517 h 656"/>
                  <a:gd name="T38" fmla="*/ 343 w 851"/>
                  <a:gd name="T39" fmla="*/ 510 h 656"/>
                  <a:gd name="T40" fmla="*/ 388 w 851"/>
                  <a:gd name="T41" fmla="*/ 503 h 656"/>
                  <a:gd name="T42" fmla="*/ 395 w 851"/>
                  <a:gd name="T43" fmla="*/ 480 h 656"/>
                  <a:gd name="T44" fmla="*/ 430 w 851"/>
                  <a:gd name="T45" fmla="*/ 456 h 656"/>
                  <a:gd name="T46" fmla="*/ 468 w 851"/>
                  <a:gd name="T47" fmla="*/ 430 h 656"/>
                  <a:gd name="T48" fmla="*/ 518 w 851"/>
                  <a:gd name="T49" fmla="*/ 389 h 656"/>
                  <a:gd name="T50" fmla="*/ 498 w 851"/>
                  <a:gd name="T51" fmla="*/ 375 h 656"/>
                  <a:gd name="T52" fmla="*/ 841 w 851"/>
                  <a:gd name="T53" fmla="*/ 205 h 656"/>
                  <a:gd name="T54" fmla="*/ 821 w 851"/>
                  <a:gd name="T55" fmla="*/ 186 h 656"/>
                  <a:gd name="T56" fmla="*/ 768 w 851"/>
                  <a:gd name="T57" fmla="*/ 192 h 656"/>
                  <a:gd name="T58" fmla="*/ 777 w 851"/>
                  <a:gd name="T59" fmla="*/ 120 h 656"/>
                  <a:gd name="T60" fmla="*/ 756 w 851"/>
                  <a:gd name="T61" fmla="*/ 129 h 656"/>
                  <a:gd name="T62" fmla="*/ 740 w 851"/>
                  <a:gd name="T63" fmla="*/ 126 h 656"/>
                  <a:gd name="T64" fmla="*/ 750 w 851"/>
                  <a:gd name="T65" fmla="*/ 62 h 656"/>
                  <a:gd name="T66" fmla="*/ 720 w 851"/>
                  <a:gd name="T67" fmla="*/ 27 h 656"/>
                  <a:gd name="T68" fmla="*/ 692 w 851"/>
                  <a:gd name="T69" fmla="*/ 11 h 656"/>
                  <a:gd name="T70" fmla="*/ 679 w 851"/>
                  <a:gd name="T71" fmla="*/ 12 h 656"/>
                  <a:gd name="T72" fmla="*/ 686 w 851"/>
                  <a:gd name="T73" fmla="*/ 60 h 656"/>
                  <a:gd name="T74" fmla="*/ 692 w 851"/>
                  <a:gd name="T75" fmla="*/ 70 h 656"/>
                  <a:gd name="T76" fmla="*/ 712 w 851"/>
                  <a:gd name="T77" fmla="*/ 89 h 656"/>
                  <a:gd name="T78" fmla="*/ 705 w 851"/>
                  <a:gd name="T79" fmla="*/ 102 h 656"/>
                  <a:gd name="T80" fmla="*/ 715 w 851"/>
                  <a:gd name="T81" fmla="*/ 136 h 656"/>
                  <a:gd name="T82" fmla="*/ 694 w 851"/>
                  <a:gd name="T83" fmla="*/ 148 h 656"/>
                  <a:gd name="T84" fmla="*/ 682 w 851"/>
                  <a:gd name="T85" fmla="*/ 185 h 656"/>
                  <a:gd name="T86" fmla="*/ 656 w 851"/>
                  <a:gd name="T87" fmla="*/ 209 h 656"/>
                  <a:gd name="T88" fmla="*/ 578 w 851"/>
                  <a:gd name="T89" fmla="*/ 255 h 656"/>
                  <a:gd name="T90" fmla="*/ 609 w 851"/>
                  <a:gd name="T91" fmla="*/ 302 h 656"/>
                  <a:gd name="T92" fmla="*/ 576 w 851"/>
                  <a:gd name="T93" fmla="*/ 359 h 656"/>
                  <a:gd name="T94" fmla="*/ 557 w 851"/>
                  <a:gd name="T95" fmla="*/ 381 h 656"/>
                  <a:gd name="T96" fmla="*/ 644 w 851"/>
                  <a:gd name="T97" fmla="*/ 340 h 656"/>
                  <a:gd name="T98" fmla="*/ 697 w 851"/>
                  <a:gd name="T99" fmla="*/ 308 h 656"/>
                  <a:gd name="T100" fmla="*/ 715 w 851"/>
                  <a:gd name="T101" fmla="*/ 277 h 656"/>
                  <a:gd name="T102" fmla="*/ 774 w 851"/>
                  <a:gd name="T103" fmla="*/ 266 h 656"/>
                  <a:gd name="T104" fmla="*/ 805 w 851"/>
                  <a:gd name="T105" fmla="*/ 236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51" h="656">
                    <a:moveTo>
                      <a:pt x="498" y="375"/>
                    </a:moveTo>
                    <a:cubicBezTo>
                      <a:pt x="489" y="375"/>
                      <a:pt x="489" y="375"/>
                      <a:pt x="489" y="375"/>
                    </a:cubicBezTo>
                    <a:cubicBezTo>
                      <a:pt x="495" y="350"/>
                      <a:pt x="495" y="350"/>
                      <a:pt x="495" y="350"/>
                    </a:cubicBezTo>
                    <a:cubicBezTo>
                      <a:pt x="477" y="361"/>
                      <a:pt x="477" y="361"/>
                      <a:pt x="477" y="361"/>
                    </a:cubicBezTo>
                    <a:cubicBezTo>
                      <a:pt x="477" y="361"/>
                      <a:pt x="490" y="335"/>
                      <a:pt x="478" y="335"/>
                    </a:cubicBezTo>
                    <a:cubicBezTo>
                      <a:pt x="466" y="334"/>
                      <a:pt x="456" y="351"/>
                      <a:pt x="456" y="351"/>
                    </a:cubicBezTo>
                    <a:cubicBezTo>
                      <a:pt x="445" y="358"/>
                      <a:pt x="445" y="358"/>
                      <a:pt x="445" y="358"/>
                    </a:cubicBezTo>
                    <a:cubicBezTo>
                      <a:pt x="445" y="358"/>
                      <a:pt x="434" y="369"/>
                      <a:pt x="425" y="380"/>
                    </a:cubicBezTo>
                    <a:cubicBezTo>
                      <a:pt x="417" y="391"/>
                      <a:pt x="396" y="393"/>
                      <a:pt x="381" y="403"/>
                    </a:cubicBezTo>
                    <a:cubicBezTo>
                      <a:pt x="366" y="414"/>
                      <a:pt x="360" y="432"/>
                      <a:pt x="360" y="432"/>
                    </a:cubicBezTo>
                    <a:cubicBezTo>
                      <a:pt x="360" y="432"/>
                      <a:pt x="313" y="446"/>
                      <a:pt x="300" y="455"/>
                    </a:cubicBezTo>
                    <a:cubicBezTo>
                      <a:pt x="285" y="464"/>
                      <a:pt x="261" y="484"/>
                      <a:pt x="261" y="484"/>
                    </a:cubicBezTo>
                    <a:cubicBezTo>
                      <a:pt x="261" y="484"/>
                      <a:pt x="234" y="488"/>
                      <a:pt x="217" y="495"/>
                    </a:cubicBezTo>
                    <a:cubicBezTo>
                      <a:pt x="201" y="503"/>
                      <a:pt x="192" y="505"/>
                      <a:pt x="177" y="513"/>
                    </a:cubicBezTo>
                    <a:cubicBezTo>
                      <a:pt x="161" y="522"/>
                      <a:pt x="131" y="533"/>
                      <a:pt x="119" y="539"/>
                    </a:cubicBezTo>
                    <a:cubicBezTo>
                      <a:pt x="106" y="545"/>
                      <a:pt x="112" y="564"/>
                      <a:pt x="112" y="564"/>
                    </a:cubicBezTo>
                    <a:cubicBezTo>
                      <a:pt x="102" y="555"/>
                      <a:pt x="102" y="555"/>
                      <a:pt x="102" y="555"/>
                    </a:cubicBezTo>
                    <a:cubicBezTo>
                      <a:pt x="102" y="555"/>
                      <a:pt x="67" y="577"/>
                      <a:pt x="56" y="583"/>
                    </a:cubicBezTo>
                    <a:cubicBezTo>
                      <a:pt x="44" y="590"/>
                      <a:pt x="39" y="587"/>
                      <a:pt x="23" y="593"/>
                    </a:cubicBezTo>
                    <a:cubicBezTo>
                      <a:pt x="7" y="599"/>
                      <a:pt x="0" y="608"/>
                      <a:pt x="0" y="608"/>
                    </a:cubicBezTo>
                    <a:cubicBezTo>
                      <a:pt x="0" y="608"/>
                      <a:pt x="20" y="607"/>
                      <a:pt x="18" y="611"/>
                    </a:cubicBezTo>
                    <a:cubicBezTo>
                      <a:pt x="16" y="615"/>
                      <a:pt x="8" y="620"/>
                      <a:pt x="12" y="629"/>
                    </a:cubicBezTo>
                    <a:cubicBezTo>
                      <a:pt x="17" y="638"/>
                      <a:pt x="40" y="624"/>
                      <a:pt x="40" y="624"/>
                    </a:cubicBezTo>
                    <a:cubicBezTo>
                      <a:pt x="47" y="631"/>
                      <a:pt x="47" y="631"/>
                      <a:pt x="47" y="631"/>
                    </a:cubicBezTo>
                    <a:cubicBezTo>
                      <a:pt x="63" y="631"/>
                      <a:pt x="63" y="631"/>
                      <a:pt x="63" y="631"/>
                    </a:cubicBezTo>
                    <a:cubicBezTo>
                      <a:pt x="65" y="637"/>
                      <a:pt x="65" y="637"/>
                      <a:pt x="65" y="637"/>
                    </a:cubicBezTo>
                    <a:cubicBezTo>
                      <a:pt x="87" y="634"/>
                      <a:pt x="87" y="634"/>
                      <a:pt x="87" y="634"/>
                    </a:cubicBezTo>
                    <a:cubicBezTo>
                      <a:pt x="96" y="648"/>
                      <a:pt x="96" y="648"/>
                      <a:pt x="96" y="648"/>
                    </a:cubicBezTo>
                    <a:cubicBezTo>
                      <a:pt x="118" y="645"/>
                      <a:pt x="118" y="645"/>
                      <a:pt x="118" y="645"/>
                    </a:cubicBezTo>
                    <a:cubicBezTo>
                      <a:pt x="118" y="645"/>
                      <a:pt x="136" y="656"/>
                      <a:pt x="152" y="653"/>
                    </a:cubicBezTo>
                    <a:cubicBezTo>
                      <a:pt x="167" y="650"/>
                      <a:pt x="172" y="634"/>
                      <a:pt x="182" y="627"/>
                    </a:cubicBezTo>
                    <a:cubicBezTo>
                      <a:pt x="192" y="620"/>
                      <a:pt x="200" y="630"/>
                      <a:pt x="215" y="620"/>
                    </a:cubicBezTo>
                    <a:cubicBezTo>
                      <a:pt x="230" y="610"/>
                      <a:pt x="220" y="597"/>
                      <a:pt x="232" y="586"/>
                    </a:cubicBezTo>
                    <a:cubicBezTo>
                      <a:pt x="243" y="574"/>
                      <a:pt x="257" y="582"/>
                      <a:pt x="265" y="574"/>
                    </a:cubicBezTo>
                    <a:cubicBezTo>
                      <a:pt x="273" y="567"/>
                      <a:pt x="265" y="558"/>
                      <a:pt x="265" y="558"/>
                    </a:cubicBezTo>
                    <a:cubicBezTo>
                      <a:pt x="279" y="557"/>
                      <a:pt x="279" y="557"/>
                      <a:pt x="279" y="557"/>
                    </a:cubicBezTo>
                    <a:cubicBezTo>
                      <a:pt x="318" y="527"/>
                      <a:pt x="318" y="527"/>
                      <a:pt x="318" y="527"/>
                    </a:cubicBezTo>
                    <a:cubicBezTo>
                      <a:pt x="306" y="517"/>
                      <a:pt x="306" y="517"/>
                      <a:pt x="306" y="517"/>
                    </a:cubicBezTo>
                    <a:cubicBezTo>
                      <a:pt x="333" y="527"/>
                      <a:pt x="333" y="527"/>
                      <a:pt x="333" y="527"/>
                    </a:cubicBezTo>
                    <a:cubicBezTo>
                      <a:pt x="333" y="527"/>
                      <a:pt x="334" y="511"/>
                      <a:pt x="343" y="510"/>
                    </a:cubicBezTo>
                    <a:cubicBezTo>
                      <a:pt x="352" y="509"/>
                      <a:pt x="360" y="517"/>
                      <a:pt x="372" y="520"/>
                    </a:cubicBezTo>
                    <a:cubicBezTo>
                      <a:pt x="383" y="522"/>
                      <a:pt x="388" y="503"/>
                      <a:pt x="388" y="503"/>
                    </a:cubicBezTo>
                    <a:cubicBezTo>
                      <a:pt x="378" y="495"/>
                      <a:pt x="378" y="495"/>
                      <a:pt x="378" y="495"/>
                    </a:cubicBezTo>
                    <a:cubicBezTo>
                      <a:pt x="395" y="480"/>
                      <a:pt x="395" y="480"/>
                      <a:pt x="395" y="480"/>
                    </a:cubicBezTo>
                    <a:cubicBezTo>
                      <a:pt x="407" y="466"/>
                      <a:pt x="407" y="466"/>
                      <a:pt x="407" y="466"/>
                    </a:cubicBezTo>
                    <a:cubicBezTo>
                      <a:pt x="407" y="466"/>
                      <a:pt x="418" y="459"/>
                      <a:pt x="430" y="456"/>
                    </a:cubicBezTo>
                    <a:cubicBezTo>
                      <a:pt x="442" y="453"/>
                      <a:pt x="447" y="436"/>
                      <a:pt x="447" y="436"/>
                    </a:cubicBezTo>
                    <a:cubicBezTo>
                      <a:pt x="447" y="436"/>
                      <a:pt x="458" y="434"/>
                      <a:pt x="468" y="430"/>
                    </a:cubicBezTo>
                    <a:cubicBezTo>
                      <a:pt x="479" y="426"/>
                      <a:pt x="488" y="408"/>
                      <a:pt x="488" y="408"/>
                    </a:cubicBezTo>
                    <a:cubicBezTo>
                      <a:pt x="488" y="408"/>
                      <a:pt x="508" y="401"/>
                      <a:pt x="518" y="389"/>
                    </a:cubicBezTo>
                    <a:cubicBezTo>
                      <a:pt x="529" y="376"/>
                      <a:pt x="516" y="353"/>
                      <a:pt x="516" y="353"/>
                    </a:cubicBezTo>
                    <a:lnTo>
                      <a:pt x="498" y="375"/>
                    </a:lnTo>
                    <a:close/>
                    <a:moveTo>
                      <a:pt x="815" y="215"/>
                    </a:moveTo>
                    <a:cubicBezTo>
                      <a:pt x="823" y="210"/>
                      <a:pt x="831" y="213"/>
                      <a:pt x="841" y="205"/>
                    </a:cubicBezTo>
                    <a:cubicBezTo>
                      <a:pt x="851" y="197"/>
                      <a:pt x="847" y="183"/>
                      <a:pt x="839" y="176"/>
                    </a:cubicBezTo>
                    <a:cubicBezTo>
                      <a:pt x="831" y="168"/>
                      <a:pt x="821" y="186"/>
                      <a:pt x="821" y="186"/>
                    </a:cubicBezTo>
                    <a:cubicBezTo>
                      <a:pt x="821" y="186"/>
                      <a:pt x="815" y="186"/>
                      <a:pt x="806" y="184"/>
                    </a:cubicBezTo>
                    <a:cubicBezTo>
                      <a:pt x="798" y="181"/>
                      <a:pt x="780" y="195"/>
                      <a:pt x="768" y="192"/>
                    </a:cubicBezTo>
                    <a:cubicBezTo>
                      <a:pt x="756" y="189"/>
                      <a:pt x="761" y="145"/>
                      <a:pt x="761" y="145"/>
                    </a:cubicBezTo>
                    <a:cubicBezTo>
                      <a:pt x="777" y="120"/>
                      <a:pt x="777" y="120"/>
                      <a:pt x="777" y="120"/>
                    </a:cubicBezTo>
                    <a:cubicBezTo>
                      <a:pt x="777" y="120"/>
                      <a:pt x="777" y="102"/>
                      <a:pt x="767" y="103"/>
                    </a:cubicBezTo>
                    <a:cubicBezTo>
                      <a:pt x="756" y="103"/>
                      <a:pt x="756" y="119"/>
                      <a:pt x="756" y="129"/>
                    </a:cubicBezTo>
                    <a:cubicBezTo>
                      <a:pt x="755" y="138"/>
                      <a:pt x="743" y="146"/>
                      <a:pt x="743" y="146"/>
                    </a:cubicBezTo>
                    <a:cubicBezTo>
                      <a:pt x="740" y="126"/>
                      <a:pt x="740" y="126"/>
                      <a:pt x="740" y="126"/>
                    </a:cubicBezTo>
                    <a:cubicBezTo>
                      <a:pt x="726" y="113"/>
                      <a:pt x="726" y="113"/>
                      <a:pt x="726" y="113"/>
                    </a:cubicBezTo>
                    <a:cubicBezTo>
                      <a:pt x="726" y="113"/>
                      <a:pt x="750" y="82"/>
                      <a:pt x="750" y="62"/>
                    </a:cubicBezTo>
                    <a:cubicBezTo>
                      <a:pt x="751" y="42"/>
                      <a:pt x="717" y="41"/>
                      <a:pt x="717" y="41"/>
                    </a:cubicBezTo>
                    <a:cubicBezTo>
                      <a:pt x="720" y="27"/>
                      <a:pt x="720" y="27"/>
                      <a:pt x="720" y="27"/>
                    </a:cubicBezTo>
                    <a:cubicBezTo>
                      <a:pt x="707" y="25"/>
                      <a:pt x="707" y="25"/>
                      <a:pt x="707" y="25"/>
                    </a:cubicBezTo>
                    <a:cubicBezTo>
                      <a:pt x="692" y="11"/>
                      <a:pt x="692" y="11"/>
                      <a:pt x="692" y="11"/>
                    </a:cubicBezTo>
                    <a:cubicBezTo>
                      <a:pt x="699" y="0"/>
                      <a:pt x="699" y="0"/>
                      <a:pt x="699" y="0"/>
                    </a:cubicBezTo>
                    <a:cubicBezTo>
                      <a:pt x="679" y="12"/>
                      <a:pt x="679" y="12"/>
                      <a:pt x="679" y="12"/>
                    </a:cubicBezTo>
                    <a:cubicBezTo>
                      <a:pt x="692" y="35"/>
                      <a:pt x="692" y="35"/>
                      <a:pt x="692" y="35"/>
                    </a:cubicBezTo>
                    <a:cubicBezTo>
                      <a:pt x="686" y="60"/>
                      <a:pt x="686" y="60"/>
                      <a:pt x="686" y="60"/>
                    </a:cubicBezTo>
                    <a:cubicBezTo>
                      <a:pt x="701" y="66"/>
                      <a:pt x="701" y="66"/>
                      <a:pt x="701" y="66"/>
                    </a:cubicBezTo>
                    <a:cubicBezTo>
                      <a:pt x="692" y="70"/>
                      <a:pt x="692" y="70"/>
                      <a:pt x="692" y="70"/>
                    </a:cubicBezTo>
                    <a:cubicBezTo>
                      <a:pt x="696" y="84"/>
                      <a:pt x="696" y="84"/>
                      <a:pt x="696" y="84"/>
                    </a:cubicBezTo>
                    <a:cubicBezTo>
                      <a:pt x="712" y="89"/>
                      <a:pt x="712" y="89"/>
                      <a:pt x="712" y="89"/>
                    </a:cubicBezTo>
                    <a:cubicBezTo>
                      <a:pt x="696" y="97"/>
                      <a:pt x="696" y="97"/>
                      <a:pt x="696" y="97"/>
                    </a:cubicBezTo>
                    <a:cubicBezTo>
                      <a:pt x="705" y="102"/>
                      <a:pt x="705" y="102"/>
                      <a:pt x="705" y="102"/>
                    </a:cubicBezTo>
                    <a:cubicBezTo>
                      <a:pt x="705" y="102"/>
                      <a:pt x="702" y="116"/>
                      <a:pt x="702" y="122"/>
                    </a:cubicBezTo>
                    <a:cubicBezTo>
                      <a:pt x="702" y="129"/>
                      <a:pt x="715" y="136"/>
                      <a:pt x="715" y="136"/>
                    </a:cubicBezTo>
                    <a:cubicBezTo>
                      <a:pt x="702" y="138"/>
                      <a:pt x="702" y="138"/>
                      <a:pt x="702" y="138"/>
                    </a:cubicBezTo>
                    <a:cubicBezTo>
                      <a:pt x="694" y="148"/>
                      <a:pt x="694" y="148"/>
                      <a:pt x="694" y="148"/>
                    </a:cubicBezTo>
                    <a:cubicBezTo>
                      <a:pt x="705" y="154"/>
                      <a:pt x="705" y="154"/>
                      <a:pt x="705" y="154"/>
                    </a:cubicBezTo>
                    <a:cubicBezTo>
                      <a:pt x="705" y="154"/>
                      <a:pt x="684" y="174"/>
                      <a:pt x="682" y="185"/>
                    </a:cubicBezTo>
                    <a:cubicBezTo>
                      <a:pt x="681" y="196"/>
                      <a:pt x="691" y="199"/>
                      <a:pt x="691" y="199"/>
                    </a:cubicBezTo>
                    <a:cubicBezTo>
                      <a:pt x="691" y="199"/>
                      <a:pt x="669" y="203"/>
                      <a:pt x="656" y="209"/>
                    </a:cubicBezTo>
                    <a:cubicBezTo>
                      <a:pt x="643" y="214"/>
                      <a:pt x="646" y="217"/>
                      <a:pt x="630" y="229"/>
                    </a:cubicBezTo>
                    <a:cubicBezTo>
                      <a:pt x="613" y="242"/>
                      <a:pt x="599" y="243"/>
                      <a:pt x="578" y="255"/>
                    </a:cubicBezTo>
                    <a:cubicBezTo>
                      <a:pt x="557" y="268"/>
                      <a:pt x="576" y="302"/>
                      <a:pt x="576" y="302"/>
                    </a:cubicBezTo>
                    <a:cubicBezTo>
                      <a:pt x="576" y="302"/>
                      <a:pt x="599" y="300"/>
                      <a:pt x="609" y="302"/>
                    </a:cubicBezTo>
                    <a:cubicBezTo>
                      <a:pt x="619" y="304"/>
                      <a:pt x="609" y="323"/>
                      <a:pt x="609" y="338"/>
                    </a:cubicBezTo>
                    <a:cubicBezTo>
                      <a:pt x="610" y="354"/>
                      <a:pt x="593" y="353"/>
                      <a:pt x="576" y="359"/>
                    </a:cubicBezTo>
                    <a:cubicBezTo>
                      <a:pt x="559" y="365"/>
                      <a:pt x="567" y="370"/>
                      <a:pt x="567" y="370"/>
                    </a:cubicBezTo>
                    <a:cubicBezTo>
                      <a:pt x="557" y="381"/>
                      <a:pt x="557" y="381"/>
                      <a:pt x="557" y="381"/>
                    </a:cubicBezTo>
                    <a:cubicBezTo>
                      <a:pt x="557" y="381"/>
                      <a:pt x="575" y="394"/>
                      <a:pt x="589" y="390"/>
                    </a:cubicBezTo>
                    <a:cubicBezTo>
                      <a:pt x="602" y="385"/>
                      <a:pt x="633" y="351"/>
                      <a:pt x="644" y="340"/>
                    </a:cubicBezTo>
                    <a:cubicBezTo>
                      <a:pt x="655" y="329"/>
                      <a:pt x="682" y="321"/>
                      <a:pt x="687" y="321"/>
                    </a:cubicBezTo>
                    <a:cubicBezTo>
                      <a:pt x="692" y="320"/>
                      <a:pt x="697" y="308"/>
                      <a:pt x="697" y="308"/>
                    </a:cubicBezTo>
                    <a:cubicBezTo>
                      <a:pt x="697" y="308"/>
                      <a:pt x="704" y="305"/>
                      <a:pt x="715" y="301"/>
                    </a:cubicBezTo>
                    <a:cubicBezTo>
                      <a:pt x="726" y="296"/>
                      <a:pt x="715" y="277"/>
                      <a:pt x="715" y="277"/>
                    </a:cubicBezTo>
                    <a:cubicBezTo>
                      <a:pt x="715" y="277"/>
                      <a:pt x="725" y="269"/>
                      <a:pt x="738" y="263"/>
                    </a:cubicBezTo>
                    <a:cubicBezTo>
                      <a:pt x="752" y="257"/>
                      <a:pt x="762" y="269"/>
                      <a:pt x="774" y="266"/>
                    </a:cubicBezTo>
                    <a:cubicBezTo>
                      <a:pt x="786" y="264"/>
                      <a:pt x="782" y="240"/>
                      <a:pt x="782" y="240"/>
                    </a:cubicBezTo>
                    <a:cubicBezTo>
                      <a:pt x="782" y="240"/>
                      <a:pt x="793" y="237"/>
                      <a:pt x="805" y="236"/>
                    </a:cubicBezTo>
                    <a:cubicBezTo>
                      <a:pt x="816" y="235"/>
                      <a:pt x="808" y="221"/>
                      <a:pt x="815" y="215"/>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27" name="Freeform 49">
                <a:extLst>
                  <a:ext uri="{FF2B5EF4-FFF2-40B4-BE49-F238E27FC236}">
                    <a16:creationId xmlns:a16="http://schemas.microsoft.com/office/drawing/2014/main" id="{4D7CA8F7-EFDE-45D3-9773-C369A228CA61}"/>
                  </a:ext>
                </a:extLst>
              </p:cNvPr>
              <p:cNvSpPr>
                <a:spLocks noEditPoints="1"/>
              </p:cNvSpPr>
              <p:nvPr>
                <p:custDataLst>
                  <p:tags r:id="rId8"/>
                </p:custDataLst>
              </p:nvPr>
            </p:nvSpPr>
            <p:spPr bwMode="gray">
              <a:xfrm>
                <a:off x="7589795" y="4699017"/>
                <a:ext cx="1139818" cy="985841"/>
              </a:xfrm>
              <a:custGeom>
                <a:avLst/>
                <a:gdLst>
                  <a:gd name="T0" fmla="*/ 971 w 1898"/>
                  <a:gd name="T1" fmla="*/ 1367 h 1774"/>
                  <a:gd name="T2" fmla="*/ 1008 w 1898"/>
                  <a:gd name="T3" fmla="*/ 1349 h 1774"/>
                  <a:gd name="T4" fmla="*/ 1830 w 1898"/>
                  <a:gd name="T5" fmla="*/ 698 h 1774"/>
                  <a:gd name="T6" fmla="*/ 1797 w 1898"/>
                  <a:gd name="T7" fmla="*/ 622 h 1774"/>
                  <a:gd name="T8" fmla="*/ 1707 w 1898"/>
                  <a:gd name="T9" fmla="*/ 471 h 1774"/>
                  <a:gd name="T10" fmla="*/ 1649 w 1898"/>
                  <a:gd name="T11" fmla="*/ 192 h 1774"/>
                  <a:gd name="T12" fmla="*/ 1596 w 1898"/>
                  <a:gd name="T13" fmla="*/ 64 h 1774"/>
                  <a:gd name="T14" fmla="*/ 1541 w 1898"/>
                  <a:gd name="T15" fmla="*/ 18 h 1774"/>
                  <a:gd name="T16" fmla="*/ 1494 w 1898"/>
                  <a:gd name="T17" fmla="*/ 189 h 1774"/>
                  <a:gd name="T18" fmla="*/ 1283 w 1898"/>
                  <a:gd name="T19" fmla="*/ 306 h 1774"/>
                  <a:gd name="T20" fmla="*/ 1239 w 1898"/>
                  <a:gd name="T21" fmla="*/ 181 h 1774"/>
                  <a:gd name="T22" fmla="*/ 1269 w 1898"/>
                  <a:gd name="T23" fmla="*/ 69 h 1774"/>
                  <a:gd name="T24" fmla="*/ 1170 w 1898"/>
                  <a:gd name="T25" fmla="*/ 75 h 1774"/>
                  <a:gd name="T26" fmla="*/ 1050 w 1898"/>
                  <a:gd name="T27" fmla="*/ 42 h 1774"/>
                  <a:gd name="T28" fmla="*/ 1012 w 1898"/>
                  <a:gd name="T29" fmla="*/ 86 h 1774"/>
                  <a:gd name="T30" fmla="*/ 910 w 1898"/>
                  <a:gd name="T31" fmla="*/ 212 h 1774"/>
                  <a:gd name="T32" fmla="*/ 872 w 1898"/>
                  <a:gd name="T33" fmla="*/ 235 h 1774"/>
                  <a:gd name="T34" fmla="*/ 848 w 1898"/>
                  <a:gd name="T35" fmla="*/ 215 h 1774"/>
                  <a:gd name="T36" fmla="*/ 788 w 1898"/>
                  <a:gd name="T37" fmla="*/ 185 h 1774"/>
                  <a:gd name="T38" fmla="*/ 731 w 1898"/>
                  <a:gd name="T39" fmla="*/ 238 h 1774"/>
                  <a:gd name="T40" fmla="*/ 676 w 1898"/>
                  <a:gd name="T41" fmla="*/ 279 h 1774"/>
                  <a:gd name="T42" fmla="*/ 614 w 1898"/>
                  <a:gd name="T43" fmla="*/ 310 h 1774"/>
                  <a:gd name="T44" fmla="*/ 606 w 1898"/>
                  <a:gd name="T45" fmla="*/ 348 h 1774"/>
                  <a:gd name="T46" fmla="*/ 531 w 1898"/>
                  <a:gd name="T47" fmla="*/ 409 h 1774"/>
                  <a:gd name="T48" fmla="*/ 359 w 1898"/>
                  <a:gd name="T49" fmla="*/ 505 h 1774"/>
                  <a:gd name="T50" fmla="*/ 218 w 1898"/>
                  <a:gd name="T51" fmla="*/ 554 h 1774"/>
                  <a:gd name="T52" fmla="*/ 83 w 1898"/>
                  <a:gd name="T53" fmla="*/ 649 h 1774"/>
                  <a:gd name="T54" fmla="*/ 48 w 1898"/>
                  <a:gd name="T55" fmla="*/ 813 h 1774"/>
                  <a:gd name="T56" fmla="*/ 35 w 1898"/>
                  <a:gd name="T57" fmla="*/ 937 h 1774"/>
                  <a:gd name="T58" fmla="*/ 87 w 1898"/>
                  <a:gd name="T59" fmla="*/ 1141 h 1774"/>
                  <a:gd name="T60" fmla="*/ 56 w 1898"/>
                  <a:gd name="T61" fmla="*/ 1305 h 1774"/>
                  <a:gd name="T62" fmla="*/ 186 w 1898"/>
                  <a:gd name="T63" fmla="*/ 1285 h 1774"/>
                  <a:gd name="T64" fmla="*/ 384 w 1898"/>
                  <a:gd name="T65" fmla="*/ 1244 h 1774"/>
                  <a:gd name="T66" fmla="*/ 594 w 1898"/>
                  <a:gd name="T67" fmla="*/ 1153 h 1774"/>
                  <a:gd name="T68" fmla="*/ 896 w 1898"/>
                  <a:gd name="T69" fmla="*/ 1136 h 1774"/>
                  <a:gd name="T70" fmla="*/ 932 w 1898"/>
                  <a:gd name="T71" fmla="*/ 1225 h 1774"/>
                  <a:gd name="T72" fmla="*/ 962 w 1898"/>
                  <a:gd name="T73" fmla="*/ 1304 h 1774"/>
                  <a:gd name="T74" fmla="*/ 1060 w 1898"/>
                  <a:gd name="T75" fmla="*/ 1224 h 1774"/>
                  <a:gd name="T76" fmla="*/ 1083 w 1898"/>
                  <a:gd name="T77" fmla="*/ 1210 h 1774"/>
                  <a:gd name="T78" fmla="*/ 1011 w 1898"/>
                  <a:gd name="T79" fmla="*/ 1319 h 1774"/>
                  <a:gd name="T80" fmla="*/ 1072 w 1898"/>
                  <a:gd name="T81" fmla="*/ 1339 h 1774"/>
                  <a:gd name="T82" fmla="*/ 1118 w 1898"/>
                  <a:gd name="T83" fmla="*/ 1477 h 1774"/>
                  <a:gd name="T84" fmla="*/ 1319 w 1898"/>
                  <a:gd name="T85" fmla="*/ 1502 h 1774"/>
                  <a:gd name="T86" fmla="*/ 1360 w 1898"/>
                  <a:gd name="T87" fmla="*/ 1532 h 1774"/>
                  <a:gd name="T88" fmla="*/ 1533 w 1898"/>
                  <a:gd name="T89" fmla="*/ 1461 h 1774"/>
                  <a:gd name="T90" fmla="*/ 1641 w 1898"/>
                  <a:gd name="T91" fmla="*/ 1275 h 1774"/>
                  <a:gd name="T92" fmla="*/ 1874 w 1898"/>
                  <a:gd name="T93" fmla="*/ 952 h 1774"/>
                  <a:gd name="T94" fmla="*/ 1364 w 1898"/>
                  <a:gd name="T95" fmla="*/ 1612 h 1774"/>
                  <a:gd name="T96" fmla="*/ 1274 w 1898"/>
                  <a:gd name="T97" fmla="*/ 1651 h 1774"/>
                  <a:gd name="T98" fmla="*/ 1184 w 1898"/>
                  <a:gd name="T99" fmla="*/ 1616 h 1774"/>
                  <a:gd name="T100" fmla="*/ 1155 w 1898"/>
                  <a:gd name="T101" fmla="*/ 1713 h 1774"/>
                  <a:gd name="T102" fmla="*/ 1214 w 1898"/>
                  <a:gd name="T103" fmla="*/ 1769 h 1774"/>
                  <a:gd name="T104" fmla="*/ 1282 w 1898"/>
                  <a:gd name="T105" fmla="*/ 1706 h 1774"/>
                  <a:gd name="T106" fmla="*/ 1290 w 1898"/>
                  <a:gd name="T107" fmla="*/ 195 h 1774"/>
                  <a:gd name="T108" fmla="*/ 1209 w 1898"/>
                  <a:gd name="T109" fmla="*/ 1549 h 1774"/>
                  <a:gd name="T110" fmla="*/ 1357 w 1898"/>
                  <a:gd name="T111" fmla="*/ 1597 h 1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98" h="1774">
                    <a:moveTo>
                      <a:pt x="1024" y="43"/>
                    </a:moveTo>
                    <a:cubicBezTo>
                      <a:pt x="1014" y="29"/>
                      <a:pt x="990" y="54"/>
                      <a:pt x="999" y="65"/>
                    </a:cubicBezTo>
                    <a:cubicBezTo>
                      <a:pt x="1008" y="75"/>
                      <a:pt x="1024" y="43"/>
                      <a:pt x="1024" y="43"/>
                    </a:cubicBezTo>
                    <a:close/>
                    <a:moveTo>
                      <a:pt x="986" y="1341"/>
                    </a:moveTo>
                    <a:cubicBezTo>
                      <a:pt x="972" y="1343"/>
                      <a:pt x="954" y="1348"/>
                      <a:pt x="961" y="1354"/>
                    </a:cubicBezTo>
                    <a:cubicBezTo>
                      <a:pt x="968" y="1360"/>
                      <a:pt x="971" y="1367"/>
                      <a:pt x="971" y="1367"/>
                    </a:cubicBezTo>
                    <a:cubicBezTo>
                      <a:pt x="985" y="1367"/>
                      <a:pt x="999" y="1359"/>
                      <a:pt x="999" y="1359"/>
                    </a:cubicBezTo>
                    <a:cubicBezTo>
                      <a:pt x="1007" y="1359"/>
                      <a:pt x="1007" y="1359"/>
                      <a:pt x="1007" y="1359"/>
                    </a:cubicBezTo>
                    <a:cubicBezTo>
                      <a:pt x="1011" y="1356"/>
                      <a:pt x="1011" y="1356"/>
                      <a:pt x="1011" y="1356"/>
                    </a:cubicBezTo>
                    <a:cubicBezTo>
                      <a:pt x="1022" y="1356"/>
                      <a:pt x="1022" y="1356"/>
                      <a:pt x="1022" y="1356"/>
                    </a:cubicBezTo>
                    <a:cubicBezTo>
                      <a:pt x="1026" y="1351"/>
                      <a:pt x="1026" y="1351"/>
                      <a:pt x="1026" y="1351"/>
                    </a:cubicBezTo>
                    <a:cubicBezTo>
                      <a:pt x="1008" y="1349"/>
                      <a:pt x="1008" y="1349"/>
                      <a:pt x="1008" y="1349"/>
                    </a:cubicBezTo>
                    <a:cubicBezTo>
                      <a:pt x="1008" y="1349"/>
                      <a:pt x="1000" y="1340"/>
                      <a:pt x="986" y="1341"/>
                    </a:cubicBezTo>
                    <a:close/>
                    <a:moveTo>
                      <a:pt x="1869" y="774"/>
                    </a:moveTo>
                    <a:cubicBezTo>
                      <a:pt x="1869" y="774"/>
                      <a:pt x="1866" y="733"/>
                      <a:pt x="1865" y="727"/>
                    </a:cubicBezTo>
                    <a:cubicBezTo>
                      <a:pt x="1863" y="721"/>
                      <a:pt x="1843" y="720"/>
                      <a:pt x="1843" y="720"/>
                    </a:cubicBezTo>
                    <a:cubicBezTo>
                      <a:pt x="1843" y="706"/>
                      <a:pt x="1843" y="706"/>
                      <a:pt x="1843" y="706"/>
                    </a:cubicBezTo>
                    <a:cubicBezTo>
                      <a:pt x="1830" y="698"/>
                      <a:pt x="1830" y="698"/>
                      <a:pt x="1830" y="698"/>
                    </a:cubicBezTo>
                    <a:cubicBezTo>
                      <a:pt x="1830" y="698"/>
                      <a:pt x="1835" y="681"/>
                      <a:pt x="1830" y="674"/>
                    </a:cubicBezTo>
                    <a:cubicBezTo>
                      <a:pt x="1825" y="667"/>
                      <a:pt x="1805" y="660"/>
                      <a:pt x="1805" y="660"/>
                    </a:cubicBezTo>
                    <a:cubicBezTo>
                      <a:pt x="1805" y="660"/>
                      <a:pt x="1840" y="654"/>
                      <a:pt x="1842" y="641"/>
                    </a:cubicBezTo>
                    <a:cubicBezTo>
                      <a:pt x="1844" y="627"/>
                      <a:pt x="1822" y="623"/>
                      <a:pt x="1822" y="623"/>
                    </a:cubicBezTo>
                    <a:cubicBezTo>
                      <a:pt x="1822" y="623"/>
                      <a:pt x="1815" y="602"/>
                      <a:pt x="1804" y="603"/>
                    </a:cubicBezTo>
                    <a:cubicBezTo>
                      <a:pt x="1792" y="604"/>
                      <a:pt x="1797" y="622"/>
                      <a:pt x="1797" y="622"/>
                    </a:cubicBezTo>
                    <a:cubicBezTo>
                      <a:pt x="1783" y="619"/>
                      <a:pt x="1783" y="619"/>
                      <a:pt x="1783" y="619"/>
                    </a:cubicBezTo>
                    <a:cubicBezTo>
                      <a:pt x="1783" y="619"/>
                      <a:pt x="1796" y="578"/>
                      <a:pt x="1796" y="568"/>
                    </a:cubicBezTo>
                    <a:cubicBezTo>
                      <a:pt x="1795" y="559"/>
                      <a:pt x="1775" y="557"/>
                      <a:pt x="1771" y="547"/>
                    </a:cubicBezTo>
                    <a:cubicBezTo>
                      <a:pt x="1768" y="538"/>
                      <a:pt x="1781" y="521"/>
                      <a:pt x="1777" y="507"/>
                    </a:cubicBezTo>
                    <a:cubicBezTo>
                      <a:pt x="1773" y="494"/>
                      <a:pt x="1713" y="465"/>
                      <a:pt x="1713" y="465"/>
                    </a:cubicBezTo>
                    <a:cubicBezTo>
                      <a:pt x="1707" y="471"/>
                      <a:pt x="1707" y="471"/>
                      <a:pt x="1707" y="471"/>
                    </a:cubicBezTo>
                    <a:cubicBezTo>
                      <a:pt x="1707" y="471"/>
                      <a:pt x="1679" y="439"/>
                      <a:pt x="1677" y="417"/>
                    </a:cubicBezTo>
                    <a:cubicBezTo>
                      <a:pt x="1676" y="394"/>
                      <a:pt x="1685" y="381"/>
                      <a:pt x="1685" y="361"/>
                    </a:cubicBezTo>
                    <a:cubicBezTo>
                      <a:pt x="1685" y="341"/>
                      <a:pt x="1666" y="298"/>
                      <a:pt x="1662" y="282"/>
                    </a:cubicBezTo>
                    <a:cubicBezTo>
                      <a:pt x="1658" y="266"/>
                      <a:pt x="1669" y="256"/>
                      <a:pt x="1671" y="247"/>
                    </a:cubicBezTo>
                    <a:cubicBezTo>
                      <a:pt x="1673" y="238"/>
                      <a:pt x="1666" y="200"/>
                      <a:pt x="1666" y="200"/>
                    </a:cubicBezTo>
                    <a:cubicBezTo>
                      <a:pt x="1649" y="192"/>
                      <a:pt x="1649" y="192"/>
                      <a:pt x="1649" y="192"/>
                    </a:cubicBezTo>
                    <a:cubicBezTo>
                      <a:pt x="1649" y="192"/>
                      <a:pt x="1635" y="177"/>
                      <a:pt x="1625" y="177"/>
                    </a:cubicBezTo>
                    <a:cubicBezTo>
                      <a:pt x="1615" y="176"/>
                      <a:pt x="1609" y="191"/>
                      <a:pt x="1609" y="191"/>
                    </a:cubicBezTo>
                    <a:cubicBezTo>
                      <a:pt x="1609" y="191"/>
                      <a:pt x="1602" y="176"/>
                      <a:pt x="1601" y="167"/>
                    </a:cubicBezTo>
                    <a:cubicBezTo>
                      <a:pt x="1600" y="159"/>
                      <a:pt x="1607" y="135"/>
                      <a:pt x="1607" y="135"/>
                    </a:cubicBezTo>
                    <a:cubicBezTo>
                      <a:pt x="1596" y="120"/>
                      <a:pt x="1596" y="120"/>
                      <a:pt x="1596" y="120"/>
                    </a:cubicBezTo>
                    <a:cubicBezTo>
                      <a:pt x="1596" y="64"/>
                      <a:pt x="1596" y="64"/>
                      <a:pt x="1596" y="64"/>
                    </a:cubicBezTo>
                    <a:cubicBezTo>
                      <a:pt x="1596" y="64"/>
                      <a:pt x="1575" y="50"/>
                      <a:pt x="1578" y="41"/>
                    </a:cubicBezTo>
                    <a:cubicBezTo>
                      <a:pt x="1582" y="32"/>
                      <a:pt x="1586" y="20"/>
                      <a:pt x="1581" y="15"/>
                    </a:cubicBezTo>
                    <a:cubicBezTo>
                      <a:pt x="1576" y="11"/>
                      <a:pt x="1564" y="9"/>
                      <a:pt x="1564" y="9"/>
                    </a:cubicBezTo>
                    <a:cubicBezTo>
                      <a:pt x="1565" y="0"/>
                      <a:pt x="1565" y="0"/>
                      <a:pt x="1565" y="0"/>
                    </a:cubicBezTo>
                    <a:cubicBezTo>
                      <a:pt x="1545" y="5"/>
                      <a:pt x="1545" y="5"/>
                      <a:pt x="1545" y="5"/>
                    </a:cubicBezTo>
                    <a:cubicBezTo>
                      <a:pt x="1541" y="18"/>
                      <a:pt x="1541" y="18"/>
                      <a:pt x="1541" y="18"/>
                    </a:cubicBezTo>
                    <a:cubicBezTo>
                      <a:pt x="1541" y="18"/>
                      <a:pt x="1529" y="26"/>
                      <a:pt x="1523" y="30"/>
                    </a:cubicBezTo>
                    <a:cubicBezTo>
                      <a:pt x="1518" y="34"/>
                      <a:pt x="1531" y="60"/>
                      <a:pt x="1531" y="70"/>
                    </a:cubicBezTo>
                    <a:cubicBezTo>
                      <a:pt x="1530" y="81"/>
                      <a:pt x="1496" y="118"/>
                      <a:pt x="1496" y="118"/>
                    </a:cubicBezTo>
                    <a:cubicBezTo>
                      <a:pt x="1507" y="127"/>
                      <a:pt x="1507" y="127"/>
                      <a:pt x="1507" y="127"/>
                    </a:cubicBezTo>
                    <a:cubicBezTo>
                      <a:pt x="1507" y="127"/>
                      <a:pt x="1492" y="147"/>
                      <a:pt x="1490" y="155"/>
                    </a:cubicBezTo>
                    <a:cubicBezTo>
                      <a:pt x="1488" y="163"/>
                      <a:pt x="1494" y="189"/>
                      <a:pt x="1494" y="189"/>
                    </a:cubicBezTo>
                    <a:cubicBezTo>
                      <a:pt x="1494" y="189"/>
                      <a:pt x="1473" y="273"/>
                      <a:pt x="1472" y="285"/>
                    </a:cubicBezTo>
                    <a:cubicBezTo>
                      <a:pt x="1471" y="296"/>
                      <a:pt x="1444" y="325"/>
                      <a:pt x="1444" y="325"/>
                    </a:cubicBezTo>
                    <a:cubicBezTo>
                      <a:pt x="1444" y="325"/>
                      <a:pt x="1445" y="358"/>
                      <a:pt x="1428" y="366"/>
                    </a:cubicBezTo>
                    <a:cubicBezTo>
                      <a:pt x="1411" y="373"/>
                      <a:pt x="1375" y="381"/>
                      <a:pt x="1375" y="381"/>
                    </a:cubicBezTo>
                    <a:cubicBezTo>
                      <a:pt x="1375" y="381"/>
                      <a:pt x="1354" y="347"/>
                      <a:pt x="1349" y="337"/>
                    </a:cubicBezTo>
                    <a:cubicBezTo>
                      <a:pt x="1344" y="328"/>
                      <a:pt x="1303" y="314"/>
                      <a:pt x="1283" y="306"/>
                    </a:cubicBezTo>
                    <a:cubicBezTo>
                      <a:pt x="1262" y="299"/>
                      <a:pt x="1249" y="266"/>
                      <a:pt x="1246" y="262"/>
                    </a:cubicBezTo>
                    <a:cubicBezTo>
                      <a:pt x="1243" y="259"/>
                      <a:pt x="1223" y="260"/>
                      <a:pt x="1223" y="260"/>
                    </a:cubicBezTo>
                    <a:cubicBezTo>
                      <a:pt x="1207" y="231"/>
                      <a:pt x="1207" y="231"/>
                      <a:pt x="1207" y="231"/>
                    </a:cubicBezTo>
                    <a:cubicBezTo>
                      <a:pt x="1220" y="217"/>
                      <a:pt x="1220" y="217"/>
                      <a:pt x="1220" y="217"/>
                    </a:cubicBezTo>
                    <a:cubicBezTo>
                      <a:pt x="1220" y="217"/>
                      <a:pt x="1213" y="206"/>
                      <a:pt x="1221" y="195"/>
                    </a:cubicBezTo>
                    <a:cubicBezTo>
                      <a:pt x="1229" y="184"/>
                      <a:pt x="1239" y="181"/>
                      <a:pt x="1239" y="181"/>
                    </a:cubicBezTo>
                    <a:cubicBezTo>
                      <a:pt x="1235" y="151"/>
                      <a:pt x="1235" y="151"/>
                      <a:pt x="1235" y="151"/>
                    </a:cubicBezTo>
                    <a:cubicBezTo>
                      <a:pt x="1248" y="139"/>
                      <a:pt x="1248" y="139"/>
                      <a:pt x="1248" y="139"/>
                    </a:cubicBezTo>
                    <a:cubicBezTo>
                      <a:pt x="1248" y="139"/>
                      <a:pt x="1262" y="146"/>
                      <a:pt x="1267" y="144"/>
                    </a:cubicBezTo>
                    <a:cubicBezTo>
                      <a:pt x="1273" y="142"/>
                      <a:pt x="1274" y="119"/>
                      <a:pt x="1274" y="119"/>
                    </a:cubicBezTo>
                    <a:cubicBezTo>
                      <a:pt x="1299" y="95"/>
                      <a:pt x="1299" y="95"/>
                      <a:pt x="1299" y="95"/>
                    </a:cubicBezTo>
                    <a:cubicBezTo>
                      <a:pt x="1299" y="95"/>
                      <a:pt x="1285" y="72"/>
                      <a:pt x="1269" y="69"/>
                    </a:cubicBezTo>
                    <a:cubicBezTo>
                      <a:pt x="1252" y="67"/>
                      <a:pt x="1231" y="92"/>
                      <a:pt x="1231" y="92"/>
                    </a:cubicBezTo>
                    <a:cubicBezTo>
                      <a:pt x="1229" y="78"/>
                      <a:pt x="1229" y="78"/>
                      <a:pt x="1229" y="78"/>
                    </a:cubicBezTo>
                    <a:cubicBezTo>
                      <a:pt x="1209" y="80"/>
                      <a:pt x="1209" y="80"/>
                      <a:pt x="1209" y="80"/>
                    </a:cubicBezTo>
                    <a:cubicBezTo>
                      <a:pt x="1200" y="89"/>
                      <a:pt x="1200" y="89"/>
                      <a:pt x="1200" y="89"/>
                    </a:cubicBezTo>
                    <a:cubicBezTo>
                      <a:pt x="1194" y="78"/>
                      <a:pt x="1194" y="78"/>
                      <a:pt x="1194" y="78"/>
                    </a:cubicBezTo>
                    <a:cubicBezTo>
                      <a:pt x="1170" y="75"/>
                      <a:pt x="1170" y="75"/>
                      <a:pt x="1170" y="75"/>
                    </a:cubicBezTo>
                    <a:cubicBezTo>
                      <a:pt x="1170" y="75"/>
                      <a:pt x="1144" y="56"/>
                      <a:pt x="1139" y="56"/>
                    </a:cubicBezTo>
                    <a:cubicBezTo>
                      <a:pt x="1135" y="57"/>
                      <a:pt x="1101" y="53"/>
                      <a:pt x="1101" y="53"/>
                    </a:cubicBezTo>
                    <a:cubicBezTo>
                      <a:pt x="1101" y="53"/>
                      <a:pt x="1093" y="31"/>
                      <a:pt x="1086" y="28"/>
                    </a:cubicBezTo>
                    <a:cubicBezTo>
                      <a:pt x="1080" y="24"/>
                      <a:pt x="1078" y="38"/>
                      <a:pt x="1078" y="38"/>
                    </a:cubicBezTo>
                    <a:cubicBezTo>
                      <a:pt x="1078" y="38"/>
                      <a:pt x="1053" y="25"/>
                      <a:pt x="1047" y="30"/>
                    </a:cubicBezTo>
                    <a:cubicBezTo>
                      <a:pt x="1041" y="34"/>
                      <a:pt x="1050" y="42"/>
                      <a:pt x="1050" y="42"/>
                    </a:cubicBezTo>
                    <a:cubicBezTo>
                      <a:pt x="1050" y="42"/>
                      <a:pt x="1037" y="41"/>
                      <a:pt x="1035" y="46"/>
                    </a:cubicBezTo>
                    <a:cubicBezTo>
                      <a:pt x="1032" y="52"/>
                      <a:pt x="1049" y="58"/>
                      <a:pt x="1060" y="61"/>
                    </a:cubicBezTo>
                    <a:cubicBezTo>
                      <a:pt x="1071" y="64"/>
                      <a:pt x="1077" y="56"/>
                      <a:pt x="1077" y="56"/>
                    </a:cubicBezTo>
                    <a:cubicBezTo>
                      <a:pt x="1099" y="65"/>
                      <a:pt x="1099" y="65"/>
                      <a:pt x="1099" y="65"/>
                    </a:cubicBezTo>
                    <a:cubicBezTo>
                      <a:pt x="1099" y="65"/>
                      <a:pt x="1077" y="78"/>
                      <a:pt x="1065" y="83"/>
                    </a:cubicBezTo>
                    <a:cubicBezTo>
                      <a:pt x="1054" y="88"/>
                      <a:pt x="1020" y="84"/>
                      <a:pt x="1012" y="86"/>
                    </a:cubicBezTo>
                    <a:cubicBezTo>
                      <a:pt x="1005" y="88"/>
                      <a:pt x="955" y="114"/>
                      <a:pt x="955" y="114"/>
                    </a:cubicBezTo>
                    <a:cubicBezTo>
                      <a:pt x="955" y="114"/>
                      <a:pt x="949" y="131"/>
                      <a:pt x="948" y="142"/>
                    </a:cubicBezTo>
                    <a:cubicBezTo>
                      <a:pt x="947" y="152"/>
                      <a:pt x="968" y="161"/>
                      <a:pt x="968" y="161"/>
                    </a:cubicBezTo>
                    <a:cubicBezTo>
                      <a:pt x="935" y="163"/>
                      <a:pt x="935" y="163"/>
                      <a:pt x="935" y="163"/>
                    </a:cubicBezTo>
                    <a:cubicBezTo>
                      <a:pt x="912" y="185"/>
                      <a:pt x="912" y="185"/>
                      <a:pt x="912" y="185"/>
                    </a:cubicBezTo>
                    <a:cubicBezTo>
                      <a:pt x="912" y="185"/>
                      <a:pt x="916" y="205"/>
                      <a:pt x="910" y="212"/>
                    </a:cubicBezTo>
                    <a:cubicBezTo>
                      <a:pt x="904" y="219"/>
                      <a:pt x="927" y="226"/>
                      <a:pt x="936" y="231"/>
                    </a:cubicBezTo>
                    <a:cubicBezTo>
                      <a:pt x="946" y="235"/>
                      <a:pt x="942" y="256"/>
                      <a:pt x="942" y="256"/>
                    </a:cubicBezTo>
                    <a:cubicBezTo>
                      <a:pt x="927" y="242"/>
                      <a:pt x="927" y="242"/>
                      <a:pt x="927" y="242"/>
                    </a:cubicBezTo>
                    <a:cubicBezTo>
                      <a:pt x="907" y="244"/>
                      <a:pt x="907" y="244"/>
                      <a:pt x="907" y="244"/>
                    </a:cubicBezTo>
                    <a:cubicBezTo>
                      <a:pt x="899" y="256"/>
                      <a:pt x="899" y="256"/>
                      <a:pt x="899" y="256"/>
                    </a:cubicBezTo>
                    <a:cubicBezTo>
                      <a:pt x="872" y="235"/>
                      <a:pt x="872" y="235"/>
                      <a:pt x="872" y="235"/>
                    </a:cubicBezTo>
                    <a:cubicBezTo>
                      <a:pt x="869" y="256"/>
                      <a:pt x="869" y="256"/>
                      <a:pt x="869" y="256"/>
                    </a:cubicBezTo>
                    <a:cubicBezTo>
                      <a:pt x="853" y="261"/>
                      <a:pt x="853" y="261"/>
                      <a:pt x="853" y="261"/>
                    </a:cubicBezTo>
                    <a:cubicBezTo>
                      <a:pt x="856" y="279"/>
                      <a:pt x="856" y="279"/>
                      <a:pt x="856" y="279"/>
                    </a:cubicBezTo>
                    <a:cubicBezTo>
                      <a:pt x="837" y="276"/>
                      <a:pt x="837" y="276"/>
                      <a:pt x="837" y="276"/>
                    </a:cubicBezTo>
                    <a:cubicBezTo>
                      <a:pt x="856" y="232"/>
                      <a:pt x="856" y="232"/>
                      <a:pt x="856" y="232"/>
                    </a:cubicBezTo>
                    <a:cubicBezTo>
                      <a:pt x="856" y="232"/>
                      <a:pt x="851" y="226"/>
                      <a:pt x="848" y="215"/>
                    </a:cubicBezTo>
                    <a:cubicBezTo>
                      <a:pt x="846" y="203"/>
                      <a:pt x="827" y="205"/>
                      <a:pt x="827" y="205"/>
                    </a:cubicBezTo>
                    <a:cubicBezTo>
                      <a:pt x="816" y="187"/>
                      <a:pt x="816" y="187"/>
                      <a:pt x="816" y="187"/>
                    </a:cubicBezTo>
                    <a:cubicBezTo>
                      <a:pt x="816" y="187"/>
                      <a:pt x="825" y="167"/>
                      <a:pt x="814" y="159"/>
                    </a:cubicBezTo>
                    <a:cubicBezTo>
                      <a:pt x="802" y="151"/>
                      <a:pt x="787" y="162"/>
                      <a:pt x="787" y="169"/>
                    </a:cubicBezTo>
                    <a:cubicBezTo>
                      <a:pt x="786" y="176"/>
                      <a:pt x="792" y="176"/>
                      <a:pt x="792" y="176"/>
                    </a:cubicBezTo>
                    <a:cubicBezTo>
                      <a:pt x="788" y="185"/>
                      <a:pt x="788" y="185"/>
                      <a:pt x="788" y="185"/>
                    </a:cubicBezTo>
                    <a:cubicBezTo>
                      <a:pt x="768" y="184"/>
                      <a:pt x="768" y="184"/>
                      <a:pt x="768" y="184"/>
                    </a:cubicBezTo>
                    <a:cubicBezTo>
                      <a:pt x="771" y="202"/>
                      <a:pt x="771" y="202"/>
                      <a:pt x="771" y="202"/>
                    </a:cubicBezTo>
                    <a:cubicBezTo>
                      <a:pt x="758" y="196"/>
                      <a:pt x="758" y="196"/>
                      <a:pt x="758" y="196"/>
                    </a:cubicBezTo>
                    <a:cubicBezTo>
                      <a:pt x="746" y="201"/>
                      <a:pt x="746" y="201"/>
                      <a:pt x="746" y="201"/>
                    </a:cubicBezTo>
                    <a:cubicBezTo>
                      <a:pt x="746" y="201"/>
                      <a:pt x="751" y="209"/>
                      <a:pt x="749" y="219"/>
                    </a:cubicBezTo>
                    <a:cubicBezTo>
                      <a:pt x="747" y="230"/>
                      <a:pt x="731" y="238"/>
                      <a:pt x="731" y="238"/>
                    </a:cubicBezTo>
                    <a:cubicBezTo>
                      <a:pt x="736" y="214"/>
                      <a:pt x="736" y="214"/>
                      <a:pt x="736" y="214"/>
                    </a:cubicBezTo>
                    <a:cubicBezTo>
                      <a:pt x="724" y="229"/>
                      <a:pt x="724" y="229"/>
                      <a:pt x="724" y="229"/>
                    </a:cubicBezTo>
                    <a:cubicBezTo>
                      <a:pt x="724" y="229"/>
                      <a:pt x="713" y="227"/>
                      <a:pt x="706" y="237"/>
                    </a:cubicBezTo>
                    <a:cubicBezTo>
                      <a:pt x="699" y="247"/>
                      <a:pt x="710" y="268"/>
                      <a:pt x="710" y="268"/>
                    </a:cubicBezTo>
                    <a:cubicBezTo>
                      <a:pt x="679" y="255"/>
                      <a:pt x="679" y="255"/>
                      <a:pt x="679" y="255"/>
                    </a:cubicBezTo>
                    <a:cubicBezTo>
                      <a:pt x="676" y="279"/>
                      <a:pt x="676" y="279"/>
                      <a:pt x="676" y="279"/>
                    </a:cubicBezTo>
                    <a:cubicBezTo>
                      <a:pt x="665" y="281"/>
                      <a:pt x="665" y="281"/>
                      <a:pt x="665" y="281"/>
                    </a:cubicBezTo>
                    <a:cubicBezTo>
                      <a:pt x="676" y="298"/>
                      <a:pt x="676" y="298"/>
                      <a:pt x="676" y="298"/>
                    </a:cubicBezTo>
                    <a:cubicBezTo>
                      <a:pt x="688" y="297"/>
                      <a:pt x="688" y="297"/>
                      <a:pt x="688" y="297"/>
                    </a:cubicBezTo>
                    <a:cubicBezTo>
                      <a:pt x="685" y="308"/>
                      <a:pt x="685" y="308"/>
                      <a:pt x="685" y="308"/>
                    </a:cubicBezTo>
                    <a:cubicBezTo>
                      <a:pt x="638" y="312"/>
                      <a:pt x="638" y="312"/>
                      <a:pt x="638" y="312"/>
                    </a:cubicBezTo>
                    <a:cubicBezTo>
                      <a:pt x="638" y="312"/>
                      <a:pt x="624" y="302"/>
                      <a:pt x="614" y="310"/>
                    </a:cubicBezTo>
                    <a:cubicBezTo>
                      <a:pt x="604" y="319"/>
                      <a:pt x="620" y="337"/>
                      <a:pt x="620" y="337"/>
                    </a:cubicBezTo>
                    <a:cubicBezTo>
                      <a:pt x="622" y="359"/>
                      <a:pt x="622" y="359"/>
                      <a:pt x="622" y="359"/>
                    </a:cubicBezTo>
                    <a:cubicBezTo>
                      <a:pt x="616" y="373"/>
                      <a:pt x="616" y="373"/>
                      <a:pt x="616" y="373"/>
                    </a:cubicBezTo>
                    <a:cubicBezTo>
                      <a:pt x="620" y="399"/>
                      <a:pt x="620" y="399"/>
                      <a:pt x="620" y="399"/>
                    </a:cubicBezTo>
                    <a:cubicBezTo>
                      <a:pt x="609" y="400"/>
                      <a:pt x="609" y="400"/>
                      <a:pt x="609" y="400"/>
                    </a:cubicBezTo>
                    <a:cubicBezTo>
                      <a:pt x="606" y="348"/>
                      <a:pt x="606" y="348"/>
                      <a:pt x="606" y="348"/>
                    </a:cubicBezTo>
                    <a:cubicBezTo>
                      <a:pt x="595" y="337"/>
                      <a:pt x="595" y="337"/>
                      <a:pt x="595" y="337"/>
                    </a:cubicBezTo>
                    <a:cubicBezTo>
                      <a:pt x="593" y="316"/>
                      <a:pt x="593" y="316"/>
                      <a:pt x="593" y="316"/>
                    </a:cubicBezTo>
                    <a:cubicBezTo>
                      <a:pt x="580" y="317"/>
                      <a:pt x="580" y="317"/>
                      <a:pt x="580" y="317"/>
                    </a:cubicBezTo>
                    <a:cubicBezTo>
                      <a:pt x="569" y="332"/>
                      <a:pt x="569" y="332"/>
                      <a:pt x="569" y="332"/>
                    </a:cubicBezTo>
                    <a:cubicBezTo>
                      <a:pt x="569" y="332"/>
                      <a:pt x="556" y="344"/>
                      <a:pt x="537" y="360"/>
                    </a:cubicBezTo>
                    <a:cubicBezTo>
                      <a:pt x="519" y="376"/>
                      <a:pt x="531" y="409"/>
                      <a:pt x="531" y="409"/>
                    </a:cubicBezTo>
                    <a:cubicBezTo>
                      <a:pt x="531" y="409"/>
                      <a:pt x="548" y="414"/>
                      <a:pt x="546" y="423"/>
                    </a:cubicBezTo>
                    <a:cubicBezTo>
                      <a:pt x="543" y="433"/>
                      <a:pt x="510" y="445"/>
                      <a:pt x="504" y="448"/>
                    </a:cubicBezTo>
                    <a:cubicBezTo>
                      <a:pt x="498" y="451"/>
                      <a:pt x="501" y="461"/>
                      <a:pt x="501" y="461"/>
                    </a:cubicBezTo>
                    <a:cubicBezTo>
                      <a:pt x="501" y="461"/>
                      <a:pt x="480" y="480"/>
                      <a:pt x="463" y="494"/>
                    </a:cubicBezTo>
                    <a:cubicBezTo>
                      <a:pt x="445" y="507"/>
                      <a:pt x="393" y="512"/>
                      <a:pt x="393" y="512"/>
                    </a:cubicBezTo>
                    <a:cubicBezTo>
                      <a:pt x="359" y="505"/>
                      <a:pt x="359" y="505"/>
                      <a:pt x="359" y="505"/>
                    </a:cubicBezTo>
                    <a:cubicBezTo>
                      <a:pt x="332" y="519"/>
                      <a:pt x="332" y="519"/>
                      <a:pt x="332" y="519"/>
                    </a:cubicBezTo>
                    <a:cubicBezTo>
                      <a:pt x="295" y="524"/>
                      <a:pt x="295" y="524"/>
                      <a:pt x="295" y="524"/>
                    </a:cubicBezTo>
                    <a:cubicBezTo>
                      <a:pt x="290" y="529"/>
                      <a:pt x="290" y="529"/>
                      <a:pt x="290" y="529"/>
                    </a:cubicBezTo>
                    <a:cubicBezTo>
                      <a:pt x="290" y="529"/>
                      <a:pt x="280" y="529"/>
                      <a:pt x="271" y="534"/>
                    </a:cubicBezTo>
                    <a:cubicBezTo>
                      <a:pt x="262" y="538"/>
                      <a:pt x="251" y="549"/>
                      <a:pt x="251" y="549"/>
                    </a:cubicBezTo>
                    <a:cubicBezTo>
                      <a:pt x="251" y="549"/>
                      <a:pt x="232" y="550"/>
                      <a:pt x="218" y="554"/>
                    </a:cubicBezTo>
                    <a:cubicBezTo>
                      <a:pt x="204" y="558"/>
                      <a:pt x="188" y="587"/>
                      <a:pt x="188" y="587"/>
                    </a:cubicBezTo>
                    <a:cubicBezTo>
                      <a:pt x="188" y="587"/>
                      <a:pt x="153" y="595"/>
                      <a:pt x="146" y="599"/>
                    </a:cubicBezTo>
                    <a:cubicBezTo>
                      <a:pt x="138" y="604"/>
                      <a:pt x="103" y="649"/>
                      <a:pt x="103" y="649"/>
                    </a:cubicBezTo>
                    <a:cubicBezTo>
                      <a:pt x="109" y="605"/>
                      <a:pt x="109" y="605"/>
                      <a:pt x="109" y="605"/>
                    </a:cubicBezTo>
                    <a:cubicBezTo>
                      <a:pt x="97" y="612"/>
                      <a:pt x="97" y="612"/>
                      <a:pt x="97" y="612"/>
                    </a:cubicBezTo>
                    <a:cubicBezTo>
                      <a:pt x="83" y="649"/>
                      <a:pt x="83" y="649"/>
                      <a:pt x="83" y="649"/>
                    </a:cubicBezTo>
                    <a:cubicBezTo>
                      <a:pt x="83" y="649"/>
                      <a:pt x="69" y="675"/>
                      <a:pt x="62" y="690"/>
                    </a:cubicBezTo>
                    <a:cubicBezTo>
                      <a:pt x="56" y="705"/>
                      <a:pt x="79" y="711"/>
                      <a:pt x="79" y="711"/>
                    </a:cubicBezTo>
                    <a:cubicBezTo>
                      <a:pt x="79" y="711"/>
                      <a:pt x="59" y="732"/>
                      <a:pt x="49" y="741"/>
                    </a:cubicBezTo>
                    <a:cubicBezTo>
                      <a:pt x="38" y="750"/>
                      <a:pt x="58" y="789"/>
                      <a:pt x="59" y="795"/>
                    </a:cubicBezTo>
                    <a:cubicBezTo>
                      <a:pt x="59" y="802"/>
                      <a:pt x="84" y="845"/>
                      <a:pt x="78" y="849"/>
                    </a:cubicBezTo>
                    <a:cubicBezTo>
                      <a:pt x="72" y="854"/>
                      <a:pt x="48" y="813"/>
                      <a:pt x="48" y="813"/>
                    </a:cubicBezTo>
                    <a:cubicBezTo>
                      <a:pt x="36" y="811"/>
                      <a:pt x="36" y="811"/>
                      <a:pt x="36" y="811"/>
                    </a:cubicBezTo>
                    <a:cubicBezTo>
                      <a:pt x="46" y="841"/>
                      <a:pt x="46" y="841"/>
                      <a:pt x="46" y="841"/>
                    </a:cubicBezTo>
                    <a:cubicBezTo>
                      <a:pt x="23" y="821"/>
                      <a:pt x="23" y="821"/>
                      <a:pt x="23" y="821"/>
                    </a:cubicBezTo>
                    <a:cubicBezTo>
                      <a:pt x="23" y="821"/>
                      <a:pt x="19" y="844"/>
                      <a:pt x="22" y="858"/>
                    </a:cubicBezTo>
                    <a:cubicBezTo>
                      <a:pt x="25" y="872"/>
                      <a:pt x="48" y="907"/>
                      <a:pt x="48" y="907"/>
                    </a:cubicBezTo>
                    <a:cubicBezTo>
                      <a:pt x="48" y="907"/>
                      <a:pt x="37" y="929"/>
                      <a:pt x="35" y="937"/>
                    </a:cubicBezTo>
                    <a:cubicBezTo>
                      <a:pt x="33" y="945"/>
                      <a:pt x="63" y="968"/>
                      <a:pt x="64" y="974"/>
                    </a:cubicBezTo>
                    <a:cubicBezTo>
                      <a:pt x="65" y="981"/>
                      <a:pt x="66" y="1003"/>
                      <a:pt x="60" y="1011"/>
                    </a:cubicBezTo>
                    <a:cubicBezTo>
                      <a:pt x="55" y="1019"/>
                      <a:pt x="68" y="1065"/>
                      <a:pt x="68" y="1065"/>
                    </a:cubicBezTo>
                    <a:cubicBezTo>
                      <a:pt x="68" y="1065"/>
                      <a:pt x="64" y="1067"/>
                      <a:pt x="56" y="1073"/>
                    </a:cubicBezTo>
                    <a:cubicBezTo>
                      <a:pt x="49" y="1079"/>
                      <a:pt x="65" y="1115"/>
                      <a:pt x="65" y="1115"/>
                    </a:cubicBezTo>
                    <a:cubicBezTo>
                      <a:pt x="65" y="1115"/>
                      <a:pt x="85" y="1124"/>
                      <a:pt x="87" y="1141"/>
                    </a:cubicBezTo>
                    <a:cubicBezTo>
                      <a:pt x="89" y="1157"/>
                      <a:pt x="60" y="1186"/>
                      <a:pt x="60" y="1186"/>
                    </a:cubicBezTo>
                    <a:cubicBezTo>
                      <a:pt x="60" y="1186"/>
                      <a:pt x="69" y="1219"/>
                      <a:pt x="52" y="1236"/>
                    </a:cubicBezTo>
                    <a:cubicBezTo>
                      <a:pt x="35" y="1252"/>
                      <a:pt x="4" y="1244"/>
                      <a:pt x="4" y="1244"/>
                    </a:cubicBezTo>
                    <a:cubicBezTo>
                      <a:pt x="0" y="1276"/>
                      <a:pt x="0" y="1276"/>
                      <a:pt x="0" y="1276"/>
                    </a:cubicBezTo>
                    <a:cubicBezTo>
                      <a:pt x="0" y="1276"/>
                      <a:pt x="32" y="1284"/>
                      <a:pt x="41" y="1289"/>
                    </a:cubicBezTo>
                    <a:cubicBezTo>
                      <a:pt x="50" y="1295"/>
                      <a:pt x="56" y="1305"/>
                      <a:pt x="56" y="1305"/>
                    </a:cubicBezTo>
                    <a:cubicBezTo>
                      <a:pt x="73" y="1303"/>
                      <a:pt x="73" y="1303"/>
                      <a:pt x="73" y="1303"/>
                    </a:cubicBezTo>
                    <a:cubicBezTo>
                      <a:pt x="73" y="1303"/>
                      <a:pt x="82" y="1312"/>
                      <a:pt x="96" y="1317"/>
                    </a:cubicBezTo>
                    <a:cubicBezTo>
                      <a:pt x="109" y="1322"/>
                      <a:pt x="140" y="1312"/>
                      <a:pt x="153" y="1311"/>
                    </a:cubicBezTo>
                    <a:cubicBezTo>
                      <a:pt x="165" y="1311"/>
                      <a:pt x="155" y="1295"/>
                      <a:pt x="155" y="1295"/>
                    </a:cubicBezTo>
                    <a:cubicBezTo>
                      <a:pt x="180" y="1297"/>
                      <a:pt x="180" y="1297"/>
                      <a:pt x="180" y="1297"/>
                    </a:cubicBezTo>
                    <a:cubicBezTo>
                      <a:pt x="186" y="1285"/>
                      <a:pt x="186" y="1285"/>
                      <a:pt x="186" y="1285"/>
                    </a:cubicBezTo>
                    <a:cubicBezTo>
                      <a:pt x="213" y="1281"/>
                      <a:pt x="213" y="1281"/>
                      <a:pt x="213" y="1281"/>
                    </a:cubicBezTo>
                    <a:cubicBezTo>
                      <a:pt x="213" y="1281"/>
                      <a:pt x="237" y="1256"/>
                      <a:pt x="250" y="1255"/>
                    </a:cubicBezTo>
                    <a:cubicBezTo>
                      <a:pt x="262" y="1255"/>
                      <a:pt x="274" y="1270"/>
                      <a:pt x="281" y="1268"/>
                    </a:cubicBezTo>
                    <a:cubicBezTo>
                      <a:pt x="289" y="1266"/>
                      <a:pt x="326" y="1248"/>
                      <a:pt x="326" y="1248"/>
                    </a:cubicBezTo>
                    <a:cubicBezTo>
                      <a:pt x="326" y="1248"/>
                      <a:pt x="348" y="1258"/>
                      <a:pt x="359" y="1256"/>
                    </a:cubicBezTo>
                    <a:cubicBezTo>
                      <a:pt x="370" y="1255"/>
                      <a:pt x="377" y="1245"/>
                      <a:pt x="384" y="1244"/>
                    </a:cubicBezTo>
                    <a:cubicBezTo>
                      <a:pt x="392" y="1244"/>
                      <a:pt x="411" y="1256"/>
                      <a:pt x="426" y="1253"/>
                    </a:cubicBezTo>
                    <a:cubicBezTo>
                      <a:pt x="441" y="1250"/>
                      <a:pt x="438" y="1231"/>
                      <a:pt x="438" y="1231"/>
                    </a:cubicBezTo>
                    <a:cubicBezTo>
                      <a:pt x="438" y="1231"/>
                      <a:pt x="450" y="1228"/>
                      <a:pt x="454" y="1225"/>
                    </a:cubicBezTo>
                    <a:cubicBezTo>
                      <a:pt x="459" y="1222"/>
                      <a:pt x="465" y="1195"/>
                      <a:pt x="478" y="1183"/>
                    </a:cubicBezTo>
                    <a:cubicBezTo>
                      <a:pt x="491" y="1171"/>
                      <a:pt x="524" y="1179"/>
                      <a:pt x="535" y="1176"/>
                    </a:cubicBezTo>
                    <a:cubicBezTo>
                      <a:pt x="545" y="1174"/>
                      <a:pt x="579" y="1155"/>
                      <a:pt x="594" y="1153"/>
                    </a:cubicBezTo>
                    <a:cubicBezTo>
                      <a:pt x="610" y="1151"/>
                      <a:pt x="612" y="1158"/>
                      <a:pt x="631" y="1161"/>
                    </a:cubicBezTo>
                    <a:cubicBezTo>
                      <a:pt x="650" y="1164"/>
                      <a:pt x="697" y="1131"/>
                      <a:pt x="716" y="1125"/>
                    </a:cubicBezTo>
                    <a:cubicBezTo>
                      <a:pt x="736" y="1119"/>
                      <a:pt x="819" y="1113"/>
                      <a:pt x="819" y="1113"/>
                    </a:cubicBezTo>
                    <a:cubicBezTo>
                      <a:pt x="826" y="1106"/>
                      <a:pt x="826" y="1106"/>
                      <a:pt x="826" y="1106"/>
                    </a:cubicBezTo>
                    <a:cubicBezTo>
                      <a:pt x="826" y="1106"/>
                      <a:pt x="854" y="1131"/>
                      <a:pt x="872" y="1138"/>
                    </a:cubicBezTo>
                    <a:cubicBezTo>
                      <a:pt x="889" y="1145"/>
                      <a:pt x="896" y="1136"/>
                      <a:pt x="896" y="1136"/>
                    </a:cubicBezTo>
                    <a:cubicBezTo>
                      <a:pt x="896" y="1136"/>
                      <a:pt x="899" y="1153"/>
                      <a:pt x="907" y="1156"/>
                    </a:cubicBezTo>
                    <a:cubicBezTo>
                      <a:pt x="915" y="1159"/>
                      <a:pt x="920" y="1152"/>
                      <a:pt x="920" y="1152"/>
                    </a:cubicBezTo>
                    <a:cubicBezTo>
                      <a:pt x="923" y="1167"/>
                      <a:pt x="923" y="1167"/>
                      <a:pt x="923" y="1167"/>
                    </a:cubicBezTo>
                    <a:cubicBezTo>
                      <a:pt x="923" y="1167"/>
                      <a:pt x="935" y="1165"/>
                      <a:pt x="936" y="1174"/>
                    </a:cubicBezTo>
                    <a:cubicBezTo>
                      <a:pt x="937" y="1182"/>
                      <a:pt x="918" y="1206"/>
                      <a:pt x="918" y="1206"/>
                    </a:cubicBezTo>
                    <a:cubicBezTo>
                      <a:pt x="932" y="1225"/>
                      <a:pt x="932" y="1225"/>
                      <a:pt x="932" y="1225"/>
                    </a:cubicBezTo>
                    <a:cubicBezTo>
                      <a:pt x="941" y="1216"/>
                      <a:pt x="941" y="1216"/>
                      <a:pt x="941" y="1216"/>
                    </a:cubicBezTo>
                    <a:cubicBezTo>
                      <a:pt x="954" y="1243"/>
                      <a:pt x="954" y="1243"/>
                      <a:pt x="954" y="1243"/>
                    </a:cubicBezTo>
                    <a:cubicBezTo>
                      <a:pt x="954" y="1243"/>
                      <a:pt x="963" y="1270"/>
                      <a:pt x="964" y="1279"/>
                    </a:cubicBezTo>
                    <a:cubicBezTo>
                      <a:pt x="965" y="1287"/>
                      <a:pt x="937" y="1280"/>
                      <a:pt x="937" y="1280"/>
                    </a:cubicBezTo>
                    <a:cubicBezTo>
                      <a:pt x="944" y="1303"/>
                      <a:pt x="944" y="1303"/>
                      <a:pt x="944" y="1303"/>
                    </a:cubicBezTo>
                    <a:cubicBezTo>
                      <a:pt x="944" y="1303"/>
                      <a:pt x="953" y="1303"/>
                      <a:pt x="962" y="1304"/>
                    </a:cubicBezTo>
                    <a:cubicBezTo>
                      <a:pt x="971" y="1304"/>
                      <a:pt x="970" y="1311"/>
                      <a:pt x="970" y="1311"/>
                    </a:cubicBezTo>
                    <a:cubicBezTo>
                      <a:pt x="983" y="1308"/>
                      <a:pt x="983" y="1308"/>
                      <a:pt x="983" y="1308"/>
                    </a:cubicBezTo>
                    <a:cubicBezTo>
                      <a:pt x="983" y="1308"/>
                      <a:pt x="979" y="1294"/>
                      <a:pt x="979" y="1283"/>
                    </a:cubicBezTo>
                    <a:cubicBezTo>
                      <a:pt x="980" y="1272"/>
                      <a:pt x="998" y="1263"/>
                      <a:pt x="1010" y="1261"/>
                    </a:cubicBezTo>
                    <a:cubicBezTo>
                      <a:pt x="1022" y="1258"/>
                      <a:pt x="1045" y="1222"/>
                      <a:pt x="1045" y="1222"/>
                    </a:cubicBezTo>
                    <a:cubicBezTo>
                      <a:pt x="1060" y="1224"/>
                      <a:pt x="1060" y="1224"/>
                      <a:pt x="1060" y="1224"/>
                    </a:cubicBezTo>
                    <a:cubicBezTo>
                      <a:pt x="1074" y="1191"/>
                      <a:pt x="1074" y="1191"/>
                      <a:pt x="1074" y="1191"/>
                    </a:cubicBezTo>
                    <a:cubicBezTo>
                      <a:pt x="1074" y="1191"/>
                      <a:pt x="1093" y="1188"/>
                      <a:pt x="1102" y="1187"/>
                    </a:cubicBezTo>
                    <a:cubicBezTo>
                      <a:pt x="1110" y="1186"/>
                      <a:pt x="1115" y="1156"/>
                      <a:pt x="1115" y="1156"/>
                    </a:cubicBezTo>
                    <a:cubicBezTo>
                      <a:pt x="1115" y="1156"/>
                      <a:pt x="1120" y="1180"/>
                      <a:pt x="1121" y="1187"/>
                    </a:cubicBezTo>
                    <a:cubicBezTo>
                      <a:pt x="1122" y="1195"/>
                      <a:pt x="1093" y="1209"/>
                      <a:pt x="1093" y="1209"/>
                    </a:cubicBezTo>
                    <a:cubicBezTo>
                      <a:pt x="1083" y="1210"/>
                      <a:pt x="1083" y="1210"/>
                      <a:pt x="1083" y="1210"/>
                    </a:cubicBezTo>
                    <a:cubicBezTo>
                      <a:pt x="1078" y="1217"/>
                      <a:pt x="1078" y="1217"/>
                      <a:pt x="1078" y="1217"/>
                    </a:cubicBezTo>
                    <a:cubicBezTo>
                      <a:pt x="1089" y="1240"/>
                      <a:pt x="1089" y="1240"/>
                      <a:pt x="1089" y="1240"/>
                    </a:cubicBezTo>
                    <a:cubicBezTo>
                      <a:pt x="1089" y="1240"/>
                      <a:pt x="1079" y="1244"/>
                      <a:pt x="1072" y="1248"/>
                    </a:cubicBezTo>
                    <a:cubicBezTo>
                      <a:pt x="1065" y="1253"/>
                      <a:pt x="1047" y="1276"/>
                      <a:pt x="1047" y="1276"/>
                    </a:cubicBezTo>
                    <a:cubicBezTo>
                      <a:pt x="1047" y="1276"/>
                      <a:pt x="1042" y="1295"/>
                      <a:pt x="1035" y="1299"/>
                    </a:cubicBezTo>
                    <a:cubicBezTo>
                      <a:pt x="1028" y="1304"/>
                      <a:pt x="1004" y="1313"/>
                      <a:pt x="1011" y="1319"/>
                    </a:cubicBezTo>
                    <a:cubicBezTo>
                      <a:pt x="1018" y="1326"/>
                      <a:pt x="1045" y="1316"/>
                      <a:pt x="1054" y="1313"/>
                    </a:cubicBezTo>
                    <a:cubicBezTo>
                      <a:pt x="1062" y="1309"/>
                      <a:pt x="1063" y="1296"/>
                      <a:pt x="1069" y="1287"/>
                    </a:cubicBezTo>
                    <a:cubicBezTo>
                      <a:pt x="1076" y="1277"/>
                      <a:pt x="1090" y="1267"/>
                      <a:pt x="1090" y="1267"/>
                    </a:cubicBezTo>
                    <a:cubicBezTo>
                      <a:pt x="1090" y="1267"/>
                      <a:pt x="1093" y="1292"/>
                      <a:pt x="1095" y="1298"/>
                    </a:cubicBezTo>
                    <a:cubicBezTo>
                      <a:pt x="1097" y="1304"/>
                      <a:pt x="1084" y="1315"/>
                      <a:pt x="1075" y="1320"/>
                    </a:cubicBezTo>
                    <a:cubicBezTo>
                      <a:pt x="1067" y="1325"/>
                      <a:pt x="1066" y="1333"/>
                      <a:pt x="1072" y="1339"/>
                    </a:cubicBezTo>
                    <a:cubicBezTo>
                      <a:pt x="1079" y="1344"/>
                      <a:pt x="1110" y="1344"/>
                      <a:pt x="1110" y="1344"/>
                    </a:cubicBezTo>
                    <a:cubicBezTo>
                      <a:pt x="1115" y="1351"/>
                      <a:pt x="1115" y="1351"/>
                      <a:pt x="1115" y="1351"/>
                    </a:cubicBezTo>
                    <a:cubicBezTo>
                      <a:pt x="1100" y="1364"/>
                      <a:pt x="1100" y="1364"/>
                      <a:pt x="1100" y="1364"/>
                    </a:cubicBezTo>
                    <a:cubicBezTo>
                      <a:pt x="1100" y="1364"/>
                      <a:pt x="1116" y="1393"/>
                      <a:pt x="1118" y="1403"/>
                    </a:cubicBezTo>
                    <a:cubicBezTo>
                      <a:pt x="1121" y="1414"/>
                      <a:pt x="1097" y="1430"/>
                      <a:pt x="1088" y="1441"/>
                    </a:cubicBezTo>
                    <a:cubicBezTo>
                      <a:pt x="1078" y="1452"/>
                      <a:pt x="1110" y="1474"/>
                      <a:pt x="1118" y="1477"/>
                    </a:cubicBezTo>
                    <a:cubicBezTo>
                      <a:pt x="1125" y="1480"/>
                      <a:pt x="1139" y="1500"/>
                      <a:pt x="1154" y="1505"/>
                    </a:cubicBezTo>
                    <a:cubicBezTo>
                      <a:pt x="1169" y="1510"/>
                      <a:pt x="1180" y="1501"/>
                      <a:pt x="1194" y="1504"/>
                    </a:cubicBezTo>
                    <a:cubicBezTo>
                      <a:pt x="1207" y="1507"/>
                      <a:pt x="1210" y="1524"/>
                      <a:pt x="1229" y="1527"/>
                    </a:cubicBezTo>
                    <a:cubicBezTo>
                      <a:pt x="1249" y="1531"/>
                      <a:pt x="1297" y="1498"/>
                      <a:pt x="1297" y="1498"/>
                    </a:cubicBezTo>
                    <a:cubicBezTo>
                      <a:pt x="1297" y="1498"/>
                      <a:pt x="1290" y="1484"/>
                      <a:pt x="1305" y="1475"/>
                    </a:cubicBezTo>
                    <a:cubicBezTo>
                      <a:pt x="1320" y="1466"/>
                      <a:pt x="1319" y="1502"/>
                      <a:pt x="1319" y="1502"/>
                    </a:cubicBezTo>
                    <a:cubicBezTo>
                      <a:pt x="1330" y="1501"/>
                      <a:pt x="1330" y="1501"/>
                      <a:pt x="1330" y="1501"/>
                    </a:cubicBezTo>
                    <a:cubicBezTo>
                      <a:pt x="1320" y="1517"/>
                      <a:pt x="1320" y="1517"/>
                      <a:pt x="1320" y="1517"/>
                    </a:cubicBezTo>
                    <a:cubicBezTo>
                      <a:pt x="1333" y="1518"/>
                      <a:pt x="1333" y="1518"/>
                      <a:pt x="1333" y="1518"/>
                    </a:cubicBezTo>
                    <a:cubicBezTo>
                      <a:pt x="1333" y="1518"/>
                      <a:pt x="1334" y="1530"/>
                      <a:pt x="1341" y="1539"/>
                    </a:cubicBezTo>
                    <a:cubicBezTo>
                      <a:pt x="1347" y="1547"/>
                      <a:pt x="1354" y="1543"/>
                      <a:pt x="1354" y="1543"/>
                    </a:cubicBezTo>
                    <a:cubicBezTo>
                      <a:pt x="1360" y="1532"/>
                      <a:pt x="1360" y="1532"/>
                      <a:pt x="1360" y="1532"/>
                    </a:cubicBezTo>
                    <a:cubicBezTo>
                      <a:pt x="1360" y="1532"/>
                      <a:pt x="1378" y="1530"/>
                      <a:pt x="1388" y="1521"/>
                    </a:cubicBezTo>
                    <a:cubicBezTo>
                      <a:pt x="1399" y="1513"/>
                      <a:pt x="1443" y="1482"/>
                      <a:pt x="1443" y="1482"/>
                    </a:cubicBezTo>
                    <a:cubicBezTo>
                      <a:pt x="1438" y="1472"/>
                      <a:pt x="1438" y="1472"/>
                      <a:pt x="1438" y="1472"/>
                    </a:cubicBezTo>
                    <a:cubicBezTo>
                      <a:pt x="1462" y="1468"/>
                      <a:pt x="1462" y="1468"/>
                      <a:pt x="1462" y="1468"/>
                    </a:cubicBezTo>
                    <a:cubicBezTo>
                      <a:pt x="1471" y="1476"/>
                      <a:pt x="1471" y="1476"/>
                      <a:pt x="1471" y="1476"/>
                    </a:cubicBezTo>
                    <a:cubicBezTo>
                      <a:pt x="1471" y="1476"/>
                      <a:pt x="1510" y="1469"/>
                      <a:pt x="1533" y="1461"/>
                    </a:cubicBezTo>
                    <a:cubicBezTo>
                      <a:pt x="1555" y="1452"/>
                      <a:pt x="1557" y="1408"/>
                      <a:pt x="1560" y="1396"/>
                    </a:cubicBezTo>
                    <a:cubicBezTo>
                      <a:pt x="1564" y="1385"/>
                      <a:pt x="1590" y="1370"/>
                      <a:pt x="1590" y="1370"/>
                    </a:cubicBezTo>
                    <a:cubicBezTo>
                      <a:pt x="1590" y="1355"/>
                      <a:pt x="1590" y="1355"/>
                      <a:pt x="1590" y="1355"/>
                    </a:cubicBezTo>
                    <a:cubicBezTo>
                      <a:pt x="1590" y="1355"/>
                      <a:pt x="1605" y="1349"/>
                      <a:pt x="1613" y="1338"/>
                    </a:cubicBezTo>
                    <a:cubicBezTo>
                      <a:pt x="1620" y="1328"/>
                      <a:pt x="1631" y="1314"/>
                      <a:pt x="1631" y="1314"/>
                    </a:cubicBezTo>
                    <a:cubicBezTo>
                      <a:pt x="1631" y="1314"/>
                      <a:pt x="1633" y="1285"/>
                      <a:pt x="1641" y="1275"/>
                    </a:cubicBezTo>
                    <a:cubicBezTo>
                      <a:pt x="1648" y="1266"/>
                      <a:pt x="1682" y="1228"/>
                      <a:pt x="1695" y="1222"/>
                    </a:cubicBezTo>
                    <a:cubicBezTo>
                      <a:pt x="1707" y="1216"/>
                      <a:pt x="1709" y="1185"/>
                      <a:pt x="1709" y="1185"/>
                    </a:cubicBezTo>
                    <a:cubicBezTo>
                      <a:pt x="1709" y="1185"/>
                      <a:pt x="1732" y="1189"/>
                      <a:pt x="1741" y="1179"/>
                    </a:cubicBezTo>
                    <a:cubicBezTo>
                      <a:pt x="1750" y="1170"/>
                      <a:pt x="1797" y="1111"/>
                      <a:pt x="1800" y="1104"/>
                    </a:cubicBezTo>
                    <a:cubicBezTo>
                      <a:pt x="1804" y="1098"/>
                      <a:pt x="1803" y="1067"/>
                      <a:pt x="1813" y="1060"/>
                    </a:cubicBezTo>
                    <a:cubicBezTo>
                      <a:pt x="1822" y="1053"/>
                      <a:pt x="1864" y="971"/>
                      <a:pt x="1874" y="952"/>
                    </a:cubicBezTo>
                    <a:cubicBezTo>
                      <a:pt x="1884" y="933"/>
                      <a:pt x="1872" y="920"/>
                      <a:pt x="1871" y="907"/>
                    </a:cubicBezTo>
                    <a:cubicBezTo>
                      <a:pt x="1870" y="894"/>
                      <a:pt x="1880" y="873"/>
                      <a:pt x="1889" y="859"/>
                    </a:cubicBezTo>
                    <a:cubicBezTo>
                      <a:pt x="1898" y="845"/>
                      <a:pt x="1888" y="783"/>
                      <a:pt x="1888" y="783"/>
                    </a:cubicBezTo>
                    <a:lnTo>
                      <a:pt x="1869" y="774"/>
                    </a:lnTo>
                    <a:close/>
                    <a:moveTo>
                      <a:pt x="1347" y="1624"/>
                    </a:moveTo>
                    <a:cubicBezTo>
                      <a:pt x="1349" y="1631"/>
                      <a:pt x="1373" y="1619"/>
                      <a:pt x="1364" y="1612"/>
                    </a:cubicBezTo>
                    <a:cubicBezTo>
                      <a:pt x="1355" y="1605"/>
                      <a:pt x="1347" y="1624"/>
                      <a:pt x="1347" y="1624"/>
                    </a:cubicBezTo>
                    <a:close/>
                    <a:moveTo>
                      <a:pt x="1332" y="1632"/>
                    </a:moveTo>
                    <a:cubicBezTo>
                      <a:pt x="1323" y="1626"/>
                      <a:pt x="1312" y="1646"/>
                      <a:pt x="1312" y="1646"/>
                    </a:cubicBezTo>
                    <a:cubicBezTo>
                      <a:pt x="1312" y="1646"/>
                      <a:pt x="1308" y="1640"/>
                      <a:pt x="1304" y="1640"/>
                    </a:cubicBezTo>
                    <a:cubicBezTo>
                      <a:pt x="1300" y="1639"/>
                      <a:pt x="1277" y="1643"/>
                      <a:pt x="1277" y="1643"/>
                    </a:cubicBezTo>
                    <a:cubicBezTo>
                      <a:pt x="1274" y="1651"/>
                      <a:pt x="1274" y="1651"/>
                      <a:pt x="1274" y="1651"/>
                    </a:cubicBezTo>
                    <a:cubicBezTo>
                      <a:pt x="1261" y="1640"/>
                      <a:pt x="1261" y="1640"/>
                      <a:pt x="1261" y="1640"/>
                    </a:cubicBezTo>
                    <a:cubicBezTo>
                      <a:pt x="1236" y="1638"/>
                      <a:pt x="1236" y="1638"/>
                      <a:pt x="1236" y="1638"/>
                    </a:cubicBezTo>
                    <a:cubicBezTo>
                      <a:pt x="1221" y="1620"/>
                      <a:pt x="1221" y="1620"/>
                      <a:pt x="1221" y="1620"/>
                    </a:cubicBezTo>
                    <a:cubicBezTo>
                      <a:pt x="1221" y="1620"/>
                      <a:pt x="1216" y="1623"/>
                      <a:pt x="1210" y="1624"/>
                    </a:cubicBezTo>
                    <a:cubicBezTo>
                      <a:pt x="1205" y="1625"/>
                      <a:pt x="1188" y="1605"/>
                      <a:pt x="1188" y="1605"/>
                    </a:cubicBezTo>
                    <a:cubicBezTo>
                      <a:pt x="1184" y="1616"/>
                      <a:pt x="1184" y="1616"/>
                      <a:pt x="1184" y="1616"/>
                    </a:cubicBezTo>
                    <a:cubicBezTo>
                      <a:pt x="1188" y="1629"/>
                      <a:pt x="1188" y="1629"/>
                      <a:pt x="1188" y="1629"/>
                    </a:cubicBezTo>
                    <a:cubicBezTo>
                      <a:pt x="1188" y="1629"/>
                      <a:pt x="1189" y="1645"/>
                      <a:pt x="1187" y="1650"/>
                    </a:cubicBezTo>
                    <a:cubicBezTo>
                      <a:pt x="1185" y="1655"/>
                      <a:pt x="1179" y="1663"/>
                      <a:pt x="1185" y="1674"/>
                    </a:cubicBezTo>
                    <a:cubicBezTo>
                      <a:pt x="1191" y="1685"/>
                      <a:pt x="1184" y="1691"/>
                      <a:pt x="1176" y="1694"/>
                    </a:cubicBezTo>
                    <a:cubicBezTo>
                      <a:pt x="1167" y="1696"/>
                      <a:pt x="1160" y="1686"/>
                      <a:pt x="1160" y="1686"/>
                    </a:cubicBezTo>
                    <a:cubicBezTo>
                      <a:pt x="1160" y="1686"/>
                      <a:pt x="1156" y="1700"/>
                      <a:pt x="1155" y="1713"/>
                    </a:cubicBezTo>
                    <a:cubicBezTo>
                      <a:pt x="1154" y="1727"/>
                      <a:pt x="1166" y="1748"/>
                      <a:pt x="1166" y="1748"/>
                    </a:cubicBezTo>
                    <a:cubicBezTo>
                      <a:pt x="1181" y="1750"/>
                      <a:pt x="1181" y="1750"/>
                      <a:pt x="1181" y="1750"/>
                    </a:cubicBezTo>
                    <a:cubicBezTo>
                      <a:pt x="1168" y="1757"/>
                      <a:pt x="1168" y="1757"/>
                      <a:pt x="1168" y="1757"/>
                    </a:cubicBezTo>
                    <a:cubicBezTo>
                      <a:pt x="1173" y="1774"/>
                      <a:pt x="1173" y="1774"/>
                      <a:pt x="1173" y="1774"/>
                    </a:cubicBezTo>
                    <a:cubicBezTo>
                      <a:pt x="1173" y="1774"/>
                      <a:pt x="1185" y="1769"/>
                      <a:pt x="1191" y="1766"/>
                    </a:cubicBezTo>
                    <a:cubicBezTo>
                      <a:pt x="1198" y="1763"/>
                      <a:pt x="1203" y="1773"/>
                      <a:pt x="1214" y="1769"/>
                    </a:cubicBezTo>
                    <a:cubicBezTo>
                      <a:pt x="1225" y="1764"/>
                      <a:pt x="1232" y="1748"/>
                      <a:pt x="1239" y="1752"/>
                    </a:cubicBezTo>
                    <a:cubicBezTo>
                      <a:pt x="1247" y="1757"/>
                      <a:pt x="1236" y="1768"/>
                      <a:pt x="1236" y="1768"/>
                    </a:cubicBezTo>
                    <a:cubicBezTo>
                      <a:pt x="1247" y="1772"/>
                      <a:pt x="1247" y="1772"/>
                      <a:pt x="1247" y="1772"/>
                    </a:cubicBezTo>
                    <a:cubicBezTo>
                      <a:pt x="1247" y="1772"/>
                      <a:pt x="1268" y="1744"/>
                      <a:pt x="1277" y="1738"/>
                    </a:cubicBezTo>
                    <a:cubicBezTo>
                      <a:pt x="1285" y="1733"/>
                      <a:pt x="1268" y="1726"/>
                      <a:pt x="1268" y="1726"/>
                    </a:cubicBezTo>
                    <a:cubicBezTo>
                      <a:pt x="1282" y="1706"/>
                      <a:pt x="1282" y="1706"/>
                      <a:pt x="1282" y="1706"/>
                    </a:cubicBezTo>
                    <a:cubicBezTo>
                      <a:pt x="1282" y="1706"/>
                      <a:pt x="1292" y="1710"/>
                      <a:pt x="1303" y="1704"/>
                    </a:cubicBezTo>
                    <a:cubicBezTo>
                      <a:pt x="1314" y="1699"/>
                      <a:pt x="1305" y="1678"/>
                      <a:pt x="1315" y="1667"/>
                    </a:cubicBezTo>
                    <a:cubicBezTo>
                      <a:pt x="1326" y="1656"/>
                      <a:pt x="1340" y="1638"/>
                      <a:pt x="1332" y="1632"/>
                    </a:cubicBezTo>
                    <a:close/>
                    <a:moveTo>
                      <a:pt x="1269" y="162"/>
                    </a:moveTo>
                    <a:cubicBezTo>
                      <a:pt x="1263" y="162"/>
                      <a:pt x="1259" y="193"/>
                      <a:pt x="1259" y="193"/>
                    </a:cubicBezTo>
                    <a:cubicBezTo>
                      <a:pt x="1269" y="207"/>
                      <a:pt x="1290" y="195"/>
                      <a:pt x="1290" y="195"/>
                    </a:cubicBezTo>
                    <a:cubicBezTo>
                      <a:pt x="1286" y="186"/>
                      <a:pt x="1286" y="186"/>
                      <a:pt x="1286" y="186"/>
                    </a:cubicBezTo>
                    <a:cubicBezTo>
                      <a:pt x="1290" y="167"/>
                      <a:pt x="1290" y="167"/>
                      <a:pt x="1290" y="167"/>
                    </a:cubicBezTo>
                    <a:cubicBezTo>
                      <a:pt x="1290" y="167"/>
                      <a:pt x="1274" y="162"/>
                      <a:pt x="1269" y="162"/>
                    </a:cubicBezTo>
                    <a:close/>
                    <a:moveTo>
                      <a:pt x="1182" y="1554"/>
                    </a:moveTo>
                    <a:cubicBezTo>
                      <a:pt x="1175" y="1581"/>
                      <a:pt x="1175" y="1581"/>
                      <a:pt x="1175" y="1581"/>
                    </a:cubicBezTo>
                    <a:cubicBezTo>
                      <a:pt x="1209" y="1549"/>
                      <a:pt x="1209" y="1549"/>
                      <a:pt x="1209" y="1549"/>
                    </a:cubicBezTo>
                    <a:lnTo>
                      <a:pt x="1182" y="1554"/>
                    </a:lnTo>
                    <a:close/>
                    <a:moveTo>
                      <a:pt x="1357" y="1597"/>
                    </a:moveTo>
                    <a:cubicBezTo>
                      <a:pt x="1345" y="1572"/>
                      <a:pt x="1345" y="1572"/>
                      <a:pt x="1345" y="1572"/>
                    </a:cubicBezTo>
                    <a:cubicBezTo>
                      <a:pt x="1345" y="1572"/>
                      <a:pt x="1333" y="1579"/>
                      <a:pt x="1332" y="1587"/>
                    </a:cubicBezTo>
                    <a:cubicBezTo>
                      <a:pt x="1332" y="1594"/>
                      <a:pt x="1334" y="1597"/>
                      <a:pt x="1343" y="1600"/>
                    </a:cubicBezTo>
                    <a:cubicBezTo>
                      <a:pt x="1352" y="1603"/>
                      <a:pt x="1357" y="1597"/>
                      <a:pt x="1357" y="1597"/>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28" name="Freeform 50">
                <a:extLst>
                  <a:ext uri="{FF2B5EF4-FFF2-40B4-BE49-F238E27FC236}">
                    <a16:creationId xmlns:a16="http://schemas.microsoft.com/office/drawing/2014/main" id="{78EB87B2-4873-4704-B3A2-511822710257}"/>
                  </a:ext>
                </a:extLst>
              </p:cNvPr>
              <p:cNvSpPr>
                <a:spLocks/>
              </p:cNvSpPr>
              <p:nvPr>
                <p:custDataLst>
                  <p:tags r:id="rId9"/>
                </p:custDataLst>
              </p:nvPr>
            </p:nvSpPr>
            <p:spPr bwMode="gray">
              <a:xfrm>
                <a:off x="2827322" y="4203716"/>
                <a:ext cx="119062" cy="125413"/>
              </a:xfrm>
              <a:custGeom>
                <a:avLst/>
                <a:gdLst>
                  <a:gd name="T0" fmla="*/ 43 w 199"/>
                  <a:gd name="T1" fmla="*/ 52 h 228"/>
                  <a:gd name="T2" fmla="*/ 10 w 199"/>
                  <a:gd name="T3" fmla="*/ 61 h 228"/>
                  <a:gd name="T4" fmla="*/ 11 w 199"/>
                  <a:gd name="T5" fmla="*/ 89 h 228"/>
                  <a:gd name="T6" fmla="*/ 1 w 199"/>
                  <a:gd name="T7" fmla="*/ 107 h 228"/>
                  <a:gd name="T8" fmla="*/ 12 w 199"/>
                  <a:gd name="T9" fmla="*/ 122 h 228"/>
                  <a:gd name="T10" fmla="*/ 26 w 199"/>
                  <a:gd name="T11" fmla="*/ 144 h 228"/>
                  <a:gd name="T12" fmla="*/ 40 w 199"/>
                  <a:gd name="T13" fmla="*/ 137 h 228"/>
                  <a:gd name="T14" fmla="*/ 40 w 199"/>
                  <a:gd name="T15" fmla="*/ 173 h 228"/>
                  <a:gd name="T16" fmla="*/ 65 w 199"/>
                  <a:gd name="T17" fmla="*/ 212 h 228"/>
                  <a:gd name="T18" fmla="*/ 103 w 199"/>
                  <a:gd name="T19" fmla="*/ 224 h 228"/>
                  <a:gd name="T20" fmla="*/ 95 w 199"/>
                  <a:gd name="T21" fmla="*/ 204 h 228"/>
                  <a:gd name="T22" fmla="*/ 102 w 199"/>
                  <a:gd name="T23" fmla="*/ 187 h 228"/>
                  <a:gd name="T24" fmla="*/ 107 w 199"/>
                  <a:gd name="T25" fmla="*/ 195 h 228"/>
                  <a:gd name="T26" fmla="*/ 125 w 199"/>
                  <a:gd name="T27" fmla="*/ 195 h 228"/>
                  <a:gd name="T28" fmla="*/ 142 w 199"/>
                  <a:gd name="T29" fmla="*/ 183 h 228"/>
                  <a:gd name="T30" fmla="*/ 154 w 199"/>
                  <a:gd name="T31" fmla="*/ 193 h 228"/>
                  <a:gd name="T32" fmla="*/ 167 w 199"/>
                  <a:gd name="T33" fmla="*/ 199 h 228"/>
                  <a:gd name="T34" fmla="*/ 174 w 199"/>
                  <a:gd name="T35" fmla="*/ 182 h 228"/>
                  <a:gd name="T36" fmla="*/ 186 w 199"/>
                  <a:gd name="T37" fmla="*/ 175 h 228"/>
                  <a:gd name="T38" fmla="*/ 184 w 199"/>
                  <a:gd name="T39" fmla="*/ 147 h 228"/>
                  <a:gd name="T40" fmla="*/ 195 w 199"/>
                  <a:gd name="T41" fmla="*/ 132 h 228"/>
                  <a:gd name="T42" fmla="*/ 174 w 199"/>
                  <a:gd name="T43" fmla="*/ 105 h 228"/>
                  <a:gd name="T44" fmla="*/ 173 w 199"/>
                  <a:gd name="T45" fmla="*/ 55 h 228"/>
                  <a:gd name="T46" fmla="*/ 195 w 199"/>
                  <a:gd name="T47" fmla="*/ 32 h 228"/>
                  <a:gd name="T48" fmla="*/ 199 w 199"/>
                  <a:gd name="T49" fmla="*/ 11 h 228"/>
                  <a:gd name="T50" fmla="*/ 199 w 199"/>
                  <a:gd name="T51" fmla="*/ 11 h 228"/>
                  <a:gd name="T52" fmla="*/ 197 w 199"/>
                  <a:gd name="T53" fmla="*/ 9 h 228"/>
                  <a:gd name="T54" fmla="*/ 143 w 199"/>
                  <a:gd name="T55" fmla="*/ 0 h 228"/>
                  <a:gd name="T56" fmla="*/ 139 w 199"/>
                  <a:gd name="T57" fmla="*/ 9 h 228"/>
                  <a:gd name="T58" fmla="*/ 109 w 199"/>
                  <a:gd name="T59" fmla="*/ 4 h 228"/>
                  <a:gd name="T60" fmla="*/ 108 w 199"/>
                  <a:gd name="T61" fmla="*/ 15 h 228"/>
                  <a:gd name="T62" fmla="*/ 69 w 199"/>
                  <a:gd name="T63" fmla="*/ 1 h 228"/>
                  <a:gd name="T64" fmla="*/ 50 w 199"/>
                  <a:gd name="T65" fmla="*/ 7 h 228"/>
                  <a:gd name="T66" fmla="*/ 39 w 199"/>
                  <a:gd name="T67" fmla="*/ 29 h 228"/>
                  <a:gd name="T68" fmla="*/ 43 w 199"/>
                  <a:gd name="T69" fmla="*/ 5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9" h="228">
                    <a:moveTo>
                      <a:pt x="43" y="52"/>
                    </a:moveTo>
                    <a:cubicBezTo>
                      <a:pt x="31" y="55"/>
                      <a:pt x="13" y="52"/>
                      <a:pt x="10" y="61"/>
                    </a:cubicBezTo>
                    <a:cubicBezTo>
                      <a:pt x="7" y="70"/>
                      <a:pt x="11" y="89"/>
                      <a:pt x="11" y="89"/>
                    </a:cubicBezTo>
                    <a:cubicBezTo>
                      <a:pt x="11" y="89"/>
                      <a:pt x="0" y="96"/>
                      <a:pt x="1" y="107"/>
                    </a:cubicBezTo>
                    <a:cubicBezTo>
                      <a:pt x="2" y="117"/>
                      <a:pt x="12" y="115"/>
                      <a:pt x="12" y="122"/>
                    </a:cubicBezTo>
                    <a:cubicBezTo>
                      <a:pt x="12" y="129"/>
                      <a:pt x="22" y="143"/>
                      <a:pt x="26" y="144"/>
                    </a:cubicBezTo>
                    <a:cubicBezTo>
                      <a:pt x="30" y="145"/>
                      <a:pt x="39" y="130"/>
                      <a:pt x="40" y="137"/>
                    </a:cubicBezTo>
                    <a:cubicBezTo>
                      <a:pt x="41" y="144"/>
                      <a:pt x="31" y="165"/>
                      <a:pt x="40" y="173"/>
                    </a:cubicBezTo>
                    <a:cubicBezTo>
                      <a:pt x="49" y="181"/>
                      <a:pt x="65" y="212"/>
                      <a:pt x="65" y="212"/>
                    </a:cubicBezTo>
                    <a:cubicBezTo>
                      <a:pt x="65" y="212"/>
                      <a:pt x="94" y="228"/>
                      <a:pt x="103" y="224"/>
                    </a:cubicBezTo>
                    <a:cubicBezTo>
                      <a:pt x="112" y="220"/>
                      <a:pt x="98" y="210"/>
                      <a:pt x="95" y="204"/>
                    </a:cubicBezTo>
                    <a:cubicBezTo>
                      <a:pt x="92" y="198"/>
                      <a:pt x="96" y="188"/>
                      <a:pt x="102" y="187"/>
                    </a:cubicBezTo>
                    <a:cubicBezTo>
                      <a:pt x="108" y="186"/>
                      <a:pt x="107" y="195"/>
                      <a:pt x="107" y="195"/>
                    </a:cubicBezTo>
                    <a:cubicBezTo>
                      <a:pt x="125" y="195"/>
                      <a:pt x="125" y="195"/>
                      <a:pt x="125" y="195"/>
                    </a:cubicBezTo>
                    <a:cubicBezTo>
                      <a:pt x="125" y="195"/>
                      <a:pt x="134" y="184"/>
                      <a:pt x="142" y="183"/>
                    </a:cubicBezTo>
                    <a:cubicBezTo>
                      <a:pt x="150" y="182"/>
                      <a:pt x="154" y="193"/>
                      <a:pt x="154" y="193"/>
                    </a:cubicBezTo>
                    <a:cubicBezTo>
                      <a:pt x="167" y="199"/>
                      <a:pt x="167" y="199"/>
                      <a:pt x="167" y="199"/>
                    </a:cubicBezTo>
                    <a:cubicBezTo>
                      <a:pt x="167" y="199"/>
                      <a:pt x="173" y="185"/>
                      <a:pt x="174" y="182"/>
                    </a:cubicBezTo>
                    <a:cubicBezTo>
                      <a:pt x="175" y="179"/>
                      <a:pt x="186" y="175"/>
                      <a:pt x="186" y="175"/>
                    </a:cubicBezTo>
                    <a:cubicBezTo>
                      <a:pt x="184" y="147"/>
                      <a:pt x="184" y="147"/>
                      <a:pt x="184" y="147"/>
                    </a:cubicBezTo>
                    <a:cubicBezTo>
                      <a:pt x="184" y="147"/>
                      <a:pt x="196" y="142"/>
                      <a:pt x="195" y="132"/>
                    </a:cubicBezTo>
                    <a:cubicBezTo>
                      <a:pt x="194" y="122"/>
                      <a:pt x="175" y="117"/>
                      <a:pt x="174" y="105"/>
                    </a:cubicBezTo>
                    <a:cubicBezTo>
                      <a:pt x="173" y="92"/>
                      <a:pt x="163" y="71"/>
                      <a:pt x="173" y="55"/>
                    </a:cubicBezTo>
                    <a:cubicBezTo>
                      <a:pt x="184" y="38"/>
                      <a:pt x="195" y="39"/>
                      <a:pt x="195" y="32"/>
                    </a:cubicBezTo>
                    <a:cubicBezTo>
                      <a:pt x="195" y="27"/>
                      <a:pt x="195" y="18"/>
                      <a:pt x="199" y="11"/>
                    </a:cubicBezTo>
                    <a:cubicBezTo>
                      <a:pt x="199" y="11"/>
                      <a:pt x="199" y="11"/>
                      <a:pt x="199" y="11"/>
                    </a:cubicBezTo>
                    <a:cubicBezTo>
                      <a:pt x="198" y="10"/>
                      <a:pt x="197" y="10"/>
                      <a:pt x="197" y="9"/>
                    </a:cubicBezTo>
                    <a:cubicBezTo>
                      <a:pt x="190" y="0"/>
                      <a:pt x="143" y="0"/>
                      <a:pt x="143" y="0"/>
                    </a:cubicBezTo>
                    <a:cubicBezTo>
                      <a:pt x="139" y="9"/>
                      <a:pt x="139" y="9"/>
                      <a:pt x="139" y="9"/>
                    </a:cubicBezTo>
                    <a:cubicBezTo>
                      <a:pt x="109" y="4"/>
                      <a:pt x="109" y="4"/>
                      <a:pt x="109" y="4"/>
                    </a:cubicBezTo>
                    <a:cubicBezTo>
                      <a:pt x="108" y="15"/>
                      <a:pt x="108" y="15"/>
                      <a:pt x="108" y="15"/>
                    </a:cubicBezTo>
                    <a:cubicBezTo>
                      <a:pt x="69" y="1"/>
                      <a:pt x="69" y="1"/>
                      <a:pt x="69" y="1"/>
                    </a:cubicBezTo>
                    <a:cubicBezTo>
                      <a:pt x="50" y="7"/>
                      <a:pt x="50" y="7"/>
                      <a:pt x="50" y="7"/>
                    </a:cubicBezTo>
                    <a:cubicBezTo>
                      <a:pt x="50" y="7"/>
                      <a:pt x="39" y="21"/>
                      <a:pt x="39" y="29"/>
                    </a:cubicBezTo>
                    <a:cubicBezTo>
                      <a:pt x="39" y="37"/>
                      <a:pt x="55" y="49"/>
                      <a:pt x="43" y="52"/>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29" name="Freeform 51">
                <a:extLst>
                  <a:ext uri="{FF2B5EF4-FFF2-40B4-BE49-F238E27FC236}">
                    <a16:creationId xmlns:a16="http://schemas.microsoft.com/office/drawing/2014/main" id="{50DDFF40-9AC9-479A-AAFE-C13D56128C64}"/>
                  </a:ext>
                </a:extLst>
              </p:cNvPr>
              <p:cNvSpPr>
                <a:spLocks/>
              </p:cNvSpPr>
              <p:nvPr>
                <p:custDataLst>
                  <p:tags r:id="rId10"/>
                </p:custDataLst>
              </p:nvPr>
            </p:nvSpPr>
            <p:spPr bwMode="gray">
              <a:xfrm>
                <a:off x="2733659" y="4133865"/>
                <a:ext cx="133349" cy="212726"/>
              </a:xfrm>
              <a:custGeom>
                <a:avLst/>
                <a:gdLst>
                  <a:gd name="T0" fmla="*/ 62 w 225"/>
                  <a:gd name="T1" fmla="*/ 28 h 388"/>
                  <a:gd name="T2" fmla="*/ 42 w 225"/>
                  <a:gd name="T3" fmla="*/ 44 h 388"/>
                  <a:gd name="T4" fmla="*/ 46 w 225"/>
                  <a:gd name="T5" fmla="*/ 64 h 388"/>
                  <a:gd name="T6" fmla="*/ 57 w 225"/>
                  <a:gd name="T7" fmla="*/ 67 h 388"/>
                  <a:gd name="T8" fmla="*/ 47 w 225"/>
                  <a:gd name="T9" fmla="*/ 85 h 388"/>
                  <a:gd name="T10" fmla="*/ 11 w 225"/>
                  <a:gd name="T11" fmla="*/ 93 h 388"/>
                  <a:gd name="T12" fmla="*/ 22 w 225"/>
                  <a:gd name="T13" fmla="*/ 116 h 388"/>
                  <a:gd name="T14" fmla="*/ 4 w 225"/>
                  <a:gd name="T15" fmla="*/ 134 h 388"/>
                  <a:gd name="T16" fmla="*/ 35 w 225"/>
                  <a:gd name="T17" fmla="*/ 172 h 388"/>
                  <a:gd name="T18" fmla="*/ 51 w 225"/>
                  <a:gd name="T19" fmla="*/ 174 h 388"/>
                  <a:gd name="T20" fmla="*/ 56 w 225"/>
                  <a:gd name="T21" fmla="*/ 167 h 388"/>
                  <a:gd name="T22" fmla="*/ 68 w 225"/>
                  <a:gd name="T23" fmla="*/ 182 h 388"/>
                  <a:gd name="T24" fmla="*/ 59 w 225"/>
                  <a:gd name="T25" fmla="*/ 208 h 388"/>
                  <a:gd name="T26" fmla="*/ 81 w 225"/>
                  <a:gd name="T27" fmla="*/ 211 h 388"/>
                  <a:gd name="T28" fmla="*/ 80 w 225"/>
                  <a:gd name="T29" fmla="*/ 230 h 388"/>
                  <a:gd name="T30" fmla="*/ 88 w 225"/>
                  <a:gd name="T31" fmla="*/ 240 h 388"/>
                  <a:gd name="T32" fmla="*/ 74 w 225"/>
                  <a:gd name="T33" fmla="*/ 258 h 388"/>
                  <a:gd name="T34" fmla="*/ 69 w 225"/>
                  <a:gd name="T35" fmla="*/ 286 h 388"/>
                  <a:gd name="T36" fmla="*/ 61 w 225"/>
                  <a:gd name="T37" fmla="*/ 312 h 388"/>
                  <a:gd name="T38" fmla="*/ 78 w 225"/>
                  <a:gd name="T39" fmla="*/ 333 h 388"/>
                  <a:gd name="T40" fmla="*/ 78 w 225"/>
                  <a:gd name="T41" fmla="*/ 353 h 388"/>
                  <a:gd name="T42" fmla="*/ 99 w 225"/>
                  <a:gd name="T43" fmla="*/ 377 h 388"/>
                  <a:gd name="T44" fmla="*/ 108 w 225"/>
                  <a:gd name="T45" fmla="*/ 377 h 388"/>
                  <a:gd name="T46" fmla="*/ 112 w 225"/>
                  <a:gd name="T47" fmla="*/ 388 h 388"/>
                  <a:gd name="T48" fmla="*/ 132 w 225"/>
                  <a:gd name="T49" fmla="*/ 387 h 388"/>
                  <a:gd name="T50" fmla="*/ 143 w 225"/>
                  <a:gd name="T51" fmla="*/ 369 h 388"/>
                  <a:gd name="T52" fmla="*/ 161 w 225"/>
                  <a:gd name="T53" fmla="*/ 368 h 388"/>
                  <a:gd name="T54" fmla="*/ 162 w 225"/>
                  <a:gd name="T55" fmla="*/ 360 h 388"/>
                  <a:gd name="T56" fmla="*/ 183 w 225"/>
                  <a:gd name="T57" fmla="*/ 359 h 388"/>
                  <a:gd name="T58" fmla="*/ 197 w 225"/>
                  <a:gd name="T59" fmla="*/ 342 h 388"/>
                  <a:gd name="T60" fmla="*/ 217 w 225"/>
                  <a:gd name="T61" fmla="*/ 350 h 388"/>
                  <a:gd name="T62" fmla="*/ 221 w 225"/>
                  <a:gd name="T63" fmla="*/ 341 h 388"/>
                  <a:gd name="T64" fmla="*/ 196 w 225"/>
                  <a:gd name="T65" fmla="*/ 302 h 388"/>
                  <a:gd name="T66" fmla="*/ 196 w 225"/>
                  <a:gd name="T67" fmla="*/ 266 h 388"/>
                  <a:gd name="T68" fmla="*/ 182 w 225"/>
                  <a:gd name="T69" fmla="*/ 273 h 388"/>
                  <a:gd name="T70" fmla="*/ 168 w 225"/>
                  <a:gd name="T71" fmla="*/ 251 h 388"/>
                  <a:gd name="T72" fmla="*/ 157 w 225"/>
                  <a:gd name="T73" fmla="*/ 236 h 388"/>
                  <a:gd name="T74" fmla="*/ 167 w 225"/>
                  <a:gd name="T75" fmla="*/ 218 h 388"/>
                  <a:gd name="T76" fmla="*/ 166 w 225"/>
                  <a:gd name="T77" fmla="*/ 190 h 388"/>
                  <a:gd name="T78" fmla="*/ 199 w 225"/>
                  <a:gd name="T79" fmla="*/ 181 h 388"/>
                  <a:gd name="T80" fmla="*/ 195 w 225"/>
                  <a:gd name="T81" fmla="*/ 158 h 388"/>
                  <a:gd name="T82" fmla="*/ 206 w 225"/>
                  <a:gd name="T83" fmla="*/ 136 h 388"/>
                  <a:gd name="T84" fmla="*/ 203 w 225"/>
                  <a:gd name="T85" fmla="*/ 117 h 388"/>
                  <a:gd name="T86" fmla="*/ 185 w 225"/>
                  <a:gd name="T87" fmla="*/ 117 h 388"/>
                  <a:gd name="T88" fmla="*/ 183 w 225"/>
                  <a:gd name="T89" fmla="*/ 102 h 388"/>
                  <a:gd name="T90" fmla="*/ 153 w 225"/>
                  <a:gd name="T91" fmla="*/ 85 h 388"/>
                  <a:gd name="T92" fmla="*/ 133 w 225"/>
                  <a:gd name="T93" fmla="*/ 109 h 388"/>
                  <a:gd name="T94" fmla="*/ 144 w 225"/>
                  <a:gd name="T95" fmla="*/ 61 h 388"/>
                  <a:gd name="T96" fmla="*/ 126 w 225"/>
                  <a:gd name="T97" fmla="*/ 22 h 388"/>
                  <a:gd name="T98" fmla="*/ 83 w 225"/>
                  <a:gd name="T99" fmla="*/ 0 h 388"/>
                  <a:gd name="T100" fmla="*/ 76 w 225"/>
                  <a:gd name="T101" fmla="*/ 12 h 388"/>
                  <a:gd name="T102" fmla="*/ 62 w 225"/>
                  <a:gd name="T103" fmla="*/ 28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25" h="388">
                    <a:moveTo>
                      <a:pt x="62" y="28"/>
                    </a:moveTo>
                    <a:cubicBezTo>
                      <a:pt x="56" y="30"/>
                      <a:pt x="40" y="35"/>
                      <a:pt x="42" y="44"/>
                    </a:cubicBezTo>
                    <a:cubicBezTo>
                      <a:pt x="44" y="53"/>
                      <a:pt x="42" y="64"/>
                      <a:pt x="46" y="64"/>
                    </a:cubicBezTo>
                    <a:cubicBezTo>
                      <a:pt x="50" y="64"/>
                      <a:pt x="57" y="64"/>
                      <a:pt x="57" y="67"/>
                    </a:cubicBezTo>
                    <a:cubicBezTo>
                      <a:pt x="57" y="71"/>
                      <a:pt x="58" y="81"/>
                      <a:pt x="47" y="85"/>
                    </a:cubicBezTo>
                    <a:cubicBezTo>
                      <a:pt x="36" y="89"/>
                      <a:pt x="11" y="88"/>
                      <a:pt x="11" y="93"/>
                    </a:cubicBezTo>
                    <a:cubicBezTo>
                      <a:pt x="11" y="98"/>
                      <a:pt x="31" y="109"/>
                      <a:pt x="22" y="116"/>
                    </a:cubicBezTo>
                    <a:cubicBezTo>
                      <a:pt x="13" y="124"/>
                      <a:pt x="0" y="123"/>
                      <a:pt x="4" y="134"/>
                    </a:cubicBezTo>
                    <a:cubicBezTo>
                      <a:pt x="8" y="145"/>
                      <a:pt x="35" y="172"/>
                      <a:pt x="35" y="172"/>
                    </a:cubicBezTo>
                    <a:cubicBezTo>
                      <a:pt x="51" y="174"/>
                      <a:pt x="51" y="174"/>
                      <a:pt x="51" y="174"/>
                    </a:cubicBezTo>
                    <a:cubicBezTo>
                      <a:pt x="56" y="167"/>
                      <a:pt x="56" y="167"/>
                      <a:pt x="56" y="167"/>
                    </a:cubicBezTo>
                    <a:cubicBezTo>
                      <a:pt x="56" y="167"/>
                      <a:pt x="65" y="168"/>
                      <a:pt x="68" y="182"/>
                    </a:cubicBezTo>
                    <a:cubicBezTo>
                      <a:pt x="71" y="196"/>
                      <a:pt x="59" y="208"/>
                      <a:pt x="59" y="208"/>
                    </a:cubicBezTo>
                    <a:cubicBezTo>
                      <a:pt x="59" y="217"/>
                      <a:pt x="81" y="211"/>
                      <a:pt x="81" y="211"/>
                    </a:cubicBezTo>
                    <a:cubicBezTo>
                      <a:pt x="80" y="230"/>
                      <a:pt x="80" y="230"/>
                      <a:pt x="80" y="230"/>
                    </a:cubicBezTo>
                    <a:cubicBezTo>
                      <a:pt x="80" y="230"/>
                      <a:pt x="89" y="234"/>
                      <a:pt x="88" y="240"/>
                    </a:cubicBezTo>
                    <a:cubicBezTo>
                      <a:pt x="87" y="246"/>
                      <a:pt x="74" y="258"/>
                      <a:pt x="74" y="258"/>
                    </a:cubicBezTo>
                    <a:cubicBezTo>
                      <a:pt x="69" y="286"/>
                      <a:pt x="69" y="286"/>
                      <a:pt x="69" y="286"/>
                    </a:cubicBezTo>
                    <a:cubicBezTo>
                      <a:pt x="69" y="286"/>
                      <a:pt x="61" y="302"/>
                      <a:pt x="61" y="312"/>
                    </a:cubicBezTo>
                    <a:cubicBezTo>
                      <a:pt x="61" y="322"/>
                      <a:pt x="78" y="325"/>
                      <a:pt x="78" y="333"/>
                    </a:cubicBezTo>
                    <a:cubicBezTo>
                      <a:pt x="78" y="341"/>
                      <a:pt x="78" y="353"/>
                      <a:pt x="78" y="353"/>
                    </a:cubicBezTo>
                    <a:cubicBezTo>
                      <a:pt x="99" y="377"/>
                      <a:pt x="99" y="377"/>
                      <a:pt x="99" y="377"/>
                    </a:cubicBezTo>
                    <a:cubicBezTo>
                      <a:pt x="108" y="377"/>
                      <a:pt x="108" y="377"/>
                      <a:pt x="108" y="377"/>
                    </a:cubicBezTo>
                    <a:cubicBezTo>
                      <a:pt x="112" y="388"/>
                      <a:pt x="112" y="388"/>
                      <a:pt x="112" y="388"/>
                    </a:cubicBezTo>
                    <a:cubicBezTo>
                      <a:pt x="112" y="388"/>
                      <a:pt x="122" y="388"/>
                      <a:pt x="132" y="387"/>
                    </a:cubicBezTo>
                    <a:cubicBezTo>
                      <a:pt x="142" y="386"/>
                      <a:pt x="137" y="373"/>
                      <a:pt x="143" y="369"/>
                    </a:cubicBezTo>
                    <a:cubicBezTo>
                      <a:pt x="149" y="365"/>
                      <a:pt x="161" y="368"/>
                      <a:pt x="161" y="368"/>
                    </a:cubicBezTo>
                    <a:cubicBezTo>
                      <a:pt x="162" y="360"/>
                      <a:pt x="162" y="360"/>
                      <a:pt x="162" y="360"/>
                    </a:cubicBezTo>
                    <a:cubicBezTo>
                      <a:pt x="183" y="359"/>
                      <a:pt x="183" y="359"/>
                      <a:pt x="183" y="359"/>
                    </a:cubicBezTo>
                    <a:cubicBezTo>
                      <a:pt x="183" y="359"/>
                      <a:pt x="187" y="343"/>
                      <a:pt x="197" y="342"/>
                    </a:cubicBezTo>
                    <a:cubicBezTo>
                      <a:pt x="207" y="341"/>
                      <a:pt x="209" y="352"/>
                      <a:pt x="217" y="350"/>
                    </a:cubicBezTo>
                    <a:cubicBezTo>
                      <a:pt x="225" y="348"/>
                      <a:pt x="221" y="341"/>
                      <a:pt x="221" y="341"/>
                    </a:cubicBezTo>
                    <a:cubicBezTo>
                      <a:pt x="221" y="341"/>
                      <a:pt x="205" y="310"/>
                      <a:pt x="196" y="302"/>
                    </a:cubicBezTo>
                    <a:cubicBezTo>
                      <a:pt x="187" y="294"/>
                      <a:pt x="197" y="273"/>
                      <a:pt x="196" y="266"/>
                    </a:cubicBezTo>
                    <a:cubicBezTo>
                      <a:pt x="195" y="259"/>
                      <a:pt x="186" y="274"/>
                      <a:pt x="182" y="273"/>
                    </a:cubicBezTo>
                    <a:cubicBezTo>
                      <a:pt x="178" y="272"/>
                      <a:pt x="168" y="258"/>
                      <a:pt x="168" y="251"/>
                    </a:cubicBezTo>
                    <a:cubicBezTo>
                      <a:pt x="168" y="244"/>
                      <a:pt x="158" y="246"/>
                      <a:pt x="157" y="236"/>
                    </a:cubicBezTo>
                    <a:cubicBezTo>
                      <a:pt x="156" y="225"/>
                      <a:pt x="167" y="218"/>
                      <a:pt x="167" y="218"/>
                    </a:cubicBezTo>
                    <a:cubicBezTo>
                      <a:pt x="167" y="218"/>
                      <a:pt x="163" y="199"/>
                      <a:pt x="166" y="190"/>
                    </a:cubicBezTo>
                    <a:cubicBezTo>
                      <a:pt x="169" y="181"/>
                      <a:pt x="187" y="184"/>
                      <a:pt x="199" y="181"/>
                    </a:cubicBezTo>
                    <a:cubicBezTo>
                      <a:pt x="211" y="178"/>
                      <a:pt x="195" y="166"/>
                      <a:pt x="195" y="158"/>
                    </a:cubicBezTo>
                    <a:cubicBezTo>
                      <a:pt x="195" y="150"/>
                      <a:pt x="206" y="136"/>
                      <a:pt x="206" y="136"/>
                    </a:cubicBezTo>
                    <a:cubicBezTo>
                      <a:pt x="206" y="136"/>
                      <a:pt x="206" y="125"/>
                      <a:pt x="203" y="117"/>
                    </a:cubicBezTo>
                    <a:cubicBezTo>
                      <a:pt x="200" y="109"/>
                      <a:pt x="185" y="117"/>
                      <a:pt x="185" y="117"/>
                    </a:cubicBezTo>
                    <a:cubicBezTo>
                      <a:pt x="183" y="102"/>
                      <a:pt x="183" y="102"/>
                      <a:pt x="183" y="102"/>
                    </a:cubicBezTo>
                    <a:cubicBezTo>
                      <a:pt x="183" y="102"/>
                      <a:pt x="166" y="87"/>
                      <a:pt x="153" y="85"/>
                    </a:cubicBezTo>
                    <a:cubicBezTo>
                      <a:pt x="140" y="83"/>
                      <a:pt x="133" y="109"/>
                      <a:pt x="133" y="109"/>
                    </a:cubicBezTo>
                    <a:cubicBezTo>
                      <a:pt x="133" y="109"/>
                      <a:pt x="142" y="69"/>
                      <a:pt x="144" y="61"/>
                    </a:cubicBezTo>
                    <a:cubicBezTo>
                      <a:pt x="146" y="53"/>
                      <a:pt x="132" y="30"/>
                      <a:pt x="126" y="22"/>
                    </a:cubicBezTo>
                    <a:cubicBezTo>
                      <a:pt x="120" y="14"/>
                      <a:pt x="83" y="0"/>
                      <a:pt x="83" y="0"/>
                    </a:cubicBezTo>
                    <a:cubicBezTo>
                      <a:pt x="76" y="12"/>
                      <a:pt x="76" y="12"/>
                      <a:pt x="76" y="12"/>
                    </a:cubicBezTo>
                    <a:cubicBezTo>
                      <a:pt x="76" y="12"/>
                      <a:pt x="69" y="26"/>
                      <a:pt x="62" y="28"/>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30" name="Freeform 52">
                <a:extLst>
                  <a:ext uri="{FF2B5EF4-FFF2-40B4-BE49-F238E27FC236}">
                    <a16:creationId xmlns:a16="http://schemas.microsoft.com/office/drawing/2014/main" id="{E7F254C1-6B0E-4C32-8307-60B8667875F8}"/>
                  </a:ext>
                </a:extLst>
              </p:cNvPr>
              <p:cNvSpPr>
                <a:spLocks noEditPoints="1"/>
              </p:cNvSpPr>
              <p:nvPr>
                <p:custDataLst>
                  <p:tags r:id="rId11"/>
                </p:custDataLst>
              </p:nvPr>
            </p:nvSpPr>
            <p:spPr bwMode="gray">
              <a:xfrm>
                <a:off x="2397111" y="4017978"/>
                <a:ext cx="385761" cy="347663"/>
              </a:xfrm>
              <a:custGeom>
                <a:avLst/>
                <a:gdLst>
                  <a:gd name="T0" fmla="*/ 175 w 642"/>
                  <a:gd name="T1" fmla="*/ 3 h 625"/>
                  <a:gd name="T2" fmla="*/ 165 w 642"/>
                  <a:gd name="T3" fmla="*/ 34 h 625"/>
                  <a:gd name="T4" fmla="*/ 630 w 642"/>
                  <a:gd name="T5" fmla="*/ 190 h 625"/>
                  <a:gd name="T6" fmla="*/ 595 w 642"/>
                  <a:gd name="T7" fmla="*/ 194 h 625"/>
                  <a:gd name="T8" fmla="*/ 553 w 642"/>
                  <a:gd name="T9" fmla="*/ 194 h 625"/>
                  <a:gd name="T10" fmla="*/ 586 w 642"/>
                  <a:gd name="T11" fmla="*/ 167 h 625"/>
                  <a:gd name="T12" fmla="*/ 572 w 642"/>
                  <a:gd name="T13" fmla="*/ 143 h 625"/>
                  <a:gd name="T14" fmla="*/ 556 w 642"/>
                  <a:gd name="T15" fmla="*/ 143 h 625"/>
                  <a:gd name="T16" fmla="*/ 536 w 642"/>
                  <a:gd name="T17" fmla="*/ 123 h 625"/>
                  <a:gd name="T18" fmla="*/ 522 w 642"/>
                  <a:gd name="T19" fmla="*/ 129 h 625"/>
                  <a:gd name="T20" fmla="*/ 498 w 642"/>
                  <a:gd name="T21" fmla="*/ 117 h 625"/>
                  <a:gd name="T22" fmla="*/ 501 w 642"/>
                  <a:gd name="T23" fmla="*/ 93 h 625"/>
                  <a:gd name="T24" fmla="*/ 457 w 642"/>
                  <a:gd name="T25" fmla="*/ 84 h 625"/>
                  <a:gd name="T26" fmla="*/ 435 w 642"/>
                  <a:gd name="T27" fmla="*/ 99 h 625"/>
                  <a:gd name="T28" fmla="*/ 346 w 642"/>
                  <a:gd name="T29" fmla="*/ 88 h 625"/>
                  <a:gd name="T30" fmla="*/ 242 w 642"/>
                  <a:gd name="T31" fmla="*/ 68 h 625"/>
                  <a:gd name="T32" fmla="*/ 147 w 642"/>
                  <a:gd name="T33" fmla="*/ 56 h 625"/>
                  <a:gd name="T34" fmla="*/ 113 w 642"/>
                  <a:gd name="T35" fmla="*/ 136 h 625"/>
                  <a:gd name="T36" fmla="*/ 89 w 642"/>
                  <a:gd name="T37" fmla="*/ 154 h 625"/>
                  <a:gd name="T38" fmla="*/ 82 w 642"/>
                  <a:gd name="T39" fmla="*/ 102 h 625"/>
                  <a:gd name="T40" fmla="*/ 77 w 642"/>
                  <a:gd name="T41" fmla="*/ 38 h 625"/>
                  <a:gd name="T42" fmla="*/ 38 w 642"/>
                  <a:gd name="T43" fmla="*/ 77 h 625"/>
                  <a:gd name="T44" fmla="*/ 24 w 642"/>
                  <a:gd name="T45" fmla="*/ 115 h 625"/>
                  <a:gd name="T46" fmla="*/ 5 w 642"/>
                  <a:gd name="T47" fmla="*/ 162 h 625"/>
                  <a:gd name="T48" fmla="*/ 35 w 642"/>
                  <a:gd name="T49" fmla="*/ 180 h 625"/>
                  <a:gd name="T50" fmla="*/ 50 w 642"/>
                  <a:gd name="T51" fmla="*/ 216 h 625"/>
                  <a:gd name="T52" fmla="*/ 41 w 642"/>
                  <a:gd name="T53" fmla="*/ 259 h 625"/>
                  <a:gd name="T54" fmla="*/ 59 w 642"/>
                  <a:gd name="T55" fmla="*/ 280 h 625"/>
                  <a:gd name="T56" fmla="*/ 111 w 642"/>
                  <a:gd name="T57" fmla="*/ 284 h 625"/>
                  <a:gd name="T58" fmla="*/ 136 w 642"/>
                  <a:gd name="T59" fmla="*/ 284 h 625"/>
                  <a:gd name="T60" fmla="*/ 181 w 642"/>
                  <a:gd name="T61" fmla="*/ 330 h 625"/>
                  <a:gd name="T62" fmla="*/ 203 w 642"/>
                  <a:gd name="T63" fmla="*/ 322 h 625"/>
                  <a:gd name="T64" fmla="*/ 232 w 642"/>
                  <a:gd name="T65" fmla="*/ 324 h 625"/>
                  <a:gd name="T66" fmla="*/ 276 w 642"/>
                  <a:gd name="T67" fmla="*/ 323 h 625"/>
                  <a:gd name="T68" fmla="*/ 263 w 642"/>
                  <a:gd name="T69" fmla="*/ 362 h 625"/>
                  <a:gd name="T70" fmla="*/ 254 w 642"/>
                  <a:gd name="T71" fmla="*/ 404 h 625"/>
                  <a:gd name="T72" fmla="*/ 261 w 642"/>
                  <a:gd name="T73" fmla="*/ 440 h 625"/>
                  <a:gd name="T74" fmla="*/ 278 w 642"/>
                  <a:gd name="T75" fmla="*/ 476 h 625"/>
                  <a:gd name="T76" fmla="*/ 259 w 642"/>
                  <a:gd name="T77" fmla="*/ 507 h 625"/>
                  <a:gd name="T78" fmla="*/ 284 w 642"/>
                  <a:gd name="T79" fmla="*/ 549 h 625"/>
                  <a:gd name="T80" fmla="*/ 299 w 642"/>
                  <a:gd name="T81" fmla="*/ 594 h 625"/>
                  <a:gd name="T82" fmla="*/ 326 w 642"/>
                  <a:gd name="T83" fmla="*/ 619 h 625"/>
                  <a:gd name="T84" fmla="*/ 362 w 642"/>
                  <a:gd name="T85" fmla="*/ 624 h 625"/>
                  <a:gd name="T86" fmla="*/ 400 w 642"/>
                  <a:gd name="T87" fmla="*/ 593 h 625"/>
                  <a:gd name="T88" fmla="*/ 420 w 642"/>
                  <a:gd name="T89" fmla="*/ 579 h 625"/>
                  <a:gd name="T90" fmla="*/ 457 w 642"/>
                  <a:gd name="T91" fmla="*/ 547 h 625"/>
                  <a:gd name="T92" fmla="*/ 432 w 642"/>
                  <a:gd name="T93" fmla="*/ 524 h 625"/>
                  <a:gd name="T94" fmla="*/ 419 w 642"/>
                  <a:gd name="T95" fmla="*/ 490 h 625"/>
                  <a:gd name="T96" fmla="*/ 400 w 642"/>
                  <a:gd name="T97" fmla="*/ 425 h 625"/>
                  <a:gd name="T98" fmla="*/ 429 w 642"/>
                  <a:gd name="T99" fmla="*/ 433 h 625"/>
                  <a:gd name="T100" fmla="*/ 450 w 642"/>
                  <a:gd name="T101" fmla="*/ 444 h 625"/>
                  <a:gd name="T102" fmla="*/ 469 w 642"/>
                  <a:gd name="T103" fmla="*/ 446 h 625"/>
                  <a:gd name="T104" fmla="*/ 507 w 642"/>
                  <a:gd name="T105" fmla="*/ 432 h 625"/>
                  <a:gd name="T106" fmla="*/ 551 w 642"/>
                  <a:gd name="T107" fmla="*/ 424 h 625"/>
                  <a:gd name="T108" fmla="*/ 583 w 642"/>
                  <a:gd name="T109" fmla="*/ 414 h 625"/>
                  <a:gd name="T110" fmla="*/ 596 w 642"/>
                  <a:gd name="T111" fmla="*/ 399 h 625"/>
                  <a:gd name="T112" fmla="*/ 563 w 642"/>
                  <a:gd name="T113" fmla="*/ 340 h 625"/>
                  <a:gd name="T114" fmla="*/ 570 w 642"/>
                  <a:gd name="T115" fmla="*/ 299 h 625"/>
                  <a:gd name="T116" fmla="*/ 616 w 642"/>
                  <a:gd name="T117" fmla="*/ 273 h 625"/>
                  <a:gd name="T118" fmla="*/ 601 w 642"/>
                  <a:gd name="T119" fmla="*/ 250 h 625"/>
                  <a:gd name="T120" fmla="*/ 635 w 642"/>
                  <a:gd name="T121" fmla="*/ 218 h 625"/>
                  <a:gd name="T122" fmla="*/ 630 w 642"/>
                  <a:gd name="T123" fmla="*/ 190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2" h="625">
                    <a:moveTo>
                      <a:pt x="182" y="33"/>
                    </a:moveTo>
                    <a:cubicBezTo>
                      <a:pt x="182" y="33"/>
                      <a:pt x="187" y="6"/>
                      <a:pt x="175" y="3"/>
                    </a:cubicBezTo>
                    <a:cubicBezTo>
                      <a:pt x="164" y="0"/>
                      <a:pt x="158" y="7"/>
                      <a:pt x="158" y="13"/>
                    </a:cubicBezTo>
                    <a:cubicBezTo>
                      <a:pt x="158" y="18"/>
                      <a:pt x="165" y="34"/>
                      <a:pt x="165" y="34"/>
                    </a:cubicBezTo>
                    <a:lnTo>
                      <a:pt x="182" y="33"/>
                    </a:lnTo>
                    <a:close/>
                    <a:moveTo>
                      <a:pt x="630" y="190"/>
                    </a:moveTo>
                    <a:cubicBezTo>
                      <a:pt x="626" y="184"/>
                      <a:pt x="611" y="201"/>
                      <a:pt x="611" y="201"/>
                    </a:cubicBezTo>
                    <a:cubicBezTo>
                      <a:pt x="611" y="201"/>
                      <a:pt x="601" y="197"/>
                      <a:pt x="595" y="194"/>
                    </a:cubicBezTo>
                    <a:cubicBezTo>
                      <a:pt x="589" y="191"/>
                      <a:pt x="575" y="208"/>
                      <a:pt x="575" y="208"/>
                    </a:cubicBezTo>
                    <a:cubicBezTo>
                      <a:pt x="553" y="194"/>
                      <a:pt x="553" y="194"/>
                      <a:pt x="553" y="194"/>
                    </a:cubicBezTo>
                    <a:cubicBezTo>
                      <a:pt x="553" y="194"/>
                      <a:pt x="579" y="194"/>
                      <a:pt x="583" y="187"/>
                    </a:cubicBezTo>
                    <a:cubicBezTo>
                      <a:pt x="587" y="180"/>
                      <a:pt x="586" y="167"/>
                      <a:pt x="586" y="167"/>
                    </a:cubicBezTo>
                    <a:cubicBezTo>
                      <a:pt x="586" y="167"/>
                      <a:pt x="596" y="166"/>
                      <a:pt x="598" y="153"/>
                    </a:cubicBezTo>
                    <a:cubicBezTo>
                      <a:pt x="600" y="140"/>
                      <a:pt x="572" y="143"/>
                      <a:pt x="572" y="143"/>
                    </a:cubicBezTo>
                    <a:cubicBezTo>
                      <a:pt x="572" y="143"/>
                      <a:pt x="568" y="129"/>
                      <a:pt x="561" y="128"/>
                    </a:cubicBezTo>
                    <a:cubicBezTo>
                      <a:pt x="554" y="127"/>
                      <a:pt x="556" y="143"/>
                      <a:pt x="556" y="143"/>
                    </a:cubicBezTo>
                    <a:cubicBezTo>
                      <a:pt x="556" y="143"/>
                      <a:pt x="550" y="134"/>
                      <a:pt x="550" y="128"/>
                    </a:cubicBezTo>
                    <a:cubicBezTo>
                      <a:pt x="550" y="122"/>
                      <a:pt x="536" y="123"/>
                      <a:pt x="536" y="123"/>
                    </a:cubicBezTo>
                    <a:cubicBezTo>
                      <a:pt x="532" y="143"/>
                      <a:pt x="532" y="143"/>
                      <a:pt x="532" y="143"/>
                    </a:cubicBezTo>
                    <a:cubicBezTo>
                      <a:pt x="532" y="143"/>
                      <a:pt x="524" y="135"/>
                      <a:pt x="522" y="129"/>
                    </a:cubicBezTo>
                    <a:cubicBezTo>
                      <a:pt x="520" y="123"/>
                      <a:pt x="519" y="109"/>
                      <a:pt x="519" y="109"/>
                    </a:cubicBezTo>
                    <a:cubicBezTo>
                      <a:pt x="498" y="117"/>
                      <a:pt x="498" y="117"/>
                      <a:pt x="498" y="117"/>
                    </a:cubicBezTo>
                    <a:cubicBezTo>
                      <a:pt x="498" y="117"/>
                      <a:pt x="514" y="108"/>
                      <a:pt x="514" y="103"/>
                    </a:cubicBezTo>
                    <a:cubicBezTo>
                      <a:pt x="514" y="98"/>
                      <a:pt x="501" y="98"/>
                      <a:pt x="501" y="93"/>
                    </a:cubicBezTo>
                    <a:cubicBezTo>
                      <a:pt x="501" y="88"/>
                      <a:pt x="543" y="88"/>
                      <a:pt x="547" y="82"/>
                    </a:cubicBezTo>
                    <a:cubicBezTo>
                      <a:pt x="551" y="76"/>
                      <a:pt x="457" y="84"/>
                      <a:pt x="457" y="84"/>
                    </a:cubicBezTo>
                    <a:cubicBezTo>
                      <a:pt x="466" y="94"/>
                      <a:pt x="466" y="94"/>
                      <a:pt x="466" y="94"/>
                    </a:cubicBezTo>
                    <a:cubicBezTo>
                      <a:pt x="466" y="94"/>
                      <a:pt x="444" y="96"/>
                      <a:pt x="435" y="99"/>
                    </a:cubicBezTo>
                    <a:cubicBezTo>
                      <a:pt x="426" y="102"/>
                      <a:pt x="402" y="119"/>
                      <a:pt x="402" y="119"/>
                    </a:cubicBezTo>
                    <a:cubicBezTo>
                      <a:pt x="378" y="120"/>
                      <a:pt x="346" y="88"/>
                      <a:pt x="346" y="88"/>
                    </a:cubicBezTo>
                    <a:cubicBezTo>
                      <a:pt x="346" y="88"/>
                      <a:pt x="265" y="93"/>
                      <a:pt x="255" y="92"/>
                    </a:cubicBezTo>
                    <a:cubicBezTo>
                      <a:pt x="245" y="91"/>
                      <a:pt x="242" y="82"/>
                      <a:pt x="242" y="68"/>
                    </a:cubicBezTo>
                    <a:cubicBezTo>
                      <a:pt x="242" y="54"/>
                      <a:pt x="236" y="44"/>
                      <a:pt x="210" y="39"/>
                    </a:cubicBezTo>
                    <a:cubicBezTo>
                      <a:pt x="184" y="34"/>
                      <a:pt x="147" y="56"/>
                      <a:pt x="147" y="56"/>
                    </a:cubicBezTo>
                    <a:cubicBezTo>
                      <a:pt x="147" y="56"/>
                      <a:pt x="120" y="62"/>
                      <a:pt x="104" y="76"/>
                    </a:cubicBezTo>
                    <a:cubicBezTo>
                      <a:pt x="88" y="90"/>
                      <a:pt x="111" y="116"/>
                      <a:pt x="113" y="136"/>
                    </a:cubicBezTo>
                    <a:cubicBezTo>
                      <a:pt x="115" y="156"/>
                      <a:pt x="88" y="172"/>
                      <a:pt x="88" y="172"/>
                    </a:cubicBezTo>
                    <a:cubicBezTo>
                      <a:pt x="89" y="154"/>
                      <a:pt x="89" y="154"/>
                      <a:pt x="89" y="154"/>
                    </a:cubicBezTo>
                    <a:cubicBezTo>
                      <a:pt x="89" y="154"/>
                      <a:pt x="71" y="149"/>
                      <a:pt x="65" y="139"/>
                    </a:cubicBezTo>
                    <a:cubicBezTo>
                      <a:pt x="59" y="129"/>
                      <a:pt x="75" y="111"/>
                      <a:pt x="82" y="102"/>
                    </a:cubicBezTo>
                    <a:cubicBezTo>
                      <a:pt x="89" y="93"/>
                      <a:pt x="88" y="77"/>
                      <a:pt x="88" y="65"/>
                    </a:cubicBezTo>
                    <a:cubicBezTo>
                      <a:pt x="88" y="53"/>
                      <a:pt x="77" y="38"/>
                      <a:pt x="77" y="38"/>
                    </a:cubicBezTo>
                    <a:cubicBezTo>
                      <a:pt x="77" y="38"/>
                      <a:pt x="76" y="53"/>
                      <a:pt x="65" y="56"/>
                    </a:cubicBezTo>
                    <a:cubicBezTo>
                      <a:pt x="54" y="60"/>
                      <a:pt x="45" y="64"/>
                      <a:pt x="38" y="77"/>
                    </a:cubicBezTo>
                    <a:cubicBezTo>
                      <a:pt x="30" y="90"/>
                      <a:pt x="30" y="110"/>
                      <a:pt x="30" y="110"/>
                    </a:cubicBezTo>
                    <a:cubicBezTo>
                      <a:pt x="24" y="115"/>
                      <a:pt x="24" y="115"/>
                      <a:pt x="24" y="115"/>
                    </a:cubicBezTo>
                    <a:cubicBezTo>
                      <a:pt x="24" y="133"/>
                      <a:pt x="24" y="133"/>
                      <a:pt x="24" y="133"/>
                    </a:cubicBezTo>
                    <a:cubicBezTo>
                      <a:pt x="24" y="133"/>
                      <a:pt x="0" y="154"/>
                      <a:pt x="5" y="162"/>
                    </a:cubicBezTo>
                    <a:cubicBezTo>
                      <a:pt x="10" y="171"/>
                      <a:pt x="14" y="157"/>
                      <a:pt x="21" y="157"/>
                    </a:cubicBezTo>
                    <a:cubicBezTo>
                      <a:pt x="28" y="157"/>
                      <a:pt x="35" y="171"/>
                      <a:pt x="35" y="180"/>
                    </a:cubicBezTo>
                    <a:cubicBezTo>
                      <a:pt x="35" y="189"/>
                      <a:pt x="36" y="195"/>
                      <a:pt x="36" y="195"/>
                    </a:cubicBezTo>
                    <a:cubicBezTo>
                      <a:pt x="36" y="195"/>
                      <a:pt x="52" y="204"/>
                      <a:pt x="50" y="216"/>
                    </a:cubicBezTo>
                    <a:cubicBezTo>
                      <a:pt x="48" y="229"/>
                      <a:pt x="42" y="232"/>
                      <a:pt x="42" y="232"/>
                    </a:cubicBezTo>
                    <a:cubicBezTo>
                      <a:pt x="41" y="259"/>
                      <a:pt x="41" y="259"/>
                      <a:pt x="41" y="259"/>
                    </a:cubicBezTo>
                    <a:cubicBezTo>
                      <a:pt x="51" y="259"/>
                      <a:pt x="51" y="259"/>
                      <a:pt x="51" y="259"/>
                    </a:cubicBezTo>
                    <a:cubicBezTo>
                      <a:pt x="51" y="259"/>
                      <a:pt x="50" y="277"/>
                      <a:pt x="59" y="280"/>
                    </a:cubicBezTo>
                    <a:cubicBezTo>
                      <a:pt x="68" y="283"/>
                      <a:pt x="79" y="278"/>
                      <a:pt x="83" y="278"/>
                    </a:cubicBezTo>
                    <a:cubicBezTo>
                      <a:pt x="88" y="278"/>
                      <a:pt x="106" y="285"/>
                      <a:pt x="111" y="284"/>
                    </a:cubicBezTo>
                    <a:cubicBezTo>
                      <a:pt x="116" y="283"/>
                      <a:pt x="117" y="277"/>
                      <a:pt x="122" y="277"/>
                    </a:cubicBezTo>
                    <a:cubicBezTo>
                      <a:pt x="127" y="277"/>
                      <a:pt x="136" y="284"/>
                      <a:pt x="136" y="284"/>
                    </a:cubicBezTo>
                    <a:cubicBezTo>
                      <a:pt x="154" y="285"/>
                      <a:pt x="154" y="285"/>
                      <a:pt x="154" y="285"/>
                    </a:cubicBezTo>
                    <a:cubicBezTo>
                      <a:pt x="154" y="285"/>
                      <a:pt x="173" y="327"/>
                      <a:pt x="181" y="330"/>
                    </a:cubicBezTo>
                    <a:cubicBezTo>
                      <a:pt x="189" y="332"/>
                      <a:pt x="197" y="329"/>
                      <a:pt x="197" y="329"/>
                    </a:cubicBezTo>
                    <a:cubicBezTo>
                      <a:pt x="197" y="329"/>
                      <a:pt x="195" y="322"/>
                      <a:pt x="203" y="322"/>
                    </a:cubicBezTo>
                    <a:cubicBezTo>
                      <a:pt x="211" y="322"/>
                      <a:pt x="213" y="329"/>
                      <a:pt x="221" y="330"/>
                    </a:cubicBezTo>
                    <a:cubicBezTo>
                      <a:pt x="229" y="331"/>
                      <a:pt x="232" y="324"/>
                      <a:pt x="232" y="324"/>
                    </a:cubicBezTo>
                    <a:cubicBezTo>
                      <a:pt x="251" y="326"/>
                      <a:pt x="251" y="326"/>
                      <a:pt x="251" y="326"/>
                    </a:cubicBezTo>
                    <a:cubicBezTo>
                      <a:pt x="251" y="326"/>
                      <a:pt x="270" y="311"/>
                      <a:pt x="276" y="323"/>
                    </a:cubicBezTo>
                    <a:cubicBezTo>
                      <a:pt x="282" y="336"/>
                      <a:pt x="265" y="344"/>
                      <a:pt x="265" y="344"/>
                    </a:cubicBezTo>
                    <a:cubicBezTo>
                      <a:pt x="265" y="344"/>
                      <a:pt x="266" y="359"/>
                      <a:pt x="263" y="362"/>
                    </a:cubicBezTo>
                    <a:cubicBezTo>
                      <a:pt x="260" y="365"/>
                      <a:pt x="250" y="370"/>
                      <a:pt x="251" y="375"/>
                    </a:cubicBezTo>
                    <a:cubicBezTo>
                      <a:pt x="252" y="380"/>
                      <a:pt x="254" y="398"/>
                      <a:pt x="254" y="404"/>
                    </a:cubicBezTo>
                    <a:cubicBezTo>
                      <a:pt x="254" y="410"/>
                      <a:pt x="252" y="433"/>
                      <a:pt x="252" y="433"/>
                    </a:cubicBezTo>
                    <a:cubicBezTo>
                      <a:pt x="252" y="433"/>
                      <a:pt x="261" y="437"/>
                      <a:pt x="261" y="440"/>
                    </a:cubicBezTo>
                    <a:cubicBezTo>
                      <a:pt x="261" y="443"/>
                      <a:pt x="262" y="452"/>
                      <a:pt x="262" y="452"/>
                    </a:cubicBezTo>
                    <a:cubicBezTo>
                      <a:pt x="262" y="452"/>
                      <a:pt x="278" y="466"/>
                      <a:pt x="278" y="476"/>
                    </a:cubicBezTo>
                    <a:cubicBezTo>
                      <a:pt x="278" y="486"/>
                      <a:pt x="249" y="504"/>
                      <a:pt x="249" y="504"/>
                    </a:cubicBezTo>
                    <a:cubicBezTo>
                      <a:pt x="259" y="507"/>
                      <a:pt x="259" y="507"/>
                      <a:pt x="259" y="507"/>
                    </a:cubicBezTo>
                    <a:cubicBezTo>
                      <a:pt x="259" y="507"/>
                      <a:pt x="281" y="521"/>
                      <a:pt x="281" y="525"/>
                    </a:cubicBezTo>
                    <a:cubicBezTo>
                      <a:pt x="281" y="529"/>
                      <a:pt x="284" y="549"/>
                      <a:pt x="284" y="549"/>
                    </a:cubicBezTo>
                    <a:cubicBezTo>
                      <a:pt x="284" y="549"/>
                      <a:pt x="295" y="575"/>
                      <a:pt x="294" y="580"/>
                    </a:cubicBezTo>
                    <a:cubicBezTo>
                      <a:pt x="293" y="585"/>
                      <a:pt x="299" y="594"/>
                      <a:pt x="299" y="594"/>
                    </a:cubicBezTo>
                    <a:cubicBezTo>
                      <a:pt x="299" y="594"/>
                      <a:pt x="306" y="607"/>
                      <a:pt x="310" y="612"/>
                    </a:cubicBezTo>
                    <a:cubicBezTo>
                      <a:pt x="314" y="617"/>
                      <a:pt x="326" y="619"/>
                      <a:pt x="326" y="619"/>
                    </a:cubicBezTo>
                    <a:cubicBezTo>
                      <a:pt x="336" y="625"/>
                      <a:pt x="347" y="603"/>
                      <a:pt x="356" y="605"/>
                    </a:cubicBezTo>
                    <a:cubicBezTo>
                      <a:pt x="365" y="607"/>
                      <a:pt x="354" y="624"/>
                      <a:pt x="362" y="624"/>
                    </a:cubicBezTo>
                    <a:cubicBezTo>
                      <a:pt x="370" y="624"/>
                      <a:pt x="376" y="599"/>
                      <a:pt x="382" y="595"/>
                    </a:cubicBezTo>
                    <a:cubicBezTo>
                      <a:pt x="388" y="591"/>
                      <a:pt x="400" y="593"/>
                      <a:pt x="400" y="593"/>
                    </a:cubicBezTo>
                    <a:cubicBezTo>
                      <a:pt x="402" y="587"/>
                      <a:pt x="402" y="587"/>
                      <a:pt x="402" y="587"/>
                    </a:cubicBezTo>
                    <a:cubicBezTo>
                      <a:pt x="402" y="587"/>
                      <a:pt x="407" y="583"/>
                      <a:pt x="420" y="579"/>
                    </a:cubicBezTo>
                    <a:cubicBezTo>
                      <a:pt x="433" y="575"/>
                      <a:pt x="432" y="550"/>
                      <a:pt x="432" y="550"/>
                    </a:cubicBezTo>
                    <a:cubicBezTo>
                      <a:pt x="432" y="550"/>
                      <a:pt x="445" y="553"/>
                      <a:pt x="457" y="547"/>
                    </a:cubicBezTo>
                    <a:cubicBezTo>
                      <a:pt x="469" y="541"/>
                      <a:pt x="462" y="527"/>
                      <a:pt x="462" y="527"/>
                    </a:cubicBezTo>
                    <a:cubicBezTo>
                      <a:pt x="432" y="524"/>
                      <a:pt x="432" y="524"/>
                      <a:pt x="432" y="524"/>
                    </a:cubicBezTo>
                    <a:cubicBezTo>
                      <a:pt x="432" y="524"/>
                      <a:pt x="432" y="515"/>
                      <a:pt x="432" y="508"/>
                    </a:cubicBezTo>
                    <a:cubicBezTo>
                      <a:pt x="432" y="501"/>
                      <a:pt x="419" y="490"/>
                      <a:pt x="419" y="490"/>
                    </a:cubicBezTo>
                    <a:cubicBezTo>
                      <a:pt x="419" y="490"/>
                      <a:pt x="434" y="466"/>
                      <a:pt x="412" y="455"/>
                    </a:cubicBezTo>
                    <a:cubicBezTo>
                      <a:pt x="390" y="444"/>
                      <a:pt x="400" y="425"/>
                      <a:pt x="400" y="425"/>
                    </a:cubicBezTo>
                    <a:cubicBezTo>
                      <a:pt x="400" y="425"/>
                      <a:pt x="403" y="431"/>
                      <a:pt x="406" y="434"/>
                    </a:cubicBezTo>
                    <a:cubicBezTo>
                      <a:pt x="409" y="437"/>
                      <a:pt x="418" y="429"/>
                      <a:pt x="429" y="433"/>
                    </a:cubicBezTo>
                    <a:cubicBezTo>
                      <a:pt x="440" y="437"/>
                      <a:pt x="434" y="446"/>
                      <a:pt x="436" y="449"/>
                    </a:cubicBezTo>
                    <a:cubicBezTo>
                      <a:pt x="438" y="452"/>
                      <a:pt x="450" y="444"/>
                      <a:pt x="450" y="444"/>
                    </a:cubicBezTo>
                    <a:cubicBezTo>
                      <a:pt x="460" y="450"/>
                      <a:pt x="460" y="450"/>
                      <a:pt x="460" y="450"/>
                    </a:cubicBezTo>
                    <a:cubicBezTo>
                      <a:pt x="460" y="450"/>
                      <a:pt x="465" y="442"/>
                      <a:pt x="469" y="446"/>
                    </a:cubicBezTo>
                    <a:cubicBezTo>
                      <a:pt x="473" y="450"/>
                      <a:pt x="484" y="469"/>
                      <a:pt x="493" y="469"/>
                    </a:cubicBezTo>
                    <a:cubicBezTo>
                      <a:pt x="502" y="469"/>
                      <a:pt x="499" y="435"/>
                      <a:pt x="507" y="432"/>
                    </a:cubicBezTo>
                    <a:cubicBezTo>
                      <a:pt x="515" y="429"/>
                      <a:pt x="521" y="437"/>
                      <a:pt x="528" y="437"/>
                    </a:cubicBezTo>
                    <a:cubicBezTo>
                      <a:pt x="535" y="437"/>
                      <a:pt x="549" y="430"/>
                      <a:pt x="551" y="424"/>
                    </a:cubicBezTo>
                    <a:cubicBezTo>
                      <a:pt x="553" y="418"/>
                      <a:pt x="565" y="413"/>
                      <a:pt x="565" y="413"/>
                    </a:cubicBezTo>
                    <a:cubicBezTo>
                      <a:pt x="583" y="414"/>
                      <a:pt x="583" y="414"/>
                      <a:pt x="583" y="414"/>
                    </a:cubicBezTo>
                    <a:cubicBezTo>
                      <a:pt x="581" y="404"/>
                      <a:pt x="581" y="404"/>
                      <a:pt x="581" y="404"/>
                    </a:cubicBezTo>
                    <a:cubicBezTo>
                      <a:pt x="581" y="404"/>
                      <a:pt x="592" y="406"/>
                      <a:pt x="596" y="399"/>
                    </a:cubicBezTo>
                    <a:cubicBezTo>
                      <a:pt x="600" y="392"/>
                      <a:pt x="594" y="378"/>
                      <a:pt x="594" y="378"/>
                    </a:cubicBezTo>
                    <a:cubicBezTo>
                      <a:pt x="594" y="378"/>
                      <a:pt x="567" y="351"/>
                      <a:pt x="563" y="340"/>
                    </a:cubicBezTo>
                    <a:cubicBezTo>
                      <a:pt x="559" y="329"/>
                      <a:pt x="572" y="330"/>
                      <a:pt x="581" y="322"/>
                    </a:cubicBezTo>
                    <a:cubicBezTo>
                      <a:pt x="590" y="315"/>
                      <a:pt x="570" y="304"/>
                      <a:pt x="570" y="299"/>
                    </a:cubicBezTo>
                    <a:cubicBezTo>
                      <a:pt x="570" y="294"/>
                      <a:pt x="595" y="295"/>
                      <a:pt x="606" y="291"/>
                    </a:cubicBezTo>
                    <a:cubicBezTo>
                      <a:pt x="617" y="287"/>
                      <a:pt x="616" y="277"/>
                      <a:pt x="616" y="273"/>
                    </a:cubicBezTo>
                    <a:cubicBezTo>
                      <a:pt x="616" y="270"/>
                      <a:pt x="609" y="270"/>
                      <a:pt x="605" y="270"/>
                    </a:cubicBezTo>
                    <a:cubicBezTo>
                      <a:pt x="601" y="270"/>
                      <a:pt x="603" y="259"/>
                      <a:pt x="601" y="250"/>
                    </a:cubicBezTo>
                    <a:cubicBezTo>
                      <a:pt x="599" y="241"/>
                      <a:pt x="615" y="236"/>
                      <a:pt x="621" y="234"/>
                    </a:cubicBezTo>
                    <a:cubicBezTo>
                      <a:pt x="628" y="232"/>
                      <a:pt x="635" y="218"/>
                      <a:pt x="635" y="218"/>
                    </a:cubicBezTo>
                    <a:cubicBezTo>
                      <a:pt x="642" y="206"/>
                      <a:pt x="642" y="206"/>
                      <a:pt x="642" y="206"/>
                    </a:cubicBezTo>
                    <a:cubicBezTo>
                      <a:pt x="642" y="206"/>
                      <a:pt x="634" y="196"/>
                      <a:pt x="630" y="190"/>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31" name="Freeform 53">
                <a:extLst>
                  <a:ext uri="{FF2B5EF4-FFF2-40B4-BE49-F238E27FC236}">
                    <a16:creationId xmlns:a16="http://schemas.microsoft.com/office/drawing/2014/main" id="{9A4D6891-96B0-4224-91FB-4CCB8A9216A0}"/>
                  </a:ext>
                </a:extLst>
              </p:cNvPr>
              <p:cNvSpPr>
                <a:spLocks/>
              </p:cNvSpPr>
              <p:nvPr>
                <p:custDataLst>
                  <p:tags r:id="rId12"/>
                </p:custDataLst>
              </p:nvPr>
            </p:nvSpPr>
            <p:spPr bwMode="gray">
              <a:xfrm>
                <a:off x="2228837" y="4006864"/>
                <a:ext cx="347661" cy="500065"/>
              </a:xfrm>
              <a:custGeom>
                <a:avLst/>
                <a:gdLst>
                  <a:gd name="T0" fmla="*/ 65 w 581"/>
                  <a:gd name="T1" fmla="*/ 635 h 902"/>
                  <a:gd name="T2" fmla="*/ 120 w 581"/>
                  <a:gd name="T3" fmla="*/ 665 h 902"/>
                  <a:gd name="T4" fmla="*/ 185 w 581"/>
                  <a:gd name="T5" fmla="*/ 680 h 902"/>
                  <a:gd name="T6" fmla="*/ 238 w 581"/>
                  <a:gd name="T7" fmla="*/ 732 h 902"/>
                  <a:gd name="T8" fmla="*/ 264 w 581"/>
                  <a:gd name="T9" fmla="*/ 772 h 902"/>
                  <a:gd name="T10" fmla="*/ 329 w 581"/>
                  <a:gd name="T11" fmla="*/ 813 h 902"/>
                  <a:gd name="T12" fmla="*/ 388 w 581"/>
                  <a:gd name="T13" fmla="*/ 797 h 902"/>
                  <a:gd name="T14" fmla="*/ 415 w 581"/>
                  <a:gd name="T15" fmla="*/ 846 h 902"/>
                  <a:gd name="T16" fmla="*/ 427 w 581"/>
                  <a:gd name="T17" fmla="*/ 898 h 902"/>
                  <a:gd name="T18" fmla="*/ 444 w 581"/>
                  <a:gd name="T19" fmla="*/ 831 h 902"/>
                  <a:gd name="T20" fmla="*/ 464 w 581"/>
                  <a:gd name="T21" fmla="*/ 749 h 902"/>
                  <a:gd name="T22" fmla="*/ 425 w 581"/>
                  <a:gd name="T23" fmla="*/ 688 h 902"/>
                  <a:gd name="T24" fmla="*/ 471 w 581"/>
                  <a:gd name="T25" fmla="*/ 643 h 902"/>
                  <a:gd name="T26" fmla="*/ 442 w 581"/>
                  <a:gd name="T27" fmla="*/ 616 h 902"/>
                  <a:gd name="T28" fmla="*/ 510 w 581"/>
                  <a:gd name="T29" fmla="*/ 586 h 902"/>
                  <a:gd name="T30" fmla="*/ 555 w 581"/>
                  <a:gd name="T31" fmla="*/ 563 h 902"/>
                  <a:gd name="T32" fmla="*/ 564 w 581"/>
                  <a:gd name="T33" fmla="*/ 614 h 902"/>
                  <a:gd name="T34" fmla="*/ 566 w 581"/>
                  <a:gd name="T35" fmla="*/ 569 h 902"/>
                  <a:gd name="T36" fmla="*/ 531 w 581"/>
                  <a:gd name="T37" fmla="*/ 524 h 902"/>
                  <a:gd name="T38" fmla="*/ 543 w 581"/>
                  <a:gd name="T39" fmla="*/ 460 h 902"/>
                  <a:gd name="T40" fmla="*/ 533 w 581"/>
                  <a:gd name="T41" fmla="*/ 395 h 902"/>
                  <a:gd name="T42" fmla="*/ 558 w 581"/>
                  <a:gd name="T43" fmla="*/ 343 h 902"/>
                  <a:gd name="T44" fmla="*/ 503 w 581"/>
                  <a:gd name="T45" fmla="*/ 350 h 902"/>
                  <a:gd name="T46" fmla="*/ 463 w 581"/>
                  <a:gd name="T47" fmla="*/ 350 h 902"/>
                  <a:gd name="T48" fmla="*/ 404 w 581"/>
                  <a:gd name="T49" fmla="*/ 297 h 902"/>
                  <a:gd name="T50" fmla="*/ 341 w 581"/>
                  <a:gd name="T51" fmla="*/ 300 h 902"/>
                  <a:gd name="T52" fmla="*/ 324 w 581"/>
                  <a:gd name="T53" fmla="*/ 252 h 902"/>
                  <a:gd name="T54" fmla="*/ 317 w 581"/>
                  <a:gd name="T55" fmla="*/ 200 h 902"/>
                  <a:gd name="T56" fmla="*/ 306 w 581"/>
                  <a:gd name="T57" fmla="*/ 153 h 902"/>
                  <a:gd name="T58" fmla="*/ 320 w 581"/>
                  <a:gd name="T59" fmla="*/ 97 h 902"/>
                  <a:gd name="T60" fmla="*/ 381 w 581"/>
                  <a:gd name="T61" fmla="*/ 47 h 902"/>
                  <a:gd name="T62" fmla="*/ 342 w 581"/>
                  <a:gd name="T63" fmla="*/ 45 h 902"/>
                  <a:gd name="T64" fmla="*/ 271 w 581"/>
                  <a:gd name="T65" fmla="*/ 74 h 902"/>
                  <a:gd name="T66" fmla="*/ 239 w 581"/>
                  <a:gd name="T67" fmla="*/ 101 h 902"/>
                  <a:gd name="T68" fmla="*/ 207 w 581"/>
                  <a:gd name="T69" fmla="*/ 94 h 902"/>
                  <a:gd name="T70" fmla="*/ 177 w 581"/>
                  <a:gd name="T71" fmla="*/ 155 h 902"/>
                  <a:gd name="T72" fmla="*/ 147 w 581"/>
                  <a:gd name="T73" fmla="*/ 198 h 902"/>
                  <a:gd name="T74" fmla="*/ 123 w 581"/>
                  <a:gd name="T75" fmla="*/ 229 h 902"/>
                  <a:gd name="T76" fmla="*/ 93 w 581"/>
                  <a:gd name="T77" fmla="*/ 215 h 902"/>
                  <a:gd name="T78" fmla="*/ 92 w 581"/>
                  <a:gd name="T79" fmla="*/ 267 h 902"/>
                  <a:gd name="T80" fmla="*/ 74 w 581"/>
                  <a:gd name="T81" fmla="*/ 301 h 902"/>
                  <a:gd name="T82" fmla="*/ 77 w 581"/>
                  <a:gd name="T83" fmla="*/ 338 h 902"/>
                  <a:gd name="T84" fmla="*/ 77 w 581"/>
                  <a:gd name="T85" fmla="*/ 378 h 902"/>
                  <a:gd name="T86" fmla="*/ 74 w 581"/>
                  <a:gd name="T87" fmla="*/ 454 h 902"/>
                  <a:gd name="T88" fmla="*/ 74 w 581"/>
                  <a:gd name="T89" fmla="*/ 522 h 902"/>
                  <a:gd name="T90" fmla="*/ 26 w 581"/>
                  <a:gd name="T91" fmla="*/ 580 h 902"/>
                  <a:gd name="T92" fmla="*/ 23 w 581"/>
                  <a:gd name="T93" fmla="*/ 614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81" h="902">
                    <a:moveTo>
                      <a:pt x="23" y="614"/>
                    </a:moveTo>
                    <a:cubicBezTo>
                      <a:pt x="34" y="620"/>
                      <a:pt x="42" y="632"/>
                      <a:pt x="42" y="632"/>
                    </a:cubicBezTo>
                    <a:cubicBezTo>
                      <a:pt x="42" y="632"/>
                      <a:pt x="55" y="627"/>
                      <a:pt x="65" y="635"/>
                    </a:cubicBezTo>
                    <a:cubicBezTo>
                      <a:pt x="75" y="643"/>
                      <a:pt x="68" y="650"/>
                      <a:pt x="77" y="656"/>
                    </a:cubicBezTo>
                    <a:cubicBezTo>
                      <a:pt x="86" y="662"/>
                      <a:pt x="97" y="657"/>
                      <a:pt x="97" y="657"/>
                    </a:cubicBezTo>
                    <a:cubicBezTo>
                      <a:pt x="97" y="657"/>
                      <a:pt x="113" y="667"/>
                      <a:pt x="120" y="665"/>
                    </a:cubicBezTo>
                    <a:cubicBezTo>
                      <a:pt x="127" y="663"/>
                      <a:pt x="115" y="650"/>
                      <a:pt x="132" y="653"/>
                    </a:cubicBezTo>
                    <a:cubicBezTo>
                      <a:pt x="149" y="656"/>
                      <a:pt x="141" y="674"/>
                      <a:pt x="154" y="675"/>
                    </a:cubicBezTo>
                    <a:cubicBezTo>
                      <a:pt x="166" y="676"/>
                      <a:pt x="178" y="676"/>
                      <a:pt x="185" y="680"/>
                    </a:cubicBezTo>
                    <a:cubicBezTo>
                      <a:pt x="192" y="684"/>
                      <a:pt x="222" y="708"/>
                      <a:pt x="222" y="708"/>
                    </a:cubicBezTo>
                    <a:cubicBezTo>
                      <a:pt x="230" y="732"/>
                      <a:pt x="230" y="732"/>
                      <a:pt x="230" y="732"/>
                    </a:cubicBezTo>
                    <a:cubicBezTo>
                      <a:pt x="238" y="732"/>
                      <a:pt x="238" y="732"/>
                      <a:pt x="238" y="732"/>
                    </a:cubicBezTo>
                    <a:cubicBezTo>
                      <a:pt x="249" y="745"/>
                      <a:pt x="249" y="745"/>
                      <a:pt x="249" y="745"/>
                    </a:cubicBezTo>
                    <a:cubicBezTo>
                      <a:pt x="249" y="745"/>
                      <a:pt x="257" y="742"/>
                      <a:pt x="259" y="748"/>
                    </a:cubicBezTo>
                    <a:cubicBezTo>
                      <a:pt x="262" y="754"/>
                      <a:pt x="264" y="772"/>
                      <a:pt x="264" y="772"/>
                    </a:cubicBezTo>
                    <a:cubicBezTo>
                      <a:pt x="264" y="772"/>
                      <a:pt x="282" y="773"/>
                      <a:pt x="283" y="781"/>
                    </a:cubicBezTo>
                    <a:cubicBezTo>
                      <a:pt x="284" y="788"/>
                      <a:pt x="269" y="803"/>
                      <a:pt x="288" y="808"/>
                    </a:cubicBezTo>
                    <a:cubicBezTo>
                      <a:pt x="307" y="813"/>
                      <a:pt x="329" y="813"/>
                      <a:pt x="329" y="813"/>
                    </a:cubicBezTo>
                    <a:cubicBezTo>
                      <a:pt x="329" y="813"/>
                      <a:pt x="330" y="792"/>
                      <a:pt x="344" y="795"/>
                    </a:cubicBezTo>
                    <a:cubicBezTo>
                      <a:pt x="358" y="798"/>
                      <a:pt x="359" y="805"/>
                      <a:pt x="367" y="805"/>
                    </a:cubicBezTo>
                    <a:cubicBezTo>
                      <a:pt x="376" y="805"/>
                      <a:pt x="384" y="796"/>
                      <a:pt x="388" y="797"/>
                    </a:cubicBezTo>
                    <a:cubicBezTo>
                      <a:pt x="392" y="798"/>
                      <a:pt x="400" y="810"/>
                      <a:pt x="400" y="810"/>
                    </a:cubicBezTo>
                    <a:cubicBezTo>
                      <a:pt x="400" y="810"/>
                      <a:pt x="428" y="809"/>
                      <a:pt x="428" y="823"/>
                    </a:cubicBezTo>
                    <a:cubicBezTo>
                      <a:pt x="428" y="838"/>
                      <a:pt x="420" y="846"/>
                      <a:pt x="415" y="846"/>
                    </a:cubicBezTo>
                    <a:cubicBezTo>
                      <a:pt x="410" y="846"/>
                      <a:pt x="401" y="876"/>
                      <a:pt x="404" y="881"/>
                    </a:cubicBezTo>
                    <a:cubicBezTo>
                      <a:pt x="407" y="887"/>
                      <a:pt x="421" y="882"/>
                      <a:pt x="421" y="882"/>
                    </a:cubicBezTo>
                    <a:cubicBezTo>
                      <a:pt x="427" y="898"/>
                      <a:pt x="427" y="898"/>
                      <a:pt x="427" y="898"/>
                    </a:cubicBezTo>
                    <a:cubicBezTo>
                      <a:pt x="438" y="902"/>
                      <a:pt x="438" y="902"/>
                      <a:pt x="438" y="902"/>
                    </a:cubicBezTo>
                    <a:cubicBezTo>
                      <a:pt x="441" y="893"/>
                      <a:pt x="442" y="881"/>
                      <a:pt x="442" y="881"/>
                    </a:cubicBezTo>
                    <a:cubicBezTo>
                      <a:pt x="444" y="831"/>
                      <a:pt x="444" y="831"/>
                      <a:pt x="444" y="831"/>
                    </a:cubicBezTo>
                    <a:cubicBezTo>
                      <a:pt x="455" y="801"/>
                      <a:pt x="455" y="801"/>
                      <a:pt x="455" y="801"/>
                    </a:cubicBezTo>
                    <a:cubicBezTo>
                      <a:pt x="453" y="767"/>
                      <a:pt x="453" y="767"/>
                      <a:pt x="453" y="767"/>
                    </a:cubicBezTo>
                    <a:cubicBezTo>
                      <a:pt x="453" y="767"/>
                      <a:pt x="463" y="756"/>
                      <a:pt x="464" y="749"/>
                    </a:cubicBezTo>
                    <a:cubicBezTo>
                      <a:pt x="465" y="742"/>
                      <a:pt x="451" y="727"/>
                      <a:pt x="451" y="727"/>
                    </a:cubicBezTo>
                    <a:cubicBezTo>
                      <a:pt x="451" y="727"/>
                      <a:pt x="450" y="715"/>
                      <a:pt x="448" y="706"/>
                    </a:cubicBezTo>
                    <a:cubicBezTo>
                      <a:pt x="446" y="697"/>
                      <a:pt x="425" y="688"/>
                      <a:pt x="425" y="688"/>
                    </a:cubicBezTo>
                    <a:cubicBezTo>
                      <a:pt x="427" y="646"/>
                      <a:pt x="427" y="646"/>
                      <a:pt x="427" y="646"/>
                    </a:cubicBezTo>
                    <a:cubicBezTo>
                      <a:pt x="449" y="641"/>
                      <a:pt x="449" y="641"/>
                      <a:pt x="449" y="641"/>
                    </a:cubicBezTo>
                    <a:cubicBezTo>
                      <a:pt x="449" y="641"/>
                      <a:pt x="458" y="645"/>
                      <a:pt x="471" y="643"/>
                    </a:cubicBezTo>
                    <a:cubicBezTo>
                      <a:pt x="484" y="641"/>
                      <a:pt x="465" y="621"/>
                      <a:pt x="465" y="621"/>
                    </a:cubicBezTo>
                    <a:cubicBezTo>
                      <a:pt x="458" y="623"/>
                      <a:pt x="458" y="623"/>
                      <a:pt x="458" y="623"/>
                    </a:cubicBezTo>
                    <a:cubicBezTo>
                      <a:pt x="442" y="616"/>
                      <a:pt x="442" y="616"/>
                      <a:pt x="442" y="616"/>
                    </a:cubicBezTo>
                    <a:cubicBezTo>
                      <a:pt x="442" y="616"/>
                      <a:pt x="434" y="587"/>
                      <a:pt x="443" y="582"/>
                    </a:cubicBezTo>
                    <a:cubicBezTo>
                      <a:pt x="452" y="577"/>
                      <a:pt x="466" y="590"/>
                      <a:pt x="466" y="590"/>
                    </a:cubicBezTo>
                    <a:cubicBezTo>
                      <a:pt x="510" y="586"/>
                      <a:pt x="510" y="586"/>
                      <a:pt x="510" y="586"/>
                    </a:cubicBezTo>
                    <a:cubicBezTo>
                      <a:pt x="510" y="586"/>
                      <a:pt x="510" y="569"/>
                      <a:pt x="516" y="569"/>
                    </a:cubicBezTo>
                    <a:cubicBezTo>
                      <a:pt x="522" y="569"/>
                      <a:pt x="527" y="585"/>
                      <a:pt x="533" y="584"/>
                    </a:cubicBezTo>
                    <a:cubicBezTo>
                      <a:pt x="539" y="583"/>
                      <a:pt x="548" y="560"/>
                      <a:pt x="555" y="563"/>
                    </a:cubicBezTo>
                    <a:cubicBezTo>
                      <a:pt x="562" y="566"/>
                      <a:pt x="557" y="573"/>
                      <a:pt x="557" y="573"/>
                    </a:cubicBezTo>
                    <a:cubicBezTo>
                      <a:pt x="557" y="573"/>
                      <a:pt x="560" y="574"/>
                      <a:pt x="562" y="580"/>
                    </a:cubicBezTo>
                    <a:cubicBezTo>
                      <a:pt x="564" y="586"/>
                      <a:pt x="564" y="614"/>
                      <a:pt x="564" y="614"/>
                    </a:cubicBezTo>
                    <a:cubicBezTo>
                      <a:pt x="581" y="614"/>
                      <a:pt x="581" y="614"/>
                      <a:pt x="581" y="614"/>
                    </a:cubicBezTo>
                    <a:cubicBezTo>
                      <a:pt x="581" y="614"/>
                      <a:pt x="575" y="605"/>
                      <a:pt x="576" y="600"/>
                    </a:cubicBezTo>
                    <a:cubicBezTo>
                      <a:pt x="577" y="595"/>
                      <a:pt x="566" y="569"/>
                      <a:pt x="566" y="569"/>
                    </a:cubicBezTo>
                    <a:cubicBezTo>
                      <a:pt x="566" y="569"/>
                      <a:pt x="563" y="549"/>
                      <a:pt x="563" y="545"/>
                    </a:cubicBezTo>
                    <a:cubicBezTo>
                      <a:pt x="563" y="541"/>
                      <a:pt x="541" y="527"/>
                      <a:pt x="541" y="527"/>
                    </a:cubicBezTo>
                    <a:cubicBezTo>
                      <a:pt x="531" y="524"/>
                      <a:pt x="531" y="524"/>
                      <a:pt x="531" y="524"/>
                    </a:cubicBezTo>
                    <a:cubicBezTo>
                      <a:pt x="531" y="524"/>
                      <a:pt x="560" y="506"/>
                      <a:pt x="560" y="496"/>
                    </a:cubicBezTo>
                    <a:cubicBezTo>
                      <a:pt x="560" y="486"/>
                      <a:pt x="544" y="472"/>
                      <a:pt x="544" y="472"/>
                    </a:cubicBezTo>
                    <a:cubicBezTo>
                      <a:pt x="544" y="472"/>
                      <a:pt x="543" y="463"/>
                      <a:pt x="543" y="460"/>
                    </a:cubicBezTo>
                    <a:cubicBezTo>
                      <a:pt x="543" y="457"/>
                      <a:pt x="534" y="453"/>
                      <a:pt x="534" y="453"/>
                    </a:cubicBezTo>
                    <a:cubicBezTo>
                      <a:pt x="534" y="453"/>
                      <a:pt x="536" y="430"/>
                      <a:pt x="536" y="424"/>
                    </a:cubicBezTo>
                    <a:cubicBezTo>
                      <a:pt x="536" y="418"/>
                      <a:pt x="534" y="400"/>
                      <a:pt x="533" y="395"/>
                    </a:cubicBezTo>
                    <a:cubicBezTo>
                      <a:pt x="532" y="390"/>
                      <a:pt x="542" y="385"/>
                      <a:pt x="545" y="382"/>
                    </a:cubicBezTo>
                    <a:cubicBezTo>
                      <a:pt x="548" y="379"/>
                      <a:pt x="547" y="364"/>
                      <a:pt x="547" y="364"/>
                    </a:cubicBezTo>
                    <a:cubicBezTo>
                      <a:pt x="547" y="364"/>
                      <a:pt x="564" y="356"/>
                      <a:pt x="558" y="343"/>
                    </a:cubicBezTo>
                    <a:cubicBezTo>
                      <a:pt x="552" y="331"/>
                      <a:pt x="533" y="346"/>
                      <a:pt x="533" y="346"/>
                    </a:cubicBezTo>
                    <a:cubicBezTo>
                      <a:pt x="514" y="344"/>
                      <a:pt x="514" y="344"/>
                      <a:pt x="514" y="344"/>
                    </a:cubicBezTo>
                    <a:cubicBezTo>
                      <a:pt x="514" y="344"/>
                      <a:pt x="511" y="351"/>
                      <a:pt x="503" y="350"/>
                    </a:cubicBezTo>
                    <a:cubicBezTo>
                      <a:pt x="495" y="349"/>
                      <a:pt x="493" y="342"/>
                      <a:pt x="485" y="342"/>
                    </a:cubicBezTo>
                    <a:cubicBezTo>
                      <a:pt x="477" y="342"/>
                      <a:pt x="479" y="349"/>
                      <a:pt x="479" y="349"/>
                    </a:cubicBezTo>
                    <a:cubicBezTo>
                      <a:pt x="479" y="349"/>
                      <a:pt x="471" y="352"/>
                      <a:pt x="463" y="350"/>
                    </a:cubicBezTo>
                    <a:cubicBezTo>
                      <a:pt x="455" y="347"/>
                      <a:pt x="436" y="305"/>
                      <a:pt x="436" y="305"/>
                    </a:cubicBezTo>
                    <a:cubicBezTo>
                      <a:pt x="418" y="304"/>
                      <a:pt x="418" y="304"/>
                      <a:pt x="418" y="304"/>
                    </a:cubicBezTo>
                    <a:cubicBezTo>
                      <a:pt x="418" y="304"/>
                      <a:pt x="409" y="297"/>
                      <a:pt x="404" y="297"/>
                    </a:cubicBezTo>
                    <a:cubicBezTo>
                      <a:pt x="399" y="297"/>
                      <a:pt x="398" y="303"/>
                      <a:pt x="393" y="304"/>
                    </a:cubicBezTo>
                    <a:cubicBezTo>
                      <a:pt x="388" y="305"/>
                      <a:pt x="370" y="298"/>
                      <a:pt x="365" y="298"/>
                    </a:cubicBezTo>
                    <a:cubicBezTo>
                      <a:pt x="361" y="298"/>
                      <a:pt x="350" y="303"/>
                      <a:pt x="341" y="300"/>
                    </a:cubicBezTo>
                    <a:cubicBezTo>
                      <a:pt x="332" y="297"/>
                      <a:pt x="333" y="279"/>
                      <a:pt x="333" y="279"/>
                    </a:cubicBezTo>
                    <a:cubicBezTo>
                      <a:pt x="323" y="279"/>
                      <a:pt x="323" y="279"/>
                      <a:pt x="323" y="279"/>
                    </a:cubicBezTo>
                    <a:cubicBezTo>
                      <a:pt x="324" y="252"/>
                      <a:pt x="324" y="252"/>
                      <a:pt x="324" y="252"/>
                    </a:cubicBezTo>
                    <a:cubicBezTo>
                      <a:pt x="324" y="252"/>
                      <a:pt x="330" y="249"/>
                      <a:pt x="332" y="236"/>
                    </a:cubicBezTo>
                    <a:cubicBezTo>
                      <a:pt x="334" y="224"/>
                      <a:pt x="318" y="215"/>
                      <a:pt x="318" y="215"/>
                    </a:cubicBezTo>
                    <a:cubicBezTo>
                      <a:pt x="318" y="215"/>
                      <a:pt x="317" y="209"/>
                      <a:pt x="317" y="200"/>
                    </a:cubicBezTo>
                    <a:cubicBezTo>
                      <a:pt x="317" y="191"/>
                      <a:pt x="310" y="177"/>
                      <a:pt x="303" y="177"/>
                    </a:cubicBezTo>
                    <a:cubicBezTo>
                      <a:pt x="296" y="177"/>
                      <a:pt x="292" y="191"/>
                      <a:pt x="287" y="182"/>
                    </a:cubicBezTo>
                    <a:cubicBezTo>
                      <a:pt x="282" y="174"/>
                      <a:pt x="306" y="153"/>
                      <a:pt x="306" y="153"/>
                    </a:cubicBezTo>
                    <a:cubicBezTo>
                      <a:pt x="306" y="135"/>
                      <a:pt x="306" y="135"/>
                      <a:pt x="306" y="135"/>
                    </a:cubicBezTo>
                    <a:cubicBezTo>
                      <a:pt x="312" y="130"/>
                      <a:pt x="312" y="130"/>
                      <a:pt x="312" y="130"/>
                    </a:cubicBezTo>
                    <a:cubicBezTo>
                      <a:pt x="312" y="130"/>
                      <a:pt x="312" y="110"/>
                      <a:pt x="320" y="97"/>
                    </a:cubicBezTo>
                    <a:cubicBezTo>
                      <a:pt x="327" y="84"/>
                      <a:pt x="336" y="80"/>
                      <a:pt x="347" y="76"/>
                    </a:cubicBezTo>
                    <a:cubicBezTo>
                      <a:pt x="358" y="73"/>
                      <a:pt x="359" y="58"/>
                      <a:pt x="359" y="58"/>
                    </a:cubicBezTo>
                    <a:cubicBezTo>
                      <a:pt x="359" y="58"/>
                      <a:pt x="376" y="48"/>
                      <a:pt x="381" y="47"/>
                    </a:cubicBezTo>
                    <a:cubicBezTo>
                      <a:pt x="386" y="46"/>
                      <a:pt x="401" y="42"/>
                      <a:pt x="402" y="21"/>
                    </a:cubicBezTo>
                    <a:cubicBezTo>
                      <a:pt x="403" y="0"/>
                      <a:pt x="361" y="16"/>
                      <a:pt x="355" y="17"/>
                    </a:cubicBezTo>
                    <a:cubicBezTo>
                      <a:pt x="349" y="18"/>
                      <a:pt x="349" y="38"/>
                      <a:pt x="342" y="45"/>
                    </a:cubicBezTo>
                    <a:cubicBezTo>
                      <a:pt x="335" y="52"/>
                      <a:pt x="324" y="45"/>
                      <a:pt x="317" y="46"/>
                    </a:cubicBezTo>
                    <a:cubicBezTo>
                      <a:pt x="310" y="47"/>
                      <a:pt x="296" y="70"/>
                      <a:pt x="296" y="70"/>
                    </a:cubicBezTo>
                    <a:cubicBezTo>
                      <a:pt x="271" y="74"/>
                      <a:pt x="271" y="74"/>
                      <a:pt x="271" y="74"/>
                    </a:cubicBezTo>
                    <a:cubicBezTo>
                      <a:pt x="271" y="74"/>
                      <a:pt x="265" y="65"/>
                      <a:pt x="258" y="69"/>
                    </a:cubicBezTo>
                    <a:cubicBezTo>
                      <a:pt x="251" y="74"/>
                      <a:pt x="251" y="86"/>
                      <a:pt x="251" y="86"/>
                    </a:cubicBezTo>
                    <a:cubicBezTo>
                      <a:pt x="251" y="86"/>
                      <a:pt x="246" y="100"/>
                      <a:pt x="239" y="101"/>
                    </a:cubicBezTo>
                    <a:cubicBezTo>
                      <a:pt x="232" y="103"/>
                      <a:pt x="240" y="92"/>
                      <a:pt x="240" y="92"/>
                    </a:cubicBezTo>
                    <a:cubicBezTo>
                      <a:pt x="240" y="92"/>
                      <a:pt x="234" y="87"/>
                      <a:pt x="230" y="87"/>
                    </a:cubicBezTo>
                    <a:cubicBezTo>
                      <a:pt x="227" y="87"/>
                      <a:pt x="212" y="91"/>
                      <a:pt x="207" y="94"/>
                    </a:cubicBezTo>
                    <a:cubicBezTo>
                      <a:pt x="202" y="98"/>
                      <a:pt x="187" y="112"/>
                      <a:pt x="183" y="119"/>
                    </a:cubicBezTo>
                    <a:cubicBezTo>
                      <a:pt x="180" y="126"/>
                      <a:pt x="188" y="135"/>
                      <a:pt x="188" y="135"/>
                    </a:cubicBezTo>
                    <a:cubicBezTo>
                      <a:pt x="177" y="155"/>
                      <a:pt x="177" y="155"/>
                      <a:pt x="177" y="155"/>
                    </a:cubicBezTo>
                    <a:cubicBezTo>
                      <a:pt x="184" y="171"/>
                      <a:pt x="184" y="171"/>
                      <a:pt x="184" y="171"/>
                    </a:cubicBezTo>
                    <a:cubicBezTo>
                      <a:pt x="184" y="171"/>
                      <a:pt x="168" y="172"/>
                      <a:pt x="162" y="175"/>
                    </a:cubicBezTo>
                    <a:cubicBezTo>
                      <a:pt x="156" y="177"/>
                      <a:pt x="150" y="191"/>
                      <a:pt x="147" y="198"/>
                    </a:cubicBezTo>
                    <a:cubicBezTo>
                      <a:pt x="143" y="205"/>
                      <a:pt x="129" y="207"/>
                      <a:pt x="129" y="207"/>
                    </a:cubicBezTo>
                    <a:cubicBezTo>
                      <a:pt x="115" y="213"/>
                      <a:pt x="115" y="213"/>
                      <a:pt x="115" y="213"/>
                    </a:cubicBezTo>
                    <a:cubicBezTo>
                      <a:pt x="123" y="229"/>
                      <a:pt x="123" y="229"/>
                      <a:pt x="123" y="229"/>
                    </a:cubicBezTo>
                    <a:cubicBezTo>
                      <a:pt x="123" y="229"/>
                      <a:pt x="126" y="252"/>
                      <a:pt x="118" y="254"/>
                    </a:cubicBezTo>
                    <a:cubicBezTo>
                      <a:pt x="110" y="256"/>
                      <a:pt x="116" y="246"/>
                      <a:pt x="115" y="236"/>
                    </a:cubicBezTo>
                    <a:cubicBezTo>
                      <a:pt x="113" y="227"/>
                      <a:pt x="93" y="215"/>
                      <a:pt x="93" y="215"/>
                    </a:cubicBezTo>
                    <a:cubicBezTo>
                      <a:pt x="93" y="215"/>
                      <a:pt x="89" y="221"/>
                      <a:pt x="89" y="228"/>
                    </a:cubicBezTo>
                    <a:cubicBezTo>
                      <a:pt x="89" y="235"/>
                      <a:pt x="102" y="242"/>
                      <a:pt x="102" y="242"/>
                    </a:cubicBezTo>
                    <a:cubicBezTo>
                      <a:pt x="102" y="242"/>
                      <a:pt x="102" y="259"/>
                      <a:pt x="92" y="267"/>
                    </a:cubicBezTo>
                    <a:cubicBezTo>
                      <a:pt x="83" y="275"/>
                      <a:pt x="76" y="265"/>
                      <a:pt x="76" y="265"/>
                    </a:cubicBezTo>
                    <a:cubicBezTo>
                      <a:pt x="66" y="286"/>
                      <a:pt x="66" y="286"/>
                      <a:pt x="66" y="286"/>
                    </a:cubicBezTo>
                    <a:cubicBezTo>
                      <a:pt x="74" y="301"/>
                      <a:pt x="74" y="301"/>
                      <a:pt x="74" y="301"/>
                    </a:cubicBezTo>
                    <a:cubicBezTo>
                      <a:pt x="74" y="308"/>
                      <a:pt x="74" y="308"/>
                      <a:pt x="74" y="308"/>
                    </a:cubicBezTo>
                    <a:cubicBezTo>
                      <a:pt x="74" y="308"/>
                      <a:pt x="81" y="313"/>
                      <a:pt x="87" y="325"/>
                    </a:cubicBezTo>
                    <a:cubicBezTo>
                      <a:pt x="93" y="337"/>
                      <a:pt x="77" y="338"/>
                      <a:pt x="77" y="338"/>
                    </a:cubicBezTo>
                    <a:cubicBezTo>
                      <a:pt x="87" y="353"/>
                      <a:pt x="87" y="353"/>
                      <a:pt x="87" y="353"/>
                    </a:cubicBezTo>
                    <a:cubicBezTo>
                      <a:pt x="92" y="375"/>
                      <a:pt x="92" y="375"/>
                      <a:pt x="92" y="375"/>
                    </a:cubicBezTo>
                    <a:cubicBezTo>
                      <a:pt x="77" y="378"/>
                      <a:pt x="77" y="378"/>
                      <a:pt x="77" y="378"/>
                    </a:cubicBezTo>
                    <a:cubicBezTo>
                      <a:pt x="87" y="391"/>
                      <a:pt x="87" y="391"/>
                      <a:pt x="87" y="391"/>
                    </a:cubicBezTo>
                    <a:cubicBezTo>
                      <a:pt x="87" y="431"/>
                      <a:pt x="87" y="431"/>
                      <a:pt x="87" y="431"/>
                    </a:cubicBezTo>
                    <a:cubicBezTo>
                      <a:pt x="87" y="431"/>
                      <a:pt x="74" y="441"/>
                      <a:pt x="74" y="454"/>
                    </a:cubicBezTo>
                    <a:cubicBezTo>
                      <a:pt x="74" y="467"/>
                      <a:pt x="91" y="467"/>
                      <a:pt x="92" y="482"/>
                    </a:cubicBezTo>
                    <a:cubicBezTo>
                      <a:pt x="93" y="497"/>
                      <a:pt x="65" y="514"/>
                      <a:pt x="65" y="514"/>
                    </a:cubicBezTo>
                    <a:cubicBezTo>
                      <a:pt x="74" y="522"/>
                      <a:pt x="74" y="522"/>
                      <a:pt x="74" y="522"/>
                    </a:cubicBezTo>
                    <a:cubicBezTo>
                      <a:pt x="55" y="539"/>
                      <a:pt x="55" y="539"/>
                      <a:pt x="55" y="539"/>
                    </a:cubicBezTo>
                    <a:cubicBezTo>
                      <a:pt x="55" y="539"/>
                      <a:pt x="34" y="539"/>
                      <a:pt x="26" y="548"/>
                    </a:cubicBezTo>
                    <a:cubicBezTo>
                      <a:pt x="18" y="558"/>
                      <a:pt x="26" y="580"/>
                      <a:pt x="26" y="580"/>
                    </a:cubicBezTo>
                    <a:cubicBezTo>
                      <a:pt x="26" y="580"/>
                      <a:pt x="1" y="572"/>
                      <a:pt x="0" y="586"/>
                    </a:cubicBezTo>
                    <a:cubicBezTo>
                      <a:pt x="0" y="588"/>
                      <a:pt x="0" y="590"/>
                      <a:pt x="0" y="592"/>
                    </a:cubicBezTo>
                    <a:cubicBezTo>
                      <a:pt x="5" y="598"/>
                      <a:pt x="15" y="611"/>
                      <a:pt x="23" y="614"/>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32" name="Freeform 54">
                <a:extLst>
                  <a:ext uri="{FF2B5EF4-FFF2-40B4-BE49-F238E27FC236}">
                    <a16:creationId xmlns:a16="http://schemas.microsoft.com/office/drawing/2014/main" id="{6AA7F5AF-BE1A-4092-8422-4C14E03D6590}"/>
                  </a:ext>
                </a:extLst>
              </p:cNvPr>
              <p:cNvSpPr>
                <a:spLocks/>
              </p:cNvSpPr>
              <p:nvPr>
                <p:custDataLst>
                  <p:tags r:id="rId13"/>
                </p:custDataLst>
              </p:nvPr>
            </p:nvSpPr>
            <p:spPr bwMode="gray">
              <a:xfrm>
                <a:off x="2738422" y="4957781"/>
                <a:ext cx="242886" cy="250825"/>
              </a:xfrm>
              <a:custGeom>
                <a:avLst/>
                <a:gdLst>
                  <a:gd name="T0" fmla="*/ 326 w 407"/>
                  <a:gd name="T1" fmla="*/ 441 h 452"/>
                  <a:gd name="T2" fmla="*/ 333 w 407"/>
                  <a:gd name="T3" fmla="*/ 452 h 452"/>
                  <a:gd name="T4" fmla="*/ 342 w 407"/>
                  <a:gd name="T5" fmla="*/ 435 h 452"/>
                  <a:gd name="T6" fmla="*/ 356 w 407"/>
                  <a:gd name="T7" fmla="*/ 439 h 452"/>
                  <a:gd name="T8" fmla="*/ 369 w 407"/>
                  <a:gd name="T9" fmla="*/ 415 h 452"/>
                  <a:gd name="T10" fmla="*/ 399 w 407"/>
                  <a:gd name="T11" fmla="*/ 390 h 452"/>
                  <a:gd name="T12" fmla="*/ 399 w 407"/>
                  <a:gd name="T13" fmla="*/ 344 h 452"/>
                  <a:gd name="T14" fmla="*/ 396 w 407"/>
                  <a:gd name="T15" fmla="*/ 331 h 452"/>
                  <a:gd name="T16" fmla="*/ 399 w 407"/>
                  <a:gd name="T17" fmla="*/ 311 h 452"/>
                  <a:gd name="T18" fmla="*/ 405 w 407"/>
                  <a:gd name="T19" fmla="*/ 276 h 452"/>
                  <a:gd name="T20" fmla="*/ 388 w 407"/>
                  <a:gd name="T21" fmla="*/ 244 h 452"/>
                  <a:gd name="T22" fmla="*/ 358 w 407"/>
                  <a:gd name="T23" fmla="*/ 254 h 452"/>
                  <a:gd name="T24" fmla="*/ 338 w 407"/>
                  <a:gd name="T25" fmla="*/ 211 h 452"/>
                  <a:gd name="T26" fmla="*/ 333 w 407"/>
                  <a:gd name="T27" fmla="*/ 166 h 452"/>
                  <a:gd name="T28" fmla="*/ 296 w 407"/>
                  <a:gd name="T29" fmla="*/ 161 h 452"/>
                  <a:gd name="T30" fmla="*/ 221 w 407"/>
                  <a:gd name="T31" fmla="*/ 148 h 452"/>
                  <a:gd name="T32" fmla="*/ 220 w 407"/>
                  <a:gd name="T33" fmla="*/ 94 h 452"/>
                  <a:gd name="T34" fmla="*/ 211 w 407"/>
                  <a:gd name="T35" fmla="*/ 86 h 452"/>
                  <a:gd name="T36" fmla="*/ 211 w 407"/>
                  <a:gd name="T37" fmla="*/ 66 h 452"/>
                  <a:gd name="T38" fmla="*/ 200 w 407"/>
                  <a:gd name="T39" fmla="*/ 51 h 452"/>
                  <a:gd name="T40" fmla="*/ 187 w 407"/>
                  <a:gd name="T41" fmla="*/ 28 h 452"/>
                  <a:gd name="T42" fmla="*/ 152 w 407"/>
                  <a:gd name="T43" fmla="*/ 0 h 452"/>
                  <a:gd name="T44" fmla="*/ 99 w 407"/>
                  <a:gd name="T45" fmla="*/ 9 h 452"/>
                  <a:gd name="T46" fmla="*/ 30 w 407"/>
                  <a:gd name="T47" fmla="*/ 21 h 452"/>
                  <a:gd name="T48" fmla="*/ 26 w 407"/>
                  <a:gd name="T49" fmla="*/ 40 h 452"/>
                  <a:gd name="T50" fmla="*/ 7 w 407"/>
                  <a:gd name="T51" fmla="*/ 56 h 452"/>
                  <a:gd name="T52" fmla="*/ 16 w 407"/>
                  <a:gd name="T53" fmla="*/ 89 h 452"/>
                  <a:gd name="T54" fmla="*/ 10 w 407"/>
                  <a:gd name="T55" fmla="*/ 163 h 452"/>
                  <a:gd name="T56" fmla="*/ 23 w 407"/>
                  <a:gd name="T57" fmla="*/ 175 h 452"/>
                  <a:gd name="T58" fmla="*/ 48 w 407"/>
                  <a:gd name="T59" fmla="*/ 209 h 452"/>
                  <a:gd name="T60" fmla="*/ 84 w 407"/>
                  <a:gd name="T61" fmla="*/ 231 h 452"/>
                  <a:gd name="T62" fmla="*/ 88 w 407"/>
                  <a:gd name="T63" fmla="*/ 245 h 452"/>
                  <a:gd name="T64" fmla="*/ 133 w 407"/>
                  <a:gd name="T65" fmla="*/ 261 h 452"/>
                  <a:gd name="T66" fmla="*/ 164 w 407"/>
                  <a:gd name="T67" fmla="*/ 277 h 452"/>
                  <a:gd name="T68" fmla="*/ 220 w 407"/>
                  <a:gd name="T69" fmla="*/ 306 h 452"/>
                  <a:gd name="T70" fmla="*/ 258 w 407"/>
                  <a:gd name="T71" fmla="*/ 322 h 452"/>
                  <a:gd name="T72" fmla="*/ 246 w 407"/>
                  <a:gd name="T73" fmla="*/ 347 h 452"/>
                  <a:gd name="T74" fmla="*/ 255 w 407"/>
                  <a:gd name="T75" fmla="*/ 362 h 452"/>
                  <a:gd name="T76" fmla="*/ 239 w 407"/>
                  <a:gd name="T77" fmla="*/ 369 h 452"/>
                  <a:gd name="T78" fmla="*/ 239 w 407"/>
                  <a:gd name="T79" fmla="*/ 391 h 452"/>
                  <a:gd name="T80" fmla="*/ 224 w 407"/>
                  <a:gd name="T81" fmla="*/ 425 h 452"/>
                  <a:gd name="T82" fmla="*/ 254 w 407"/>
                  <a:gd name="T83" fmla="*/ 425 h 452"/>
                  <a:gd name="T84" fmla="*/ 287 w 407"/>
                  <a:gd name="T85" fmla="*/ 439 h 452"/>
                  <a:gd name="T86" fmla="*/ 326 w 407"/>
                  <a:gd name="T87" fmla="*/ 441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7" h="452">
                    <a:moveTo>
                      <a:pt x="326" y="441"/>
                    </a:moveTo>
                    <a:cubicBezTo>
                      <a:pt x="333" y="452"/>
                      <a:pt x="333" y="452"/>
                      <a:pt x="333" y="452"/>
                    </a:cubicBezTo>
                    <a:cubicBezTo>
                      <a:pt x="333" y="452"/>
                      <a:pt x="333" y="433"/>
                      <a:pt x="342" y="435"/>
                    </a:cubicBezTo>
                    <a:cubicBezTo>
                      <a:pt x="351" y="437"/>
                      <a:pt x="352" y="446"/>
                      <a:pt x="356" y="439"/>
                    </a:cubicBezTo>
                    <a:cubicBezTo>
                      <a:pt x="360" y="432"/>
                      <a:pt x="362" y="415"/>
                      <a:pt x="369" y="415"/>
                    </a:cubicBezTo>
                    <a:cubicBezTo>
                      <a:pt x="376" y="415"/>
                      <a:pt x="397" y="401"/>
                      <a:pt x="399" y="390"/>
                    </a:cubicBezTo>
                    <a:cubicBezTo>
                      <a:pt x="401" y="379"/>
                      <a:pt x="399" y="344"/>
                      <a:pt x="399" y="344"/>
                    </a:cubicBezTo>
                    <a:cubicBezTo>
                      <a:pt x="396" y="331"/>
                      <a:pt x="396" y="331"/>
                      <a:pt x="396" y="331"/>
                    </a:cubicBezTo>
                    <a:cubicBezTo>
                      <a:pt x="396" y="331"/>
                      <a:pt x="397" y="316"/>
                      <a:pt x="399" y="311"/>
                    </a:cubicBezTo>
                    <a:cubicBezTo>
                      <a:pt x="401" y="306"/>
                      <a:pt x="403" y="296"/>
                      <a:pt x="405" y="276"/>
                    </a:cubicBezTo>
                    <a:cubicBezTo>
                      <a:pt x="407" y="256"/>
                      <a:pt x="403" y="248"/>
                      <a:pt x="388" y="244"/>
                    </a:cubicBezTo>
                    <a:cubicBezTo>
                      <a:pt x="373" y="240"/>
                      <a:pt x="369" y="256"/>
                      <a:pt x="358" y="254"/>
                    </a:cubicBezTo>
                    <a:cubicBezTo>
                      <a:pt x="347" y="252"/>
                      <a:pt x="343" y="231"/>
                      <a:pt x="338" y="211"/>
                    </a:cubicBezTo>
                    <a:cubicBezTo>
                      <a:pt x="333" y="191"/>
                      <a:pt x="337" y="174"/>
                      <a:pt x="333" y="166"/>
                    </a:cubicBezTo>
                    <a:cubicBezTo>
                      <a:pt x="329" y="158"/>
                      <a:pt x="311" y="158"/>
                      <a:pt x="296" y="161"/>
                    </a:cubicBezTo>
                    <a:cubicBezTo>
                      <a:pt x="281" y="164"/>
                      <a:pt x="237" y="157"/>
                      <a:pt x="221" y="148"/>
                    </a:cubicBezTo>
                    <a:cubicBezTo>
                      <a:pt x="205" y="139"/>
                      <a:pt x="220" y="103"/>
                      <a:pt x="220" y="94"/>
                    </a:cubicBezTo>
                    <a:cubicBezTo>
                      <a:pt x="220" y="85"/>
                      <a:pt x="215" y="90"/>
                      <a:pt x="211" y="86"/>
                    </a:cubicBezTo>
                    <a:cubicBezTo>
                      <a:pt x="207" y="82"/>
                      <a:pt x="213" y="73"/>
                      <a:pt x="211" y="66"/>
                    </a:cubicBezTo>
                    <a:cubicBezTo>
                      <a:pt x="209" y="59"/>
                      <a:pt x="200" y="57"/>
                      <a:pt x="200" y="51"/>
                    </a:cubicBezTo>
                    <a:cubicBezTo>
                      <a:pt x="187" y="28"/>
                      <a:pt x="187" y="28"/>
                      <a:pt x="187" y="28"/>
                    </a:cubicBezTo>
                    <a:cubicBezTo>
                      <a:pt x="152" y="0"/>
                      <a:pt x="152" y="0"/>
                      <a:pt x="152" y="0"/>
                    </a:cubicBezTo>
                    <a:cubicBezTo>
                      <a:pt x="99" y="9"/>
                      <a:pt x="99" y="9"/>
                      <a:pt x="99" y="9"/>
                    </a:cubicBezTo>
                    <a:cubicBezTo>
                      <a:pt x="30" y="21"/>
                      <a:pt x="30" y="21"/>
                      <a:pt x="30" y="21"/>
                    </a:cubicBezTo>
                    <a:cubicBezTo>
                      <a:pt x="26" y="40"/>
                      <a:pt x="26" y="40"/>
                      <a:pt x="26" y="40"/>
                    </a:cubicBezTo>
                    <a:cubicBezTo>
                      <a:pt x="26" y="40"/>
                      <a:pt x="14" y="52"/>
                      <a:pt x="7" y="56"/>
                    </a:cubicBezTo>
                    <a:cubicBezTo>
                      <a:pt x="0" y="60"/>
                      <a:pt x="15" y="82"/>
                      <a:pt x="16" y="89"/>
                    </a:cubicBezTo>
                    <a:cubicBezTo>
                      <a:pt x="18" y="95"/>
                      <a:pt x="10" y="163"/>
                      <a:pt x="10" y="163"/>
                    </a:cubicBezTo>
                    <a:cubicBezTo>
                      <a:pt x="23" y="175"/>
                      <a:pt x="23" y="175"/>
                      <a:pt x="23" y="175"/>
                    </a:cubicBezTo>
                    <a:cubicBezTo>
                      <a:pt x="23" y="175"/>
                      <a:pt x="39" y="204"/>
                      <a:pt x="48" y="209"/>
                    </a:cubicBezTo>
                    <a:cubicBezTo>
                      <a:pt x="57" y="214"/>
                      <a:pt x="84" y="231"/>
                      <a:pt x="84" y="231"/>
                    </a:cubicBezTo>
                    <a:cubicBezTo>
                      <a:pt x="88" y="245"/>
                      <a:pt x="88" y="245"/>
                      <a:pt x="88" y="245"/>
                    </a:cubicBezTo>
                    <a:cubicBezTo>
                      <a:pt x="88" y="245"/>
                      <a:pt x="123" y="265"/>
                      <a:pt x="133" y="261"/>
                    </a:cubicBezTo>
                    <a:cubicBezTo>
                      <a:pt x="143" y="257"/>
                      <a:pt x="164" y="277"/>
                      <a:pt x="164" y="277"/>
                    </a:cubicBezTo>
                    <a:cubicBezTo>
                      <a:pt x="164" y="277"/>
                      <a:pt x="214" y="305"/>
                      <a:pt x="220" y="306"/>
                    </a:cubicBezTo>
                    <a:cubicBezTo>
                      <a:pt x="226" y="307"/>
                      <a:pt x="260" y="314"/>
                      <a:pt x="258" y="322"/>
                    </a:cubicBezTo>
                    <a:cubicBezTo>
                      <a:pt x="256" y="330"/>
                      <a:pt x="246" y="347"/>
                      <a:pt x="246" y="347"/>
                    </a:cubicBezTo>
                    <a:cubicBezTo>
                      <a:pt x="246" y="347"/>
                      <a:pt x="259" y="355"/>
                      <a:pt x="255" y="362"/>
                    </a:cubicBezTo>
                    <a:cubicBezTo>
                      <a:pt x="251" y="369"/>
                      <a:pt x="239" y="369"/>
                      <a:pt x="239" y="369"/>
                    </a:cubicBezTo>
                    <a:cubicBezTo>
                      <a:pt x="239" y="391"/>
                      <a:pt x="239" y="391"/>
                      <a:pt x="239" y="391"/>
                    </a:cubicBezTo>
                    <a:cubicBezTo>
                      <a:pt x="239" y="391"/>
                      <a:pt x="219" y="418"/>
                      <a:pt x="224" y="425"/>
                    </a:cubicBezTo>
                    <a:cubicBezTo>
                      <a:pt x="229" y="432"/>
                      <a:pt x="245" y="422"/>
                      <a:pt x="254" y="425"/>
                    </a:cubicBezTo>
                    <a:cubicBezTo>
                      <a:pt x="263" y="428"/>
                      <a:pt x="270" y="435"/>
                      <a:pt x="287" y="439"/>
                    </a:cubicBezTo>
                    <a:cubicBezTo>
                      <a:pt x="304" y="443"/>
                      <a:pt x="326" y="441"/>
                      <a:pt x="326" y="441"/>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33" name="Freeform 55">
                <a:extLst>
                  <a:ext uri="{FF2B5EF4-FFF2-40B4-BE49-F238E27FC236}">
                    <a16:creationId xmlns:a16="http://schemas.microsoft.com/office/drawing/2014/main" id="{15FFEBF3-C1B9-4080-8C10-4CEB2CBD6788}"/>
                  </a:ext>
                </a:extLst>
              </p:cNvPr>
              <p:cNvSpPr>
                <a:spLocks/>
              </p:cNvSpPr>
              <p:nvPr>
                <p:custDataLst>
                  <p:tags r:id="rId14"/>
                </p:custDataLst>
              </p:nvPr>
            </p:nvSpPr>
            <p:spPr bwMode="gray">
              <a:xfrm>
                <a:off x="2909871" y="5280044"/>
                <a:ext cx="147636" cy="144463"/>
              </a:xfrm>
              <a:custGeom>
                <a:avLst/>
                <a:gdLst>
                  <a:gd name="T0" fmla="*/ 92 w 246"/>
                  <a:gd name="T1" fmla="*/ 249 h 258"/>
                  <a:gd name="T2" fmla="*/ 152 w 246"/>
                  <a:gd name="T3" fmla="*/ 253 h 258"/>
                  <a:gd name="T4" fmla="*/ 220 w 246"/>
                  <a:gd name="T5" fmla="*/ 244 h 258"/>
                  <a:gd name="T6" fmla="*/ 243 w 246"/>
                  <a:gd name="T7" fmla="*/ 196 h 258"/>
                  <a:gd name="T8" fmla="*/ 233 w 246"/>
                  <a:gd name="T9" fmla="*/ 197 h 258"/>
                  <a:gd name="T10" fmla="*/ 234 w 246"/>
                  <a:gd name="T11" fmla="*/ 176 h 258"/>
                  <a:gd name="T12" fmla="*/ 227 w 246"/>
                  <a:gd name="T13" fmla="*/ 169 h 258"/>
                  <a:gd name="T14" fmla="*/ 241 w 246"/>
                  <a:gd name="T15" fmla="*/ 140 h 258"/>
                  <a:gd name="T16" fmla="*/ 219 w 246"/>
                  <a:gd name="T17" fmla="*/ 127 h 258"/>
                  <a:gd name="T18" fmla="*/ 201 w 246"/>
                  <a:gd name="T19" fmla="*/ 98 h 258"/>
                  <a:gd name="T20" fmla="*/ 182 w 246"/>
                  <a:gd name="T21" fmla="*/ 95 h 258"/>
                  <a:gd name="T22" fmla="*/ 164 w 246"/>
                  <a:gd name="T23" fmla="*/ 76 h 258"/>
                  <a:gd name="T24" fmla="*/ 152 w 246"/>
                  <a:gd name="T25" fmla="*/ 67 h 258"/>
                  <a:gd name="T26" fmla="*/ 140 w 246"/>
                  <a:gd name="T27" fmla="*/ 65 h 258"/>
                  <a:gd name="T28" fmla="*/ 116 w 246"/>
                  <a:gd name="T29" fmla="*/ 43 h 258"/>
                  <a:gd name="T30" fmla="*/ 101 w 246"/>
                  <a:gd name="T31" fmla="*/ 54 h 258"/>
                  <a:gd name="T32" fmla="*/ 85 w 246"/>
                  <a:gd name="T33" fmla="*/ 31 h 258"/>
                  <a:gd name="T34" fmla="*/ 48 w 246"/>
                  <a:gd name="T35" fmla="*/ 2 h 258"/>
                  <a:gd name="T36" fmla="*/ 30 w 246"/>
                  <a:gd name="T37" fmla="*/ 10 h 258"/>
                  <a:gd name="T38" fmla="*/ 14 w 246"/>
                  <a:gd name="T39" fmla="*/ 9 h 258"/>
                  <a:gd name="T40" fmla="*/ 0 w 246"/>
                  <a:gd name="T41" fmla="*/ 24 h 258"/>
                  <a:gd name="T42" fmla="*/ 21 w 246"/>
                  <a:gd name="T43" fmla="*/ 41 h 258"/>
                  <a:gd name="T44" fmla="*/ 3 w 246"/>
                  <a:gd name="T45" fmla="*/ 48 h 258"/>
                  <a:gd name="T46" fmla="*/ 3 w 246"/>
                  <a:gd name="T47" fmla="*/ 75 h 258"/>
                  <a:gd name="T48" fmla="*/ 20 w 246"/>
                  <a:gd name="T49" fmla="*/ 85 h 258"/>
                  <a:gd name="T50" fmla="*/ 2 w 246"/>
                  <a:gd name="T51" fmla="*/ 93 h 258"/>
                  <a:gd name="T52" fmla="*/ 16 w 246"/>
                  <a:gd name="T53" fmla="*/ 114 h 258"/>
                  <a:gd name="T54" fmla="*/ 9 w 246"/>
                  <a:gd name="T55" fmla="*/ 124 h 258"/>
                  <a:gd name="T56" fmla="*/ 28 w 246"/>
                  <a:gd name="T57" fmla="*/ 152 h 258"/>
                  <a:gd name="T58" fmla="*/ 4 w 246"/>
                  <a:gd name="T59" fmla="*/ 158 h 258"/>
                  <a:gd name="T60" fmla="*/ 4 w 246"/>
                  <a:gd name="T61" fmla="*/ 190 h 258"/>
                  <a:gd name="T62" fmla="*/ 24 w 246"/>
                  <a:gd name="T63" fmla="*/ 215 h 258"/>
                  <a:gd name="T64" fmla="*/ 51 w 246"/>
                  <a:gd name="T65" fmla="*/ 234 h 258"/>
                  <a:gd name="T66" fmla="*/ 58 w 246"/>
                  <a:gd name="T67" fmla="*/ 238 h 258"/>
                  <a:gd name="T68" fmla="*/ 85 w 246"/>
                  <a:gd name="T69" fmla="*/ 238 h 258"/>
                  <a:gd name="T70" fmla="*/ 92 w 246"/>
                  <a:gd name="T71" fmla="*/ 249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6" h="258">
                    <a:moveTo>
                      <a:pt x="92" y="249"/>
                    </a:moveTo>
                    <a:cubicBezTo>
                      <a:pt x="92" y="249"/>
                      <a:pt x="119" y="248"/>
                      <a:pt x="152" y="253"/>
                    </a:cubicBezTo>
                    <a:cubicBezTo>
                      <a:pt x="185" y="258"/>
                      <a:pt x="204" y="257"/>
                      <a:pt x="220" y="244"/>
                    </a:cubicBezTo>
                    <a:cubicBezTo>
                      <a:pt x="234" y="233"/>
                      <a:pt x="241" y="203"/>
                      <a:pt x="243" y="196"/>
                    </a:cubicBezTo>
                    <a:cubicBezTo>
                      <a:pt x="233" y="197"/>
                      <a:pt x="233" y="197"/>
                      <a:pt x="233" y="197"/>
                    </a:cubicBezTo>
                    <a:cubicBezTo>
                      <a:pt x="234" y="176"/>
                      <a:pt x="234" y="176"/>
                      <a:pt x="234" y="176"/>
                    </a:cubicBezTo>
                    <a:cubicBezTo>
                      <a:pt x="234" y="176"/>
                      <a:pt x="228" y="176"/>
                      <a:pt x="227" y="169"/>
                    </a:cubicBezTo>
                    <a:cubicBezTo>
                      <a:pt x="226" y="162"/>
                      <a:pt x="236" y="149"/>
                      <a:pt x="241" y="140"/>
                    </a:cubicBezTo>
                    <a:cubicBezTo>
                      <a:pt x="246" y="131"/>
                      <a:pt x="227" y="132"/>
                      <a:pt x="219" y="127"/>
                    </a:cubicBezTo>
                    <a:cubicBezTo>
                      <a:pt x="211" y="122"/>
                      <a:pt x="201" y="98"/>
                      <a:pt x="201" y="98"/>
                    </a:cubicBezTo>
                    <a:cubicBezTo>
                      <a:pt x="201" y="98"/>
                      <a:pt x="194" y="99"/>
                      <a:pt x="182" y="95"/>
                    </a:cubicBezTo>
                    <a:cubicBezTo>
                      <a:pt x="170" y="91"/>
                      <a:pt x="168" y="78"/>
                      <a:pt x="164" y="76"/>
                    </a:cubicBezTo>
                    <a:cubicBezTo>
                      <a:pt x="160" y="74"/>
                      <a:pt x="152" y="67"/>
                      <a:pt x="152" y="67"/>
                    </a:cubicBezTo>
                    <a:cubicBezTo>
                      <a:pt x="152" y="67"/>
                      <a:pt x="145" y="68"/>
                      <a:pt x="140" y="65"/>
                    </a:cubicBezTo>
                    <a:cubicBezTo>
                      <a:pt x="135" y="62"/>
                      <a:pt x="126" y="46"/>
                      <a:pt x="116" y="43"/>
                    </a:cubicBezTo>
                    <a:cubicBezTo>
                      <a:pt x="106" y="40"/>
                      <a:pt x="107" y="54"/>
                      <a:pt x="101" y="54"/>
                    </a:cubicBezTo>
                    <a:cubicBezTo>
                      <a:pt x="95" y="54"/>
                      <a:pt x="85" y="31"/>
                      <a:pt x="85" y="31"/>
                    </a:cubicBezTo>
                    <a:cubicBezTo>
                      <a:pt x="85" y="31"/>
                      <a:pt x="60" y="4"/>
                      <a:pt x="48" y="2"/>
                    </a:cubicBezTo>
                    <a:cubicBezTo>
                      <a:pt x="36" y="0"/>
                      <a:pt x="30" y="10"/>
                      <a:pt x="30" y="10"/>
                    </a:cubicBezTo>
                    <a:cubicBezTo>
                      <a:pt x="14" y="9"/>
                      <a:pt x="14" y="9"/>
                      <a:pt x="14" y="9"/>
                    </a:cubicBezTo>
                    <a:cubicBezTo>
                      <a:pt x="14" y="9"/>
                      <a:pt x="0" y="20"/>
                      <a:pt x="0" y="24"/>
                    </a:cubicBezTo>
                    <a:cubicBezTo>
                      <a:pt x="0" y="28"/>
                      <a:pt x="21" y="41"/>
                      <a:pt x="21" y="41"/>
                    </a:cubicBezTo>
                    <a:cubicBezTo>
                      <a:pt x="3" y="48"/>
                      <a:pt x="3" y="48"/>
                      <a:pt x="3" y="48"/>
                    </a:cubicBezTo>
                    <a:cubicBezTo>
                      <a:pt x="3" y="75"/>
                      <a:pt x="3" y="75"/>
                      <a:pt x="3" y="75"/>
                    </a:cubicBezTo>
                    <a:cubicBezTo>
                      <a:pt x="20" y="85"/>
                      <a:pt x="20" y="85"/>
                      <a:pt x="20" y="85"/>
                    </a:cubicBezTo>
                    <a:cubicBezTo>
                      <a:pt x="20" y="85"/>
                      <a:pt x="1" y="84"/>
                      <a:pt x="2" y="93"/>
                    </a:cubicBezTo>
                    <a:cubicBezTo>
                      <a:pt x="3" y="102"/>
                      <a:pt x="16" y="114"/>
                      <a:pt x="16" y="114"/>
                    </a:cubicBezTo>
                    <a:cubicBezTo>
                      <a:pt x="9" y="124"/>
                      <a:pt x="9" y="124"/>
                      <a:pt x="9" y="124"/>
                    </a:cubicBezTo>
                    <a:cubicBezTo>
                      <a:pt x="9" y="124"/>
                      <a:pt x="29" y="147"/>
                      <a:pt x="28" y="152"/>
                    </a:cubicBezTo>
                    <a:cubicBezTo>
                      <a:pt x="27" y="157"/>
                      <a:pt x="4" y="158"/>
                      <a:pt x="4" y="158"/>
                    </a:cubicBezTo>
                    <a:cubicBezTo>
                      <a:pt x="4" y="190"/>
                      <a:pt x="4" y="190"/>
                      <a:pt x="4" y="190"/>
                    </a:cubicBezTo>
                    <a:cubicBezTo>
                      <a:pt x="24" y="215"/>
                      <a:pt x="24" y="215"/>
                      <a:pt x="24" y="215"/>
                    </a:cubicBezTo>
                    <a:cubicBezTo>
                      <a:pt x="32" y="209"/>
                      <a:pt x="46" y="227"/>
                      <a:pt x="51" y="234"/>
                    </a:cubicBezTo>
                    <a:cubicBezTo>
                      <a:pt x="58" y="238"/>
                      <a:pt x="58" y="238"/>
                      <a:pt x="58" y="238"/>
                    </a:cubicBezTo>
                    <a:cubicBezTo>
                      <a:pt x="85" y="238"/>
                      <a:pt x="85" y="238"/>
                      <a:pt x="85" y="238"/>
                    </a:cubicBezTo>
                    <a:lnTo>
                      <a:pt x="92" y="249"/>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34" name="Freeform 56">
                <a:extLst>
                  <a:ext uri="{FF2B5EF4-FFF2-40B4-BE49-F238E27FC236}">
                    <a16:creationId xmlns:a16="http://schemas.microsoft.com/office/drawing/2014/main" id="{35094C85-B8C9-4618-86C3-A7EC36106D36}"/>
                  </a:ext>
                </a:extLst>
              </p:cNvPr>
              <p:cNvSpPr>
                <a:spLocks noEditPoints="1"/>
              </p:cNvSpPr>
              <p:nvPr>
                <p:custDataLst>
                  <p:tags r:id="rId15"/>
                </p:custDataLst>
              </p:nvPr>
            </p:nvSpPr>
            <p:spPr bwMode="gray">
              <a:xfrm>
                <a:off x="2570148" y="5035569"/>
                <a:ext cx="439734" cy="901703"/>
              </a:xfrm>
              <a:custGeom>
                <a:avLst/>
                <a:gdLst>
                  <a:gd name="T0" fmla="*/ 659 w 732"/>
                  <a:gd name="T1" fmla="*/ 333 h 1628"/>
                  <a:gd name="T2" fmla="*/ 726 w 732"/>
                  <a:gd name="T3" fmla="*/ 284 h 1628"/>
                  <a:gd name="T4" fmla="*/ 679 w 732"/>
                  <a:gd name="T5" fmla="*/ 205 h 1628"/>
                  <a:gd name="T6" fmla="*/ 622 w 732"/>
                  <a:gd name="T7" fmla="*/ 296 h 1628"/>
                  <a:gd name="T8" fmla="*/ 534 w 732"/>
                  <a:gd name="T9" fmla="*/ 286 h 1628"/>
                  <a:gd name="T10" fmla="*/ 535 w 732"/>
                  <a:gd name="T11" fmla="*/ 223 h 1628"/>
                  <a:gd name="T12" fmla="*/ 444 w 732"/>
                  <a:gd name="T13" fmla="*/ 138 h 1628"/>
                  <a:gd name="T14" fmla="*/ 328 w 732"/>
                  <a:gd name="T15" fmla="*/ 70 h 1628"/>
                  <a:gd name="T16" fmla="*/ 216 w 732"/>
                  <a:gd name="T17" fmla="*/ 13 h 1628"/>
                  <a:gd name="T18" fmla="*/ 115 w 732"/>
                  <a:gd name="T19" fmla="*/ 0 h 1628"/>
                  <a:gd name="T20" fmla="*/ 81 w 732"/>
                  <a:gd name="T21" fmla="*/ 32 h 1628"/>
                  <a:gd name="T22" fmla="*/ 82 w 732"/>
                  <a:gd name="T23" fmla="*/ 63 h 1628"/>
                  <a:gd name="T24" fmla="*/ 27 w 732"/>
                  <a:gd name="T25" fmla="*/ 199 h 1628"/>
                  <a:gd name="T26" fmla="*/ 35 w 732"/>
                  <a:gd name="T27" fmla="*/ 280 h 1628"/>
                  <a:gd name="T28" fmla="*/ 2 w 732"/>
                  <a:gd name="T29" fmla="*/ 401 h 1628"/>
                  <a:gd name="T30" fmla="*/ 0 w 732"/>
                  <a:gd name="T31" fmla="*/ 500 h 1628"/>
                  <a:gd name="T32" fmla="*/ 32 w 732"/>
                  <a:gd name="T33" fmla="*/ 564 h 1628"/>
                  <a:gd name="T34" fmla="*/ 63 w 732"/>
                  <a:gd name="T35" fmla="*/ 614 h 1628"/>
                  <a:gd name="T36" fmla="*/ 64 w 732"/>
                  <a:gd name="T37" fmla="*/ 724 h 1628"/>
                  <a:gd name="T38" fmla="*/ 68 w 732"/>
                  <a:gd name="T39" fmla="*/ 786 h 1628"/>
                  <a:gd name="T40" fmla="*/ 83 w 732"/>
                  <a:gd name="T41" fmla="*/ 872 h 1628"/>
                  <a:gd name="T42" fmla="*/ 87 w 732"/>
                  <a:gd name="T43" fmla="*/ 944 h 1628"/>
                  <a:gd name="T44" fmla="*/ 95 w 732"/>
                  <a:gd name="T45" fmla="*/ 990 h 1628"/>
                  <a:gd name="T46" fmla="*/ 129 w 732"/>
                  <a:gd name="T47" fmla="*/ 1082 h 1628"/>
                  <a:gd name="T48" fmla="*/ 143 w 732"/>
                  <a:gd name="T49" fmla="*/ 1145 h 1628"/>
                  <a:gd name="T50" fmla="*/ 170 w 732"/>
                  <a:gd name="T51" fmla="*/ 1213 h 1628"/>
                  <a:gd name="T52" fmla="*/ 205 w 732"/>
                  <a:gd name="T53" fmla="*/ 1257 h 1628"/>
                  <a:gd name="T54" fmla="*/ 217 w 732"/>
                  <a:gd name="T55" fmla="*/ 1321 h 1628"/>
                  <a:gd name="T56" fmla="*/ 210 w 732"/>
                  <a:gd name="T57" fmla="*/ 1394 h 1628"/>
                  <a:gd name="T58" fmla="*/ 214 w 732"/>
                  <a:gd name="T59" fmla="*/ 1450 h 1628"/>
                  <a:gd name="T60" fmla="*/ 216 w 732"/>
                  <a:gd name="T61" fmla="*/ 1513 h 1628"/>
                  <a:gd name="T62" fmla="*/ 290 w 732"/>
                  <a:gd name="T63" fmla="*/ 1562 h 1628"/>
                  <a:gd name="T64" fmla="*/ 347 w 732"/>
                  <a:gd name="T65" fmla="*/ 1612 h 1628"/>
                  <a:gd name="T66" fmla="*/ 437 w 732"/>
                  <a:gd name="T67" fmla="*/ 1628 h 1628"/>
                  <a:gd name="T68" fmla="*/ 438 w 732"/>
                  <a:gd name="T69" fmla="*/ 1589 h 1628"/>
                  <a:gd name="T70" fmla="*/ 409 w 732"/>
                  <a:gd name="T71" fmla="*/ 1534 h 1628"/>
                  <a:gd name="T72" fmla="*/ 412 w 732"/>
                  <a:gd name="T73" fmla="*/ 1501 h 1628"/>
                  <a:gd name="T74" fmla="*/ 441 w 732"/>
                  <a:gd name="T75" fmla="*/ 1451 h 1628"/>
                  <a:gd name="T76" fmla="*/ 476 w 732"/>
                  <a:gd name="T77" fmla="*/ 1359 h 1628"/>
                  <a:gd name="T78" fmla="*/ 379 w 732"/>
                  <a:gd name="T79" fmla="*/ 1301 h 1628"/>
                  <a:gd name="T80" fmla="*/ 407 w 732"/>
                  <a:gd name="T81" fmla="*/ 1240 h 1628"/>
                  <a:gd name="T82" fmla="*/ 443 w 732"/>
                  <a:gd name="T83" fmla="*/ 1217 h 1628"/>
                  <a:gd name="T84" fmla="*/ 456 w 732"/>
                  <a:gd name="T85" fmla="*/ 1130 h 1628"/>
                  <a:gd name="T86" fmla="*/ 486 w 732"/>
                  <a:gd name="T87" fmla="*/ 1113 h 1628"/>
                  <a:gd name="T88" fmla="*/ 404 w 732"/>
                  <a:gd name="T89" fmla="*/ 1089 h 1628"/>
                  <a:gd name="T90" fmla="*/ 465 w 732"/>
                  <a:gd name="T91" fmla="*/ 1039 h 1628"/>
                  <a:gd name="T92" fmla="*/ 501 w 732"/>
                  <a:gd name="T93" fmla="*/ 948 h 1628"/>
                  <a:gd name="T94" fmla="*/ 494 w 732"/>
                  <a:gd name="T95" fmla="*/ 934 h 1628"/>
                  <a:gd name="T96" fmla="*/ 554 w 732"/>
                  <a:gd name="T97" fmla="*/ 920 h 1628"/>
                  <a:gd name="T98" fmla="*/ 688 w 732"/>
                  <a:gd name="T99" fmla="*/ 847 h 1628"/>
                  <a:gd name="T100" fmla="*/ 667 w 732"/>
                  <a:gd name="T101" fmla="*/ 766 h 1628"/>
                  <a:gd name="T102" fmla="*/ 601 w 732"/>
                  <a:gd name="T103" fmla="*/ 696 h 1628"/>
                  <a:gd name="T104" fmla="*/ 570 w 732"/>
                  <a:gd name="T105" fmla="*/ 601 h 1628"/>
                  <a:gd name="T106" fmla="*/ 568 w 732"/>
                  <a:gd name="T107" fmla="*/ 536 h 1628"/>
                  <a:gd name="T108" fmla="*/ 587 w 732"/>
                  <a:gd name="T109" fmla="*/ 484 h 1628"/>
                  <a:gd name="T110" fmla="*/ 604 w 732"/>
                  <a:gd name="T111" fmla="*/ 419 h 1628"/>
                  <a:gd name="T112" fmla="*/ 619 w 732"/>
                  <a:gd name="T113" fmla="*/ 681 h 1628"/>
                  <a:gd name="T114" fmla="*/ 619 w 732"/>
                  <a:gd name="T115" fmla="*/ 681 h 1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32" h="1628">
                    <a:moveTo>
                      <a:pt x="634" y="355"/>
                    </a:moveTo>
                    <a:cubicBezTo>
                      <a:pt x="650" y="351"/>
                      <a:pt x="650" y="351"/>
                      <a:pt x="650" y="351"/>
                    </a:cubicBezTo>
                    <a:cubicBezTo>
                      <a:pt x="653" y="335"/>
                      <a:pt x="653" y="335"/>
                      <a:pt x="653" y="335"/>
                    </a:cubicBezTo>
                    <a:cubicBezTo>
                      <a:pt x="659" y="333"/>
                      <a:pt x="659" y="333"/>
                      <a:pt x="659" y="333"/>
                    </a:cubicBezTo>
                    <a:cubicBezTo>
                      <a:pt x="660" y="322"/>
                      <a:pt x="660" y="322"/>
                      <a:pt x="660" y="322"/>
                    </a:cubicBezTo>
                    <a:cubicBezTo>
                      <a:pt x="681" y="320"/>
                      <a:pt x="681" y="320"/>
                      <a:pt x="681" y="320"/>
                    </a:cubicBezTo>
                    <a:cubicBezTo>
                      <a:pt x="681" y="320"/>
                      <a:pt x="681" y="302"/>
                      <a:pt x="692" y="297"/>
                    </a:cubicBezTo>
                    <a:cubicBezTo>
                      <a:pt x="703" y="292"/>
                      <a:pt x="720" y="290"/>
                      <a:pt x="726" y="284"/>
                    </a:cubicBezTo>
                    <a:cubicBezTo>
                      <a:pt x="732" y="278"/>
                      <a:pt x="724" y="240"/>
                      <a:pt x="724" y="231"/>
                    </a:cubicBezTo>
                    <a:cubicBezTo>
                      <a:pt x="724" y="222"/>
                      <a:pt x="713" y="223"/>
                      <a:pt x="713" y="223"/>
                    </a:cubicBezTo>
                    <a:cubicBezTo>
                      <a:pt x="713" y="223"/>
                      <a:pt x="709" y="202"/>
                      <a:pt x="702" y="198"/>
                    </a:cubicBezTo>
                    <a:cubicBezTo>
                      <a:pt x="695" y="194"/>
                      <a:pt x="679" y="205"/>
                      <a:pt x="679" y="205"/>
                    </a:cubicBezTo>
                    <a:cubicBezTo>
                      <a:pt x="679" y="205"/>
                      <a:pt x="681" y="240"/>
                      <a:pt x="679" y="251"/>
                    </a:cubicBezTo>
                    <a:cubicBezTo>
                      <a:pt x="677" y="262"/>
                      <a:pt x="656" y="276"/>
                      <a:pt x="649" y="276"/>
                    </a:cubicBezTo>
                    <a:cubicBezTo>
                      <a:pt x="642" y="276"/>
                      <a:pt x="640" y="293"/>
                      <a:pt x="636" y="300"/>
                    </a:cubicBezTo>
                    <a:cubicBezTo>
                      <a:pt x="632" y="307"/>
                      <a:pt x="631" y="298"/>
                      <a:pt x="622" y="296"/>
                    </a:cubicBezTo>
                    <a:cubicBezTo>
                      <a:pt x="613" y="294"/>
                      <a:pt x="613" y="313"/>
                      <a:pt x="613" y="313"/>
                    </a:cubicBezTo>
                    <a:cubicBezTo>
                      <a:pt x="606" y="302"/>
                      <a:pt x="606" y="302"/>
                      <a:pt x="606" y="302"/>
                    </a:cubicBezTo>
                    <a:cubicBezTo>
                      <a:pt x="606" y="302"/>
                      <a:pt x="584" y="304"/>
                      <a:pt x="567" y="300"/>
                    </a:cubicBezTo>
                    <a:cubicBezTo>
                      <a:pt x="550" y="296"/>
                      <a:pt x="543" y="289"/>
                      <a:pt x="534" y="286"/>
                    </a:cubicBezTo>
                    <a:cubicBezTo>
                      <a:pt x="525" y="283"/>
                      <a:pt x="509" y="293"/>
                      <a:pt x="504" y="286"/>
                    </a:cubicBezTo>
                    <a:cubicBezTo>
                      <a:pt x="499" y="279"/>
                      <a:pt x="519" y="252"/>
                      <a:pt x="519" y="252"/>
                    </a:cubicBezTo>
                    <a:cubicBezTo>
                      <a:pt x="519" y="230"/>
                      <a:pt x="519" y="230"/>
                      <a:pt x="519" y="230"/>
                    </a:cubicBezTo>
                    <a:cubicBezTo>
                      <a:pt x="519" y="230"/>
                      <a:pt x="531" y="230"/>
                      <a:pt x="535" y="223"/>
                    </a:cubicBezTo>
                    <a:cubicBezTo>
                      <a:pt x="539" y="216"/>
                      <a:pt x="526" y="208"/>
                      <a:pt x="526" y="208"/>
                    </a:cubicBezTo>
                    <a:cubicBezTo>
                      <a:pt x="526" y="208"/>
                      <a:pt x="536" y="191"/>
                      <a:pt x="538" y="183"/>
                    </a:cubicBezTo>
                    <a:cubicBezTo>
                      <a:pt x="540" y="175"/>
                      <a:pt x="506" y="168"/>
                      <a:pt x="500" y="167"/>
                    </a:cubicBezTo>
                    <a:cubicBezTo>
                      <a:pt x="494" y="166"/>
                      <a:pt x="444" y="138"/>
                      <a:pt x="444" y="138"/>
                    </a:cubicBezTo>
                    <a:cubicBezTo>
                      <a:pt x="444" y="138"/>
                      <a:pt x="423" y="118"/>
                      <a:pt x="413" y="122"/>
                    </a:cubicBezTo>
                    <a:cubicBezTo>
                      <a:pt x="403" y="126"/>
                      <a:pt x="368" y="106"/>
                      <a:pt x="368" y="106"/>
                    </a:cubicBezTo>
                    <a:cubicBezTo>
                      <a:pt x="364" y="92"/>
                      <a:pt x="364" y="92"/>
                      <a:pt x="364" y="92"/>
                    </a:cubicBezTo>
                    <a:cubicBezTo>
                      <a:pt x="364" y="92"/>
                      <a:pt x="337" y="75"/>
                      <a:pt x="328" y="70"/>
                    </a:cubicBezTo>
                    <a:cubicBezTo>
                      <a:pt x="319" y="65"/>
                      <a:pt x="303" y="36"/>
                      <a:pt x="303" y="36"/>
                    </a:cubicBezTo>
                    <a:cubicBezTo>
                      <a:pt x="290" y="24"/>
                      <a:pt x="290" y="24"/>
                      <a:pt x="290" y="24"/>
                    </a:cubicBezTo>
                    <a:cubicBezTo>
                      <a:pt x="267" y="7"/>
                      <a:pt x="267" y="7"/>
                      <a:pt x="267" y="7"/>
                    </a:cubicBezTo>
                    <a:cubicBezTo>
                      <a:pt x="216" y="13"/>
                      <a:pt x="216" y="13"/>
                      <a:pt x="216" y="13"/>
                    </a:cubicBezTo>
                    <a:cubicBezTo>
                      <a:pt x="211" y="50"/>
                      <a:pt x="211" y="50"/>
                      <a:pt x="211" y="50"/>
                    </a:cubicBezTo>
                    <a:cubicBezTo>
                      <a:pt x="189" y="16"/>
                      <a:pt x="189" y="16"/>
                      <a:pt x="189" y="16"/>
                    </a:cubicBezTo>
                    <a:cubicBezTo>
                      <a:pt x="189" y="16"/>
                      <a:pt x="147" y="17"/>
                      <a:pt x="134" y="13"/>
                    </a:cubicBezTo>
                    <a:cubicBezTo>
                      <a:pt x="120" y="9"/>
                      <a:pt x="115" y="0"/>
                      <a:pt x="115" y="0"/>
                    </a:cubicBezTo>
                    <a:cubicBezTo>
                      <a:pt x="107" y="17"/>
                      <a:pt x="107" y="17"/>
                      <a:pt x="107" y="17"/>
                    </a:cubicBezTo>
                    <a:cubicBezTo>
                      <a:pt x="92" y="20"/>
                      <a:pt x="92" y="20"/>
                      <a:pt x="92" y="20"/>
                    </a:cubicBezTo>
                    <a:cubicBezTo>
                      <a:pt x="92" y="34"/>
                      <a:pt x="92" y="34"/>
                      <a:pt x="92" y="34"/>
                    </a:cubicBezTo>
                    <a:cubicBezTo>
                      <a:pt x="81" y="32"/>
                      <a:pt x="81" y="32"/>
                      <a:pt x="81" y="32"/>
                    </a:cubicBezTo>
                    <a:cubicBezTo>
                      <a:pt x="81" y="51"/>
                      <a:pt x="81" y="51"/>
                      <a:pt x="81" y="51"/>
                    </a:cubicBezTo>
                    <a:cubicBezTo>
                      <a:pt x="81" y="51"/>
                      <a:pt x="78" y="52"/>
                      <a:pt x="74" y="52"/>
                    </a:cubicBezTo>
                    <a:cubicBezTo>
                      <a:pt x="74" y="52"/>
                      <a:pt x="75" y="52"/>
                      <a:pt x="75" y="52"/>
                    </a:cubicBezTo>
                    <a:cubicBezTo>
                      <a:pt x="82" y="63"/>
                      <a:pt x="82" y="63"/>
                      <a:pt x="82" y="63"/>
                    </a:cubicBezTo>
                    <a:cubicBezTo>
                      <a:pt x="76" y="119"/>
                      <a:pt x="76" y="119"/>
                      <a:pt x="76" y="119"/>
                    </a:cubicBezTo>
                    <a:cubicBezTo>
                      <a:pt x="76" y="119"/>
                      <a:pt x="21" y="143"/>
                      <a:pt x="22" y="157"/>
                    </a:cubicBezTo>
                    <a:cubicBezTo>
                      <a:pt x="23" y="171"/>
                      <a:pt x="50" y="165"/>
                      <a:pt x="41" y="174"/>
                    </a:cubicBezTo>
                    <a:cubicBezTo>
                      <a:pt x="32" y="183"/>
                      <a:pt x="22" y="192"/>
                      <a:pt x="27" y="199"/>
                    </a:cubicBezTo>
                    <a:cubicBezTo>
                      <a:pt x="32" y="206"/>
                      <a:pt x="51" y="214"/>
                      <a:pt x="50" y="224"/>
                    </a:cubicBezTo>
                    <a:cubicBezTo>
                      <a:pt x="49" y="234"/>
                      <a:pt x="32" y="246"/>
                      <a:pt x="32" y="246"/>
                    </a:cubicBezTo>
                    <a:cubicBezTo>
                      <a:pt x="32" y="246"/>
                      <a:pt x="63" y="257"/>
                      <a:pt x="60" y="268"/>
                    </a:cubicBezTo>
                    <a:cubicBezTo>
                      <a:pt x="57" y="279"/>
                      <a:pt x="35" y="280"/>
                      <a:pt x="35" y="280"/>
                    </a:cubicBezTo>
                    <a:cubicBezTo>
                      <a:pt x="35" y="280"/>
                      <a:pt x="29" y="318"/>
                      <a:pt x="28" y="323"/>
                    </a:cubicBezTo>
                    <a:cubicBezTo>
                      <a:pt x="27" y="328"/>
                      <a:pt x="9" y="336"/>
                      <a:pt x="9" y="346"/>
                    </a:cubicBezTo>
                    <a:cubicBezTo>
                      <a:pt x="9" y="356"/>
                      <a:pt x="14" y="381"/>
                      <a:pt x="12" y="385"/>
                    </a:cubicBezTo>
                    <a:cubicBezTo>
                      <a:pt x="10" y="389"/>
                      <a:pt x="1" y="397"/>
                      <a:pt x="2" y="401"/>
                    </a:cubicBezTo>
                    <a:cubicBezTo>
                      <a:pt x="3" y="405"/>
                      <a:pt x="26" y="450"/>
                      <a:pt x="21" y="455"/>
                    </a:cubicBezTo>
                    <a:cubicBezTo>
                      <a:pt x="16" y="460"/>
                      <a:pt x="7" y="455"/>
                      <a:pt x="7" y="455"/>
                    </a:cubicBezTo>
                    <a:cubicBezTo>
                      <a:pt x="10" y="494"/>
                      <a:pt x="10" y="494"/>
                      <a:pt x="10" y="494"/>
                    </a:cubicBezTo>
                    <a:cubicBezTo>
                      <a:pt x="10" y="494"/>
                      <a:pt x="0" y="495"/>
                      <a:pt x="0" y="500"/>
                    </a:cubicBezTo>
                    <a:cubicBezTo>
                      <a:pt x="0" y="505"/>
                      <a:pt x="2" y="522"/>
                      <a:pt x="2" y="522"/>
                    </a:cubicBezTo>
                    <a:cubicBezTo>
                      <a:pt x="2" y="522"/>
                      <a:pt x="25" y="537"/>
                      <a:pt x="23" y="541"/>
                    </a:cubicBezTo>
                    <a:cubicBezTo>
                      <a:pt x="21" y="545"/>
                      <a:pt x="19" y="554"/>
                      <a:pt x="19" y="554"/>
                    </a:cubicBezTo>
                    <a:cubicBezTo>
                      <a:pt x="32" y="564"/>
                      <a:pt x="32" y="564"/>
                      <a:pt x="32" y="564"/>
                    </a:cubicBezTo>
                    <a:cubicBezTo>
                      <a:pt x="40" y="585"/>
                      <a:pt x="40" y="585"/>
                      <a:pt x="40" y="585"/>
                    </a:cubicBezTo>
                    <a:cubicBezTo>
                      <a:pt x="43" y="591"/>
                      <a:pt x="43" y="591"/>
                      <a:pt x="43" y="591"/>
                    </a:cubicBezTo>
                    <a:cubicBezTo>
                      <a:pt x="43" y="591"/>
                      <a:pt x="35" y="610"/>
                      <a:pt x="47" y="613"/>
                    </a:cubicBezTo>
                    <a:cubicBezTo>
                      <a:pt x="59" y="616"/>
                      <a:pt x="63" y="614"/>
                      <a:pt x="63" y="614"/>
                    </a:cubicBezTo>
                    <a:cubicBezTo>
                      <a:pt x="65" y="639"/>
                      <a:pt x="65" y="639"/>
                      <a:pt x="65" y="639"/>
                    </a:cubicBezTo>
                    <a:cubicBezTo>
                      <a:pt x="65" y="639"/>
                      <a:pt x="80" y="658"/>
                      <a:pt x="77" y="664"/>
                    </a:cubicBezTo>
                    <a:cubicBezTo>
                      <a:pt x="74" y="670"/>
                      <a:pt x="65" y="677"/>
                      <a:pt x="65" y="681"/>
                    </a:cubicBezTo>
                    <a:cubicBezTo>
                      <a:pt x="65" y="685"/>
                      <a:pt x="64" y="724"/>
                      <a:pt x="64" y="724"/>
                    </a:cubicBezTo>
                    <a:cubicBezTo>
                      <a:pt x="55" y="725"/>
                      <a:pt x="55" y="725"/>
                      <a:pt x="55" y="725"/>
                    </a:cubicBezTo>
                    <a:cubicBezTo>
                      <a:pt x="55" y="725"/>
                      <a:pt x="72" y="743"/>
                      <a:pt x="73" y="753"/>
                    </a:cubicBezTo>
                    <a:cubicBezTo>
                      <a:pt x="74" y="763"/>
                      <a:pt x="70" y="774"/>
                      <a:pt x="70" y="774"/>
                    </a:cubicBezTo>
                    <a:cubicBezTo>
                      <a:pt x="68" y="786"/>
                      <a:pt x="68" y="786"/>
                      <a:pt x="68" y="786"/>
                    </a:cubicBezTo>
                    <a:cubicBezTo>
                      <a:pt x="51" y="787"/>
                      <a:pt x="51" y="787"/>
                      <a:pt x="51" y="787"/>
                    </a:cubicBezTo>
                    <a:cubicBezTo>
                      <a:pt x="51" y="787"/>
                      <a:pt x="63" y="820"/>
                      <a:pt x="63" y="827"/>
                    </a:cubicBezTo>
                    <a:cubicBezTo>
                      <a:pt x="63" y="834"/>
                      <a:pt x="63" y="855"/>
                      <a:pt x="63" y="855"/>
                    </a:cubicBezTo>
                    <a:cubicBezTo>
                      <a:pt x="83" y="872"/>
                      <a:pt x="83" y="872"/>
                      <a:pt x="83" y="872"/>
                    </a:cubicBezTo>
                    <a:cubicBezTo>
                      <a:pt x="84" y="884"/>
                      <a:pt x="84" y="884"/>
                      <a:pt x="84" y="884"/>
                    </a:cubicBezTo>
                    <a:cubicBezTo>
                      <a:pt x="84" y="884"/>
                      <a:pt x="103" y="893"/>
                      <a:pt x="98" y="902"/>
                    </a:cubicBezTo>
                    <a:cubicBezTo>
                      <a:pt x="93" y="911"/>
                      <a:pt x="79" y="916"/>
                      <a:pt x="79" y="916"/>
                    </a:cubicBezTo>
                    <a:cubicBezTo>
                      <a:pt x="87" y="944"/>
                      <a:pt x="87" y="944"/>
                      <a:pt x="87" y="944"/>
                    </a:cubicBezTo>
                    <a:cubicBezTo>
                      <a:pt x="74" y="953"/>
                      <a:pt x="74" y="953"/>
                      <a:pt x="74" y="953"/>
                    </a:cubicBezTo>
                    <a:cubicBezTo>
                      <a:pt x="74" y="953"/>
                      <a:pt x="84" y="958"/>
                      <a:pt x="85" y="966"/>
                    </a:cubicBezTo>
                    <a:cubicBezTo>
                      <a:pt x="86" y="974"/>
                      <a:pt x="81" y="982"/>
                      <a:pt x="81" y="982"/>
                    </a:cubicBezTo>
                    <a:cubicBezTo>
                      <a:pt x="95" y="990"/>
                      <a:pt x="95" y="990"/>
                      <a:pt x="95" y="990"/>
                    </a:cubicBezTo>
                    <a:cubicBezTo>
                      <a:pt x="95" y="990"/>
                      <a:pt x="90" y="1008"/>
                      <a:pt x="91" y="1014"/>
                    </a:cubicBezTo>
                    <a:cubicBezTo>
                      <a:pt x="92" y="1020"/>
                      <a:pt x="99" y="1031"/>
                      <a:pt x="99" y="1031"/>
                    </a:cubicBezTo>
                    <a:cubicBezTo>
                      <a:pt x="99" y="1031"/>
                      <a:pt x="99" y="1050"/>
                      <a:pt x="102" y="1056"/>
                    </a:cubicBezTo>
                    <a:cubicBezTo>
                      <a:pt x="105" y="1062"/>
                      <a:pt x="134" y="1083"/>
                      <a:pt x="129" y="1082"/>
                    </a:cubicBezTo>
                    <a:cubicBezTo>
                      <a:pt x="124" y="1081"/>
                      <a:pt x="113" y="1090"/>
                      <a:pt x="113" y="1090"/>
                    </a:cubicBezTo>
                    <a:cubicBezTo>
                      <a:pt x="113" y="1090"/>
                      <a:pt x="118" y="1120"/>
                      <a:pt x="121" y="1128"/>
                    </a:cubicBezTo>
                    <a:cubicBezTo>
                      <a:pt x="124" y="1136"/>
                      <a:pt x="133" y="1140"/>
                      <a:pt x="133" y="1140"/>
                    </a:cubicBezTo>
                    <a:cubicBezTo>
                      <a:pt x="143" y="1145"/>
                      <a:pt x="143" y="1145"/>
                      <a:pt x="143" y="1145"/>
                    </a:cubicBezTo>
                    <a:cubicBezTo>
                      <a:pt x="139" y="1163"/>
                      <a:pt x="139" y="1163"/>
                      <a:pt x="139" y="1163"/>
                    </a:cubicBezTo>
                    <a:cubicBezTo>
                      <a:pt x="139" y="1163"/>
                      <a:pt x="155" y="1164"/>
                      <a:pt x="156" y="1175"/>
                    </a:cubicBezTo>
                    <a:cubicBezTo>
                      <a:pt x="157" y="1186"/>
                      <a:pt x="158" y="1203"/>
                      <a:pt x="158" y="1203"/>
                    </a:cubicBezTo>
                    <a:cubicBezTo>
                      <a:pt x="158" y="1203"/>
                      <a:pt x="163" y="1213"/>
                      <a:pt x="170" y="1213"/>
                    </a:cubicBezTo>
                    <a:cubicBezTo>
                      <a:pt x="177" y="1213"/>
                      <a:pt x="196" y="1208"/>
                      <a:pt x="194" y="1219"/>
                    </a:cubicBezTo>
                    <a:cubicBezTo>
                      <a:pt x="192" y="1230"/>
                      <a:pt x="160" y="1227"/>
                      <a:pt x="161" y="1230"/>
                    </a:cubicBezTo>
                    <a:cubicBezTo>
                      <a:pt x="162" y="1233"/>
                      <a:pt x="185" y="1240"/>
                      <a:pt x="185" y="1240"/>
                    </a:cubicBezTo>
                    <a:cubicBezTo>
                      <a:pt x="185" y="1240"/>
                      <a:pt x="208" y="1249"/>
                      <a:pt x="205" y="1257"/>
                    </a:cubicBezTo>
                    <a:cubicBezTo>
                      <a:pt x="202" y="1265"/>
                      <a:pt x="189" y="1276"/>
                      <a:pt x="189" y="1276"/>
                    </a:cubicBezTo>
                    <a:cubicBezTo>
                      <a:pt x="205" y="1288"/>
                      <a:pt x="205" y="1288"/>
                      <a:pt x="205" y="1288"/>
                    </a:cubicBezTo>
                    <a:cubicBezTo>
                      <a:pt x="202" y="1303"/>
                      <a:pt x="202" y="1303"/>
                      <a:pt x="202" y="1303"/>
                    </a:cubicBezTo>
                    <a:cubicBezTo>
                      <a:pt x="217" y="1321"/>
                      <a:pt x="217" y="1321"/>
                      <a:pt x="217" y="1321"/>
                    </a:cubicBezTo>
                    <a:cubicBezTo>
                      <a:pt x="214" y="1343"/>
                      <a:pt x="214" y="1343"/>
                      <a:pt x="214" y="1343"/>
                    </a:cubicBezTo>
                    <a:cubicBezTo>
                      <a:pt x="224" y="1360"/>
                      <a:pt x="224" y="1360"/>
                      <a:pt x="224" y="1360"/>
                    </a:cubicBezTo>
                    <a:cubicBezTo>
                      <a:pt x="213" y="1364"/>
                      <a:pt x="213" y="1364"/>
                      <a:pt x="213" y="1364"/>
                    </a:cubicBezTo>
                    <a:cubicBezTo>
                      <a:pt x="210" y="1394"/>
                      <a:pt x="210" y="1394"/>
                      <a:pt x="210" y="1394"/>
                    </a:cubicBezTo>
                    <a:cubicBezTo>
                      <a:pt x="210" y="1394"/>
                      <a:pt x="229" y="1405"/>
                      <a:pt x="230" y="1408"/>
                    </a:cubicBezTo>
                    <a:cubicBezTo>
                      <a:pt x="231" y="1411"/>
                      <a:pt x="215" y="1420"/>
                      <a:pt x="215" y="1420"/>
                    </a:cubicBezTo>
                    <a:cubicBezTo>
                      <a:pt x="215" y="1420"/>
                      <a:pt x="235" y="1435"/>
                      <a:pt x="232" y="1440"/>
                    </a:cubicBezTo>
                    <a:cubicBezTo>
                      <a:pt x="229" y="1445"/>
                      <a:pt x="214" y="1450"/>
                      <a:pt x="214" y="1450"/>
                    </a:cubicBezTo>
                    <a:cubicBezTo>
                      <a:pt x="213" y="1463"/>
                      <a:pt x="213" y="1463"/>
                      <a:pt x="213" y="1463"/>
                    </a:cubicBezTo>
                    <a:cubicBezTo>
                      <a:pt x="206" y="1467"/>
                      <a:pt x="206" y="1467"/>
                      <a:pt x="206" y="1467"/>
                    </a:cubicBezTo>
                    <a:cubicBezTo>
                      <a:pt x="206" y="1467"/>
                      <a:pt x="208" y="1483"/>
                      <a:pt x="213" y="1488"/>
                    </a:cubicBezTo>
                    <a:cubicBezTo>
                      <a:pt x="218" y="1493"/>
                      <a:pt x="216" y="1513"/>
                      <a:pt x="216" y="1513"/>
                    </a:cubicBezTo>
                    <a:cubicBezTo>
                      <a:pt x="236" y="1517"/>
                      <a:pt x="236" y="1517"/>
                      <a:pt x="236" y="1517"/>
                    </a:cubicBezTo>
                    <a:cubicBezTo>
                      <a:pt x="236" y="1517"/>
                      <a:pt x="240" y="1542"/>
                      <a:pt x="250" y="1542"/>
                    </a:cubicBezTo>
                    <a:cubicBezTo>
                      <a:pt x="260" y="1542"/>
                      <a:pt x="266" y="1524"/>
                      <a:pt x="281" y="1537"/>
                    </a:cubicBezTo>
                    <a:cubicBezTo>
                      <a:pt x="296" y="1550"/>
                      <a:pt x="290" y="1562"/>
                      <a:pt x="290" y="1562"/>
                    </a:cubicBezTo>
                    <a:cubicBezTo>
                      <a:pt x="304" y="1578"/>
                      <a:pt x="304" y="1578"/>
                      <a:pt x="304" y="1578"/>
                    </a:cubicBezTo>
                    <a:cubicBezTo>
                      <a:pt x="311" y="1589"/>
                      <a:pt x="311" y="1589"/>
                      <a:pt x="311" y="1589"/>
                    </a:cubicBezTo>
                    <a:cubicBezTo>
                      <a:pt x="335" y="1600"/>
                      <a:pt x="335" y="1600"/>
                      <a:pt x="335" y="1600"/>
                    </a:cubicBezTo>
                    <a:cubicBezTo>
                      <a:pt x="347" y="1612"/>
                      <a:pt x="347" y="1612"/>
                      <a:pt x="347" y="1612"/>
                    </a:cubicBezTo>
                    <a:cubicBezTo>
                      <a:pt x="347" y="1612"/>
                      <a:pt x="373" y="1605"/>
                      <a:pt x="389" y="1607"/>
                    </a:cubicBezTo>
                    <a:cubicBezTo>
                      <a:pt x="405" y="1609"/>
                      <a:pt x="425" y="1608"/>
                      <a:pt x="425" y="1608"/>
                    </a:cubicBezTo>
                    <a:cubicBezTo>
                      <a:pt x="440" y="1620"/>
                      <a:pt x="440" y="1620"/>
                      <a:pt x="440" y="1620"/>
                    </a:cubicBezTo>
                    <a:cubicBezTo>
                      <a:pt x="437" y="1628"/>
                      <a:pt x="437" y="1628"/>
                      <a:pt x="437" y="1628"/>
                    </a:cubicBezTo>
                    <a:cubicBezTo>
                      <a:pt x="442" y="1616"/>
                      <a:pt x="442" y="1616"/>
                      <a:pt x="442" y="1616"/>
                    </a:cubicBezTo>
                    <a:cubicBezTo>
                      <a:pt x="449" y="1606"/>
                      <a:pt x="478" y="1625"/>
                      <a:pt x="478" y="1625"/>
                    </a:cubicBezTo>
                    <a:cubicBezTo>
                      <a:pt x="451" y="1588"/>
                      <a:pt x="451" y="1588"/>
                      <a:pt x="451" y="1588"/>
                    </a:cubicBezTo>
                    <a:cubicBezTo>
                      <a:pt x="438" y="1589"/>
                      <a:pt x="438" y="1589"/>
                      <a:pt x="438" y="1589"/>
                    </a:cubicBezTo>
                    <a:cubicBezTo>
                      <a:pt x="441" y="1579"/>
                      <a:pt x="441" y="1579"/>
                      <a:pt x="441" y="1579"/>
                    </a:cubicBezTo>
                    <a:cubicBezTo>
                      <a:pt x="417" y="1562"/>
                      <a:pt x="417" y="1562"/>
                      <a:pt x="417" y="1562"/>
                    </a:cubicBezTo>
                    <a:cubicBezTo>
                      <a:pt x="418" y="1538"/>
                      <a:pt x="418" y="1538"/>
                      <a:pt x="418" y="1538"/>
                    </a:cubicBezTo>
                    <a:cubicBezTo>
                      <a:pt x="409" y="1534"/>
                      <a:pt x="409" y="1534"/>
                      <a:pt x="409" y="1534"/>
                    </a:cubicBezTo>
                    <a:cubicBezTo>
                      <a:pt x="414" y="1522"/>
                      <a:pt x="414" y="1522"/>
                      <a:pt x="414" y="1522"/>
                    </a:cubicBezTo>
                    <a:cubicBezTo>
                      <a:pt x="414" y="1522"/>
                      <a:pt x="423" y="1522"/>
                      <a:pt x="426" y="1514"/>
                    </a:cubicBezTo>
                    <a:cubicBezTo>
                      <a:pt x="430" y="1506"/>
                      <a:pt x="400" y="1506"/>
                      <a:pt x="400" y="1506"/>
                    </a:cubicBezTo>
                    <a:cubicBezTo>
                      <a:pt x="412" y="1501"/>
                      <a:pt x="412" y="1501"/>
                      <a:pt x="412" y="1501"/>
                    </a:cubicBezTo>
                    <a:cubicBezTo>
                      <a:pt x="408" y="1488"/>
                      <a:pt x="408" y="1488"/>
                      <a:pt x="408" y="1488"/>
                    </a:cubicBezTo>
                    <a:cubicBezTo>
                      <a:pt x="424" y="1505"/>
                      <a:pt x="424" y="1505"/>
                      <a:pt x="424" y="1505"/>
                    </a:cubicBezTo>
                    <a:cubicBezTo>
                      <a:pt x="424" y="1505"/>
                      <a:pt x="438" y="1515"/>
                      <a:pt x="448" y="1503"/>
                    </a:cubicBezTo>
                    <a:cubicBezTo>
                      <a:pt x="458" y="1491"/>
                      <a:pt x="440" y="1465"/>
                      <a:pt x="441" y="1451"/>
                    </a:cubicBezTo>
                    <a:cubicBezTo>
                      <a:pt x="442" y="1438"/>
                      <a:pt x="485" y="1409"/>
                      <a:pt x="488" y="1400"/>
                    </a:cubicBezTo>
                    <a:cubicBezTo>
                      <a:pt x="492" y="1391"/>
                      <a:pt x="467" y="1391"/>
                      <a:pt x="467" y="1391"/>
                    </a:cubicBezTo>
                    <a:cubicBezTo>
                      <a:pt x="483" y="1389"/>
                      <a:pt x="483" y="1389"/>
                      <a:pt x="483" y="1389"/>
                    </a:cubicBezTo>
                    <a:cubicBezTo>
                      <a:pt x="483" y="1389"/>
                      <a:pt x="484" y="1369"/>
                      <a:pt x="476" y="1359"/>
                    </a:cubicBezTo>
                    <a:cubicBezTo>
                      <a:pt x="468" y="1349"/>
                      <a:pt x="456" y="1354"/>
                      <a:pt x="456" y="1354"/>
                    </a:cubicBezTo>
                    <a:cubicBezTo>
                      <a:pt x="444" y="1345"/>
                      <a:pt x="444" y="1345"/>
                      <a:pt x="444" y="1345"/>
                    </a:cubicBezTo>
                    <a:cubicBezTo>
                      <a:pt x="431" y="1345"/>
                      <a:pt x="431" y="1345"/>
                      <a:pt x="431" y="1345"/>
                    </a:cubicBezTo>
                    <a:cubicBezTo>
                      <a:pt x="431" y="1345"/>
                      <a:pt x="391" y="1328"/>
                      <a:pt x="379" y="1301"/>
                    </a:cubicBezTo>
                    <a:cubicBezTo>
                      <a:pt x="366" y="1274"/>
                      <a:pt x="386" y="1269"/>
                      <a:pt x="386" y="1269"/>
                    </a:cubicBezTo>
                    <a:cubicBezTo>
                      <a:pt x="392" y="1252"/>
                      <a:pt x="392" y="1252"/>
                      <a:pt x="392" y="1252"/>
                    </a:cubicBezTo>
                    <a:cubicBezTo>
                      <a:pt x="401" y="1252"/>
                      <a:pt x="401" y="1252"/>
                      <a:pt x="401" y="1252"/>
                    </a:cubicBezTo>
                    <a:cubicBezTo>
                      <a:pt x="407" y="1240"/>
                      <a:pt x="407" y="1240"/>
                      <a:pt x="407" y="1240"/>
                    </a:cubicBezTo>
                    <a:cubicBezTo>
                      <a:pt x="443" y="1239"/>
                      <a:pt x="443" y="1239"/>
                      <a:pt x="443" y="1239"/>
                    </a:cubicBezTo>
                    <a:cubicBezTo>
                      <a:pt x="435" y="1232"/>
                      <a:pt x="435" y="1232"/>
                      <a:pt x="435" y="1232"/>
                    </a:cubicBezTo>
                    <a:cubicBezTo>
                      <a:pt x="434" y="1218"/>
                      <a:pt x="434" y="1218"/>
                      <a:pt x="434" y="1218"/>
                    </a:cubicBezTo>
                    <a:cubicBezTo>
                      <a:pt x="443" y="1217"/>
                      <a:pt x="443" y="1217"/>
                      <a:pt x="443" y="1217"/>
                    </a:cubicBezTo>
                    <a:cubicBezTo>
                      <a:pt x="443" y="1217"/>
                      <a:pt x="448" y="1198"/>
                      <a:pt x="440" y="1191"/>
                    </a:cubicBezTo>
                    <a:cubicBezTo>
                      <a:pt x="432" y="1184"/>
                      <a:pt x="423" y="1168"/>
                      <a:pt x="430" y="1152"/>
                    </a:cubicBezTo>
                    <a:cubicBezTo>
                      <a:pt x="436" y="1137"/>
                      <a:pt x="456" y="1137"/>
                      <a:pt x="456" y="1137"/>
                    </a:cubicBezTo>
                    <a:cubicBezTo>
                      <a:pt x="456" y="1130"/>
                      <a:pt x="456" y="1130"/>
                      <a:pt x="456" y="1130"/>
                    </a:cubicBezTo>
                    <a:cubicBezTo>
                      <a:pt x="456" y="1130"/>
                      <a:pt x="439" y="1130"/>
                      <a:pt x="431" y="1125"/>
                    </a:cubicBezTo>
                    <a:cubicBezTo>
                      <a:pt x="423" y="1121"/>
                      <a:pt x="432" y="1112"/>
                      <a:pt x="440" y="1111"/>
                    </a:cubicBezTo>
                    <a:cubicBezTo>
                      <a:pt x="448" y="1110"/>
                      <a:pt x="462" y="1127"/>
                      <a:pt x="469" y="1127"/>
                    </a:cubicBezTo>
                    <a:cubicBezTo>
                      <a:pt x="476" y="1127"/>
                      <a:pt x="485" y="1123"/>
                      <a:pt x="486" y="1113"/>
                    </a:cubicBezTo>
                    <a:cubicBezTo>
                      <a:pt x="487" y="1103"/>
                      <a:pt x="474" y="1080"/>
                      <a:pt x="461" y="1085"/>
                    </a:cubicBezTo>
                    <a:cubicBezTo>
                      <a:pt x="449" y="1089"/>
                      <a:pt x="468" y="1099"/>
                      <a:pt x="456" y="1105"/>
                    </a:cubicBezTo>
                    <a:cubicBezTo>
                      <a:pt x="443" y="1111"/>
                      <a:pt x="431" y="1094"/>
                      <a:pt x="431" y="1094"/>
                    </a:cubicBezTo>
                    <a:cubicBezTo>
                      <a:pt x="431" y="1094"/>
                      <a:pt x="407" y="1096"/>
                      <a:pt x="404" y="1089"/>
                    </a:cubicBezTo>
                    <a:cubicBezTo>
                      <a:pt x="400" y="1083"/>
                      <a:pt x="404" y="1055"/>
                      <a:pt x="404" y="1052"/>
                    </a:cubicBezTo>
                    <a:cubicBezTo>
                      <a:pt x="404" y="1049"/>
                      <a:pt x="387" y="1032"/>
                      <a:pt x="391" y="1017"/>
                    </a:cubicBezTo>
                    <a:cubicBezTo>
                      <a:pt x="396" y="1003"/>
                      <a:pt x="409" y="1019"/>
                      <a:pt x="424" y="1023"/>
                    </a:cubicBezTo>
                    <a:cubicBezTo>
                      <a:pt x="439" y="1026"/>
                      <a:pt x="456" y="1039"/>
                      <a:pt x="465" y="1039"/>
                    </a:cubicBezTo>
                    <a:cubicBezTo>
                      <a:pt x="474" y="1039"/>
                      <a:pt x="507" y="1021"/>
                      <a:pt x="515" y="1015"/>
                    </a:cubicBezTo>
                    <a:cubicBezTo>
                      <a:pt x="523" y="1009"/>
                      <a:pt x="490" y="991"/>
                      <a:pt x="490" y="991"/>
                    </a:cubicBezTo>
                    <a:cubicBezTo>
                      <a:pt x="489" y="975"/>
                      <a:pt x="489" y="975"/>
                      <a:pt x="489" y="975"/>
                    </a:cubicBezTo>
                    <a:cubicBezTo>
                      <a:pt x="489" y="975"/>
                      <a:pt x="498" y="959"/>
                      <a:pt x="501" y="948"/>
                    </a:cubicBezTo>
                    <a:cubicBezTo>
                      <a:pt x="503" y="938"/>
                      <a:pt x="480" y="938"/>
                      <a:pt x="480" y="938"/>
                    </a:cubicBezTo>
                    <a:cubicBezTo>
                      <a:pt x="478" y="924"/>
                      <a:pt x="478" y="924"/>
                      <a:pt x="478" y="924"/>
                    </a:cubicBezTo>
                    <a:cubicBezTo>
                      <a:pt x="478" y="924"/>
                      <a:pt x="470" y="915"/>
                      <a:pt x="477" y="907"/>
                    </a:cubicBezTo>
                    <a:cubicBezTo>
                      <a:pt x="484" y="899"/>
                      <a:pt x="494" y="934"/>
                      <a:pt x="494" y="934"/>
                    </a:cubicBezTo>
                    <a:cubicBezTo>
                      <a:pt x="502" y="933"/>
                      <a:pt x="502" y="933"/>
                      <a:pt x="502" y="933"/>
                    </a:cubicBezTo>
                    <a:cubicBezTo>
                      <a:pt x="497" y="919"/>
                      <a:pt x="497" y="919"/>
                      <a:pt x="497" y="919"/>
                    </a:cubicBezTo>
                    <a:cubicBezTo>
                      <a:pt x="551" y="926"/>
                      <a:pt x="551" y="926"/>
                      <a:pt x="551" y="926"/>
                    </a:cubicBezTo>
                    <a:cubicBezTo>
                      <a:pt x="554" y="920"/>
                      <a:pt x="554" y="920"/>
                      <a:pt x="554" y="920"/>
                    </a:cubicBezTo>
                    <a:cubicBezTo>
                      <a:pt x="554" y="920"/>
                      <a:pt x="567" y="912"/>
                      <a:pt x="595" y="909"/>
                    </a:cubicBezTo>
                    <a:cubicBezTo>
                      <a:pt x="624" y="906"/>
                      <a:pt x="676" y="881"/>
                      <a:pt x="676" y="881"/>
                    </a:cubicBezTo>
                    <a:cubicBezTo>
                      <a:pt x="673" y="855"/>
                      <a:pt x="673" y="855"/>
                      <a:pt x="673" y="855"/>
                    </a:cubicBezTo>
                    <a:cubicBezTo>
                      <a:pt x="688" y="847"/>
                      <a:pt x="688" y="847"/>
                      <a:pt x="688" y="847"/>
                    </a:cubicBezTo>
                    <a:cubicBezTo>
                      <a:pt x="696" y="814"/>
                      <a:pt x="696" y="814"/>
                      <a:pt x="696" y="814"/>
                    </a:cubicBezTo>
                    <a:cubicBezTo>
                      <a:pt x="689" y="797"/>
                      <a:pt x="689" y="797"/>
                      <a:pt x="689" y="797"/>
                    </a:cubicBezTo>
                    <a:cubicBezTo>
                      <a:pt x="689" y="779"/>
                      <a:pt x="689" y="779"/>
                      <a:pt x="689" y="779"/>
                    </a:cubicBezTo>
                    <a:cubicBezTo>
                      <a:pt x="689" y="779"/>
                      <a:pt x="678" y="770"/>
                      <a:pt x="667" y="766"/>
                    </a:cubicBezTo>
                    <a:cubicBezTo>
                      <a:pt x="661" y="764"/>
                      <a:pt x="654" y="769"/>
                      <a:pt x="649" y="765"/>
                    </a:cubicBezTo>
                    <a:cubicBezTo>
                      <a:pt x="641" y="759"/>
                      <a:pt x="655" y="753"/>
                      <a:pt x="658" y="748"/>
                    </a:cubicBezTo>
                    <a:cubicBezTo>
                      <a:pt x="662" y="741"/>
                      <a:pt x="657" y="735"/>
                      <a:pt x="657" y="727"/>
                    </a:cubicBezTo>
                    <a:cubicBezTo>
                      <a:pt x="657" y="712"/>
                      <a:pt x="624" y="707"/>
                      <a:pt x="601" y="696"/>
                    </a:cubicBezTo>
                    <a:cubicBezTo>
                      <a:pt x="578" y="685"/>
                      <a:pt x="578" y="674"/>
                      <a:pt x="588" y="660"/>
                    </a:cubicBezTo>
                    <a:cubicBezTo>
                      <a:pt x="589" y="659"/>
                      <a:pt x="589" y="658"/>
                      <a:pt x="590" y="658"/>
                    </a:cubicBezTo>
                    <a:cubicBezTo>
                      <a:pt x="570" y="633"/>
                      <a:pt x="570" y="633"/>
                      <a:pt x="570" y="633"/>
                    </a:cubicBezTo>
                    <a:cubicBezTo>
                      <a:pt x="570" y="601"/>
                      <a:pt x="570" y="601"/>
                      <a:pt x="570" y="601"/>
                    </a:cubicBezTo>
                    <a:cubicBezTo>
                      <a:pt x="570" y="601"/>
                      <a:pt x="593" y="600"/>
                      <a:pt x="594" y="595"/>
                    </a:cubicBezTo>
                    <a:cubicBezTo>
                      <a:pt x="595" y="590"/>
                      <a:pt x="575" y="567"/>
                      <a:pt x="575" y="567"/>
                    </a:cubicBezTo>
                    <a:cubicBezTo>
                      <a:pt x="582" y="557"/>
                      <a:pt x="582" y="557"/>
                      <a:pt x="582" y="557"/>
                    </a:cubicBezTo>
                    <a:cubicBezTo>
                      <a:pt x="582" y="557"/>
                      <a:pt x="569" y="545"/>
                      <a:pt x="568" y="536"/>
                    </a:cubicBezTo>
                    <a:cubicBezTo>
                      <a:pt x="567" y="527"/>
                      <a:pt x="586" y="528"/>
                      <a:pt x="586" y="528"/>
                    </a:cubicBezTo>
                    <a:cubicBezTo>
                      <a:pt x="569" y="518"/>
                      <a:pt x="569" y="518"/>
                      <a:pt x="569" y="518"/>
                    </a:cubicBezTo>
                    <a:cubicBezTo>
                      <a:pt x="569" y="491"/>
                      <a:pt x="569" y="491"/>
                      <a:pt x="569" y="491"/>
                    </a:cubicBezTo>
                    <a:cubicBezTo>
                      <a:pt x="587" y="484"/>
                      <a:pt x="587" y="484"/>
                      <a:pt x="587" y="484"/>
                    </a:cubicBezTo>
                    <a:cubicBezTo>
                      <a:pt x="587" y="484"/>
                      <a:pt x="566" y="471"/>
                      <a:pt x="566" y="467"/>
                    </a:cubicBezTo>
                    <a:cubicBezTo>
                      <a:pt x="566" y="463"/>
                      <a:pt x="580" y="452"/>
                      <a:pt x="580" y="452"/>
                    </a:cubicBezTo>
                    <a:cubicBezTo>
                      <a:pt x="580" y="452"/>
                      <a:pt x="584" y="435"/>
                      <a:pt x="584" y="429"/>
                    </a:cubicBezTo>
                    <a:cubicBezTo>
                      <a:pt x="584" y="423"/>
                      <a:pt x="599" y="424"/>
                      <a:pt x="604" y="419"/>
                    </a:cubicBezTo>
                    <a:cubicBezTo>
                      <a:pt x="609" y="414"/>
                      <a:pt x="612" y="399"/>
                      <a:pt x="612" y="396"/>
                    </a:cubicBezTo>
                    <a:cubicBezTo>
                      <a:pt x="612" y="393"/>
                      <a:pt x="621" y="388"/>
                      <a:pt x="626" y="383"/>
                    </a:cubicBezTo>
                    <a:cubicBezTo>
                      <a:pt x="631" y="378"/>
                      <a:pt x="634" y="355"/>
                      <a:pt x="634" y="355"/>
                    </a:cubicBezTo>
                    <a:close/>
                    <a:moveTo>
                      <a:pt x="619" y="681"/>
                    </a:moveTo>
                    <a:cubicBezTo>
                      <a:pt x="624" y="681"/>
                      <a:pt x="624" y="681"/>
                      <a:pt x="624" y="681"/>
                    </a:cubicBezTo>
                    <a:cubicBezTo>
                      <a:pt x="617" y="677"/>
                      <a:pt x="617" y="677"/>
                      <a:pt x="617" y="677"/>
                    </a:cubicBezTo>
                    <a:cubicBezTo>
                      <a:pt x="617" y="677"/>
                      <a:pt x="617" y="677"/>
                      <a:pt x="617" y="677"/>
                    </a:cubicBezTo>
                    <a:cubicBezTo>
                      <a:pt x="618" y="679"/>
                      <a:pt x="619" y="681"/>
                      <a:pt x="619" y="681"/>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35" name="Freeform 57">
                <a:extLst>
                  <a:ext uri="{FF2B5EF4-FFF2-40B4-BE49-F238E27FC236}">
                    <a16:creationId xmlns:a16="http://schemas.microsoft.com/office/drawing/2014/main" id="{B5235F09-68EC-4EAB-A213-F1611FD73298}"/>
                  </a:ext>
                </a:extLst>
              </p:cNvPr>
              <p:cNvSpPr>
                <a:spLocks noEditPoints="1"/>
              </p:cNvSpPr>
              <p:nvPr>
                <p:custDataLst>
                  <p:tags r:id="rId16"/>
                </p:custDataLst>
              </p:nvPr>
            </p:nvSpPr>
            <p:spPr bwMode="gray">
              <a:xfrm>
                <a:off x="2166925" y="4335479"/>
                <a:ext cx="171449" cy="195263"/>
              </a:xfrm>
              <a:custGeom>
                <a:avLst/>
                <a:gdLst>
                  <a:gd name="T0" fmla="*/ 42 w 280"/>
                  <a:gd name="T1" fmla="*/ 249 h 353"/>
                  <a:gd name="T2" fmla="*/ 49 w 280"/>
                  <a:gd name="T3" fmla="*/ 229 h 353"/>
                  <a:gd name="T4" fmla="*/ 42 w 280"/>
                  <a:gd name="T5" fmla="*/ 249 h 353"/>
                  <a:gd name="T6" fmla="*/ 277 w 280"/>
                  <a:gd name="T7" fmla="*/ 114 h 353"/>
                  <a:gd name="T8" fmla="*/ 261 w 280"/>
                  <a:gd name="T9" fmla="*/ 102 h 353"/>
                  <a:gd name="T10" fmla="*/ 271 w 280"/>
                  <a:gd name="T11" fmla="*/ 84 h 353"/>
                  <a:gd name="T12" fmla="*/ 252 w 280"/>
                  <a:gd name="T13" fmla="*/ 83 h 353"/>
                  <a:gd name="T14" fmla="*/ 230 w 280"/>
                  <a:gd name="T15" fmla="*/ 61 h 353"/>
                  <a:gd name="T16" fmla="*/ 218 w 280"/>
                  <a:gd name="T17" fmla="*/ 73 h 353"/>
                  <a:gd name="T18" fmla="*/ 195 w 280"/>
                  <a:gd name="T19" fmla="*/ 65 h 353"/>
                  <a:gd name="T20" fmla="*/ 175 w 280"/>
                  <a:gd name="T21" fmla="*/ 64 h 353"/>
                  <a:gd name="T22" fmla="*/ 163 w 280"/>
                  <a:gd name="T23" fmla="*/ 43 h 353"/>
                  <a:gd name="T24" fmla="*/ 140 w 280"/>
                  <a:gd name="T25" fmla="*/ 40 h 353"/>
                  <a:gd name="T26" fmla="*/ 121 w 280"/>
                  <a:gd name="T27" fmla="*/ 22 h 353"/>
                  <a:gd name="T28" fmla="*/ 98 w 280"/>
                  <a:gd name="T29" fmla="*/ 0 h 353"/>
                  <a:gd name="T30" fmla="*/ 101 w 280"/>
                  <a:gd name="T31" fmla="*/ 23 h 353"/>
                  <a:gd name="T32" fmla="*/ 68 w 280"/>
                  <a:gd name="T33" fmla="*/ 37 h 353"/>
                  <a:gd name="T34" fmla="*/ 66 w 280"/>
                  <a:gd name="T35" fmla="*/ 27 h 353"/>
                  <a:gd name="T36" fmla="*/ 44 w 280"/>
                  <a:gd name="T37" fmla="*/ 46 h 353"/>
                  <a:gd name="T38" fmla="*/ 49 w 280"/>
                  <a:gd name="T39" fmla="*/ 77 h 353"/>
                  <a:gd name="T40" fmla="*/ 31 w 280"/>
                  <a:gd name="T41" fmla="*/ 97 h 353"/>
                  <a:gd name="T42" fmla="*/ 39 w 280"/>
                  <a:gd name="T43" fmla="*/ 119 h 353"/>
                  <a:gd name="T44" fmla="*/ 27 w 280"/>
                  <a:gd name="T45" fmla="*/ 119 h 353"/>
                  <a:gd name="T46" fmla="*/ 26 w 280"/>
                  <a:gd name="T47" fmla="*/ 130 h 353"/>
                  <a:gd name="T48" fmla="*/ 3 w 280"/>
                  <a:gd name="T49" fmla="*/ 144 h 353"/>
                  <a:gd name="T50" fmla="*/ 19 w 280"/>
                  <a:gd name="T51" fmla="*/ 154 h 353"/>
                  <a:gd name="T52" fmla="*/ 8 w 280"/>
                  <a:gd name="T53" fmla="*/ 173 h 353"/>
                  <a:gd name="T54" fmla="*/ 18 w 280"/>
                  <a:gd name="T55" fmla="*/ 187 h 353"/>
                  <a:gd name="T56" fmla="*/ 3 w 280"/>
                  <a:gd name="T57" fmla="*/ 201 h 353"/>
                  <a:gd name="T58" fmla="*/ 12 w 280"/>
                  <a:gd name="T59" fmla="*/ 207 h 353"/>
                  <a:gd name="T60" fmla="*/ 22 w 280"/>
                  <a:gd name="T61" fmla="*/ 228 h 353"/>
                  <a:gd name="T62" fmla="*/ 48 w 280"/>
                  <a:gd name="T63" fmla="*/ 214 h 353"/>
                  <a:gd name="T64" fmla="*/ 65 w 280"/>
                  <a:gd name="T65" fmla="*/ 219 h 353"/>
                  <a:gd name="T66" fmla="*/ 61 w 280"/>
                  <a:gd name="T67" fmla="*/ 258 h 353"/>
                  <a:gd name="T68" fmla="*/ 36 w 280"/>
                  <a:gd name="T69" fmla="*/ 271 h 353"/>
                  <a:gd name="T70" fmla="*/ 51 w 280"/>
                  <a:gd name="T71" fmla="*/ 286 h 353"/>
                  <a:gd name="T72" fmla="*/ 30 w 280"/>
                  <a:gd name="T73" fmla="*/ 307 h 353"/>
                  <a:gd name="T74" fmla="*/ 40 w 280"/>
                  <a:gd name="T75" fmla="*/ 315 h 353"/>
                  <a:gd name="T76" fmla="*/ 33 w 280"/>
                  <a:gd name="T77" fmla="*/ 329 h 353"/>
                  <a:gd name="T78" fmla="*/ 53 w 280"/>
                  <a:gd name="T79" fmla="*/ 315 h 353"/>
                  <a:gd name="T80" fmla="*/ 62 w 280"/>
                  <a:gd name="T81" fmla="*/ 326 h 353"/>
                  <a:gd name="T82" fmla="*/ 81 w 280"/>
                  <a:gd name="T83" fmla="*/ 324 h 353"/>
                  <a:gd name="T84" fmla="*/ 96 w 280"/>
                  <a:gd name="T85" fmla="*/ 353 h 353"/>
                  <a:gd name="T86" fmla="*/ 108 w 280"/>
                  <a:gd name="T87" fmla="*/ 339 h 353"/>
                  <a:gd name="T88" fmla="*/ 121 w 280"/>
                  <a:gd name="T89" fmla="*/ 335 h 353"/>
                  <a:gd name="T90" fmla="*/ 125 w 280"/>
                  <a:gd name="T91" fmla="*/ 299 h 353"/>
                  <a:gd name="T92" fmla="*/ 135 w 280"/>
                  <a:gd name="T93" fmla="*/ 284 h 353"/>
                  <a:gd name="T94" fmla="*/ 132 w 280"/>
                  <a:gd name="T95" fmla="*/ 272 h 353"/>
                  <a:gd name="T96" fmla="*/ 140 w 280"/>
                  <a:gd name="T97" fmla="*/ 269 h 353"/>
                  <a:gd name="T98" fmla="*/ 154 w 280"/>
                  <a:gd name="T99" fmla="*/ 251 h 353"/>
                  <a:gd name="T100" fmla="*/ 211 w 280"/>
                  <a:gd name="T101" fmla="*/ 226 h 353"/>
                  <a:gd name="T102" fmla="*/ 262 w 280"/>
                  <a:gd name="T103" fmla="*/ 170 h 353"/>
                  <a:gd name="T104" fmla="*/ 270 w 280"/>
                  <a:gd name="T105" fmla="*/ 141 h 353"/>
                  <a:gd name="T106" fmla="*/ 280 w 280"/>
                  <a:gd name="T107" fmla="*/ 136 h 353"/>
                  <a:gd name="T108" fmla="*/ 277 w 280"/>
                  <a:gd name="T109" fmla="*/ 114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0" h="353">
                    <a:moveTo>
                      <a:pt x="42" y="249"/>
                    </a:moveTo>
                    <a:cubicBezTo>
                      <a:pt x="57" y="245"/>
                      <a:pt x="59" y="225"/>
                      <a:pt x="49" y="229"/>
                    </a:cubicBezTo>
                    <a:cubicBezTo>
                      <a:pt x="40" y="233"/>
                      <a:pt x="34" y="250"/>
                      <a:pt x="42" y="249"/>
                    </a:cubicBezTo>
                    <a:close/>
                    <a:moveTo>
                      <a:pt x="277" y="114"/>
                    </a:moveTo>
                    <a:cubicBezTo>
                      <a:pt x="261" y="102"/>
                      <a:pt x="261" y="102"/>
                      <a:pt x="261" y="102"/>
                    </a:cubicBezTo>
                    <a:cubicBezTo>
                      <a:pt x="261" y="102"/>
                      <a:pt x="272" y="102"/>
                      <a:pt x="271" y="84"/>
                    </a:cubicBezTo>
                    <a:cubicBezTo>
                      <a:pt x="265" y="83"/>
                      <a:pt x="258" y="83"/>
                      <a:pt x="252" y="83"/>
                    </a:cubicBezTo>
                    <a:cubicBezTo>
                      <a:pt x="239" y="82"/>
                      <a:pt x="247" y="64"/>
                      <a:pt x="230" y="61"/>
                    </a:cubicBezTo>
                    <a:cubicBezTo>
                      <a:pt x="213" y="58"/>
                      <a:pt x="225" y="71"/>
                      <a:pt x="218" y="73"/>
                    </a:cubicBezTo>
                    <a:cubicBezTo>
                      <a:pt x="211" y="75"/>
                      <a:pt x="195" y="65"/>
                      <a:pt x="195" y="65"/>
                    </a:cubicBezTo>
                    <a:cubicBezTo>
                      <a:pt x="195" y="65"/>
                      <a:pt x="184" y="70"/>
                      <a:pt x="175" y="64"/>
                    </a:cubicBezTo>
                    <a:cubicBezTo>
                      <a:pt x="166" y="58"/>
                      <a:pt x="173" y="51"/>
                      <a:pt x="163" y="43"/>
                    </a:cubicBezTo>
                    <a:cubicBezTo>
                      <a:pt x="153" y="35"/>
                      <a:pt x="140" y="40"/>
                      <a:pt x="140" y="40"/>
                    </a:cubicBezTo>
                    <a:cubicBezTo>
                      <a:pt x="140" y="40"/>
                      <a:pt x="132" y="28"/>
                      <a:pt x="121" y="22"/>
                    </a:cubicBezTo>
                    <a:cubicBezTo>
                      <a:pt x="113" y="19"/>
                      <a:pt x="103" y="6"/>
                      <a:pt x="98" y="0"/>
                    </a:cubicBezTo>
                    <a:cubicBezTo>
                      <a:pt x="99" y="10"/>
                      <a:pt x="105" y="14"/>
                      <a:pt x="101" y="23"/>
                    </a:cubicBezTo>
                    <a:cubicBezTo>
                      <a:pt x="98" y="32"/>
                      <a:pt x="68" y="37"/>
                      <a:pt x="68" y="37"/>
                    </a:cubicBezTo>
                    <a:cubicBezTo>
                      <a:pt x="66" y="27"/>
                      <a:pt x="66" y="27"/>
                      <a:pt x="66" y="27"/>
                    </a:cubicBezTo>
                    <a:cubicBezTo>
                      <a:pt x="66" y="27"/>
                      <a:pt x="46" y="38"/>
                      <a:pt x="44" y="46"/>
                    </a:cubicBezTo>
                    <a:cubicBezTo>
                      <a:pt x="41" y="54"/>
                      <a:pt x="51" y="64"/>
                      <a:pt x="49" y="77"/>
                    </a:cubicBezTo>
                    <a:cubicBezTo>
                      <a:pt x="48" y="90"/>
                      <a:pt x="35" y="89"/>
                      <a:pt x="31" y="97"/>
                    </a:cubicBezTo>
                    <a:cubicBezTo>
                      <a:pt x="26" y="105"/>
                      <a:pt x="39" y="119"/>
                      <a:pt x="39" y="119"/>
                    </a:cubicBezTo>
                    <a:cubicBezTo>
                      <a:pt x="27" y="119"/>
                      <a:pt x="27" y="119"/>
                      <a:pt x="27" y="119"/>
                    </a:cubicBezTo>
                    <a:cubicBezTo>
                      <a:pt x="26" y="130"/>
                      <a:pt x="26" y="130"/>
                      <a:pt x="26" y="130"/>
                    </a:cubicBezTo>
                    <a:cubicBezTo>
                      <a:pt x="3" y="144"/>
                      <a:pt x="3" y="144"/>
                      <a:pt x="3" y="144"/>
                    </a:cubicBezTo>
                    <a:cubicBezTo>
                      <a:pt x="19" y="154"/>
                      <a:pt x="19" y="154"/>
                      <a:pt x="19" y="154"/>
                    </a:cubicBezTo>
                    <a:cubicBezTo>
                      <a:pt x="8" y="173"/>
                      <a:pt x="8" y="173"/>
                      <a:pt x="8" y="173"/>
                    </a:cubicBezTo>
                    <a:cubicBezTo>
                      <a:pt x="8" y="173"/>
                      <a:pt x="19" y="176"/>
                      <a:pt x="18" y="187"/>
                    </a:cubicBezTo>
                    <a:cubicBezTo>
                      <a:pt x="16" y="198"/>
                      <a:pt x="3" y="201"/>
                      <a:pt x="3" y="201"/>
                    </a:cubicBezTo>
                    <a:cubicBezTo>
                      <a:pt x="12" y="207"/>
                      <a:pt x="12" y="207"/>
                      <a:pt x="12" y="207"/>
                    </a:cubicBezTo>
                    <a:cubicBezTo>
                      <a:pt x="12" y="207"/>
                      <a:pt x="0" y="221"/>
                      <a:pt x="22" y="228"/>
                    </a:cubicBezTo>
                    <a:cubicBezTo>
                      <a:pt x="45" y="235"/>
                      <a:pt x="48" y="214"/>
                      <a:pt x="48" y="214"/>
                    </a:cubicBezTo>
                    <a:cubicBezTo>
                      <a:pt x="65" y="219"/>
                      <a:pt x="65" y="219"/>
                      <a:pt x="65" y="219"/>
                    </a:cubicBezTo>
                    <a:cubicBezTo>
                      <a:pt x="73" y="227"/>
                      <a:pt x="64" y="246"/>
                      <a:pt x="61" y="258"/>
                    </a:cubicBezTo>
                    <a:cubicBezTo>
                      <a:pt x="59" y="270"/>
                      <a:pt x="36" y="271"/>
                      <a:pt x="36" y="271"/>
                    </a:cubicBezTo>
                    <a:cubicBezTo>
                      <a:pt x="36" y="271"/>
                      <a:pt x="60" y="277"/>
                      <a:pt x="51" y="286"/>
                    </a:cubicBezTo>
                    <a:cubicBezTo>
                      <a:pt x="43" y="295"/>
                      <a:pt x="30" y="307"/>
                      <a:pt x="30" y="307"/>
                    </a:cubicBezTo>
                    <a:cubicBezTo>
                      <a:pt x="40" y="315"/>
                      <a:pt x="40" y="315"/>
                      <a:pt x="40" y="315"/>
                    </a:cubicBezTo>
                    <a:cubicBezTo>
                      <a:pt x="40" y="315"/>
                      <a:pt x="24" y="324"/>
                      <a:pt x="33" y="329"/>
                    </a:cubicBezTo>
                    <a:cubicBezTo>
                      <a:pt x="43" y="333"/>
                      <a:pt x="53" y="315"/>
                      <a:pt x="53" y="315"/>
                    </a:cubicBezTo>
                    <a:cubicBezTo>
                      <a:pt x="62" y="326"/>
                      <a:pt x="62" y="326"/>
                      <a:pt x="62" y="326"/>
                    </a:cubicBezTo>
                    <a:cubicBezTo>
                      <a:pt x="62" y="326"/>
                      <a:pt x="75" y="320"/>
                      <a:pt x="81" y="324"/>
                    </a:cubicBezTo>
                    <a:cubicBezTo>
                      <a:pt x="86" y="329"/>
                      <a:pt x="82" y="353"/>
                      <a:pt x="96" y="353"/>
                    </a:cubicBezTo>
                    <a:cubicBezTo>
                      <a:pt x="109" y="353"/>
                      <a:pt x="104" y="342"/>
                      <a:pt x="108" y="339"/>
                    </a:cubicBezTo>
                    <a:cubicBezTo>
                      <a:pt x="112" y="337"/>
                      <a:pt x="121" y="335"/>
                      <a:pt x="121" y="335"/>
                    </a:cubicBezTo>
                    <a:cubicBezTo>
                      <a:pt x="121" y="335"/>
                      <a:pt x="124" y="308"/>
                      <a:pt x="125" y="299"/>
                    </a:cubicBezTo>
                    <a:cubicBezTo>
                      <a:pt x="127" y="289"/>
                      <a:pt x="135" y="284"/>
                      <a:pt x="135" y="284"/>
                    </a:cubicBezTo>
                    <a:cubicBezTo>
                      <a:pt x="132" y="272"/>
                      <a:pt x="132" y="272"/>
                      <a:pt x="132" y="272"/>
                    </a:cubicBezTo>
                    <a:cubicBezTo>
                      <a:pt x="140" y="269"/>
                      <a:pt x="140" y="269"/>
                      <a:pt x="140" y="269"/>
                    </a:cubicBezTo>
                    <a:cubicBezTo>
                      <a:pt x="140" y="269"/>
                      <a:pt x="140" y="262"/>
                      <a:pt x="154" y="251"/>
                    </a:cubicBezTo>
                    <a:cubicBezTo>
                      <a:pt x="167" y="240"/>
                      <a:pt x="188" y="240"/>
                      <a:pt x="211" y="226"/>
                    </a:cubicBezTo>
                    <a:cubicBezTo>
                      <a:pt x="234" y="211"/>
                      <a:pt x="262" y="170"/>
                      <a:pt x="262" y="170"/>
                    </a:cubicBezTo>
                    <a:cubicBezTo>
                      <a:pt x="270" y="141"/>
                      <a:pt x="270" y="141"/>
                      <a:pt x="270" y="141"/>
                    </a:cubicBezTo>
                    <a:cubicBezTo>
                      <a:pt x="280" y="136"/>
                      <a:pt x="280" y="136"/>
                      <a:pt x="280" y="136"/>
                    </a:cubicBezTo>
                    <a:lnTo>
                      <a:pt x="277" y="114"/>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36" name="Freeform 58">
                <a:extLst>
                  <a:ext uri="{FF2B5EF4-FFF2-40B4-BE49-F238E27FC236}">
                    <a16:creationId xmlns:a16="http://schemas.microsoft.com/office/drawing/2014/main" id="{4A4EF232-62E3-412A-9DCE-81EA31298B9B}"/>
                  </a:ext>
                </a:extLst>
              </p:cNvPr>
              <p:cNvSpPr>
                <a:spLocks noEditPoints="1"/>
              </p:cNvSpPr>
              <p:nvPr>
                <p:custDataLst>
                  <p:tags r:id="rId17"/>
                </p:custDataLst>
              </p:nvPr>
            </p:nvSpPr>
            <p:spPr bwMode="gray">
              <a:xfrm>
                <a:off x="2378061" y="4225941"/>
                <a:ext cx="1117594" cy="1163642"/>
              </a:xfrm>
              <a:custGeom>
                <a:avLst/>
                <a:gdLst>
                  <a:gd name="T0" fmla="*/ 1096 w 1858"/>
                  <a:gd name="T1" fmla="*/ 350 h 2099"/>
                  <a:gd name="T2" fmla="*/ 1201 w 1858"/>
                  <a:gd name="T3" fmla="*/ 299 h 2099"/>
                  <a:gd name="T4" fmla="*/ 1144 w 1858"/>
                  <a:gd name="T5" fmla="*/ 291 h 2099"/>
                  <a:gd name="T6" fmla="*/ 1124 w 1858"/>
                  <a:gd name="T7" fmla="*/ 270 h 2099"/>
                  <a:gd name="T8" fmla="*/ 1087 w 1858"/>
                  <a:gd name="T9" fmla="*/ 283 h 2099"/>
                  <a:gd name="T10" fmla="*/ 1837 w 1858"/>
                  <a:gd name="T11" fmla="*/ 583 h 2099"/>
                  <a:gd name="T12" fmla="*/ 1713 w 1858"/>
                  <a:gd name="T13" fmla="*/ 532 h 2099"/>
                  <a:gd name="T14" fmla="*/ 1445 w 1858"/>
                  <a:gd name="T15" fmla="*/ 412 h 2099"/>
                  <a:gd name="T16" fmla="*/ 1377 w 1858"/>
                  <a:gd name="T17" fmla="*/ 411 h 2099"/>
                  <a:gd name="T18" fmla="*/ 1258 w 1858"/>
                  <a:gd name="T19" fmla="*/ 316 h 2099"/>
                  <a:gd name="T20" fmla="*/ 1154 w 1858"/>
                  <a:gd name="T21" fmla="*/ 423 h 2099"/>
                  <a:gd name="T22" fmla="*/ 1062 w 1858"/>
                  <a:gd name="T23" fmla="*/ 356 h 2099"/>
                  <a:gd name="T24" fmla="*/ 1095 w 1858"/>
                  <a:gd name="T25" fmla="*/ 270 h 2099"/>
                  <a:gd name="T26" fmla="*/ 1063 w 1858"/>
                  <a:gd name="T27" fmla="*/ 52 h 2099"/>
                  <a:gd name="T28" fmla="*/ 971 w 1858"/>
                  <a:gd name="T29" fmla="*/ 160 h 2099"/>
                  <a:gd name="T30" fmla="*/ 888 w 1858"/>
                  <a:gd name="T31" fmla="*/ 145 h 2099"/>
                  <a:gd name="T32" fmla="*/ 807 w 1858"/>
                  <a:gd name="T33" fmla="*/ 183 h 2099"/>
                  <a:gd name="T34" fmla="*/ 702 w 1858"/>
                  <a:gd name="T35" fmla="*/ 221 h 2099"/>
                  <a:gd name="T36" fmla="*/ 664 w 1858"/>
                  <a:gd name="T37" fmla="*/ 91 h 2099"/>
                  <a:gd name="T38" fmla="*/ 641 w 1858"/>
                  <a:gd name="T39" fmla="*/ 7 h 2099"/>
                  <a:gd name="T40" fmla="*/ 559 w 1858"/>
                  <a:gd name="T41" fmla="*/ 64 h 2099"/>
                  <a:gd name="T42" fmla="*/ 460 w 1858"/>
                  <a:gd name="T43" fmla="*/ 60 h 2099"/>
                  <a:gd name="T44" fmla="*/ 493 w 1858"/>
                  <a:gd name="T45" fmla="*/ 154 h 2099"/>
                  <a:gd name="T46" fmla="*/ 393 w 1858"/>
                  <a:gd name="T47" fmla="*/ 251 h 2099"/>
                  <a:gd name="T48" fmla="*/ 306 w 1858"/>
                  <a:gd name="T49" fmla="*/ 180 h 2099"/>
                  <a:gd name="T50" fmla="*/ 191 w 1858"/>
                  <a:gd name="T51" fmla="*/ 223 h 2099"/>
                  <a:gd name="T52" fmla="*/ 197 w 1858"/>
                  <a:gd name="T53" fmla="*/ 313 h 2099"/>
                  <a:gd name="T54" fmla="*/ 183 w 1858"/>
                  <a:gd name="T55" fmla="*/ 518 h 2099"/>
                  <a:gd name="T56" fmla="*/ 66 w 1858"/>
                  <a:gd name="T57" fmla="*/ 547 h 2099"/>
                  <a:gd name="T58" fmla="*/ 9 w 1858"/>
                  <a:gd name="T59" fmla="*/ 674 h 2099"/>
                  <a:gd name="T60" fmla="*/ 43 w 1858"/>
                  <a:gd name="T61" fmla="*/ 791 h 2099"/>
                  <a:gd name="T62" fmla="*/ 170 w 1858"/>
                  <a:gd name="T63" fmla="*/ 874 h 2099"/>
                  <a:gd name="T64" fmla="*/ 288 w 1858"/>
                  <a:gd name="T65" fmla="*/ 859 h 2099"/>
                  <a:gd name="T66" fmla="*/ 405 w 1858"/>
                  <a:gd name="T67" fmla="*/ 814 h 2099"/>
                  <a:gd name="T68" fmla="*/ 442 w 1858"/>
                  <a:gd name="T69" fmla="*/ 932 h 2099"/>
                  <a:gd name="T70" fmla="*/ 552 w 1858"/>
                  <a:gd name="T71" fmla="*/ 986 h 2099"/>
                  <a:gd name="T72" fmla="*/ 675 w 1858"/>
                  <a:gd name="T73" fmla="*/ 1092 h 2099"/>
                  <a:gd name="T74" fmla="*/ 816 w 1858"/>
                  <a:gd name="T75" fmla="*/ 1262 h 2099"/>
                  <a:gd name="T76" fmla="*/ 810 w 1858"/>
                  <a:gd name="T77" fmla="*/ 1406 h 2099"/>
                  <a:gd name="T78" fmla="*/ 987 w 1858"/>
                  <a:gd name="T79" fmla="*/ 1564 h 2099"/>
                  <a:gd name="T80" fmla="*/ 1043 w 1858"/>
                  <a:gd name="T81" fmla="*/ 1690 h 2099"/>
                  <a:gd name="T82" fmla="*/ 969 w 1858"/>
                  <a:gd name="T83" fmla="*/ 1810 h 2099"/>
                  <a:gd name="T84" fmla="*/ 915 w 1858"/>
                  <a:gd name="T85" fmla="*/ 1912 h 2099"/>
                  <a:gd name="T86" fmla="*/ 1049 w 1858"/>
                  <a:gd name="T87" fmla="*/ 1978 h 2099"/>
                  <a:gd name="T88" fmla="*/ 1118 w 1858"/>
                  <a:gd name="T89" fmla="*/ 2099 h 2099"/>
                  <a:gd name="T90" fmla="*/ 1165 w 1858"/>
                  <a:gd name="T91" fmla="*/ 1984 h 2099"/>
                  <a:gd name="T92" fmla="*/ 1208 w 1858"/>
                  <a:gd name="T93" fmla="*/ 1956 h 2099"/>
                  <a:gd name="T94" fmla="*/ 1200 w 1858"/>
                  <a:gd name="T95" fmla="*/ 1987 h 2099"/>
                  <a:gd name="T96" fmla="*/ 1294 w 1858"/>
                  <a:gd name="T97" fmla="*/ 1764 h 2099"/>
                  <a:gd name="T98" fmla="*/ 1279 w 1858"/>
                  <a:gd name="T99" fmla="*/ 1678 h 2099"/>
                  <a:gd name="T100" fmla="*/ 1311 w 1858"/>
                  <a:gd name="T101" fmla="*/ 1617 h 2099"/>
                  <a:gd name="T102" fmla="*/ 1412 w 1858"/>
                  <a:gd name="T103" fmla="*/ 1561 h 2099"/>
                  <a:gd name="T104" fmla="*/ 1459 w 1858"/>
                  <a:gd name="T105" fmla="*/ 1519 h 2099"/>
                  <a:gd name="T106" fmla="*/ 1571 w 1858"/>
                  <a:gd name="T107" fmla="*/ 1506 h 2099"/>
                  <a:gd name="T108" fmla="*/ 1629 w 1858"/>
                  <a:gd name="T109" fmla="*/ 1372 h 2099"/>
                  <a:gd name="T110" fmla="*/ 1671 w 1858"/>
                  <a:gd name="T111" fmla="*/ 1213 h 2099"/>
                  <a:gd name="T112" fmla="*/ 1674 w 1858"/>
                  <a:gd name="T113" fmla="*/ 972 h 2099"/>
                  <a:gd name="T114" fmla="*/ 1782 w 1858"/>
                  <a:gd name="T115" fmla="*/ 855 h 2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58" h="2099">
                    <a:moveTo>
                      <a:pt x="1146" y="299"/>
                    </a:moveTo>
                    <a:cubicBezTo>
                      <a:pt x="1140" y="298"/>
                      <a:pt x="1112" y="291"/>
                      <a:pt x="1102" y="293"/>
                    </a:cubicBezTo>
                    <a:cubicBezTo>
                      <a:pt x="1092" y="295"/>
                      <a:pt x="1103" y="318"/>
                      <a:pt x="1103" y="318"/>
                    </a:cubicBezTo>
                    <a:cubicBezTo>
                      <a:pt x="1092" y="320"/>
                      <a:pt x="1092" y="320"/>
                      <a:pt x="1092" y="320"/>
                    </a:cubicBezTo>
                    <a:cubicBezTo>
                      <a:pt x="1092" y="336"/>
                      <a:pt x="1092" y="336"/>
                      <a:pt x="1092" y="336"/>
                    </a:cubicBezTo>
                    <a:cubicBezTo>
                      <a:pt x="1106" y="342"/>
                      <a:pt x="1106" y="342"/>
                      <a:pt x="1106" y="342"/>
                    </a:cubicBezTo>
                    <a:cubicBezTo>
                      <a:pt x="1096" y="350"/>
                      <a:pt x="1096" y="350"/>
                      <a:pt x="1096" y="350"/>
                    </a:cubicBezTo>
                    <a:cubicBezTo>
                      <a:pt x="1096" y="350"/>
                      <a:pt x="1099" y="366"/>
                      <a:pt x="1105" y="376"/>
                    </a:cubicBezTo>
                    <a:cubicBezTo>
                      <a:pt x="1112" y="386"/>
                      <a:pt x="1132" y="380"/>
                      <a:pt x="1139" y="380"/>
                    </a:cubicBezTo>
                    <a:cubicBezTo>
                      <a:pt x="1145" y="380"/>
                      <a:pt x="1144" y="372"/>
                      <a:pt x="1144" y="372"/>
                    </a:cubicBezTo>
                    <a:cubicBezTo>
                      <a:pt x="1144" y="372"/>
                      <a:pt x="1157" y="368"/>
                      <a:pt x="1168" y="368"/>
                    </a:cubicBezTo>
                    <a:cubicBezTo>
                      <a:pt x="1179" y="368"/>
                      <a:pt x="1186" y="355"/>
                      <a:pt x="1186" y="355"/>
                    </a:cubicBezTo>
                    <a:cubicBezTo>
                      <a:pt x="1195" y="326"/>
                      <a:pt x="1195" y="326"/>
                      <a:pt x="1195" y="326"/>
                    </a:cubicBezTo>
                    <a:cubicBezTo>
                      <a:pt x="1195" y="326"/>
                      <a:pt x="1202" y="312"/>
                      <a:pt x="1201" y="299"/>
                    </a:cubicBezTo>
                    <a:cubicBezTo>
                      <a:pt x="1200" y="286"/>
                      <a:pt x="1180" y="291"/>
                      <a:pt x="1169" y="291"/>
                    </a:cubicBezTo>
                    <a:cubicBezTo>
                      <a:pt x="1169" y="291"/>
                      <a:pt x="1153" y="300"/>
                      <a:pt x="1146" y="299"/>
                    </a:cubicBezTo>
                    <a:close/>
                    <a:moveTo>
                      <a:pt x="1144" y="291"/>
                    </a:moveTo>
                    <a:cubicBezTo>
                      <a:pt x="1159" y="286"/>
                      <a:pt x="1159" y="286"/>
                      <a:pt x="1159" y="286"/>
                    </a:cubicBezTo>
                    <a:cubicBezTo>
                      <a:pt x="1147" y="275"/>
                      <a:pt x="1147" y="275"/>
                      <a:pt x="1147" y="275"/>
                    </a:cubicBezTo>
                    <a:cubicBezTo>
                      <a:pt x="1132" y="292"/>
                      <a:pt x="1132" y="292"/>
                      <a:pt x="1132" y="292"/>
                    </a:cubicBezTo>
                    <a:lnTo>
                      <a:pt x="1144" y="291"/>
                    </a:lnTo>
                    <a:close/>
                    <a:moveTo>
                      <a:pt x="1124" y="270"/>
                    </a:moveTo>
                    <a:cubicBezTo>
                      <a:pt x="1110" y="271"/>
                      <a:pt x="1110" y="271"/>
                      <a:pt x="1110" y="271"/>
                    </a:cubicBezTo>
                    <a:cubicBezTo>
                      <a:pt x="1109" y="282"/>
                      <a:pt x="1109" y="282"/>
                      <a:pt x="1109" y="282"/>
                    </a:cubicBezTo>
                    <a:cubicBezTo>
                      <a:pt x="1131" y="283"/>
                      <a:pt x="1131" y="283"/>
                      <a:pt x="1131" y="283"/>
                    </a:cubicBezTo>
                    <a:cubicBezTo>
                      <a:pt x="1143" y="266"/>
                      <a:pt x="1143" y="266"/>
                      <a:pt x="1143" y="266"/>
                    </a:cubicBezTo>
                    <a:cubicBezTo>
                      <a:pt x="1134" y="255"/>
                      <a:pt x="1134" y="255"/>
                      <a:pt x="1134" y="255"/>
                    </a:cubicBezTo>
                    <a:lnTo>
                      <a:pt x="1124" y="270"/>
                    </a:lnTo>
                    <a:close/>
                    <a:moveTo>
                      <a:pt x="1050" y="326"/>
                    </a:moveTo>
                    <a:cubicBezTo>
                      <a:pt x="1047" y="340"/>
                      <a:pt x="1047" y="340"/>
                      <a:pt x="1047" y="340"/>
                    </a:cubicBezTo>
                    <a:cubicBezTo>
                      <a:pt x="1037" y="363"/>
                      <a:pt x="1037" y="363"/>
                      <a:pt x="1037" y="363"/>
                    </a:cubicBezTo>
                    <a:cubicBezTo>
                      <a:pt x="1057" y="351"/>
                      <a:pt x="1057" y="351"/>
                      <a:pt x="1057" y="351"/>
                    </a:cubicBezTo>
                    <a:cubicBezTo>
                      <a:pt x="1057" y="351"/>
                      <a:pt x="1079" y="321"/>
                      <a:pt x="1071" y="316"/>
                    </a:cubicBezTo>
                    <a:cubicBezTo>
                      <a:pt x="1062" y="310"/>
                      <a:pt x="1050" y="326"/>
                      <a:pt x="1050" y="326"/>
                    </a:cubicBezTo>
                    <a:close/>
                    <a:moveTo>
                      <a:pt x="1087" y="283"/>
                    </a:moveTo>
                    <a:cubicBezTo>
                      <a:pt x="1074" y="299"/>
                      <a:pt x="1074" y="299"/>
                      <a:pt x="1074" y="299"/>
                    </a:cubicBezTo>
                    <a:cubicBezTo>
                      <a:pt x="1085" y="304"/>
                      <a:pt x="1085" y="304"/>
                      <a:pt x="1085" y="304"/>
                    </a:cubicBezTo>
                    <a:cubicBezTo>
                      <a:pt x="1096" y="287"/>
                      <a:pt x="1096" y="287"/>
                      <a:pt x="1096" y="287"/>
                    </a:cubicBezTo>
                    <a:lnTo>
                      <a:pt x="1087" y="283"/>
                    </a:lnTo>
                    <a:close/>
                    <a:moveTo>
                      <a:pt x="1855" y="667"/>
                    </a:moveTo>
                    <a:cubicBezTo>
                      <a:pt x="1855" y="650"/>
                      <a:pt x="1839" y="626"/>
                      <a:pt x="1838" y="615"/>
                    </a:cubicBezTo>
                    <a:cubicBezTo>
                      <a:pt x="1837" y="604"/>
                      <a:pt x="1837" y="592"/>
                      <a:pt x="1837" y="583"/>
                    </a:cubicBezTo>
                    <a:cubicBezTo>
                      <a:pt x="1837" y="574"/>
                      <a:pt x="1819" y="558"/>
                      <a:pt x="1819" y="558"/>
                    </a:cubicBezTo>
                    <a:cubicBezTo>
                      <a:pt x="1798" y="554"/>
                      <a:pt x="1798" y="554"/>
                      <a:pt x="1798" y="554"/>
                    </a:cubicBezTo>
                    <a:cubicBezTo>
                      <a:pt x="1764" y="559"/>
                      <a:pt x="1764" y="559"/>
                      <a:pt x="1764" y="559"/>
                    </a:cubicBezTo>
                    <a:cubicBezTo>
                      <a:pt x="1753" y="549"/>
                      <a:pt x="1753" y="549"/>
                      <a:pt x="1753" y="549"/>
                    </a:cubicBezTo>
                    <a:cubicBezTo>
                      <a:pt x="1740" y="548"/>
                      <a:pt x="1740" y="548"/>
                      <a:pt x="1740" y="548"/>
                    </a:cubicBezTo>
                    <a:cubicBezTo>
                      <a:pt x="1728" y="533"/>
                      <a:pt x="1728" y="533"/>
                      <a:pt x="1728" y="533"/>
                    </a:cubicBezTo>
                    <a:cubicBezTo>
                      <a:pt x="1713" y="532"/>
                      <a:pt x="1713" y="532"/>
                      <a:pt x="1713" y="532"/>
                    </a:cubicBezTo>
                    <a:cubicBezTo>
                      <a:pt x="1713" y="532"/>
                      <a:pt x="1695" y="512"/>
                      <a:pt x="1678" y="491"/>
                    </a:cubicBezTo>
                    <a:cubicBezTo>
                      <a:pt x="1661" y="470"/>
                      <a:pt x="1612" y="439"/>
                      <a:pt x="1596" y="438"/>
                    </a:cubicBezTo>
                    <a:cubicBezTo>
                      <a:pt x="1580" y="437"/>
                      <a:pt x="1547" y="439"/>
                      <a:pt x="1547" y="439"/>
                    </a:cubicBezTo>
                    <a:cubicBezTo>
                      <a:pt x="1547" y="449"/>
                      <a:pt x="1547" y="449"/>
                      <a:pt x="1547" y="449"/>
                    </a:cubicBezTo>
                    <a:cubicBezTo>
                      <a:pt x="1547" y="449"/>
                      <a:pt x="1532" y="439"/>
                      <a:pt x="1525" y="436"/>
                    </a:cubicBezTo>
                    <a:cubicBezTo>
                      <a:pt x="1518" y="433"/>
                      <a:pt x="1492" y="432"/>
                      <a:pt x="1492" y="432"/>
                    </a:cubicBezTo>
                    <a:cubicBezTo>
                      <a:pt x="1492" y="432"/>
                      <a:pt x="1464" y="415"/>
                      <a:pt x="1445" y="412"/>
                    </a:cubicBezTo>
                    <a:cubicBezTo>
                      <a:pt x="1426" y="409"/>
                      <a:pt x="1406" y="442"/>
                      <a:pt x="1406" y="442"/>
                    </a:cubicBezTo>
                    <a:cubicBezTo>
                      <a:pt x="1395" y="429"/>
                      <a:pt x="1395" y="429"/>
                      <a:pt x="1395" y="429"/>
                    </a:cubicBezTo>
                    <a:cubicBezTo>
                      <a:pt x="1395" y="451"/>
                      <a:pt x="1395" y="451"/>
                      <a:pt x="1395" y="451"/>
                    </a:cubicBezTo>
                    <a:cubicBezTo>
                      <a:pt x="1375" y="466"/>
                      <a:pt x="1375" y="466"/>
                      <a:pt x="1375" y="466"/>
                    </a:cubicBezTo>
                    <a:cubicBezTo>
                      <a:pt x="1386" y="422"/>
                      <a:pt x="1386" y="422"/>
                      <a:pt x="1386" y="422"/>
                    </a:cubicBezTo>
                    <a:cubicBezTo>
                      <a:pt x="1386" y="422"/>
                      <a:pt x="1404" y="412"/>
                      <a:pt x="1397" y="402"/>
                    </a:cubicBezTo>
                    <a:cubicBezTo>
                      <a:pt x="1390" y="392"/>
                      <a:pt x="1377" y="411"/>
                      <a:pt x="1377" y="411"/>
                    </a:cubicBezTo>
                    <a:cubicBezTo>
                      <a:pt x="1386" y="389"/>
                      <a:pt x="1386" y="389"/>
                      <a:pt x="1386" y="389"/>
                    </a:cubicBezTo>
                    <a:cubicBezTo>
                      <a:pt x="1386" y="389"/>
                      <a:pt x="1377" y="388"/>
                      <a:pt x="1378" y="381"/>
                    </a:cubicBezTo>
                    <a:cubicBezTo>
                      <a:pt x="1379" y="374"/>
                      <a:pt x="1358" y="365"/>
                      <a:pt x="1358" y="365"/>
                    </a:cubicBezTo>
                    <a:cubicBezTo>
                      <a:pt x="1350" y="377"/>
                      <a:pt x="1350" y="377"/>
                      <a:pt x="1350" y="377"/>
                    </a:cubicBezTo>
                    <a:cubicBezTo>
                      <a:pt x="1350" y="377"/>
                      <a:pt x="1337" y="360"/>
                      <a:pt x="1327" y="350"/>
                    </a:cubicBezTo>
                    <a:cubicBezTo>
                      <a:pt x="1317" y="340"/>
                      <a:pt x="1290" y="342"/>
                      <a:pt x="1286" y="338"/>
                    </a:cubicBezTo>
                    <a:cubicBezTo>
                      <a:pt x="1282" y="334"/>
                      <a:pt x="1258" y="316"/>
                      <a:pt x="1258" y="316"/>
                    </a:cubicBezTo>
                    <a:cubicBezTo>
                      <a:pt x="1252" y="324"/>
                      <a:pt x="1252" y="324"/>
                      <a:pt x="1252" y="324"/>
                    </a:cubicBezTo>
                    <a:cubicBezTo>
                      <a:pt x="1252" y="324"/>
                      <a:pt x="1231" y="323"/>
                      <a:pt x="1221" y="322"/>
                    </a:cubicBezTo>
                    <a:cubicBezTo>
                      <a:pt x="1211" y="321"/>
                      <a:pt x="1203" y="356"/>
                      <a:pt x="1203" y="356"/>
                    </a:cubicBezTo>
                    <a:cubicBezTo>
                      <a:pt x="1210" y="368"/>
                      <a:pt x="1210" y="368"/>
                      <a:pt x="1210" y="368"/>
                    </a:cubicBezTo>
                    <a:cubicBezTo>
                      <a:pt x="1210" y="368"/>
                      <a:pt x="1196" y="369"/>
                      <a:pt x="1188" y="369"/>
                    </a:cubicBezTo>
                    <a:cubicBezTo>
                      <a:pt x="1180" y="369"/>
                      <a:pt x="1168" y="391"/>
                      <a:pt x="1168" y="391"/>
                    </a:cubicBezTo>
                    <a:cubicBezTo>
                      <a:pt x="1168" y="391"/>
                      <a:pt x="1161" y="424"/>
                      <a:pt x="1154" y="423"/>
                    </a:cubicBezTo>
                    <a:cubicBezTo>
                      <a:pt x="1147" y="422"/>
                      <a:pt x="1163" y="397"/>
                      <a:pt x="1160" y="386"/>
                    </a:cubicBezTo>
                    <a:cubicBezTo>
                      <a:pt x="1157" y="375"/>
                      <a:pt x="1137" y="396"/>
                      <a:pt x="1137" y="396"/>
                    </a:cubicBezTo>
                    <a:cubicBezTo>
                      <a:pt x="1130" y="390"/>
                      <a:pt x="1130" y="390"/>
                      <a:pt x="1130" y="390"/>
                    </a:cubicBezTo>
                    <a:cubicBezTo>
                      <a:pt x="1130" y="390"/>
                      <a:pt x="1109" y="395"/>
                      <a:pt x="1098" y="388"/>
                    </a:cubicBezTo>
                    <a:cubicBezTo>
                      <a:pt x="1087" y="381"/>
                      <a:pt x="1089" y="371"/>
                      <a:pt x="1089" y="358"/>
                    </a:cubicBezTo>
                    <a:cubicBezTo>
                      <a:pt x="1089" y="345"/>
                      <a:pt x="1084" y="337"/>
                      <a:pt x="1084" y="337"/>
                    </a:cubicBezTo>
                    <a:cubicBezTo>
                      <a:pt x="1077" y="330"/>
                      <a:pt x="1062" y="356"/>
                      <a:pt x="1062" y="356"/>
                    </a:cubicBezTo>
                    <a:cubicBezTo>
                      <a:pt x="1062" y="356"/>
                      <a:pt x="1041" y="371"/>
                      <a:pt x="1029" y="373"/>
                    </a:cubicBezTo>
                    <a:cubicBezTo>
                      <a:pt x="1017" y="375"/>
                      <a:pt x="1003" y="368"/>
                      <a:pt x="1003" y="368"/>
                    </a:cubicBezTo>
                    <a:cubicBezTo>
                      <a:pt x="1029" y="360"/>
                      <a:pt x="1029" y="360"/>
                      <a:pt x="1029" y="360"/>
                    </a:cubicBezTo>
                    <a:cubicBezTo>
                      <a:pt x="1029" y="360"/>
                      <a:pt x="1039" y="348"/>
                      <a:pt x="1042" y="343"/>
                    </a:cubicBezTo>
                    <a:cubicBezTo>
                      <a:pt x="1045" y="338"/>
                      <a:pt x="1044" y="326"/>
                      <a:pt x="1044" y="326"/>
                    </a:cubicBezTo>
                    <a:cubicBezTo>
                      <a:pt x="1044" y="326"/>
                      <a:pt x="1053" y="320"/>
                      <a:pt x="1057" y="308"/>
                    </a:cubicBezTo>
                    <a:cubicBezTo>
                      <a:pt x="1061" y="296"/>
                      <a:pt x="1085" y="277"/>
                      <a:pt x="1095" y="270"/>
                    </a:cubicBezTo>
                    <a:cubicBezTo>
                      <a:pt x="1105" y="263"/>
                      <a:pt x="1107" y="254"/>
                      <a:pt x="1111" y="245"/>
                    </a:cubicBezTo>
                    <a:cubicBezTo>
                      <a:pt x="1115" y="236"/>
                      <a:pt x="1136" y="223"/>
                      <a:pt x="1136" y="223"/>
                    </a:cubicBezTo>
                    <a:cubicBezTo>
                      <a:pt x="1123" y="221"/>
                      <a:pt x="1123" y="221"/>
                      <a:pt x="1123" y="221"/>
                    </a:cubicBezTo>
                    <a:cubicBezTo>
                      <a:pt x="1123" y="221"/>
                      <a:pt x="1135" y="215"/>
                      <a:pt x="1135" y="199"/>
                    </a:cubicBezTo>
                    <a:cubicBezTo>
                      <a:pt x="1135" y="183"/>
                      <a:pt x="1108" y="192"/>
                      <a:pt x="1098" y="181"/>
                    </a:cubicBezTo>
                    <a:cubicBezTo>
                      <a:pt x="1088" y="170"/>
                      <a:pt x="1088" y="147"/>
                      <a:pt x="1084" y="110"/>
                    </a:cubicBezTo>
                    <a:cubicBezTo>
                      <a:pt x="1080" y="73"/>
                      <a:pt x="1072" y="55"/>
                      <a:pt x="1063" y="52"/>
                    </a:cubicBezTo>
                    <a:cubicBezTo>
                      <a:pt x="1054" y="49"/>
                      <a:pt x="1060" y="68"/>
                      <a:pt x="1060" y="72"/>
                    </a:cubicBezTo>
                    <a:cubicBezTo>
                      <a:pt x="1060" y="76"/>
                      <a:pt x="1050" y="71"/>
                      <a:pt x="1048" y="66"/>
                    </a:cubicBezTo>
                    <a:cubicBezTo>
                      <a:pt x="1048" y="66"/>
                      <a:pt x="1043" y="83"/>
                      <a:pt x="1036" y="89"/>
                    </a:cubicBezTo>
                    <a:cubicBezTo>
                      <a:pt x="1029" y="95"/>
                      <a:pt x="1020" y="110"/>
                      <a:pt x="1017" y="120"/>
                    </a:cubicBezTo>
                    <a:cubicBezTo>
                      <a:pt x="1014" y="130"/>
                      <a:pt x="1013" y="149"/>
                      <a:pt x="996" y="163"/>
                    </a:cubicBezTo>
                    <a:cubicBezTo>
                      <a:pt x="996" y="163"/>
                      <a:pt x="981" y="169"/>
                      <a:pt x="975" y="169"/>
                    </a:cubicBezTo>
                    <a:cubicBezTo>
                      <a:pt x="975" y="168"/>
                      <a:pt x="971" y="160"/>
                      <a:pt x="971" y="160"/>
                    </a:cubicBezTo>
                    <a:cubicBezTo>
                      <a:pt x="967" y="165"/>
                      <a:pt x="967" y="165"/>
                      <a:pt x="967" y="165"/>
                    </a:cubicBezTo>
                    <a:cubicBezTo>
                      <a:pt x="957" y="163"/>
                      <a:pt x="957" y="163"/>
                      <a:pt x="957" y="163"/>
                    </a:cubicBezTo>
                    <a:cubicBezTo>
                      <a:pt x="957" y="163"/>
                      <a:pt x="953" y="155"/>
                      <a:pt x="947" y="161"/>
                    </a:cubicBezTo>
                    <a:cubicBezTo>
                      <a:pt x="941" y="167"/>
                      <a:pt x="943" y="173"/>
                      <a:pt x="929" y="172"/>
                    </a:cubicBezTo>
                    <a:cubicBezTo>
                      <a:pt x="915" y="171"/>
                      <a:pt x="913" y="161"/>
                      <a:pt x="913" y="161"/>
                    </a:cubicBezTo>
                    <a:cubicBezTo>
                      <a:pt x="900" y="155"/>
                      <a:pt x="900" y="155"/>
                      <a:pt x="900" y="155"/>
                    </a:cubicBezTo>
                    <a:cubicBezTo>
                      <a:pt x="900" y="155"/>
                      <a:pt x="896" y="144"/>
                      <a:pt x="888" y="145"/>
                    </a:cubicBezTo>
                    <a:cubicBezTo>
                      <a:pt x="880" y="146"/>
                      <a:pt x="871" y="157"/>
                      <a:pt x="871" y="157"/>
                    </a:cubicBezTo>
                    <a:cubicBezTo>
                      <a:pt x="853" y="157"/>
                      <a:pt x="853" y="157"/>
                      <a:pt x="853" y="157"/>
                    </a:cubicBezTo>
                    <a:cubicBezTo>
                      <a:pt x="853" y="157"/>
                      <a:pt x="854" y="148"/>
                      <a:pt x="848" y="149"/>
                    </a:cubicBezTo>
                    <a:cubicBezTo>
                      <a:pt x="842" y="150"/>
                      <a:pt x="838" y="160"/>
                      <a:pt x="841" y="166"/>
                    </a:cubicBezTo>
                    <a:cubicBezTo>
                      <a:pt x="844" y="172"/>
                      <a:pt x="858" y="182"/>
                      <a:pt x="849" y="186"/>
                    </a:cubicBezTo>
                    <a:cubicBezTo>
                      <a:pt x="840" y="190"/>
                      <a:pt x="811" y="174"/>
                      <a:pt x="811" y="174"/>
                    </a:cubicBezTo>
                    <a:cubicBezTo>
                      <a:pt x="811" y="174"/>
                      <a:pt x="815" y="181"/>
                      <a:pt x="807" y="183"/>
                    </a:cubicBezTo>
                    <a:cubicBezTo>
                      <a:pt x="799" y="185"/>
                      <a:pt x="797" y="174"/>
                      <a:pt x="787" y="175"/>
                    </a:cubicBezTo>
                    <a:cubicBezTo>
                      <a:pt x="777" y="176"/>
                      <a:pt x="773" y="192"/>
                      <a:pt x="773" y="192"/>
                    </a:cubicBezTo>
                    <a:cubicBezTo>
                      <a:pt x="752" y="193"/>
                      <a:pt x="752" y="193"/>
                      <a:pt x="752" y="193"/>
                    </a:cubicBezTo>
                    <a:cubicBezTo>
                      <a:pt x="751" y="201"/>
                      <a:pt x="751" y="201"/>
                      <a:pt x="751" y="201"/>
                    </a:cubicBezTo>
                    <a:cubicBezTo>
                      <a:pt x="751" y="201"/>
                      <a:pt x="739" y="198"/>
                      <a:pt x="733" y="202"/>
                    </a:cubicBezTo>
                    <a:cubicBezTo>
                      <a:pt x="727" y="206"/>
                      <a:pt x="732" y="219"/>
                      <a:pt x="722" y="220"/>
                    </a:cubicBezTo>
                    <a:cubicBezTo>
                      <a:pt x="712" y="221"/>
                      <a:pt x="702" y="221"/>
                      <a:pt x="702" y="221"/>
                    </a:cubicBezTo>
                    <a:cubicBezTo>
                      <a:pt x="698" y="210"/>
                      <a:pt x="698" y="210"/>
                      <a:pt x="698" y="210"/>
                    </a:cubicBezTo>
                    <a:cubicBezTo>
                      <a:pt x="689" y="210"/>
                      <a:pt x="689" y="210"/>
                      <a:pt x="689" y="210"/>
                    </a:cubicBezTo>
                    <a:cubicBezTo>
                      <a:pt x="668" y="186"/>
                      <a:pt x="668" y="186"/>
                      <a:pt x="668" y="186"/>
                    </a:cubicBezTo>
                    <a:cubicBezTo>
                      <a:pt x="668" y="186"/>
                      <a:pt x="668" y="174"/>
                      <a:pt x="668" y="166"/>
                    </a:cubicBezTo>
                    <a:cubicBezTo>
                      <a:pt x="668" y="158"/>
                      <a:pt x="651" y="155"/>
                      <a:pt x="651" y="145"/>
                    </a:cubicBezTo>
                    <a:cubicBezTo>
                      <a:pt x="651" y="135"/>
                      <a:pt x="659" y="119"/>
                      <a:pt x="659" y="119"/>
                    </a:cubicBezTo>
                    <a:cubicBezTo>
                      <a:pt x="664" y="91"/>
                      <a:pt x="664" y="91"/>
                      <a:pt x="664" y="91"/>
                    </a:cubicBezTo>
                    <a:cubicBezTo>
                      <a:pt x="664" y="91"/>
                      <a:pt x="677" y="79"/>
                      <a:pt x="678" y="73"/>
                    </a:cubicBezTo>
                    <a:cubicBezTo>
                      <a:pt x="679" y="67"/>
                      <a:pt x="670" y="63"/>
                      <a:pt x="670" y="63"/>
                    </a:cubicBezTo>
                    <a:cubicBezTo>
                      <a:pt x="671" y="44"/>
                      <a:pt x="671" y="44"/>
                      <a:pt x="671" y="44"/>
                    </a:cubicBezTo>
                    <a:cubicBezTo>
                      <a:pt x="671" y="44"/>
                      <a:pt x="649" y="50"/>
                      <a:pt x="649" y="41"/>
                    </a:cubicBezTo>
                    <a:cubicBezTo>
                      <a:pt x="649" y="41"/>
                      <a:pt x="661" y="29"/>
                      <a:pt x="658" y="15"/>
                    </a:cubicBezTo>
                    <a:cubicBezTo>
                      <a:pt x="655" y="1"/>
                      <a:pt x="646" y="0"/>
                      <a:pt x="646" y="0"/>
                    </a:cubicBezTo>
                    <a:cubicBezTo>
                      <a:pt x="641" y="7"/>
                      <a:pt x="641" y="7"/>
                      <a:pt x="641" y="7"/>
                    </a:cubicBezTo>
                    <a:cubicBezTo>
                      <a:pt x="625" y="5"/>
                      <a:pt x="625" y="5"/>
                      <a:pt x="625" y="5"/>
                    </a:cubicBezTo>
                    <a:cubicBezTo>
                      <a:pt x="625" y="5"/>
                      <a:pt x="631" y="19"/>
                      <a:pt x="627" y="26"/>
                    </a:cubicBezTo>
                    <a:cubicBezTo>
                      <a:pt x="623" y="33"/>
                      <a:pt x="612" y="31"/>
                      <a:pt x="612" y="31"/>
                    </a:cubicBezTo>
                    <a:cubicBezTo>
                      <a:pt x="614" y="41"/>
                      <a:pt x="614" y="41"/>
                      <a:pt x="614" y="41"/>
                    </a:cubicBezTo>
                    <a:cubicBezTo>
                      <a:pt x="596" y="40"/>
                      <a:pt x="596" y="40"/>
                      <a:pt x="596" y="40"/>
                    </a:cubicBezTo>
                    <a:cubicBezTo>
                      <a:pt x="596" y="40"/>
                      <a:pt x="584" y="45"/>
                      <a:pt x="582" y="51"/>
                    </a:cubicBezTo>
                    <a:cubicBezTo>
                      <a:pt x="580" y="57"/>
                      <a:pt x="566" y="64"/>
                      <a:pt x="559" y="64"/>
                    </a:cubicBezTo>
                    <a:cubicBezTo>
                      <a:pt x="552" y="64"/>
                      <a:pt x="546" y="56"/>
                      <a:pt x="538" y="59"/>
                    </a:cubicBezTo>
                    <a:cubicBezTo>
                      <a:pt x="530" y="62"/>
                      <a:pt x="533" y="96"/>
                      <a:pt x="524" y="96"/>
                    </a:cubicBezTo>
                    <a:cubicBezTo>
                      <a:pt x="515" y="96"/>
                      <a:pt x="504" y="77"/>
                      <a:pt x="500" y="73"/>
                    </a:cubicBezTo>
                    <a:cubicBezTo>
                      <a:pt x="496" y="69"/>
                      <a:pt x="491" y="77"/>
                      <a:pt x="491" y="77"/>
                    </a:cubicBezTo>
                    <a:cubicBezTo>
                      <a:pt x="481" y="71"/>
                      <a:pt x="481" y="71"/>
                      <a:pt x="481" y="71"/>
                    </a:cubicBezTo>
                    <a:cubicBezTo>
                      <a:pt x="481" y="71"/>
                      <a:pt x="469" y="79"/>
                      <a:pt x="467" y="76"/>
                    </a:cubicBezTo>
                    <a:cubicBezTo>
                      <a:pt x="465" y="73"/>
                      <a:pt x="471" y="64"/>
                      <a:pt x="460" y="60"/>
                    </a:cubicBezTo>
                    <a:cubicBezTo>
                      <a:pt x="449" y="56"/>
                      <a:pt x="440" y="64"/>
                      <a:pt x="437" y="61"/>
                    </a:cubicBezTo>
                    <a:cubicBezTo>
                      <a:pt x="434" y="58"/>
                      <a:pt x="431" y="52"/>
                      <a:pt x="431" y="52"/>
                    </a:cubicBezTo>
                    <a:cubicBezTo>
                      <a:pt x="431" y="52"/>
                      <a:pt x="421" y="71"/>
                      <a:pt x="443" y="82"/>
                    </a:cubicBezTo>
                    <a:cubicBezTo>
                      <a:pt x="465" y="93"/>
                      <a:pt x="450" y="117"/>
                      <a:pt x="450" y="117"/>
                    </a:cubicBezTo>
                    <a:cubicBezTo>
                      <a:pt x="450" y="117"/>
                      <a:pt x="463" y="128"/>
                      <a:pt x="463" y="135"/>
                    </a:cubicBezTo>
                    <a:cubicBezTo>
                      <a:pt x="463" y="142"/>
                      <a:pt x="463" y="151"/>
                      <a:pt x="463" y="151"/>
                    </a:cubicBezTo>
                    <a:cubicBezTo>
                      <a:pt x="493" y="154"/>
                      <a:pt x="493" y="154"/>
                      <a:pt x="493" y="154"/>
                    </a:cubicBezTo>
                    <a:cubicBezTo>
                      <a:pt x="493" y="154"/>
                      <a:pt x="500" y="168"/>
                      <a:pt x="488" y="174"/>
                    </a:cubicBezTo>
                    <a:cubicBezTo>
                      <a:pt x="476" y="180"/>
                      <a:pt x="463" y="177"/>
                      <a:pt x="463" y="177"/>
                    </a:cubicBezTo>
                    <a:cubicBezTo>
                      <a:pt x="463" y="177"/>
                      <a:pt x="464" y="202"/>
                      <a:pt x="451" y="206"/>
                    </a:cubicBezTo>
                    <a:cubicBezTo>
                      <a:pt x="438" y="210"/>
                      <a:pt x="433" y="214"/>
                      <a:pt x="433" y="214"/>
                    </a:cubicBezTo>
                    <a:cubicBezTo>
                      <a:pt x="431" y="220"/>
                      <a:pt x="431" y="220"/>
                      <a:pt x="431" y="220"/>
                    </a:cubicBezTo>
                    <a:cubicBezTo>
                      <a:pt x="431" y="220"/>
                      <a:pt x="419" y="218"/>
                      <a:pt x="413" y="222"/>
                    </a:cubicBezTo>
                    <a:cubicBezTo>
                      <a:pt x="407" y="226"/>
                      <a:pt x="401" y="251"/>
                      <a:pt x="393" y="251"/>
                    </a:cubicBezTo>
                    <a:cubicBezTo>
                      <a:pt x="385" y="251"/>
                      <a:pt x="396" y="234"/>
                      <a:pt x="387" y="232"/>
                    </a:cubicBezTo>
                    <a:cubicBezTo>
                      <a:pt x="378" y="230"/>
                      <a:pt x="367" y="252"/>
                      <a:pt x="357" y="246"/>
                    </a:cubicBezTo>
                    <a:cubicBezTo>
                      <a:pt x="357" y="246"/>
                      <a:pt x="345" y="244"/>
                      <a:pt x="341" y="239"/>
                    </a:cubicBezTo>
                    <a:cubicBezTo>
                      <a:pt x="337" y="234"/>
                      <a:pt x="330" y="221"/>
                      <a:pt x="330" y="221"/>
                    </a:cubicBezTo>
                    <a:cubicBezTo>
                      <a:pt x="313" y="221"/>
                      <a:pt x="313" y="221"/>
                      <a:pt x="313" y="221"/>
                    </a:cubicBezTo>
                    <a:cubicBezTo>
                      <a:pt x="313" y="221"/>
                      <a:pt x="313" y="193"/>
                      <a:pt x="311" y="187"/>
                    </a:cubicBezTo>
                    <a:cubicBezTo>
                      <a:pt x="309" y="181"/>
                      <a:pt x="306" y="180"/>
                      <a:pt x="306" y="180"/>
                    </a:cubicBezTo>
                    <a:cubicBezTo>
                      <a:pt x="306" y="180"/>
                      <a:pt x="311" y="173"/>
                      <a:pt x="304" y="170"/>
                    </a:cubicBezTo>
                    <a:cubicBezTo>
                      <a:pt x="297" y="167"/>
                      <a:pt x="288" y="190"/>
                      <a:pt x="282" y="191"/>
                    </a:cubicBezTo>
                    <a:cubicBezTo>
                      <a:pt x="276" y="192"/>
                      <a:pt x="271" y="176"/>
                      <a:pt x="265" y="176"/>
                    </a:cubicBezTo>
                    <a:cubicBezTo>
                      <a:pt x="259" y="176"/>
                      <a:pt x="259" y="193"/>
                      <a:pt x="259" y="193"/>
                    </a:cubicBezTo>
                    <a:cubicBezTo>
                      <a:pt x="215" y="197"/>
                      <a:pt x="215" y="197"/>
                      <a:pt x="215" y="197"/>
                    </a:cubicBezTo>
                    <a:cubicBezTo>
                      <a:pt x="215" y="197"/>
                      <a:pt x="201" y="184"/>
                      <a:pt x="192" y="189"/>
                    </a:cubicBezTo>
                    <a:cubicBezTo>
                      <a:pt x="183" y="194"/>
                      <a:pt x="191" y="223"/>
                      <a:pt x="191" y="223"/>
                    </a:cubicBezTo>
                    <a:cubicBezTo>
                      <a:pt x="207" y="230"/>
                      <a:pt x="207" y="230"/>
                      <a:pt x="207" y="230"/>
                    </a:cubicBezTo>
                    <a:cubicBezTo>
                      <a:pt x="214" y="228"/>
                      <a:pt x="214" y="228"/>
                      <a:pt x="214" y="228"/>
                    </a:cubicBezTo>
                    <a:cubicBezTo>
                      <a:pt x="214" y="228"/>
                      <a:pt x="233" y="248"/>
                      <a:pt x="220" y="250"/>
                    </a:cubicBezTo>
                    <a:cubicBezTo>
                      <a:pt x="207" y="252"/>
                      <a:pt x="198" y="248"/>
                      <a:pt x="198" y="248"/>
                    </a:cubicBezTo>
                    <a:cubicBezTo>
                      <a:pt x="176" y="253"/>
                      <a:pt x="176" y="253"/>
                      <a:pt x="176" y="253"/>
                    </a:cubicBezTo>
                    <a:cubicBezTo>
                      <a:pt x="174" y="295"/>
                      <a:pt x="174" y="295"/>
                      <a:pt x="174" y="295"/>
                    </a:cubicBezTo>
                    <a:cubicBezTo>
                      <a:pt x="174" y="295"/>
                      <a:pt x="195" y="304"/>
                      <a:pt x="197" y="313"/>
                    </a:cubicBezTo>
                    <a:cubicBezTo>
                      <a:pt x="199" y="322"/>
                      <a:pt x="200" y="334"/>
                      <a:pt x="200" y="334"/>
                    </a:cubicBezTo>
                    <a:cubicBezTo>
                      <a:pt x="200" y="334"/>
                      <a:pt x="214" y="349"/>
                      <a:pt x="213" y="356"/>
                    </a:cubicBezTo>
                    <a:cubicBezTo>
                      <a:pt x="212" y="363"/>
                      <a:pt x="202" y="374"/>
                      <a:pt x="202" y="374"/>
                    </a:cubicBezTo>
                    <a:cubicBezTo>
                      <a:pt x="204" y="408"/>
                      <a:pt x="204" y="408"/>
                      <a:pt x="204" y="408"/>
                    </a:cubicBezTo>
                    <a:cubicBezTo>
                      <a:pt x="193" y="438"/>
                      <a:pt x="193" y="438"/>
                      <a:pt x="193" y="438"/>
                    </a:cubicBezTo>
                    <a:cubicBezTo>
                      <a:pt x="191" y="488"/>
                      <a:pt x="191" y="488"/>
                      <a:pt x="191" y="488"/>
                    </a:cubicBezTo>
                    <a:cubicBezTo>
                      <a:pt x="191" y="488"/>
                      <a:pt x="188" y="515"/>
                      <a:pt x="183" y="518"/>
                    </a:cubicBezTo>
                    <a:cubicBezTo>
                      <a:pt x="178" y="521"/>
                      <a:pt x="171" y="518"/>
                      <a:pt x="171" y="518"/>
                    </a:cubicBezTo>
                    <a:cubicBezTo>
                      <a:pt x="171" y="518"/>
                      <a:pt x="167" y="505"/>
                      <a:pt x="157" y="506"/>
                    </a:cubicBezTo>
                    <a:cubicBezTo>
                      <a:pt x="147" y="507"/>
                      <a:pt x="136" y="522"/>
                      <a:pt x="136" y="522"/>
                    </a:cubicBezTo>
                    <a:cubicBezTo>
                      <a:pt x="117" y="519"/>
                      <a:pt x="117" y="519"/>
                      <a:pt x="117" y="519"/>
                    </a:cubicBezTo>
                    <a:cubicBezTo>
                      <a:pt x="115" y="526"/>
                      <a:pt x="115" y="526"/>
                      <a:pt x="115" y="526"/>
                    </a:cubicBezTo>
                    <a:cubicBezTo>
                      <a:pt x="94" y="526"/>
                      <a:pt x="94" y="526"/>
                      <a:pt x="94" y="526"/>
                    </a:cubicBezTo>
                    <a:cubicBezTo>
                      <a:pt x="94" y="526"/>
                      <a:pt x="68" y="543"/>
                      <a:pt x="66" y="547"/>
                    </a:cubicBezTo>
                    <a:cubicBezTo>
                      <a:pt x="64" y="551"/>
                      <a:pt x="63" y="559"/>
                      <a:pt x="63" y="559"/>
                    </a:cubicBezTo>
                    <a:cubicBezTo>
                      <a:pt x="47" y="559"/>
                      <a:pt x="47" y="559"/>
                      <a:pt x="47" y="559"/>
                    </a:cubicBezTo>
                    <a:cubicBezTo>
                      <a:pt x="46" y="597"/>
                      <a:pt x="46" y="597"/>
                      <a:pt x="46" y="597"/>
                    </a:cubicBezTo>
                    <a:cubicBezTo>
                      <a:pt x="46" y="597"/>
                      <a:pt x="31" y="606"/>
                      <a:pt x="33" y="613"/>
                    </a:cubicBezTo>
                    <a:cubicBezTo>
                      <a:pt x="35" y="620"/>
                      <a:pt x="45" y="645"/>
                      <a:pt x="39" y="636"/>
                    </a:cubicBezTo>
                    <a:cubicBezTo>
                      <a:pt x="33" y="627"/>
                      <a:pt x="20" y="644"/>
                      <a:pt x="12" y="652"/>
                    </a:cubicBezTo>
                    <a:cubicBezTo>
                      <a:pt x="4" y="660"/>
                      <a:pt x="9" y="674"/>
                      <a:pt x="9" y="674"/>
                    </a:cubicBezTo>
                    <a:cubicBezTo>
                      <a:pt x="15" y="678"/>
                      <a:pt x="15" y="678"/>
                      <a:pt x="15" y="678"/>
                    </a:cubicBezTo>
                    <a:cubicBezTo>
                      <a:pt x="15" y="678"/>
                      <a:pt x="0" y="686"/>
                      <a:pt x="0" y="691"/>
                    </a:cubicBezTo>
                    <a:cubicBezTo>
                      <a:pt x="0" y="696"/>
                      <a:pt x="15" y="702"/>
                      <a:pt x="15" y="702"/>
                    </a:cubicBezTo>
                    <a:cubicBezTo>
                      <a:pt x="17" y="720"/>
                      <a:pt x="17" y="720"/>
                      <a:pt x="17" y="720"/>
                    </a:cubicBezTo>
                    <a:cubicBezTo>
                      <a:pt x="17" y="720"/>
                      <a:pt x="30" y="741"/>
                      <a:pt x="35" y="747"/>
                    </a:cubicBezTo>
                    <a:cubicBezTo>
                      <a:pt x="40" y="753"/>
                      <a:pt x="62" y="768"/>
                      <a:pt x="60" y="773"/>
                    </a:cubicBezTo>
                    <a:cubicBezTo>
                      <a:pt x="58" y="778"/>
                      <a:pt x="43" y="791"/>
                      <a:pt x="43" y="791"/>
                    </a:cubicBezTo>
                    <a:cubicBezTo>
                      <a:pt x="43" y="791"/>
                      <a:pt x="79" y="790"/>
                      <a:pt x="82" y="797"/>
                    </a:cubicBezTo>
                    <a:cubicBezTo>
                      <a:pt x="85" y="804"/>
                      <a:pt x="93" y="823"/>
                      <a:pt x="93" y="823"/>
                    </a:cubicBezTo>
                    <a:cubicBezTo>
                      <a:pt x="135" y="819"/>
                      <a:pt x="135" y="819"/>
                      <a:pt x="135" y="819"/>
                    </a:cubicBezTo>
                    <a:cubicBezTo>
                      <a:pt x="169" y="789"/>
                      <a:pt x="169" y="789"/>
                      <a:pt x="169" y="789"/>
                    </a:cubicBezTo>
                    <a:cubicBezTo>
                      <a:pt x="169" y="789"/>
                      <a:pt x="174" y="812"/>
                      <a:pt x="172" y="816"/>
                    </a:cubicBezTo>
                    <a:cubicBezTo>
                      <a:pt x="170" y="820"/>
                      <a:pt x="165" y="834"/>
                      <a:pt x="167" y="844"/>
                    </a:cubicBezTo>
                    <a:cubicBezTo>
                      <a:pt x="169" y="854"/>
                      <a:pt x="170" y="874"/>
                      <a:pt x="170" y="874"/>
                    </a:cubicBezTo>
                    <a:cubicBezTo>
                      <a:pt x="177" y="873"/>
                      <a:pt x="177" y="873"/>
                      <a:pt x="177" y="873"/>
                    </a:cubicBezTo>
                    <a:cubicBezTo>
                      <a:pt x="177" y="873"/>
                      <a:pt x="177" y="881"/>
                      <a:pt x="185" y="881"/>
                    </a:cubicBezTo>
                    <a:cubicBezTo>
                      <a:pt x="193" y="881"/>
                      <a:pt x="189" y="872"/>
                      <a:pt x="200" y="872"/>
                    </a:cubicBezTo>
                    <a:cubicBezTo>
                      <a:pt x="211" y="872"/>
                      <a:pt x="246" y="875"/>
                      <a:pt x="246" y="875"/>
                    </a:cubicBezTo>
                    <a:cubicBezTo>
                      <a:pt x="246" y="875"/>
                      <a:pt x="249" y="886"/>
                      <a:pt x="262" y="883"/>
                    </a:cubicBezTo>
                    <a:cubicBezTo>
                      <a:pt x="275" y="880"/>
                      <a:pt x="283" y="871"/>
                      <a:pt x="283" y="871"/>
                    </a:cubicBezTo>
                    <a:cubicBezTo>
                      <a:pt x="288" y="859"/>
                      <a:pt x="288" y="859"/>
                      <a:pt x="288" y="859"/>
                    </a:cubicBezTo>
                    <a:cubicBezTo>
                      <a:pt x="312" y="858"/>
                      <a:pt x="312" y="858"/>
                      <a:pt x="312" y="858"/>
                    </a:cubicBezTo>
                    <a:cubicBezTo>
                      <a:pt x="316" y="840"/>
                      <a:pt x="316" y="840"/>
                      <a:pt x="316" y="840"/>
                    </a:cubicBezTo>
                    <a:cubicBezTo>
                      <a:pt x="340" y="841"/>
                      <a:pt x="340" y="841"/>
                      <a:pt x="340" y="841"/>
                    </a:cubicBezTo>
                    <a:cubicBezTo>
                      <a:pt x="340" y="841"/>
                      <a:pt x="350" y="815"/>
                      <a:pt x="363" y="815"/>
                    </a:cubicBezTo>
                    <a:cubicBezTo>
                      <a:pt x="376" y="815"/>
                      <a:pt x="386" y="816"/>
                      <a:pt x="386" y="816"/>
                    </a:cubicBezTo>
                    <a:cubicBezTo>
                      <a:pt x="395" y="808"/>
                      <a:pt x="395" y="808"/>
                      <a:pt x="395" y="808"/>
                    </a:cubicBezTo>
                    <a:cubicBezTo>
                      <a:pt x="395" y="808"/>
                      <a:pt x="404" y="818"/>
                      <a:pt x="405" y="814"/>
                    </a:cubicBezTo>
                    <a:cubicBezTo>
                      <a:pt x="406" y="810"/>
                      <a:pt x="419" y="802"/>
                      <a:pt x="423" y="806"/>
                    </a:cubicBezTo>
                    <a:cubicBezTo>
                      <a:pt x="427" y="810"/>
                      <a:pt x="419" y="837"/>
                      <a:pt x="419" y="837"/>
                    </a:cubicBezTo>
                    <a:cubicBezTo>
                      <a:pt x="419" y="837"/>
                      <a:pt x="411" y="850"/>
                      <a:pt x="412" y="854"/>
                    </a:cubicBezTo>
                    <a:cubicBezTo>
                      <a:pt x="413" y="858"/>
                      <a:pt x="422" y="866"/>
                      <a:pt x="422" y="875"/>
                    </a:cubicBezTo>
                    <a:cubicBezTo>
                      <a:pt x="422" y="884"/>
                      <a:pt x="415" y="890"/>
                      <a:pt x="422" y="899"/>
                    </a:cubicBezTo>
                    <a:cubicBezTo>
                      <a:pt x="429" y="908"/>
                      <a:pt x="436" y="912"/>
                      <a:pt x="436" y="912"/>
                    </a:cubicBezTo>
                    <a:cubicBezTo>
                      <a:pt x="442" y="932"/>
                      <a:pt x="442" y="932"/>
                      <a:pt x="442" y="932"/>
                    </a:cubicBezTo>
                    <a:cubicBezTo>
                      <a:pt x="442" y="932"/>
                      <a:pt x="458" y="930"/>
                      <a:pt x="461" y="935"/>
                    </a:cubicBezTo>
                    <a:cubicBezTo>
                      <a:pt x="464" y="940"/>
                      <a:pt x="460" y="951"/>
                      <a:pt x="470" y="955"/>
                    </a:cubicBezTo>
                    <a:cubicBezTo>
                      <a:pt x="480" y="959"/>
                      <a:pt x="484" y="959"/>
                      <a:pt x="488" y="960"/>
                    </a:cubicBezTo>
                    <a:cubicBezTo>
                      <a:pt x="492" y="961"/>
                      <a:pt x="502" y="954"/>
                      <a:pt x="502" y="954"/>
                    </a:cubicBezTo>
                    <a:cubicBezTo>
                      <a:pt x="502" y="954"/>
                      <a:pt x="508" y="968"/>
                      <a:pt x="516" y="968"/>
                    </a:cubicBezTo>
                    <a:cubicBezTo>
                      <a:pt x="524" y="968"/>
                      <a:pt x="531" y="961"/>
                      <a:pt x="532" y="965"/>
                    </a:cubicBezTo>
                    <a:cubicBezTo>
                      <a:pt x="533" y="969"/>
                      <a:pt x="541" y="981"/>
                      <a:pt x="552" y="986"/>
                    </a:cubicBezTo>
                    <a:cubicBezTo>
                      <a:pt x="563" y="991"/>
                      <a:pt x="579" y="992"/>
                      <a:pt x="579" y="992"/>
                    </a:cubicBezTo>
                    <a:cubicBezTo>
                      <a:pt x="579" y="992"/>
                      <a:pt x="588" y="1012"/>
                      <a:pt x="598" y="1013"/>
                    </a:cubicBezTo>
                    <a:cubicBezTo>
                      <a:pt x="608" y="1014"/>
                      <a:pt x="619" y="1009"/>
                      <a:pt x="630" y="1011"/>
                    </a:cubicBezTo>
                    <a:cubicBezTo>
                      <a:pt x="641" y="1013"/>
                      <a:pt x="661" y="1022"/>
                      <a:pt x="662" y="1032"/>
                    </a:cubicBezTo>
                    <a:cubicBezTo>
                      <a:pt x="663" y="1042"/>
                      <a:pt x="658" y="1045"/>
                      <a:pt x="662" y="1052"/>
                    </a:cubicBezTo>
                    <a:cubicBezTo>
                      <a:pt x="666" y="1059"/>
                      <a:pt x="673" y="1071"/>
                      <a:pt x="673" y="1071"/>
                    </a:cubicBezTo>
                    <a:cubicBezTo>
                      <a:pt x="675" y="1092"/>
                      <a:pt x="675" y="1092"/>
                      <a:pt x="675" y="1092"/>
                    </a:cubicBezTo>
                    <a:cubicBezTo>
                      <a:pt x="675" y="1092"/>
                      <a:pt x="660" y="1090"/>
                      <a:pt x="662" y="1096"/>
                    </a:cubicBezTo>
                    <a:cubicBezTo>
                      <a:pt x="664" y="1102"/>
                      <a:pt x="680" y="1116"/>
                      <a:pt x="680" y="1116"/>
                    </a:cubicBezTo>
                    <a:cubicBezTo>
                      <a:pt x="680" y="1116"/>
                      <a:pt x="670" y="1147"/>
                      <a:pt x="683" y="1156"/>
                    </a:cubicBezTo>
                    <a:cubicBezTo>
                      <a:pt x="696" y="1165"/>
                      <a:pt x="773" y="1163"/>
                      <a:pt x="773" y="1163"/>
                    </a:cubicBezTo>
                    <a:cubicBezTo>
                      <a:pt x="773" y="1163"/>
                      <a:pt x="762" y="1197"/>
                      <a:pt x="769" y="1206"/>
                    </a:cubicBezTo>
                    <a:cubicBezTo>
                      <a:pt x="776" y="1215"/>
                      <a:pt x="785" y="1216"/>
                      <a:pt x="796" y="1223"/>
                    </a:cubicBezTo>
                    <a:cubicBezTo>
                      <a:pt x="807" y="1230"/>
                      <a:pt x="816" y="1248"/>
                      <a:pt x="816" y="1262"/>
                    </a:cubicBezTo>
                    <a:cubicBezTo>
                      <a:pt x="816" y="1276"/>
                      <a:pt x="811" y="1302"/>
                      <a:pt x="811" y="1302"/>
                    </a:cubicBezTo>
                    <a:cubicBezTo>
                      <a:pt x="815" y="1310"/>
                      <a:pt x="815" y="1310"/>
                      <a:pt x="815" y="1310"/>
                    </a:cubicBezTo>
                    <a:cubicBezTo>
                      <a:pt x="815" y="1310"/>
                      <a:pt x="798" y="1337"/>
                      <a:pt x="800" y="1342"/>
                    </a:cubicBezTo>
                    <a:cubicBezTo>
                      <a:pt x="802" y="1347"/>
                      <a:pt x="814" y="1357"/>
                      <a:pt x="814" y="1357"/>
                    </a:cubicBezTo>
                    <a:cubicBezTo>
                      <a:pt x="814" y="1357"/>
                      <a:pt x="799" y="1365"/>
                      <a:pt x="799" y="1371"/>
                    </a:cubicBezTo>
                    <a:cubicBezTo>
                      <a:pt x="799" y="1377"/>
                      <a:pt x="808" y="1379"/>
                      <a:pt x="810" y="1386"/>
                    </a:cubicBezTo>
                    <a:cubicBezTo>
                      <a:pt x="812" y="1393"/>
                      <a:pt x="806" y="1402"/>
                      <a:pt x="810" y="1406"/>
                    </a:cubicBezTo>
                    <a:cubicBezTo>
                      <a:pt x="814" y="1410"/>
                      <a:pt x="819" y="1405"/>
                      <a:pt x="819" y="1414"/>
                    </a:cubicBezTo>
                    <a:cubicBezTo>
                      <a:pt x="819" y="1423"/>
                      <a:pt x="804" y="1459"/>
                      <a:pt x="820" y="1468"/>
                    </a:cubicBezTo>
                    <a:cubicBezTo>
                      <a:pt x="836" y="1477"/>
                      <a:pt x="880" y="1484"/>
                      <a:pt x="895" y="1481"/>
                    </a:cubicBezTo>
                    <a:cubicBezTo>
                      <a:pt x="910" y="1478"/>
                      <a:pt x="928" y="1478"/>
                      <a:pt x="932" y="1486"/>
                    </a:cubicBezTo>
                    <a:cubicBezTo>
                      <a:pt x="936" y="1494"/>
                      <a:pt x="932" y="1511"/>
                      <a:pt x="937" y="1531"/>
                    </a:cubicBezTo>
                    <a:cubicBezTo>
                      <a:pt x="942" y="1551"/>
                      <a:pt x="946" y="1572"/>
                      <a:pt x="957" y="1574"/>
                    </a:cubicBezTo>
                    <a:cubicBezTo>
                      <a:pt x="968" y="1576"/>
                      <a:pt x="972" y="1560"/>
                      <a:pt x="987" y="1564"/>
                    </a:cubicBezTo>
                    <a:cubicBezTo>
                      <a:pt x="1002" y="1568"/>
                      <a:pt x="1006" y="1576"/>
                      <a:pt x="1004" y="1596"/>
                    </a:cubicBezTo>
                    <a:cubicBezTo>
                      <a:pt x="1002" y="1616"/>
                      <a:pt x="1000" y="1626"/>
                      <a:pt x="998" y="1631"/>
                    </a:cubicBezTo>
                    <a:cubicBezTo>
                      <a:pt x="996" y="1636"/>
                      <a:pt x="995" y="1651"/>
                      <a:pt x="995" y="1651"/>
                    </a:cubicBezTo>
                    <a:cubicBezTo>
                      <a:pt x="998" y="1664"/>
                      <a:pt x="998" y="1664"/>
                      <a:pt x="998" y="1664"/>
                    </a:cubicBezTo>
                    <a:cubicBezTo>
                      <a:pt x="998" y="1664"/>
                      <a:pt x="1014" y="1653"/>
                      <a:pt x="1021" y="1657"/>
                    </a:cubicBezTo>
                    <a:cubicBezTo>
                      <a:pt x="1028" y="1661"/>
                      <a:pt x="1032" y="1682"/>
                      <a:pt x="1032" y="1682"/>
                    </a:cubicBezTo>
                    <a:cubicBezTo>
                      <a:pt x="1032" y="1682"/>
                      <a:pt x="1043" y="1681"/>
                      <a:pt x="1043" y="1690"/>
                    </a:cubicBezTo>
                    <a:cubicBezTo>
                      <a:pt x="1043" y="1699"/>
                      <a:pt x="1051" y="1737"/>
                      <a:pt x="1045" y="1743"/>
                    </a:cubicBezTo>
                    <a:cubicBezTo>
                      <a:pt x="1039" y="1749"/>
                      <a:pt x="1022" y="1751"/>
                      <a:pt x="1011" y="1756"/>
                    </a:cubicBezTo>
                    <a:cubicBezTo>
                      <a:pt x="1000" y="1761"/>
                      <a:pt x="1000" y="1779"/>
                      <a:pt x="1000" y="1779"/>
                    </a:cubicBezTo>
                    <a:cubicBezTo>
                      <a:pt x="979" y="1781"/>
                      <a:pt x="979" y="1781"/>
                      <a:pt x="979" y="1781"/>
                    </a:cubicBezTo>
                    <a:cubicBezTo>
                      <a:pt x="978" y="1792"/>
                      <a:pt x="978" y="1792"/>
                      <a:pt x="978" y="1792"/>
                    </a:cubicBezTo>
                    <a:cubicBezTo>
                      <a:pt x="972" y="1794"/>
                      <a:pt x="972" y="1794"/>
                      <a:pt x="972" y="1794"/>
                    </a:cubicBezTo>
                    <a:cubicBezTo>
                      <a:pt x="969" y="1810"/>
                      <a:pt x="969" y="1810"/>
                      <a:pt x="969" y="1810"/>
                    </a:cubicBezTo>
                    <a:cubicBezTo>
                      <a:pt x="953" y="1814"/>
                      <a:pt x="953" y="1814"/>
                      <a:pt x="953" y="1814"/>
                    </a:cubicBezTo>
                    <a:cubicBezTo>
                      <a:pt x="953" y="1814"/>
                      <a:pt x="950" y="1837"/>
                      <a:pt x="945" y="1842"/>
                    </a:cubicBezTo>
                    <a:cubicBezTo>
                      <a:pt x="940" y="1847"/>
                      <a:pt x="931" y="1852"/>
                      <a:pt x="931" y="1855"/>
                    </a:cubicBezTo>
                    <a:cubicBezTo>
                      <a:pt x="931" y="1858"/>
                      <a:pt x="928" y="1873"/>
                      <a:pt x="923" y="1878"/>
                    </a:cubicBezTo>
                    <a:cubicBezTo>
                      <a:pt x="918" y="1883"/>
                      <a:pt x="903" y="1882"/>
                      <a:pt x="903" y="1888"/>
                    </a:cubicBezTo>
                    <a:cubicBezTo>
                      <a:pt x="903" y="1894"/>
                      <a:pt x="899" y="1911"/>
                      <a:pt x="899" y="1911"/>
                    </a:cubicBezTo>
                    <a:cubicBezTo>
                      <a:pt x="915" y="1912"/>
                      <a:pt x="915" y="1912"/>
                      <a:pt x="915" y="1912"/>
                    </a:cubicBezTo>
                    <a:cubicBezTo>
                      <a:pt x="915" y="1912"/>
                      <a:pt x="921" y="1902"/>
                      <a:pt x="933" y="1904"/>
                    </a:cubicBezTo>
                    <a:cubicBezTo>
                      <a:pt x="945" y="1906"/>
                      <a:pt x="970" y="1933"/>
                      <a:pt x="970" y="1933"/>
                    </a:cubicBezTo>
                    <a:cubicBezTo>
                      <a:pt x="970" y="1933"/>
                      <a:pt x="980" y="1956"/>
                      <a:pt x="986" y="1956"/>
                    </a:cubicBezTo>
                    <a:cubicBezTo>
                      <a:pt x="992" y="1956"/>
                      <a:pt x="991" y="1942"/>
                      <a:pt x="1001" y="1945"/>
                    </a:cubicBezTo>
                    <a:cubicBezTo>
                      <a:pt x="1011" y="1948"/>
                      <a:pt x="1020" y="1964"/>
                      <a:pt x="1025" y="1967"/>
                    </a:cubicBezTo>
                    <a:cubicBezTo>
                      <a:pt x="1030" y="1970"/>
                      <a:pt x="1037" y="1969"/>
                      <a:pt x="1037" y="1969"/>
                    </a:cubicBezTo>
                    <a:cubicBezTo>
                      <a:pt x="1037" y="1969"/>
                      <a:pt x="1045" y="1976"/>
                      <a:pt x="1049" y="1978"/>
                    </a:cubicBezTo>
                    <a:cubicBezTo>
                      <a:pt x="1053" y="1980"/>
                      <a:pt x="1055" y="1993"/>
                      <a:pt x="1067" y="1997"/>
                    </a:cubicBezTo>
                    <a:cubicBezTo>
                      <a:pt x="1079" y="2001"/>
                      <a:pt x="1086" y="2000"/>
                      <a:pt x="1086" y="2000"/>
                    </a:cubicBezTo>
                    <a:cubicBezTo>
                      <a:pt x="1086" y="2000"/>
                      <a:pt x="1096" y="2024"/>
                      <a:pt x="1104" y="2029"/>
                    </a:cubicBezTo>
                    <a:cubicBezTo>
                      <a:pt x="1112" y="2034"/>
                      <a:pt x="1131" y="2033"/>
                      <a:pt x="1126" y="2042"/>
                    </a:cubicBezTo>
                    <a:cubicBezTo>
                      <a:pt x="1121" y="2051"/>
                      <a:pt x="1111" y="2064"/>
                      <a:pt x="1112" y="2071"/>
                    </a:cubicBezTo>
                    <a:cubicBezTo>
                      <a:pt x="1113" y="2078"/>
                      <a:pt x="1119" y="2078"/>
                      <a:pt x="1119" y="2078"/>
                    </a:cubicBezTo>
                    <a:cubicBezTo>
                      <a:pt x="1118" y="2099"/>
                      <a:pt x="1118" y="2099"/>
                      <a:pt x="1118" y="2099"/>
                    </a:cubicBezTo>
                    <a:cubicBezTo>
                      <a:pt x="1128" y="2098"/>
                      <a:pt x="1128" y="2098"/>
                      <a:pt x="1128" y="2098"/>
                    </a:cubicBezTo>
                    <a:cubicBezTo>
                      <a:pt x="1128" y="2096"/>
                      <a:pt x="1128" y="2096"/>
                      <a:pt x="1128" y="2096"/>
                    </a:cubicBezTo>
                    <a:cubicBezTo>
                      <a:pt x="1128" y="2096"/>
                      <a:pt x="1151" y="2070"/>
                      <a:pt x="1156" y="2061"/>
                    </a:cubicBezTo>
                    <a:cubicBezTo>
                      <a:pt x="1161" y="2052"/>
                      <a:pt x="1153" y="2031"/>
                      <a:pt x="1153" y="2031"/>
                    </a:cubicBezTo>
                    <a:cubicBezTo>
                      <a:pt x="1165" y="2013"/>
                      <a:pt x="1165" y="2013"/>
                      <a:pt x="1165" y="2013"/>
                    </a:cubicBezTo>
                    <a:cubicBezTo>
                      <a:pt x="1165" y="2013"/>
                      <a:pt x="1155" y="2005"/>
                      <a:pt x="1155" y="1995"/>
                    </a:cubicBezTo>
                    <a:cubicBezTo>
                      <a:pt x="1155" y="1985"/>
                      <a:pt x="1165" y="1984"/>
                      <a:pt x="1165" y="1984"/>
                    </a:cubicBezTo>
                    <a:cubicBezTo>
                      <a:pt x="1167" y="1968"/>
                      <a:pt x="1167" y="1968"/>
                      <a:pt x="1167" y="1968"/>
                    </a:cubicBezTo>
                    <a:cubicBezTo>
                      <a:pt x="1167" y="1968"/>
                      <a:pt x="1179" y="1966"/>
                      <a:pt x="1183" y="1962"/>
                    </a:cubicBezTo>
                    <a:cubicBezTo>
                      <a:pt x="1187" y="1958"/>
                      <a:pt x="1186" y="1944"/>
                      <a:pt x="1186" y="1936"/>
                    </a:cubicBezTo>
                    <a:cubicBezTo>
                      <a:pt x="1186" y="1928"/>
                      <a:pt x="1204" y="1911"/>
                      <a:pt x="1213" y="1909"/>
                    </a:cubicBezTo>
                    <a:cubicBezTo>
                      <a:pt x="1222" y="1907"/>
                      <a:pt x="1219" y="1931"/>
                      <a:pt x="1219" y="1931"/>
                    </a:cubicBezTo>
                    <a:cubicBezTo>
                      <a:pt x="1219" y="1931"/>
                      <a:pt x="1213" y="1941"/>
                      <a:pt x="1210" y="1943"/>
                    </a:cubicBezTo>
                    <a:cubicBezTo>
                      <a:pt x="1207" y="1945"/>
                      <a:pt x="1208" y="1956"/>
                      <a:pt x="1208" y="1956"/>
                    </a:cubicBezTo>
                    <a:cubicBezTo>
                      <a:pt x="1201" y="1960"/>
                      <a:pt x="1201" y="1960"/>
                      <a:pt x="1201" y="1960"/>
                    </a:cubicBezTo>
                    <a:cubicBezTo>
                      <a:pt x="1201" y="1969"/>
                      <a:pt x="1201" y="1969"/>
                      <a:pt x="1201" y="1969"/>
                    </a:cubicBezTo>
                    <a:cubicBezTo>
                      <a:pt x="1184" y="1987"/>
                      <a:pt x="1184" y="1987"/>
                      <a:pt x="1184" y="1987"/>
                    </a:cubicBezTo>
                    <a:cubicBezTo>
                      <a:pt x="1163" y="2002"/>
                      <a:pt x="1163" y="2002"/>
                      <a:pt x="1163" y="2002"/>
                    </a:cubicBezTo>
                    <a:cubicBezTo>
                      <a:pt x="1163" y="2002"/>
                      <a:pt x="1170" y="2008"/>
                      <a:pt x="1177" y="2006"/>
                    </a:cubicBezTo>
                    <a:cubicBezTo>
                      <a:pt x="1182" y="2005"/>
                      <a:pt x="1182" y="1993"/>
                      <a:pt x="1187" y="1990"/>
                    </a:cubicBezTo>
                    <a:cubicBezTo>
                      <a:pt x="1191" y="1986"/>
                      <a:pt x="1198" y="1989"/>
                      <a:pt x="1200" y="1987"/>
                    </a:cubicBezTo>
                    <a:cubicBezTo>
                      <a:pt x="1206" y="1978"/>
                      <a:pt x="1228" y="1944"/>
                      <a:pt x="1233" y="1920"/>
                    </a:cubicBezTo>
                    <a:cubicBezTo>
                      <a:pt x="1238" y="1896"/>
                      <a:pt x="1248" y="1874"/>
                      <a:pt x="1252" y="1860"/>
                    </a:cubicBezTo>
                    <a:cubicBezTo>
                      <a:pt x="1256" y="1846"/>
                      <a:pt x="1284" y="1829"/>
                      <a:pt x="1286" y="1825"/>
                    </a:cubicBezTo>
                    <a:cubicBezTo>
                      <a:pt x="1288" y="1821"/>
                      <a:pt x="1281" y="1811"/>
                      <a:pt x="1281" y="1811"/>
                    </a:cubicBezTo>
                    <a:cubicBezTo>
                      <a:pt x="1294" y="1802"/>
                      <a:pt x="1294" y="1802"/>
                      <a:pt x="1294" y="1802"/>
                    </a:cubicBezTo>
                    <a:cubicBezTo>
                      <a:pt x="1290" y="1778"/>
                      <a:pt x="1290" y="1778"/>
                      <a:pt x="1290" y="1778"/>
                    </a:cubicBezTo>
                    <a:cubicBezTo>
                      <a:pt x="1294" y="1764"/>
                      <a:pt x="1294" y="1764"/>
                      <a:pt x="1294" y="1764"/>
                    </a:cubicBezTo>
                    <a:cubicBezTo>
                      <a:pt x="1285" y="1759"/>
                      <a:pt x="1285" y="1759"/>
                      <a:pt x="1285" y="1759"/>
                    </a:cubicBezTo>
                    <a:cubicBezTo>
                      <a:pt x="1285" y="1759"/>
                      <a:pt x="1292" y="1750"/>
                      <a:pt x="1292" y="1742"/>
                    </a:cubicBezTo>
                    <a:cubicBezTo>
                      <a:pt x="1292" y="1734"/>
                      <a:pt x="1277" y="1728"/>
                      <a:pt x="1277" y="1728"/>
                    </a:cubicBezTo>
                    <a:cubicBezTo>
                      <a:pt x="1276" y="1705"/>
                      <a:pt x="1276" y="1705"/>
                      <a:pt x="1276" y="1705"/>
                    </a:cubicBezTo>
                    <a:cubicBezTo>
                      <a:pt x="1266" y="1694"/>
                      <a:pt x="1266" y="1694"/>
                      <a:pt x="1266" y="1694"/>
                    </a:cubicBezTo>
                    <a:cubicBezTo>
                      <a:pt x="1280" y="1695"/>
                      <a:pt x="1280" y="1695"/>
                      <a:pt x="1280" y="1695"/>
                    </a:cubicBezTo>
                    <a:cubicBezTo>
                      <a:pt x="1279" y="1678"/>
                      <a:pt x="1279" y="1678"/>
                      <a:pt x="1279" y="1678"/>
                    </a:cubicBezTo>
                    <a:cubicBezTo>
                      <a:pt x="1270" y="1673"/>
                      <a:pt x="1270" y="1673"/>
                      <a:pt x="1270" y="1673"/>
                    </a:cubicBezTo>
                    <a:cubicBezTo>
                      <a:pt x="1270" y="1673"/>
                      <a:pt x="1282" y="1670"/>
                      <a:pt x="1282" y="1665"/>
                    </a:cubicBezTo>
                    <a:cubicBezTo>
                      <a:pt x="1282" y="1660"/>
                      <a:pt x="1266" y="1650"/>
                      <a:pt x="1266" y="1650"/>
                    </a:cubicBezTo>
                    <a:cubicBezTo>
                      <a:pt x="1282" y="1639"/>
                      <a:pt x="1282" y="1639"/>
                      <a:pt x="1282" y="1639"/>
                    </a:cubicBezTo>
                    <a:cubicBezTo>
                      <a:pt x="1282" y="1639"/>
                      <a:pt x="1295" y="1653"/>
                      <a:pt x="1301" y="1652"/>
                    </a:cubicBezTo>
                    <a:cubicBezTo>
                      <a:pt x="1307" y="1651"/>
                      <a:pt x="1303" y="1639"/>
                      <a:pt x="1303" y="1639"/>
                    </a:cubicBezTo>
                    <a:cubicBezTo>
                      <a:pt x="1303" y="1639"/>
                      <a:pt x="1303" y="1627"/>
                      <a:pt x="1311" y="1617"/>
                    </a:cubicBezTo>
                    <a:cubicBezTo>
                      <a:pt x="1319" y="1607"/>
                      <a:pt x="1331" y="1610"/>
                      <a:pt x="1337" y="1605"/>
                    </a:cubicBezTo>
                    <a:cubicBezTo>
                      <a:pt x="1343" y="1600"/>
                      <a:pt x="1340" y="1596"/>
                      <a:pt x="1343" y="1589"/>
                    </a:cubicBezTo>
                    <a:cubicBezTo>
                      <a:pt x="1346" y="1582"/>
                      <a:pt x="1364" y="1579"/>
                      <a:pt x="1364" y="1579"/>
                    </a:cubicBezTo>
                    <a:cubicBezTo>
                      <a:pt x="1366" y="1571"/>
                      <a:pt x="1366" y="1571"/>
                      <a:pt x="1366" y="1571"/>
                    </a:cubicBezTo>
                    <a:cubicBezTo>
                      <a:pt x="1366" y="1571"/>
                      <a:pt x="1372" y="1574"/>
                      <a:pt x="1377" y="1573"/>
                    </a:cubicBezTo>
                    <a:cubicBezTo>
                      <a:pt x="1382" y="1572"/>
                      <a:pt x="1381" y="1560"/>
                      <a:pt x="1387" y="1559"/>
                    </a:cubicBezTo>
                    <a:cubicBezTo>
                      <a:pt x="1393" y="1558"/>
                      <a:pt x="1412" y="1561"/>
                      <a:pt x="1412" y="1561"/>
                    </a:cubicBezTo>
                    <a:cubicBezTo>
                      <a:pt x="1416" y="1571"/>
                      <a:pt x="1416" y="1571"/>
                      <a:pt x="1416" y="1571"/>
                    </a:cubicBezTo>
                    <a:cubicBezTo>
                      <a:pt x="1427" y="1569"/>
                      <a:pt x="1427" y="1569"/>
                      <a:pt x="1427" y="1569"/>
                    </a:cubicBezTo>
                    <a:cubicBezTo>
                      <a:pt x="1414" y="1554"/>
                      <a:pt x="1414" y="1554"/>
                      <a:pt x="1414" y="1554"/>
                    </a:cubicBezTo>
                    <a:cubicBezTo>
                      <a:pt x="1414" y="1554"/>
                      <a:pt x="1423" y="1550"/>
                      <a:pt x="1427" y="1545"/>
                    </a:cubicBezTo>
                    <a:cubicBezTo>
                      <a:pt x="1431" y="1540"/>
                      <a:pt x="1453" y="1539"/>
                      <a:pt x="1453" y="1539"/>
                    </a:cubicBezTo>
                    <a:cubicBezTo>
                      <a:pt x="1442" y="1529"/>
                      <a:pt x="1442" y="1529"/>
                      <a:pt x="1442" y="1529"/>
                    </a:cubicBezTo>
                    <a:cubicBezTo>
                      <a:pt x="1442" y="1529"/>
                      <a:pt x="1454" y="1519"/>
                      <a:pt x="1459" y="1519"/>
                    </a:cubicBezTo>
                    <a:cubicBezTo>
                      <a:pt x="1464" y="1519"/>
                      <a:pt x="1460" y="1535"/>
                      <a:pt x="1463" y="1535"/>
                    </a:cubicBezTo>
                    <a:cubicBezTo>
                      <a:pt x="1466" y="1535"/>
                      <a:pt x="1472" y="1518"/>
                      <a:pt x="1472" y="1518"/>
                    </a:cubicBezTo>
                    <a:cubicBezTo>
                      <a:pt x="1497" y="1523"/>
                      <a:pt x="1497" y="1523"/>
                      <a:pt x="1497" y="1523"/>
                    </a:cubicBezTo>
                    <a:cubicBezTo>
                      <a:pt x="1497" y="1523"/>
                      <a:pt x="1502" y="1503"/>
                      <a:pt x="1513" y="1502"/>
                    </a:cubicBezTo>
                    <a:cubicBezTo>
                      <a:pt x="1524" y="1501"/>
                      <a:pt x="1521" y="1523"/>
                      <a:pt x="1521" y="1523"/>
                    </a:cubicBezTo>
                    <a:cubicBezTo>
                      <a:pt x="1566" y="1518"/>
                      <a:pt x="1566" y="1518"/>
                      <a:pt x="1566" y="1518"/>
                    </a:cubicBezTo>
                    <a:cubicBezTo>
                      <a:pt x="1571" y="1506"/>
                      <a:pt x="1571" y="1506"/>
                      <a:pt x="1571" y="1506"/>
                    </a:cubicBezTo>
                    <a:cubicBezTo>
                      <a:pt x="1565" y="1499"/>
                      <a:pt x="1565" y="1499"/>
                      <a:pt x="1565" y="1499"/>
                    </a:cubicBezTo>
                    <a:cubicBezTo>
                      <a:pt x="1565" y="1499"/>
                      <a:pt x="1571" y="1491"/>
                      <a:pt x="1577" y="1482"/>
                    </a:cubicBezTo>
                    <a:cubicBezTo>
                      <a:pt x="1583" y="1473"/>
                      <a:pt x="1613" y="1468"/>
                      <a:pt x="1613" y="1468"/>
                    </a:cubicBezTo>
                    <a:cubicBezTo>
                      <a:pt x="1613" y="1468"/>
                      <a:pt x="1610" y="1455"/>
                      <a:pt x="1610" y="1452"/>
                    </a:cubicBezTo>
                    <a:cubicBezTo>
                      <a:pt x="1610" y="1449"/>
                      <a:pt x="1611" y="1408"/>
                      <a:pt x="1611" y="1408"/>
                    </a:cubicBezTo>
                    <a:cubicBezTo>
                      <a:pt x="1629" y="1388"/>
                      <a:pt x="1629" y="1388"/>
                      <a:pt x="1629" y="1388"/>
                    </a:cubicBezTo>
                    <a:cubicBezTo>
                      <a:pt x="1629" y="1372"/>
                      <a:pt x="1629" y="1372"/>
                      <a:pt x="1629" y="1372"/>
                    </a:cubicBezTo>
                    <a:cubicBezTo>
                      <a:pt x="1642" y="1369"/>
                      <a:pt x="1642" y="1369"/>
                      <a:pt x="1642" y="1369"/>
                    </a:cubicBezTo>
                    <a:cubicBezTo>
                      <a:pt x="1642" y="1347"/>
                      <a:pt x="1642" y="1347"/>
                      <a:pt x="1642" y="1347"/>
                    </a:cubicBezTo>
                    <a:cubicBezTo>
                      <a:pt x="1642" y="1347"/>
                      <a:pt x="1651" y="1342"/>
                      <a:pt x="1655" y="1342"/>
                    </a:cubicBezTo>
                    <a:cubicBezTo>
                      <a:pt x="1659" y="1342"/>
                      <a:pt x="1659" y="1317"/>
                      <a:pt x="1659" y="1317"/>
                    </a:cubicBezTo>
                    <a:cubicBezTo>
                      <a:pt x="1659" y="1317"/>
                      <a:pt x="1653" y="1288"/>
                      <a:pt x="1651" y="1273"/>
                    </a:cubicBezTo>
                    <a:cubicBezTo>
                      <a:pt x="1649" y="1258"/>
                      <a:pt x="1667" y="1246"/>
                      <a:pt x="1674" y="1240"/>
                    </a:cubicBezTo>
                    <a:cubicBezTo>
                      <a:pt x="1681" y="1234"/>
                      <a:pt x="1671" y="1213"/>
                      <a:pt x="1671" y="1213"/>
                    </a:cubicBezTo>
                    <a:cubicBezTo>
                      <a:pt x="1675" y="1175"/>
                      <a:pt x="1675" y="1175"/>
                      <a:pt x="1675" y="1175"/>
                    </a:cubicBezTo>
                    <a:cubicBezTo>
                      <a:pt x="1675" y="1175"/>
                      <a:pt x="1683" y="1145"/>
                      <a:pt x="1682" y="1134"/>
                    </a:cubicBezTo>
                    <a:cubicBezTo>
                      <a:pt x="1681" y="1123"/>
                      <a:pt x="1669" y="1065"/>
                      <a:pt x="1669" y="1065"/>
                    </a:cubicBezTo>
                    <a:cubicBezTo>
                      <a:pt x="1674" y="1041"/>
                      <a:pt x="1674" y="1041"/>
                      <a:pt x="1674" y="1041"/>
                    </a:cubicBezTo>
                    <a:cubicBezTo>
                      <a:pt x="1674" y="1041"/>
                      <a:pt x="1665" y="1010"/>
                      <a:pt x="1668" y="1002"/>
                    </a:cubicBezTo>
                    <a:cubicBezTo>
                      <a:pt x="1671" y="994"/>
                      <a:pt x="1682" y="984"/>
                      <a:pt x="1682" y="984"/>
                    </a:cubicBezTo>
                    <a:cubicBezTo>
                      <a:pt x="1674" y="972"/>
                      <a:pt x="1674" y="972"/>
                      <a:pt x="1674" y="972"/>
                    </a:cubicBezTo>
                    <a:cubicBezTo>
                      <a:pt x="1674" y="972"/>
                      <a:pt x="1681" y="962"/>
                      <a:pt x="1685" y="962"/>
                    </a:cubicBezTo>
                    <a:cubicBezTo>
                      <a:pt x="1689" y="962"/>
                      <a:pt x="1698" y="981"/>
                      <a:pt x="1698" y="981"/>
                    </a:cubicBezTo>
                    <a:cubicBezTo>
                      <a:pt x="1698" y="981"/>
                      <a:pt x="1720" y="961"/>
                      <a:pt x="1727" y="951"/>
                    </a:cubicBezTo>
                    <a:cubicBezTo>
                      <a:pt x="1734" y="941"/>
                      <a:pt x="1739" y="897"/>
                      <a:pt x="1739" y="897"/>
                    </a:cubicBezTo>
                    <a:cubicBezTo>
                      <a:pt x="1739" y="897"/>
                      <a:pt x="1745" y="893"/>
                      <a:pt x="1751" y="889"/>
                    </a:cubicBezTo>
                    <a:cubicBezTo>
                      <a:pt x="1757" y="885"/>
                      <a:pt x="1762" y="863"/>
                      <a:pt x="1762" y="863"/>
                    </a:cubicBezTo>
                    <a:cubicBezTo>
                      <a:pt x="1762" y="863"/>
                      <a:pt x="1775" y="856"/>
                      <a:pt x="1782" y="855"/>
                    </a:cubicBezTo>
                    <a:cubicBezTo>
                      <a:pt x="1789" y="854"/>
                      <a:pt x="1789" y="834"/>
                      <a:pt x="1789" y="834"/>
                    </a:cubicBezTo>
                    <a:cubicBezTo>
                      <a:pt x="1789" y="834"/>
                      <a:pt x="1803" y="829"/>
                      <a:pt x="1816" y="811"/>
                    </a:cubicBezTo>
                    <a:cubicBezTo>
                      <a:pt x="1829" y="793"/>
                      <a:pt x="1844" y="746"/>
                      <a:pt x="1844" y="746"/>
                    </a:cubicBezTo>
                    <a:cubicBezTo>
                      <a:pt x="1844" y="746"/>
                      <a:pt x="1856" y="733"/>
                      <a:pt x="1857" y="727"/>
                    </a:cubicBezTo>
                    <a:cubicBezTo>
                      <a:pt x="1858" y="721"/>
                      <a:pt x="1852" y="705"/>
                      <a:pt x="1852" y="705"/>
                    </a:cubicBezTo>
                    <a:cubicBezTo>
                      <a:pt x="1852" y="705"/>
                      <a:pt x="1855" y="684"/>
                      <a:pt x="1855" y="667"/>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37" name="Freeform 59">
                <a:extLst>
                  <a:ext uri="{FF2B5EF4-FFF2-40B4-BE49-F238E27FC236}">
                    <a16:creationId xmlns:a16="http://schemas.microsoft.com/office/drawing/2014/main" id="{EA046968-5223-4EAB-99EE-4A370287F1BD}"/>
                  </a:ext>
                </a:extLst>
              </p:cNvPr>
              <p:cNvSpPr>
                <a:spLocks noEditPoints="1"/>
              </p:cNvSpPr>
              <p:nvPr>
                <p:custDataLst>
                  <p:tags r:id="rId18"/>
                </p:custDataLst>
              </p:nvPr>
            </p:nvSpPr>
            <p:spPr bwMode="gray">
              <a:xfrm>
                <a:off x="2508235" y="4906981"/>
                <a:ext cx="463548" cy="1122366"/>
              </a:xfrm>
              <a:custGeom>
                <a:avLst/>
                <a:gdLst>
                  <a:gd name="T0" fmla="*/ 550 w 771"/>
                  <a:gd name="T1" fmla="*/ 1864 h 2022"/>
                  <a:gd name="T2" fmla="*/ 572 w 771"/>
                  <a:gd name="T3" fmla="*/ 1906 h 2022"/>
                  <a:gd name="T4" fmla="*/ 567 w 771"/>
                  <a:gd name="T5" fmla="*/ 1954 h 2022"/>
                  <a:gd name="T6" fmla="*/ 690 w 771"/>
                  <a:gd name="T7" fmla="*/ 1981 h 2022"/>
                  <a:gd name="T8" fmla="*/ 658 w 771"/>
                  <a:gd name="T9" fmla="*/ 1993 h 2022"/>
                  <a:gd name="T10" fmla="*/ 617 w 771"/>
                  <a:gd name="T11" fmla="*/ 1988 h 2022"/>
                  <a:gd name="T12" fmla="*/ 663 w 771"/>
                  <a:gd name="T13" fmla="*/ 2010 h 2022"/>
                  <a:gd name="T14" fmla="*/ 500 w 771"/>
                  <a:gd name="T15" fmla="*/ 1974 h 2022"/>
                  <a:gd name="T16" fmla="*/ 526 w 771"/>
                  <a:gd name="T17" fmla="*/ 1935 h 2022"/>
                  <a:gd name="T18" fmla="*/ 471 w 771"/>
                  <a:gd name="T19" fmla="*/ 1945 h 2022"/>
                  <a:gd name="T20" fmla="*/ 397 w 771"/>
                  <a:gd name="T21" fmla="*/ 1867 h 2022"/>
                  <a:gd name="T22" fmla="*/ 345 w 771"/>
                  <a:gd name="T23" fmla="*/ 1873 h 2022"/>
                  <a:gd name="T24" fmla="*/ 355 w 771"/>
                  <a:gd name="T25" fmla="*/ 1822 h 2022"/>
                  <a:gd name="T26" fmla="*/ 326 w 771"/>
                  <a:gd name="T27" fmla="*/ 1841 h 2022"/>
                  <a:gd name="T28" fmla="*/ 342 w 771"/>
                  <a:gd name="T29" fmla="*/ 1820 h 2022"/>
                  <a:gd name="T30" fmla="*/ 287 w 771"/>
                  <a:gd name="T31" fmla="*/ 1789 h 2022"/>
                  <a:gd name="T32" fmla="*/ 267 w 771"/>
                  <a:gd name="T33" fmla="*/ 1739 h 2022"/>
                  <a:gd name="T34" fmla="*/ 257 w 771"/>
                  <a:gd name="T35" fmla="*/ 1697 h 2022"/>
                  <a:gd name="T36" fmla="*/ 208 w 771"/>
                  <a:gd name="T37" fmla="*/ 1688 h 2022"/>
                  <a:gd name="T38" fmla="*/ 144 w 771"/>
                  <a:gd name="T39" fmla="*/ 1339 h 2022"/>
                  <a:gd name="T40" fmla="*/ 163 w 771"/>
                  <a:gd name="T41" fmla="*/ 1391 h 2022"/>
                  <a:gd name="T42" fmla="*/ 186 w 771"/>
                  <a:gd name="T43" fmla="*/ 1483 h 2022"/>
                  <a:gd name="T44" fmla="*/ 212 w 771"/>
                  <a:gd name="T45" fmla="*/ 1463 h 2022"/>
                  <a:gd name="T46" fmla="*/ 143 w 771"/>
                  <a:gd name="T47" fmla="*/ 1440 h 2022"/>
                  <a:gd name="T48" fmla="*/ 498 w 771"/>
                  <a:gd name="T49" fmla="*/ 1874 h 2022"/>
                  <a:gd name="T50" fmla="*/ 449 w 771"/>
                  <a:gd name="T51" fmla="*/ 1842 h 2022"/>
                  <a:gd name="T52" fmla="*/ 338 w 771"/>
                  <a:gd name="T53" fmla="*/ 1747 h 2022"/>
                  <a:gd name="T54" fmla="*/ 317 w 771"/>
                  <a:gd name="T55" fmla="*/ 1650 h 2022"/>
                  <a:gd name="T56" fmla="*/ 304 w 771"/>
                  <a:gd name="T57" fmla="*/ 1533 h 2022"/>
                  <a:gd name="T58" fmla="*/ 272 w 771"/>
                  <a:gd name="T59" fmla="*/ 1443 h 2022"/>
                  <a:gd name="T60" fmla="*/ 215 w 771"/>
                  <a:gd name="T61" fmla="*/ 1320 h 2022"/>
                  <a:gd name="T62" fmla="*/ 187 w 771"/>
                  <a:gd name="T63" fmla="*/ 1196 h 2022"/>
                  <a:gd name="T64" fmla="*/ 165 w 771"/>
                  <a:gd name="T65" fmla="*/ 1085 h 2022"/>
                  <a:gd name="T66" fmla="*/ 166 w 771"/>
                  <a:gd name="T67" fmla="*/ 954 h 2022"/>
                  <a:gd name="T68" fmla="*/ 142 w 771"/>
                  <a:gd name="T69" fmla="*/ 815 h 2022"/>
                  <a:gd name="T70" fmla="*/ 109 w 771"/>
                  <a:gd name="T71" fmla="*/ 685 h 2022"/>
                  <a:gd name="T72" fmla="*/ 162 w 771"/>
                  <a:gd name="T73" fmla="*/ 498 h 2022"/>
                  <a:gd name="T74" fmla="*/ 184 w 771"/>
                  <a:gd name="T75" fmla="*/ 293 h 2022"/>
                  <a:gd name="T76" fmla="*/ 97 w 771"/>
                  <a:gd name="T77" fmla="*/ 161 h 2022"/>
                  <a:gd name="T78" fmla="*/ 45 w 771"/>
                  <a:gd name="T79" fmla="*/ 22 h 2022"/>
                  <a:gd name="T80" fmla="*/ 24 w 771"/>
                  <a:gd name="T81" fmla="*/ 182 h 2022"/>
                  <a:gd name="T82" fmla="*/ 47 w 771"/>
                  <a:gd name="T83" fmla="*/ 417 h 2022"/>
                  <a:gd name="T84" fmla="*/ 34 w 771"/>
                  <a:gd name="T85" fmla="*/ 559 h 2022"/>
                  <a:gd name="T86" fmla="*/ 47 w 771"/>
                  <a:gd name="T87" fmla="*/ 720 h 2022"/>
                  <a:gd name="T88" fmla="*/ 82 w 771"/>
                  <a:gd name="T89" fmla="*/ 947 h 2022"/>
                  <a:gd name="T90" fmla="*/ 72 w 771"/>
                  <a:gd name="T91" fmla="*/ 1102 h 2022"/>
                  <a:gd name="T92" fmla="*/ 129 w 771"/>
                  <a:gd name="T93" fmla="*/ 1299 h 2022"/>
                  <a:gd name="T94" fmla="*/ 193 w 771"/>
                  <a:gd name="T95" fmla="*/ 1313 h 2022"/>
                  <a:gd name="T96" fmla="*/ 212 w 771"/>
                  <a:gd name="T97" fmla="*/ 1403 h 2022"/>
                  <a:gd name="T98" fmla="*/ 252 w 771"/>
                  <a:gd name="T99" fmla="*/ 1497 h 2022"/>
                  <a:gd name="T100" fmla="*/ 214 w 771"/>
                  <a:gd name="T101" fmla="*/ 1535 h 2022"/>
                  <a:gd name="T102" fmla="*/ 176 w 771"/>
                  <a:gd name="T103" fmla="*/ 1528 h 2022"/>
                  <a:gd name="T104" fmla="*/ 214 w 771"/>
                  <a:gd name="T105" fmla="*/ 1567 h 2022"/>
                  <a:gd name="T106" fmla="*/ 257 w 771"/>
                  <a:gd name="T107" fmla="*/ 1604 h 2022"/>
                  <a:gd name="T108" fmla="*/ 265 w 771"/>
                  <a:gd name="T109" fmla="*/ 1686 h 2022"/>
                  <a:gd name="T110" fmla="*/ 298 w 771"/>
                  <a:gd name="T111" fmla="*/ 1731 h 2022"/>
                  <a:gd name="T112" fmla="*/ 331 w 771"/>
                  <a:gd name="T113" fmla="*/ 1762 h 2022"/>
                  <a:gd name="T114" fmla="*/ 407 w 771"/>
                  <a:gd name="T115" fmla="*/ 1821 h 2022"/>
                  <a:gd name="T116" fmla="*/ 434 w 771"/>
                  <a:gd name="T117" fmla="*/ 1876 h 2022"/>
                  <a:gd name="T118" fmla="*/ 459 w 771"/>
                  <a:gd name="T119" fmla="*/ 1893 h 2022"/>
                  <a:gd name="T120" fmla="*/ 428 w 771"/>
                  <a:gd name="T121" fmla="*/ 1927 h 20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71" h="2022">
                    <a:moveTo>
                      <a:pt x="677" y="1942"/>
                    </a:moveTo>
                    <a:cubicBezTo>
                      <a:pt x="625" y="1916"/>
                      <a:pt x="625" y="1903"/>
                      <a:pt x="625" y="1903"/>
                    </a:cubicBezTo>
                    <a:cubicBezTo>
                      <a:pt x="602" y="1903"/>
                      <a:pt x="602" y="1903"/>
                      <a:pt x="602" y="1903"/>
                    </a:cubicBezTo>
                    <a:cubicBezTo>
                      <a:pt x="606" y="1892"/>
                      <a:pt x="606" y="1892"/>
                      <a:pt x="606" y="1892"/>
                    </a:cubicBezTo>
                    <a:cubicBezTo>
                      <a:pt x="580" y="1866"/>
                      <a:pt x="580" y="1866"/>
                      <a:pt x="580" y="1866"/>
                    </a:cubicBezTo>
                    <a:cubicBezTo>
                      <a:pt x="559" y="1872"/>
                      <a:pt x="559" y="1872"/>
                      <a:pt x="559" y="1872"/>
                    </a:cubicBezTo>
                    <a:cubicBezTo>
                      <a:pt x="550" y="1864"/>
                      <a:pt x="550" y="1864"/>
                      <a:pt x="550" y="1864"/>
                    </a:cubicBezTo>
                    <a:cubicBezTo>
                      <a:pt x="543" y="1876"/>
                      <a:pt x="543" y="1876"/>
                      <a:pt x="543" y="1876"/>
                    </a:cubicBezTo>
                    <a:cubicBezTo>
                      <a:pt x="530" y="1879"/>
                      <a:pt x="530" y="1879"/>
                      <a:pt x="530" y="1879"/>
                    </a:cubicBezTo>
                    <a:cubicBezTo>
                      <a:pt x="531" y="1890"/>
                      <a:pt x="531" y="1890"/>
                      <a:pt x="531" y="1890"/>
                    </a:cubicBezTo>
                    <a:cubicBezTo>
                      <a:pt x="520" y="1892"/>
                      <a:pt x="520" y="1892"/>
                      <a:pt x="520" y="1892"/>
                    </a:cubicBezTo>
                    <a:cubicBezTo>
                      <a:pt x="521" y="1910"/>
                      <a:pt x="521" y="1910"/>
                      <a:pt x="521" y="1910"/>
                    </a:cubicBezTo>
                    <a:cubicBezTo>
                      <a:pt x="534" y="1923"/>
                      <a:pt x="557" y="1900"/>
                      <a:pt x="557" y="1900"/>
                    </a:cubicBezTo>
                    <a:cubicBezTo>
                      <a:pt x="572" y="1906"/>
                      <a:pt x="572" y="1906"/>
                      <a:pt x="572" y="1906"/>
                    </a:cubicBezTo>
                    <a:cubicBezTo>
                      <a:pt x="572" y="1919"/>
                      <a:pt x="572" y="1919"/>
                      <a:pt x="572" y="1919"/>
                    </a:cubicBezTo>
                    <a:cubicBezTo>
                      <a:pt x="572" y="1919"/>
                      <a:pt x="541" y="1934"/>
                      <a:pt x="552" y="1938"/>
                    </a:cubicBezTo>
                    <a:cubicBezTo>
                      <a:pt x="562" y="1942"/>
                      <a:pt x="615" y="1960"/>
                      <a:pt x="615" y="1960"/>
                    </a:cubicBezTo>
                    <a:cubicBezTo>
                      <a:pt x="605" y="1974"/>
                      <a:pt x="605" y="1974"/>
                      <a:pt x="605" y="1974"/>
                    </a:cubicBezTo>
                    <a:cubicBezTo>
                      <a:pt x="605" y="1974"/>
                      <a:pt x="602" y="1961"/>
                      <a:pt x="592" y="1961"/>
                    </a:cubicBezTo>
                    <a:cubicBezTo>
                      <a:pt x="582" y="1961"/>
                      <a:pt x="579" y="1968"/>
                      <a:pt x="579" y="1968"/>
                    </a:cubicBezTo>
                    <a:cubicBezTo>
                      <a:pt x="567" y="1954"/>
                      <a:pt x="567" y="1954"/>
                      <a:pt x="567" y="1954"/>
                    </a:cubicBezTo>
                    <a:cubicBezTo>
                      <a:pt x="556" y="1958"/>
                      <a:pt x="556" y="1958"/>
                      <a:pt x="556" y="1958"/>
                    </a:cubicBezTo>
                    <a:cubicBezTo>
                      <a:pt x="565" y="1965"/>
                      <a:pt x="565" y="1965"/>
                      <a:pt x="565" y="1965"/>
                    </a:cubicBezTo>
                    <a:cubicBezTo>
                      <a:pt x="544" y="1962"/>
                      <a:pt x="544" y="1962"/>
                      <a:pt x="544" y="1962"/>
                    </a:cubicBezTo>
                    <a:cubicBezTo>
                      <a:pt x="544" y="1962"/>
                      <a:pt x="550" y="1978"/>
                      <a:pt x="566" y="1978"/>
                    </a:cubicBezTo>
                    <a:cubicBezTo>
                      <a:pt x="582" y="1978"/>
                      <a:pt x="595" y="1978"/>
                      <a:pt x="595" y="1978"/>
                    </a:cubicBezTo>
                    <a:cubicBezTo>
                      <a:pt x="595" y="1978"/>
                      <a:pt x="611" y="1984"/>
                      <a:pt x="621" y="1983"/>
                    </a:cubicBezTo>
                    <a:cubicBezTo>
                      <a:pt x="631" y="1981"/>
                      <a:pt x="676" y="1981"/>
                      <a:pt x="690" y="1981"/>
                    </a:cubicBezTo>
                    <a:cubicBezTo>
                      <a:pt x="705" y="1981"/>
                      <a:pt x="725" y="1994"/>
                      <a:pt x="725" y="1994"/>
                    </a:cubicBezTo>
                    <a:cubicBezTo>
                      <a:pt x="746" y="1983"/>
                      <a:pt x="746" y="1983"/>
                      <a:pt x="746" y="1983"/>
                    </a:cubicBezTo>
                    <a:cubicBezTo>
                      <a:pt x="758" y="1987"/>
                      <a:pt x="758" y="1987"/>
                      <a:pt x="758" y="1987"/>
                    </a:cubicBezTo>
                    <a:cubicBezTo>
                      <a:pt x="770" y="1986"/>
                      <a:pt x="770" y="1986"/>
                      <a:pt x="770" y="1986"/>
                    </a:cubicBezTo>
                    <a:cubicBezTo>
                      <a:pt x="771" y="1970"/>
                      <a:pt x="771" y="1970"/>
                      <a:pt x="771" y="1970"/>
                    </a:cubicBezTo>
                    <a:cubicBezTo>
                      <a:pt x="771" y="1970"/>
                      <a:pt x="729" y="1968"/>
                      <a:pt x="677" y="1942"/>
                    </a:cubicBezTo>
                    <a:close/>
                    <a:moveTo>
                      <a:pt x="658" y="1993"/>
                    </a:moveTo>
                    <a:cubicBezTo>
                      <a:pt x="676" y="2003"/>
                      <a:pt x="676" y="2003"/>
                      <a:pt x="676" y="2003"/>
                    </a:cubicBezTo>
                    <a:cubicBezTo>
                      <a:pt x="712" y="2006"/>
                      <a:pt x="712" y="2006"/>
                      <a:pt x="712" y="2006"/>
                    </a:cubicBezTo>
                    <a:cubicBezTo>
                      <a:pt x="693" y="1988"/>
                      <a:pt x="693" y="1988"/>
                      <a:pt x="693" y="1988"/>
                    </a:cubicBezTo>
                    <a:lnTo>
                      <a:pt x="658" y="1993"/>
                    </a:lnTo>
                    <a:close/>
                    <a:moveTo>
                      <a:pt x="638" y="1997"/>
                    </a:moveTo>
                    <a:cubicBezTo>
                      <a:pt x="644" y="1991"/>
                      <a:pt x="644" y="1991"/>
                      <a:pt x="644" y="1991"/>
                    </a:cubicBezTo>
                    <a:cubicBezTo>
                      <a:pt x="617" y="1988"/>
                      <a:pt x="617" y="1988"/>
                      <a:pt x="617" y="1988"/>
                    </a:cubicBezTo>
                    <a:cubicBezTo>
                      <a:pt x="593" y="1988"/>
                      <a:pt x="593" y="1988"/>
                      <a:pt x="593" y="1988"/>
                    </a:cubicBezTo>
                    <a:cubicBezTo>
                      <a:pt x="602" y="2012"/>
                      <a:pt x="602" y="2012"/>
                      <a:pt x="602" y="2012"/>
                    </a:cubicBezTo>
                    <a:cubicBezTo>
                      <a:pt x="625" y="2014"/>
                      <a:pt x="625" y="2014"/>
                      <a:pt x="625" y="2014"/>
                    </a:cubicBezTo>
                    <a:cubicBezTo>
                      <a:pt x="619" y="2004"/>
                      <a:pt x="619" y="2004"/>
                      <a:pt x="619" y="2004"/>
                    </a:cubicBezTo>
                    <a:cubicBezTo>
                      <a:pt x="625" y="2000"/>
                      <a:pt x="625" y="2000"/>
                      <a:pt x="625" y="2000"/>
                    </a:cubicBezTo>
                    <a:cubicBezTo>
                      <a:pt x="632" y="2010"/>
                      <a:pt x="632" y="2010"/>
                      <a:pt x="632" y="2010"/>
                    </a:cubicBezTo>
                    <a:cubicBezTo>
                      <a:pt x="663" y="2010"/>
                      <a:pt x="663" y="2010"/>
                      <a:pt x="663" y="2010"/>
                    </a:cubicBezTo>
                    <a:cubicBezTo>
                      <a:pt x="673" y="2022"/>
                      <a:pt x="673" y="2022"/>
                      <a:pt x="673" y="2022"/>
                    </a:cubicBezTo>
                    <a:cubicBezTo>
                      <a:pt x="686" y="2022"/>
                      <a:pt x="686" y="2022"/>
                      <a:pt x="686" y="2022"/>
                    </a:cubicBezTo>
                    <a:cubicBezTo>
                      <a:pt x="666" y="2001"/>
                      <a:pt x="666" y="2001"/>
                      <a:pt x="666" y="2001"/>
                    </a:cubicBezTo>
                    <a:lnTo>
                      <a:pt x="638" y="1997"/>
                    </a:lnTo>
                    <a:close/>
                    <a:moveTo>
                      <a:pt x="537" y="1967"/>
                    </a:moveTo>
                    <a:cubicBezTo>
                      <a:pt x="495" y="1962"/>
                      <a:pt x="495" y="1962"/>
                      <a:pt x="495" y="1962"/>
                    </a:cubicBezTo>
                    <a:cubicBezTo>
                      <a:pt x="500" y="1974"/>
                      <a:pt x="500" y="1974"/>
                      <a:pt x="500" y="1974"/>
                    </a:cubicBezTo>
                    <a:cubicBezTo>
                      <a:pt x="527" y="1973"/>
                      <a:pt x="527" y="1973"/>
                      <a:pt x="527" y="1973"/>
                    </a:cubicBezTo>
                    <a:cubicBezTo>
                      <a:pt x="537" y="1987"/>
                      <a:pt x="537" y="1987"/>
                      <a:pt x="537" y="1987"/>
                    </a:cubicBezTo>
                    <a:cubicBezTo>
                      <a:pt x="575" y="2003"/>
                      <a:pt x="575" y="2003"/>
                      <a:pt x="575" y="2003"/>
                    </a:cubicBezTo>
                    <a:cubicBezTo>
                      <a:pt x="552" y="1983"/>
                      <a:pt x="552" y="1983"/>
                      <a:pt x="552" y="1983"/>
                    </a:cubicBezTo>
                    <a:lnTo>
                      <a:pt x="537" y="1967"/>
                    </a:lnTo>
                    <a:close/>
                    <a:moveTo>
                      <a:pt x="534" y="1924"/>
                    </a:moveTo>
                    <a:cubicBezTo>
                      <a:pt x="526" y="1935"/>
                      <a:pt x="526" y="1935"/>
                      <a:pt x="526" y="1935"/>
                    </a:cubicBezTo>
                    <a:cubicBezTo>
                      <a:pt x="530" y="1955"/>
                      <a:pt x="530" y="1955"/>
                      <a:pt x="530" y="1955"/>
                    </a:cubicBezTo>
                    <a:cubicBezTo>
                      <a:pt x="546" y="1949"/>
                      <a:pt x="546" y="1949"/>
                      <a:pt x="546" y="1949"/>
                    </a:cubicBezTo>
                    <a:lnTo>
                      <a:pt x="534" y="1924"/>
                    </a:lnTo>
                    <a:close/>
                    <a:moveTo>
                      <a:pt x="515" y="1954"/>
                    </a:moveTo>
                    <a:cubicBezTo>
                      <a:pt x="513" y="1942"/>
                      <a:pt x="513" y="1942"/>
                      <a:pt x="513" y="1942"/>
                    </a:cubicBezTo>
                    <a:cubicBezTo>
                      <a:pt x="479" y="1934"/>
                      <a:pt x="479" y="1934"/>
                      <a:pt x="479" y="1934"/>
                    </a:cubicBezTo>
                    <a:cubicBezTo>
                      <a:pt x="471" y="1945"/>
                      <a:pt x="471" y="1945"/>
                      <a:pt x="471" y="1945"/>
                    </a:cubicBezTo>
                    <a:cubicBezTo>
                      <a:pt x="472" y="1958"/>
                      <a:pt x="472" y="1958"/>
                      <a:pt x="472" y="1958"/>
                    </a:cubicBezTo>
                    <a:cubicBezTo>
                      <a:pt x="495" y="1949"/>
                      <a:pt x="495" y="1949"/>
                      <a:pt x="495" y="1949"/>
                    </a:cubicBezTo>
                    <a:lnTo>
                      <a:pt x="515" y="1954"/>
                    </a:lnTo>
                    <a:close/>
                    <a:moveTo>
                      <a:pt x="407" y="1848"/>
                    </a:moveTo>
                    <a:cubicBezTo>
                      <a:pt x="407" y="1848"/>
                      <a:pt x="381" y="1835"/>
                      <a:pt x="378" y="1847"/>
                    </a:cubicBezTo>
                    <a:cubicBezTo>
                      <a:pt x="375" y="1859"/>
                      <a:pt x="371" y="1874"/>
                      <a:pt x="375" y="1874"/>
                    </a:cubicBezTo>
                    <a:cubicBezTo>
                      <a:pt x="380" y="1874"/>
                      <a:pt x="397" y="1867"/>
                      <a:pt x="397" y="1867"/>
                    </a:cubicBezTo>
                    <a:cubicBezTo>
                      <a:pt x="399" y="1883"/>
                      <a:pt x="399" y="1883"/>
                      <a:pt x="399" y="1883"/>
                    </a:cubicBezTo>
                    <a:cubicBezTo>
                      <a:pt x="420" y="1873"/>
                      <a:pt x="420" y="1873"/>
                      <a:pt x="420" y="1873"/>
                    </a:cubicBezTo>
                    <a:cubicBezTo>
                      <a:pt x="409" y="1863"/>
                      <a:pt x="409" y="1863"/>
                      <a:pt x="409" y="1863"/>
                    </a:cubicBezTo>
                    <a:cubicBezTo>
                      <a:pt x="413" y="1851"/>
                      <a:pt x="413" y="1851"/>
                      <a:pt x="413" y="1851"/>
                    </a:cubicBezTo>
                    <a:lnTo>
                      <a:pt x="407" y="1848"/>
                    </a:lnTo>
                    <a:close/>
                    <a:moveTo>
                      <a:pt x="368" y="1886"/>
                    </a:moveTo>
                    <a:cubicBezTo>
                      <a:pt x="345" y="1873"/>
                      <a:pt x="345" y="1873"/>
                      <a:pt x="345" y="1873"/>
                    </a:cubicBezTo>
                    <a:cubicBezTo>
                      <a:pt x="362" y="1892"/>
                      <a:pt x="362" y="1892"/>
                      <a:pt x="362" y="1892"/>
                    </a:cubicBezTo>
                    <a:cubicBezTo>
                      <a:pt x="393" y="1896"/>
                      <a:pt x="393" y="1896"/>
                      <a:pt x="393" y="1896"/>
                    </a:cubicBezTo>
                    <a:cubicBezTo>
                      <a:pt x="404" y="1903"/>
                      <a:pt x="404" y="1903"/>
                      <a:pt x="404" y="1903"/>
                    </a:cubicBezTo>
                    <a:cubicBezTo>
                      <a:pt x="393" y="1889"/>
                      <a:pt x="393" y="1889"/>
                      <a:pt x="393" y="1889"/>
                    </a:cubicBezTo>
                    <a:lnTo>
                      <a:pt x="368" y="1886"/>
                    </a:lnTo>
                    <a:close/>
                    <a:moveTo>
                      <a:pt x="368" y="1835"/>
                    </a:moveTo>
                    <a:cubicBezTo>
                      <a:pt x="355" y="1822"/>
                      <a:pt x="355" y="1822"/>
                      <a:pt x="355" y="1822"/>
                    </a:cubicBezTo>
                    <a:cubicBezTo>
                      <a:pt x="351" y="1844"/>
                      <a:pt x="351" y="1844"/>
                      <a:pt x="351" y="1844"/>
                    </a:cubicBezTo>
                    <a:cubicBezTo>
                      <a:pt x="336" y="1848"/>
                      <a:pt x="336" y="1848"/>
                      <a:pt x="336" y="1848"/>
                    </a:cubicBezTo>
                    <a:cubicBezTo>
                      <a:pt x="365" y="1860"/>
                      <a:pt x="365" y="1860"/>
                      <a:pt x="365" y="1860"/>
                    </a:cubicBezTo>
                    <a:lnTo>
                      <a:pt x="368" y="1835"/>
                    </a:lnTo>
                    <a:close/>
                    <a:moveTo>
                      <a:pt x="296" y="1827"/>
                    </a:moveTo>
                    <a:cubicBezTo>
                      <a:pt x="319" y="1848"/>
                      <a:pt x="319" y="1848"/>
                      <a:pt x="319" y="1848"/>
                    </a:cubicBezTo>
                    <a:cubicBezTo>
                      <a:pt x="326" y="1841"/>
                      <a:pt x="326" y="1841"/>
                      <a:pt x="326" y="1841"/>
                    </a:cubicBezTo>
                    <a:cubicBezTo>
                      <a:pt x="306" y="1818"/>
                      <a:pt x="306" y="1818"/>
                      <a:pt x="306" y="1818"/>
                    </a:cubicBezTo>
                    <a:lnTo>
                      <a:pt x="296" y="1827"/>
                    </a:lnTo>
                    <a:close/>
                    <a:moveTo>
                      <a:pt x="342" y="1820"/>
                    </a:moveTo>
                    <a:cubicBezTo>
                      <a:pt x="335" y="1814"/>
                      <a:pt x="335" y="1814"/>
                      <a:pt x="335" y="1814"/>
                    </a:cubicBezTo>
                    <a:cubicBezTo>
                      <a:pt x="329" y="1824"/>
                      <a:pt x="329" y="1824"/>
                      <a:pt x="329" y="1824"/>
                    </a:cubicBezTo>
                    <a:cubicBezTo>
                      <a:pt x="336" y="1833"/>
                      <a:pt x="336" y="1833"/>
                      <a:pt x="336" y="1833"/>
                    </a:cubicBezTo>
                    <a:lnTo>
                      <a:pt x="342" y="1820"/>
                    </a:lnTo>
                    <a:close/>
                    <a:moveTo>
                      <a:pt x="303" y="1805"/>
                    </a:moveTo>
                    <a:cubicBezTo>
                      <a:pt x="306" y="1788"/>
                      <a:pt x="306" y="1788"/>
                      <a:pt x="306" y="1788"/>
                    </a:cubicBezTo>
                    <a:cubicBezTo>
                      <a:pt x="303" y="1763"/>
                      <a:pt x="303" y="1763"/>
                      <a:pt x="303" y="1763"/>
                    </a:cubicBezTo>
                    <a:cubicBezTo>
                      <a:pt x="292" y="1759"/>
                      <a:pt x="292" y="1759"/>
                      <a:pt x="292" y="1759"/>
                    </a:cubicBezTo>
                    <a:cubicBezTo>
                      <a:pt x="292" y="1770"/>
                      <a:pt x="292" y="1770"/>
                      <a:pt x="292" y="1770"/>
                    </a:cubicBezTo>
                    <a:cubicBezTo>
                      <a:pt x="270" y="1766"/>
                      <a:pt x="270" y="1766"/>
                      <a:pt x="270" y="1766"/>
                    </a:cubicBezTo>
                    <a:cubicBezTo>
                      <a:pt x="287" y="1789"/>
                      <a:pt x="287" y="1789"/>
                      <a:pt x="287" y="1789"/>
                    </a:cubicBezTo>
                    <a:cubicBezTo>
                      <a:pt x="283" y="1818"/>
                      <a:pt x="283" y="1818"/>
                      <a:pt x="283" y="1818"/>
                    </a:cubicBezTo>
                    <a:lnTo>
                      <a:pt x="303" y="1805"/>
                    </a:lnTo>
                    <a:close/>
                    <a:moveTo>
                      <a:pt x="243" y="1752"/>
                    </a:moveTo>
                    <a:cubicBezTo>
                      <a:pt x="254" y="1753"/>
                      <a:pt x="254" y="1753"/>
                      <a:pt x="254" y="1753"/>
                    </a:cubicBezTo>
                    <a:cubicBezTo>
                      <a:pt x="261" y="1775"/>
                      <a:pt x="261" y="1775"/>
                      <a:pt x="261" y="1775"/>
                    </a:cubicBezTo>
                    <a:cubicBezTo>
                      <a:pt x="266" y="1755"/>
                      <a:pt x="266" y="1755"/>
                      <a:pt x="266" y="1755"/>
                    </a:cubicBezTo>
                    <a:cubicBezTo>
                      <a:pt x="267" y="1739"/>
                      <a:pt x="267" y="1739"/>
                      <a:pt x="267" y="1739"/>
                    </a:cubicBezTo>
                    <a:cubicBezTo>
                      <a:pt x="250" y="1734"/>
                      <a:pt x="250" y="1734"/>
                      <a:pt x="250" y="1734"/>
                    </a:cubicBezTo>
                    <a:lnTo>
                      <a:pt x="243" y="1752"/>
                    </a:lnTo>
                    <a:close/>
                    <a:moveTo>
                      <a:pt x="248" y="1727"/>
                    </a:moveTo>
                    <a:cubicBezTo>
                      <a:pt x="253" y="1726"/>
                      <a:pt x="256" y="1717"/>
                      <a:pt x="256" y="1717"/>
                    </a:cubicBezTo>
                    <a:cubicBezTo>
                      <a:pt x="276" y="1734"/>
                      <a:pt x="276" y="1734"/>
                      <a:pt x="276" y="1734"/>
                    </a:cubicBezTo>
                    <a:cubicBezTo>
                      <a:pt x="277" y="1718"/>
                      <a:pt x="277" y="1718"/>
                      <a:pt x="277" y="1718"/>
                    </a:cubicBezTo>
                    <a:cubicBezTo>
                      <a:pt x="257" y="1697"/>
                      <a:pt x="257" y="1697"/>
                      <a:pt x="257" y="1697"/>
                    </a:cubicBezTo>
                    <a:cubicBezTo>
                      <a:pt x="257" y="1697"/>
                      <a:pt x="241" y="1674"/>
                      <a:pt x="241" y="1662"/>
                    </a:cubicBezTo>
                    <a:cubicBezTo>
                      <a:pt x="241" y="1651"/>
                      <a:pt x="230" y="1639"/>
                      <a:pt x="219" y="1633"/>
                    </a:cubicBezTo>
                    <a:cubicBezTo>
                      <a:pt x="209" y="1628"/>
                      <a:pt x="209" y="1639"/>
                      <a:pt x="209" y="1639"/>
                    </a:cubicBezTo>
                    <a:cubicBezTo>
                      <a:pt x="195" y="1635"/>
                      <a:pt x="195" y="1635"/>
                      <a:pt x="195" y="1635"/>
                    </a:cubicBezTo>
                    <a:cubicBezTo>
                      <a:pt x="195" y="1635"/>
                      <a:pt x="180" y="1662"/>
                      <a:pt x="191" y="1662"/>
                    </a:cubicBezTo>
                    <a:cubicBezTo>
                      <a:pt x="201" y="1662"/>
                      <a:pt x="221" y="1662"/>
                      <a:pt x="221" y="1662"/>
                    </a:cubicBezTo>
                    <a:cubicBezTo>
                      <a:pt x="208" y="1688"/>
                      <a:pt x="208" y="1688"/>
                      <a:pt x="208" y="1688"/>
                    </a:cubicBezTo>
                    <a:cubicBezTo>
                      <a:pt x="217" y="1688"/>
                      <a:pt x="217" y="1688"/>
                      <a:pt x="217" y="1688"/>
                    </a:cubicBezTo>
                    <a:cubicBezTo>
                      <a:pt x="231" y="1675"/>
                      <a:pt x="231" y="1675"/>
                      <a:pt x="231" y="1675"/>
                    </a:cubicBezTo>
                    <a:cubicBezTo>
                      <a:pt x="230" y="1691"/>
                      <a:pt x="230" y="1691"/>
                      <a:pt x="230" y="1691"/>
                    </a:cubicBezTo>
                    <a:cubicBezTo>
                      <a:pt x="230" y="1691"/>
                      <a:pt x="244" y="1729"/>
                      <a:pt x="248" y="1727"/>
                    </a:cubicBezTo>
                    <a:close/>
                    <a:moveTo>
                      <a:pt x="163" y="1391"/>
                    </a:moveTo>
                    <a:cubicBezTo>
                      <a:pt x="165" y="1359"/>
                      <a:pt x="165" y="1359"/>
                      <a:pt x="165" y="1359"/>
                    </a:cubicBezTo>
                    <a:cubicBezTo>
                      <a:pt x="144" y="1339"/>
                      <a:pt x="144" y="1339"/>
                      <a:pt x="144" y="1339"/>
                    </a:cubicBezTo>
                    <a:cubicBezTo>
                      <a:pt x="154" y="1329"/>
                      <a:pt x="154" y="1329"/>
                      <a:pt x="154" y="1329"/>
                    </a:cubicBezTo>
                    <a:cubicBezTo>
                      <a:pt x="140" y="1313"/>
                      <a:pt x="140" y="1313"/>
                      <a:pt x="140" y="1313"/>
                    </a:cubicBezTo>
                    <a:cubicBezTo>
                      <a:pt x="117" y="1304"/>
                      <a:pt x="117" y="1304"/>
                      <a:pt x="117" y="1304"/>
                    </a:cubicBezTo>
                    <a:cubicBezTo>
                      <a:pt x="117" y="1304"/>
                      <a:pt x="114" y="1340"/>
                      <a:pt x="123" y="1343"/>
                    </a:cubicBezTo>
                    <a:cubicBezTo>
                      <a:pt x="131" y="1346"/>
                      <a:pt x="137" y="1366"/>
                      <a:pt x="137" y="1366"/>
                    </a:cubicBezTo>
                    <a:cubicBezTo>
                      <a:pt x="133" y="1379"/>
                      <a:pt x="133" y="1379"/>
                      <a:pt x="133" y="1379"/>
                    </a:cubicBezTo>
                    <a:lnTo>
                      <a:pt x="163" y="1391"/>
                    </a:lnTo>
                    <a:close/>
                    <a:moveTo>
                      <a:pt x="163" y="1453"/>
                    </a:moveTo>
                    <a:cubicBezTo>
                      <a:pt x="170" y="1461"/>
                      <a:pt x="170" y="1461"/>
                      <a:pt x="170" y="1461"/>
                    </a:cubicBezTo>
                    <a:cubicBezTo>
                      <a:pt x="188" y="1461"/>
                      <a:pt x="188" y="1461"/>
                      <a:pt x="188" y="1461"/>
                    </a:cubicBezTo>
                    <a:cubicBezTo>
                      <a:pt x="195" y="1448"/>
                      <a:pt x="195" y="1448"/>
                      <a:pt x="195" y="1448"/>
                    </a:cubicBezTo>
                    <a:cubicBezTo>
                      <a:pt x="176" y="1453"/>
                      <a:pt x="176" y="1453"/>
                      <a:pt x="176" y="1453"/>
                    </a:cubicBezTo>
                    <a:lnTo>
                      <a:pt x="163" y="1453"/>
                    </a:lnTo>
                    <a:close/>
                    <a:moveTo>
                      <a:pt x="186" y="1483"/>
                    </a:moveTo>
                    <a:cubicBezTo>
                      <a:pt x="188" y="1495"/>
                      <a:pt x="188" y="1495"/>
                      <a:pt x="188" y="1495"/>
                    </a:cubicBezTo>
                    <a:cubicBezTo>
                      <a:pt x="204" y="1505"/>
                      <a:pt x="204" y="1505"/>
                      <a:pt x="204" y="1505"/>
                    </a:cubicBezTo>
                    <a:cubicBezTo>
                      <a:pt x="204" y="1489"/>
                      <a:pt x="204" y="1489"/>
                      <a:pt x="204" y="1489"/>
                    </a:cubicBezTo>
                    <a:cubicBezTo>
                      <a:pt x="195" y="1473"/>
                      <a:pt x="195" y="1473"/>
                      <a:pt x="195" y="1473"/>
                    </a:cubicBezTo>
                    <a:cubicBezTo>
                      <a:pt x="173" y="1474"/>
                      <a:pt x="173" y="1474"/>
                      <a:pt x="173" y="1474"/>
                    </a:cubicBezTo>
                    <a:lnTo>
                      <a:pt x="186" y="1483"/>
                    </a:lnTo>
                    <a:close/>
                    <a:moveTo>
                      <a:pt x="212" y="1463"/>
                    </a:moveTo>
                    <a:cubicBezTo>
                      <a:pt x="212" y="1463"/>
                      <a:pt x="244" y="1444"/>
                      <a:pt x="222" y="1440"/>
                    </a:cubicBezTo>
                    <a:cubicBezTo>
                      <a:pt x="201" y="1435"/>
                      <a:pt x="199" y="1463"/>
                      <a:pt x="212" y="1463"/>
                    </a:cubicBezTo>
                    <a:close/>
                    <a:moveTo>
                      <a:pt x="166" y="1409"/>
                    </a:moveTo>
                    <a:cubicBezTo>
                      <a:pt x="152" y="1420"/>
                      <a:pt x="159" y="1430"/>
                      <a:pt x="169" y="1427"/>
                    </a:cubicBezTo>
                    <a:cubicBezTo>
                      <a:pt x="181" y="1423"/>
                      <a:pt x="180" y="1399"/>
                      <a:pt x="166" y="1409"/>
                    </a:cubicBezTo>
                    <a:close/>
                    <a:moveTo>
                      <a:pt x="156" y="1437"/>
                    </a:moveTo>
                    <a:cubicBezTo>
                      <a:pt x="143" y="1440"/>
                      <a:pt x="143" y="1440"/>
                      <a:pt x="143" y="1440"/>
                    </a:cubicBezTo>
                    <a:cubicBezTo>
                      <a:pt x="150" y="1453"/>
                      <a:pt x="150" y="1453"/>
                      <a:pt x="150" y="1453"/>
                    </a:cubicBezTo>
                    <a:lnTo>
                      <a:pt x="156" y="1437"/>
                    </a:lnTo>
                    <a:close/>
                    <a:moveTo>
                      <a:pt x="476" y="1919"/>
                    </a:moveTo>
                    <a:cubicBezTo>
                      <a:pt x="485" y="1915"/>
                      <a:pt x="484" y="1925"/>
                      <a:pt x="484" y="1925"/>
                    </a:cubicBezTo>
                    <a:cubicBezTo>
                      <a:pt x="484" y="1925"/>
                      <a:pt x="499" y="1928"/>
                      <a:pt x="514" y="1925"/>
                    </a:cubicBezTo>
                    <a:cubicBezTo>
                      <a:pt x="528" y="1921"/>
                      <a:pt x="498" y="1899"/>
                      <a:pt x="498" y="1899"/>
                    </a:cubicBezTo>
                    <a:cubicBezTo>
                      <a:pt x="498" y="1874"/>
                      <a:pt x="498" y="1874"/>
                      <a:pt x="498" y="1874"/>
                    </a:cubicBezTo>
                    <a:cubicBezTo>
                      <a:pt x="523" y="1872"/>
                      <a:pt x="523" y="1872"/>
                      <a:pt x="523" y="1872"/>
                    </a:cubicBezTo>
                    <a:cubicBezTo>
                      <a:pt x="521" y="1860"/>
                      <a:pt x="521" y="1860"/>
                      <a:pt x="521" y="1860"/>
                    </a:cubicBezTo>
                    <a:cubicBezTo>
                      <a:pt x="537" y="1862"/>
                      <a:pt x="537" y="1862"/>
                      <a:pt x="537" y="1862"/>
                    </a:cubicBezTo>
                    <a:cubicBezTo>
                      <a:pt x="542" y="1850"/>
                      <a:pt x="542" y="1850"/>
                      <a:pt x="542" y="1850"/>
                    </a:cubicBezTo>
                    <a:cubicBezTo>
                      <a:pt x="527" y="1838"/>
                      <a:pt x="527" y="1838"/>
                      <a:pt x="527" y="1838"/>
                    </a:cubicBezTo>
                    <a:cubicBezTo>
                      <a:pt x="527" y="1838"/>
                      <a:pt x="507" y="1839"/>
                      <a:pt x="491" y="1837"/>
                    </a:cubicBezTo>
                    <a:cubicBezTo>
                      <a:pt x="475" y="1835"/>
                      <a:pt x="449" y="1842"/>
                      <a:pt x="449" y="1842"/>
                    </a:cubicBezTo>
                    <a:cubicBezTo>
                      <a:pt x="437" y="1830"/>
                      <a:pt x="437" y="1830"/>
                      <a:pt x="437" y="1830"/>
                    </a:cubicBezTo>
                    <a:cubicBezTo>
                      <a:pt x="413" y="1819"/>
                      <a:pt x="413" y="1819"/>
                      <a:pt x="413" y="1819"/>
                    </a:cubicBezTo>
                    <a:cubicBezTo>
                      <a:pt x="406" y="1808"/>
                      <a:pt x="406" y="1808"/>
                      <a:pt x="406" y="1808"/>
                    </a:cubicBezTo>
                    <a:cubicBezTo>
                      <a:pt x="392" y="1792"/>
                      <a:pt x="392" y="1792"/>
                      <a:pt x="392" y="1792"/>
                    </a:cubicBezTo>
                    <a:cubicBezTo>
                      <a:pt x="392" y="1792"/>
                      <a:pt x="398" y="1780"/>
                      <a:pt x="383" y="1767"/>
                    </a:cubicBezTo>
                    <a:cubicBezTo>
                      <a:pt x="368" y="1754"/>
                      <a:pt x="362" y="1772"/>
                      <a:pt x="352" y="1772"/>
                    </a:cubicBezTo>
                    <a:cubicBezTo>
                      <a:pt x="342" y="1772"/>
                      <a:pt x="338" y="1747"/>
                      <a:pt x="338" y="1747"/>
                    </a:cubicBezTo>
                    <a:cubicBezTo>
                      <a:pt x="318" y="1743"/>
                      <a:pt x="318" y="1743"/>
                      <a:pt x="318" y="1743"/>
                    </a:cubicBezTo>
                    <a:cubicBezTo>
                      <a:pt x="318" y="1743"/>
                      <a:pt x="320" y="1723"/>
                      <a:pt x="315" y="1718"/>
                    </a:cubicBezTo>
                    <a:cubicBezTo>
                      <a:pt x="310" y="1713"/>
                      <a:pt x="308" y="1697"/>
                      <a:pt x="308" y="1697"/>
                    </a:cubicBezTo>
                    <a:cubicBezTo>
                      <a:pt x="315" y="1693"/>
                      <a:pt x="315" y="1693"/>
                      <a:pt x="315" y="1693"/>
                    </a:cubicBezTo>
                    <a:cubicBezTo>
                      <a:pt x="316" y="1680"/>
                      <a:pt x="316" y="1680"/>
                      <a:pt x="316" y="1680"/>
                    </a:cubicBezTo>
                    <a:cubicBezTo>
                      <a:pt x="316" y="1680"/>
                      <a:pt x="331" y="1675"/>
                      <a:pt x="334" y="1670"/>
                    </a:cubicBezTo>
                    <a:cubicBezTo>
                      <a:pt x="337" y="1665"/>
                      <a:pt x="317" y="1650"/>
                      <a:pt x="317" y="1650"/>
                    </a:cubicBezTo>
                    <a:cubicBezTo>
                      <a:pt x="317" y="1650"/>
                      <a:pt x="333" y="1641"/>
                      <a:pt x="332" y="1638"/>
                    </a:cubicBezTo>
                    <a:cubicBezTo>
                      <a:pt x="331" y="1635"/>
                      <a:pt x="312" y="1624"/>
                      <a:pt x="312" y="1624"/>
                    </a:cubicBezTo>
                    <a:cubicBezTo>
                      <a:pt x="315" y="1594"/>
                      <a:pt x="315" y="1594"/>
                      <a:pt x="315" y="1594"/>
                    </a:cubicBezTo>
                    <a:cubicBezTo>
                      <a:pt x="326" y="1590"/>
                      <a:pt x="326" y="1590"/>
                      <a:pt x="326" y="1590"/>
                    </a:cubicBezTo>
                    <a:cubicBezTo>
                      <a:pt x="316" y="1573"/>
                      <a:pt x="316" y="1573"/>
                      <a:pt x="316" y="1573"/>
                    </a:cubicBezTo>
                    <a:cubicBezTo>
                      <a:pt x="319" y="1551"/>
                      <a:pt x="319" y="1551"/>
                      <a:pt x="319" y="1551"/>
                    </a:cubicBezTo>
                    <a:cubicBezTo>
                      <a:pt x="304" y="1533"/>
                      <a:pt x="304" y="1533"/>
                      <a:pt x="304" y="1533"/>
                    </a:cubicBezTo>
                    <a:cubicBezTo>
                      <a:pt x="307" y="1518"/>
                      <a:pt x="307" y="1518"/>
                      <a:pt x="307" y="1518"/>
                    </a:cubicBezTo>
                    <a:cubicBezTo>
                      <a:pt x="291" y="1506"/>
                      <a:pt x="291" y="1506"/>
                      <a:pt x="291" y="1506"/>
                    </a:cubicBezTo>
                    <a:cubicBezTo>
                      <a:pt x="291" y="1506"/>
                      <a:pt x="304" y="1495"/>
                      <a:pt x="307" y="1487"/>
                    </a:cubicBezTo>
                    <a:cubicBezTo>
                      <a:pt x="310" y="1479"/>
                      <a:pt x="287" y="1470"/>
                      <a:pt x="287" y="1470"/>
                    </a:cubicBezTo>
                    <a:cubicBezTo>
                      <a:pt x="287" y="1470"/>
                      <a:pt x="264" y="1463"/>
                      <a:pt x="263" y="1460"/>
                    </a:cubicBezTo>
                    <a:cubicBezTo>
                      <a:pt x="262" y="1457"/>
                      <a:pt x="294" y="1460"/>
                      <a:pt x="296" y="1449"/>
                    </a:cubicBezTo>
                    <a:cubicBezTo>
                      <a:pt x="298" y="1438"/>
                      <a:pt x="279" y="1443"/>
                      <a:pt x="272" y="1443"/>
                    </a:cubicBezTo>
                    <a:cubicBezTo>
                      <a:pt x="265" y="1443"/>
                      <a:pt x="260" y="1433"/>
                      <a:pt x="260" y="1433"/>
                    </a:cubicBezTo>
                    <a:cubicBezTo>
                      <a:pt x="260" y="1433"/>
                      <a:pt x="259" y="1416"/>
                      <a:pt x="258" y="1405"/>
                    </a:cubicBezTo>
                    <a:cubicBezTo>
                      <a:pt x="257" y="1394"/>
                      <a:pt x="241" y="1393"/>
                      <a:pt x="241" y="1393"/>
                    </a:cubicBezTo>
                    <a:cubicBezTo>
                      <a:pt x="245" y="1375"/>
                      <a:pt x="245" y="1375"/>
                      <a:pt x="245" y="1375"/>
                    </a:cubicBezTo>
                    <a:cubicBezTo>
                      <a:pt x="235" y="1370"/>
                      <a:pt x="235" y="1370"/>
                      <a:pt x="235" y="1370"/>
                    </a:cubicBezTo>
                    <a:cubicBezTo>
                      <a:pt x="235" y="1370"/>
                      <a:pt x="226" y="1366"/>
                      <a:pt x="223" y="1358"/>
                    </a:cubicBezTo>
                    <a:cubicBezTo>
                      <a:pt x="220" y="1350"/>
                      <a:pt x="215" y="1320"/>
                      <a:pt x="215" y="1320"/>
                    </a:cubicBezTo>
                    <a:cubicBezTo>
                      <a:pt x="215" y="1320"/>
                      <a:pt x="226" y="1311"/>
                      <a:pt x="231" y="1312"/>
                    </a:cubicBezTo>
                    <a:cubicBezTo>
                      <a:pt x="236" y="1313"/>
                      <a:pt x="207" y="1292"/>
                      <a:pt x="204" y="1286"/>
                    </a:cubicBezTo>
                    <a:cubicBezTo>
                      <a:pt x="201" y="1280"/>
                      <a:pt x="201" y="1261"/>
                      <a:pt x="201" y="1261"/>
                    </a:cubicBezTo>
                    <a:cubicBezTo>
                      <a:pt x="201" y="1261"/>
                      <a:pt x="194" y="1250"/>
                      <a:pt x="193" y="1244"/>
                    </a:cubicBezTo>
                    <a:cubicBezTo>
                      <a:pt x="192" y="1238"/>
                      <a:pt x="197" y="1220"/>
                      <a:pt x="197" y="1220"/>
                    </a:cubicBezTo>
                    <a:cubicBezTo>
                      <a:pt x="183" y="1212"/>
                      <a:pt x="183" y="1212"/>
                      <a:pt x="183" y="1212"/>
                    </a:cubicBezTo>
                    <a:cubicBezTo>
                      <a:pt x="183" y="1212"/>
                      <a:pt x="188" y="1204"/>
                      <a:pt x="187" y="1196"/>
                    </a:cubicBezTo>
                    <a:cubicBezTo>
                      <a:pt x="186" y="1188"/>
                      <a:pt x="176" y="1183"/>
                      <a:pt x="176" y="1183"/>
                    </a:cubicBezTo>
                    <a:cubicBezTo>
                      <a:pt x="189" y="1174"/>
                      <a:pt x="189" y="1174"/>
                      <a:pt x="189" y="1174"/>
                    </a:cubicBezTo>
                    <a:cubicBezTo>
                      <a:pt x="181" y="1146"/>
                      <a:pt x="181" y="1146"/>
                      <a:pt x="181" y="1146"/>
                    </a:cubicBezTo>
                    <a:cubicBezTo>
                      <a:pt x="181" y="1146"/>
                      <a:pt x="195" y="1141"/>
                      <a:pt x="200" y="1132"/>
                    </a:cubicBezTo>
                    <a:cubicBezTo>
                      <a:pt x="205" y="1123"/>
                      <a:pt x="186" y="1114"/>
                      <a:pt x="186" y="1114"/>
                    </a:cubicBezTo>
                    <a:cubicBezTo>
                      <a:pt x="185" y="1102"/>
                      <a:pt x="185" y="1102"/>
                      <a:pt x="185" y="1102"/>
                    </a:cubicBezTo>
                    <a:cubicBezTo>
                      <a:pt x="165" y="1085"/>
                      <a:pt x="165" y="1085"/>
                      <a:pt x="165" y="1085"/>
                    </a:cubicBezTo>
                    <a:cubicBezTo>
                      <a:pt x="165" y="1085"/>
                      <a:pt x="165" y="1064"/>
                      <a:pt x="165" y="1057"/>
                    </a:cubicBezTo>
                    <a:cubicBezTo>
                      <a:pt x="165" y="1050"/>
                      <a:pt x="153" y="1017"/>
                      <a:pt x="153" y="1017"/>
                    </a:cubicBezTo>
                    <a:cubicBezTo>
                      <a:pt x="170" y="1016"/>
                      <a:pt x="170" y="1016"/>
                      <a:pt x="170" y="1016"/>
                    </a:cubicBezTo>
                    <a:cubicBezTo>
                      <a:pt x="172" y="1004"/>
                      <a:pt x="172" y="1004"/>
                      <a:pt x="172" y="1004"/>
                    </a:cubicBezTo>
                    <a:cubicBezTo>
                      <a:pt x="172" y="1004"/>
                      <a:pt x="176" y="993"/>
                      <a:pt x="175" y="983"/>
                    </a:cubicBezTo>
                    <a:cubicBezTo>
                      <a:pt x="174" y="973"/>
                      <a:pt x="157" y="955"/>
                      <a:pt x="157" y="955"/>
                    </a:cubicBezTo>
                    <a:cubicBezTo>
                      <a:pt x="166" y="954"/>
                      <a:pt x="166" y="954"/>
                      <a:pt x="166" y="954"/>
                    </a:cubicBezTo>
                    <a:cubicBezTo>
                      <a:pt x="166" y="954"/>
                      <a:pt x="167" y="915"/>
                      <a:pt x="167" y="911"/>
                    </a:cubicBezTo>
                    <a:cubicBezTo>
                      <a:pt x="167" y="907"/>
                      <a:pt x="176" y="900"/>
                      <a:pt x="179" y="894"/>
                    </a:cubicBezTo>
                    <a:cubicBezTo>
                      <a:pt x="182" y="888"/>
                      <a:pt x="167" y="869"/>
                      <a:pt x="167" y="869"/>
                    </a:cubicBezTo>
                    <a:cubicBezTo>
                      <a:pt x="165" y="844"/>
                      <a:pt x="165" y="844"/>
                      <a:pt x="165" y="844"/>
                    </a:cubicBezTo>
                    <a:cubicBezTo>
                      <a:pt x="165" y="844"/>
                      <a:pt x="161" y="846"/>
                      <a:pt x="149" y="843"/>
                    </a:cubicBezTo>
                    <a:cubicBezTo>
                      <a:pt x="137" y="840"/>
                      <a:pt x="145" y="821"/>
                      <a:pt x="145" y="821"/>
                    </a:cubicBezTo>
                    <a:cubicBezTo>
                      <a:pt x="142" y="815"/>
                      <a:pt x="142" y="815"/>
                      <a:pt x="142" y="815"/>
                    </a:cubicBezTo>
                    <a:cubicBezTo>
                      <a:pt x="134" y="794"/>
                      <a:pt x="134" y="794"/>
                      <a:pt x="134" y="794"/>
                    </a:cubicBezTo>
                    <a:cubicBezTo>
                      <a:pt x="121" y="784"/>
                      <a:pt x="121" y="784"/>
                      <a:pt x="121" y="784"/>
                    </a:cubicBezTo>
                    <a:cubicBezTo>
                      <a:pt x="121" y="784"/>
                      <a:pt x="123" y="775"/>
                      <a:pt x="125" y="771"/>
                    </a:cubicBezTo>
                    <a:cubicBezTo>
                      <a:pt x="127" y="767"/>
                      <a:pt x="104" y="752"/>
                      <a:pt x="104" y="752"/>
                    </a:cubicBezTo>
                    <a:cubicBezTo>
                      <a:pt x="104" y="752"/>
                      <a:pt x="102" y="735"/>
                      <a:pt x="102" y="730"/>
                    </a:cubicBezTo>
                    <a:cubicBezTo>
                      <a:pt x="102" y="725"/>
                      <a:pt x="112" y="724"/>
                      <a:pt x="112" y="724"/>
                    </a:cubicBezTo>
                    <a:cubicBezTo>
                      <a:pt x="109" y="685"/>
                      <a:pt x="109" y="685"/>
                      <a:pt x="109" y="685"/>
                    </a:cubicBezTo>
                    <a:cubicBezTo>
                      <a:pt x="109" y="685"/>
                      <a:pt x="118" y="690"/>
                      <a:pt x="123" y="685"/>
                    </a:cubicBezTo>
                    <a:cubicBezTo>
                      <a:pt x="128" y="680"/>
                      <a:pt x="105" y="635"/>
                      <a:pt x="104" y="631"/>
                    </a:cubicBezTo>
                    <a:cubicBezTo>
                      <a:pt x="103" y="627"/>
                      <a:pt x="112" y="619"/>
                      <a:pt x="114" y="615"/>
                    </a:cubicBezTo>
                    <a:cubicBezTo>
                      <a:pt x="116" y="611"/>
                      <a:pt x="111" y="586"/>
                      <a:pt x="111" y="576"/>
                    </a:cubicBezTo>
                    <a:cubicBezTo>
                      <a:pt x="111" y="566"/>
                      <a:pt x="129" y="558"/>
                      <a:pt x="130" y="553"/>
                    </a:cubicBezTo>
                    <a:cubicBezTo>
                      <a:pt x="131" y="548"/>
                      <a:pt x="137" y="510"/>
                      <a:pt x="137" y="510"/>
                    </a:cubicBezTo>
                    <a:cubicBezTo>
                      <a:pt x="137" y="510"/>
                      <a:pt x="159" y="509"/>
                      <a:pt x="162" y="498"/>
                    </a:cubicBezTo>
                    <a:cubicBezTo>
                      <a:pt x="165" y="487"/>
                      <a:pt x="134" y="476"/>
                      <a:pt x="134" y="476"/>
                    </a:cubicBezTo>
                    <a:cubicBezTo>
                      <a:pt x="134" y="476"/>
                      <a:pt x="151" y="464"/>
                      <a:pt x="152" y="454"/>
                    </a:cubicBezTo>
                    <a:cubicBezTo>
                      <a:pt x="153" y="444"/>
                      <a:pt x="134" y="436"/>
                      <a:pt x="129" y="429"/>
                    </a:cubicBezTo>
                    <a:cubicBezTo>
                      <a:pt x="124" y="422"/>
                      <a:pt x="134" y="413"/>
                      <a:pt x="143" y="404"/>
                    </a:cubicBezTo>
                    <a:cubicBezTo>
                      <a:pt x="152" y="395"/>
                      <a:pt x="125" y="401"/>
                      <a:pt x="124" y="387"/>
                    </a:cubicBezTo>
                    <a:cubicBezTo>
                      <a:pt x="123" y="373"/>
                      <a:pt x="178" y="349"/>
                      <a:pt x="178" y="349"/>
                    </a:cubicBezTo>
                    <a:cubicBezTo>
                      <a:pt x="184" y="293"/>
                      <a:pt x="184" y="293"/>
                      <a:pt x="184" y="293"/>
                    </a:cubicBezTo>
                    <a:cubicBezTo>
                      <a:pt x="177" y="282"/>
                      <a:pt x="177" y="282"/>
                      <a:pt x="177" y="282"/>
                    </a:cubicBezTo>
                    <a:cubicBezTo>
                      <a:pt x="170" y="284"/>
                      <a:pt x="161" y="285"/>
                      <a:pt x="153" y="284"/>
                    </a:cubicBezTo>
                    <a:cubicBezTo>
                      <a:pt x="141" y="283"/>
                      <a:pt x="142" y="257"/>
                      <a:pt x="142" y="257"/>
                    </a:cubicBezTo>
                    <a:cubicBezTo>
                      <a:pt x="129" y="241"/>
                      <a:pt x="129" y="241"/>
                      <a:pt x="129" y="241"/>
                    </a:cubicBezTo>
                    <a:cubicBezTo>
                      <a:pt x="129" y="241"/>
                      <a:pt x="131" y="211"/>
                      <a:pt x="129" y="200"/>
                    </a:cubicBezTo>
                    <a:cubicBezTo>
                      <a:pt x="126" y="189"/>
                      <a:pt x="97" y="178"/>
                      <a:pt x="97" y="178"/>
                    </a:cubicBezTo>
                    <a:cubicBezTo>
                      <a:pt x="97" y="161"/>
                      <a:pt x="97" y="161"/>
                      <a:pt x="97" y="161"/>
                    </a:cubicBezTo>
                    <a:cubicBezTo>
                      <a:pt x="97" y="161"/>
                      <a:pt x="92" y="158"/>
                      <a:pt x="88" y="148"/>
                    </a:cubicBezTo>
                    <a:cubicBezTo>
                      <a:pt x="84" y="139"/>
                      <a:pt x="99" y="127"/>
                      <a:pt x="99" y="127"/>
                    </a:cubicBezTo>
                    <a:cubicBezTo>
                      <a:pt x="88" y="116"/>
                      <a:pt x="88" y="116"/>
                      <a:pt x="88" y="116"/>
                    </a:cubicBezTo>
                    <a:cubicBezTo>
                      <a:pt x="88" y="116"/>
                      <a:pt x="96" y="110"/>
                      <a:pt x="100" y="98"/>
                    </a:cubicBezTo>
                    <a:cubicBezTo>
                      <a:pt x="104" y="86"/>
                      <a:pt x="68" y="74"/>
                      <a:pt x="68" y="74"/>
                    </a:cubicBezTo>
                    <a:cubicBezTo>
                      <a:pt x="59" y="22"/>
                      <a:pt x="59" y="22"/>
                      <a:pt x="59" y="22"/>
                    </a:cubicBezTo>
                    <a:cubicBezTo>
                      <a:pt x="45" y="22"/>
                      <a:pt x="45" y="22"/>
                      <a:pt x="45" y="22"/>
                    </a:cubicBezTo>
                    <a:cubicBezTo>
                      <a:pt x="34" y="0"/>
                      <a:pt x="34" y="0"/>
                      <a:pt x="34" y="0"/>
                    </a:cubicBezTo>
                    <a:cubicBezTo>
                      <a:pt x="23" y="7"/>
                      <a:pt x="23" y="7"/>
                      <a:pt x="23" y="7"/>
                    </a:cubicBezTo>
                    <a:cubicBezTo>
                      <a:pt x="23" y="7"/>
                      <a:pt x="35" y="21"/>
                      <a:pt x="23" y="30"/>
                    </a:cubicBezTo>
                    <a:cubicBezTo>
                      <a:pt x="16" y="36"/>
                      <a:pt x="7" y="42"/>
                      <a:pt x="1" y="46"/>
                    </a:cubicBezTo>
                    <a:cubicBezTo>
                      <a:pt x="0" y="72"/>
                      <a:pt x="0" y="72"/>
                      <a:pt x="0" y="72"/>
                    </a:cubicBezTo>
                    <a:cubicBezTo>
                      <a:pt x="0" y="72"/>
                      <a:pt x="13" y="99"/>
                      <a:pt x="19" y="119"/>
                    </a:cubicBezTo>
                    <a:cubicBezTo>
                      <a:pt x="25" y="139"/>
                      <a:pt x="24" y="169"/>
                      <a:pt x="24" y="182"/>
                    </a:cubicBezTo>
                    <a:cubicBezTo>
                      <a:pt x="24" y="195"/>
                      <a:pt x="32" y="206"/>
                      <a:pt x="33" y="229"/>
                    </a:cubicBezTo>
                    <a:cubicBezTo>
                      <a:pt x="34" y="253"/>
                      <a:pt x="34" y="290"/>
                      <a:pt x="34" y="290"/>
                    </a:cubicBezTo>
                    <a:cubicBezTo>
                      <a:pt x="20" y="298"/>
                      <a:pt x="20" y="298"/>
                      <a:pt x="20" y="298"/>
                    </a:cubicBezTo>
                    <a:cubicBezTo>
                      <a:pt x="23" y="318"/>
                      <a:pt x="23" y="318"/>
                      <a:pt x="23" y="318"/>
                    </a:cubicBezTo>
                    <a:cubicBezTo>
                      <a:pt x="38" y="327"/>
                      <a:pt x="38" y="327"/>
                      <a:pt x="38" y="327"/>
                    </a:cubicBezTo>
                    <a:cubicBezTo>
                      <a:pt x="32" y="389"/>
                      <a:pt x="32" y="389"/>
                      <a:pt x="32" y="389"/>
                    </a:cubicBezTo>
                    <a:cubicBezTo>
                      <a:pt x="47" y="417"/>
                      <a:pt x="47" y="417"/>
                      <a:pt x="47" y="417"/>
                    </a:cubicBezTo>
                    <a:cubicBezTo>
                      <a:pt x="36" y="430"/>
                      <a:pt x="36" y="430"/>
                      <a:pt x="36" y="430"/>
                    </a:cubicBezTo>
                    <a:cubicBezTo>
                      <a:pt x="42" y="472"/>
                      <a:pt x="42" y="472"/>
                      <a:pt x="42" y="472"/>
                    </a:cubicBezTo>
                    <a:cubicBezTo>
                      <a:pt x="42" y="472"/>
                      <a:pt x="49" y="475"/>
                      <a:pt x="51" y="492"/>
                    </a:cubicBezTo>
                    <a:cubicBezTo>
                      <a:pt x="53" y="508"/>
                      <a:pt x="42" y="509"/>
                      <a:pt x="42" y="509"/>
                    </a:cubicBezTo>
                    <a:cubicBezTo>
                      <a:pt x="40" y="531"/>
                      <a:pt x="40" y="531"/>
                      <a:pt x="40" y="531"/>
                    </a:cubicBezTo>
                    <a:cubicBezTo>
                      <a:pt x="47" y="540"/>
                      <a:pt x="47" y="540"/>
                      <a:pt x="47" y="540"/>
                    </a:cubicBezTo>
                    <a:cubicBezTo>
                      <a:pt x="47" y="540"/>
                      <a:pt x="40" y="545"/>
                      <a:pt x="34" y="559"/>
                    </a:cubicBezTo>
                    <a:cubicBezTo>
                      <a:pt x="28" y="573"/>
                      <a:pt x="40" y="571"/>
                      <a:pt x="40" y="571"/>
                    </a:cubicBezTo>
                    <a:cubicBezTo>
                      <a:pt x="40" y="571"/>
                      <a:pt x="44" y="580"/>
                      <a:pt x="44" y="591"/>
                    </a:cubicBezTo>
                    <a:cubicBezTo>
                      <a:pt x="44" y="602"/>
                      <a:pt x="33" y="599"/>
                      <a:pt x="33" y="619"/>
                    </a:cubicBezTo>
                    <a:cubicBezTo>
                      <a:pt x="33" y="640"/>
                      <a:pt x="49" y="638"/>
                      <a:pt x="52" y="648"/>
                    </a:cubicBezTo>
                    <a:cubicBezTo>
                      <a:pt x="56" y="657"/>
                      <a:pt x="52" y="681"/>
                      <a:pt x="52" y="681"/>
                    </a:cubicBezTo>
                    <a:cubicBezTo>
                      <a:pt x="52" y="681"/>
                      <a:pt x="45" y="679"/>
                      <a:pt x="40" y="681"/>
                    </a:cubicBezTo>
                    <a:cubicBezTo>
                      <a:pt x="36" y="683"/>
                      <a:pt x="40" y="700"/>
                      <a:pt x="47" y="720"/>
                    </a:cubicBezTo>
                    <a:cubicBezTo>
                      <a:pt x="55" y="740"/>
                      <a:pt x="66" y="770"/>
                      <a:pt x="66" y="770"/>
                    </a:cubicBezTo>
                    <a:cubicBezTo>
                      <a:pt x="66" y="770"/>
                      <a:pt x="69" y="784"/>
                      <a:pt x="76" y="790"/>
                    </a:cubicBezTo>
                    <a:cubicBezTo>
                      <a:pt x="83" y="796"/>
                      <a:pt x="79" y="826"/>
                      <a:pt x="79" y="826"/>
                    </a:cubicBezTo>
                    <a:cubicBezTo>
                      <a:pt x="76" y="845"/>
                      <a:pt x="76" y="845"/>
                      <a:pt x="76" y="845"/>
                    </a:cubicBezTo>
                    <a:cubicBezTo>
                      <a:pt x="92" y="862"/>
                      <a:pt x="92" y="862"/>
                      <a:pt x="92" y="862"/>
                    </a:cubicBezTo>
                    <a:cubicBezTo>
                      <a:pt x="92" y="862"/>
                      <a:pt x="82" y="889"/>
                      <a:pt x="82" y="903"/>
                    </a:cubicBezTo>
                    <a:cubicBezTo>
                      <a:pt x="82" y="917"/>
                      <a:pt x="82" y="947"/>
                      <a:pt x="82" y="947"/>
                    </a:cubicBezTo>
                    <a:cubicBezTo>
                      <a:pt x="66" y="972"/>
                      <a:pt x="66" y="972"/>
                      <a:pt x="66" y="972"/>
                    </a:cubicBezTo>
                    <a:cubicBezTo>
                      <a:pt x="76" y="979"/>
                      <a:pt x="76" y="979"/>
                      <a:pt x="76" y="979"/>
                    </a:cubicBezTo>
                    <a:cubicBezTo>
                      <a:pt x="76" y="979"/>
                      <a:pt x="72" y="995"/>
                      <a:pt x="72" y="1004"/>
                    </a:cubicBezTo>
                    <a:cubicBezTo>
                      <a:pt x="72" y="1012"/>
                      <a:pt x="66" y="1056"/>
                      <a:pt x="66" y="1056"/>
                    </a:cubicBezTo>
                    <a:cubicBezTo>
                      <a:pt x="56" y="1058"/>
                      <a:pt x="56" y="1058"/>
                      <a:pt x="56" y="1058"/>
                    </a:cubicBezTo>
                    <a:cubicBezTo>
                      <a:pt x="56" y="1072"/>
                      <a:pt x="56" y="1072"/>
                      <a:pt x="56" y="1072"/>
                    </a:cubicBezTo>
                    <a:cubicBezTo>
                      <a:pt x="72" y="1102"/>
                      <a:pt x="72" y="1102"/>
                      <a:pt x="72" y="1102"/>
                    </a:cubicBezTo>
                    <a:cubicBezTo>
                      <a:pt x="72" y="1102"/>
                      <a:pt x="72" y="1121"/>
                      <a:pt x="72" y="1131"/>
                    </a:cubicBezTo>
                    <a:cubicBezTo>
                      <a:pt x="72" y="1142"/>
                      <a:pt x="95" y="1149"/>
                      <a:pt x="101" y="1165"/>
                    </a:cubicBezTo>
                    <a:cubicBezTo>
                      <a:pt x="107" y="1180"/>
                      <a:pt x="98" y="1218"/>
                      <a:pt x="98" y="1218"/>
                    </a:cubicBezTo>
                    <a:cubicBezTo>
                      <a:pt x="107" y="1225"/>
                      <a:pt x="107" y="1225"/>
                      <a:pt x="107" y="1225"/>
                    </a:cubicBezTo>
                    <a:cubicBezTo>
                      <a:pt x="107" y="1225"/>
                      <a:pt x="107" y="1254"/>
                      <a:pt x="107" y="1266"/>
                    </a:cubicBezTo>
                    <a:cubicBezTo>
                      <a:pt x="107" y="1278"/>
                      <a:pt x="134" y="1286"/>
                      <a:pt x="134" y="1286"/>
                    </a:cubicBezTo>
                    <a:cubicBezTo>
                      <a:pt x="129" y="1299"/>
                      <a:pt x="129" y="1299"/>
                      <a:pt x="129" y="1299"/>
                    </a:cubicBezTo>
                    <a:cubicBezTo>
                      <a:pt x="156" y="1299"/>
                      <a:pt x="156" y="1299"/>
                      <a:pt x="156" y="1299"/>
                    </a:cubicBezTo>
                    <a:cubicBezTo>
                      <a:pt x="156" y="1279"/>
                      <a:pt x="156" y="1279"/>
                      <a:pt x="156" y="1279"/>
                    </a:cubicBezTo>
                    <a:cubicBezTo>
                      <a:pt x="156" y="1279"/>
                      <a:pt x="169" y="1289"/>
                      <a:pt x="177" y="1290"/>
                    </a:cubicBezTo>
                    <a:cubicBezTo>
                      <a:pt x="186" y="1291"/>
                      <a:pt x="186" y="1277"/>
                      <a:pt x="186" y="1277"/>
                    </a:cubicBezTo>
                    <a:cubicBezTo>
                      <a:pt x="192" y="1290"/>
                      <a:pt x="192" y="1290"/>
                      <a:pt x="192" y="1290"/>
                    </a:cubicBezTo>
                    <a:cubicBezTo>
                      <a:pt x="192" y="1290"/>
                      <a:pt x="175" y="1300"/>
                      <a:pt x="173" y="1311"/>
                    </a:cubicBezTo>
                    <a:cubicBezTo>
                      <a:pt x="170" y="1322"/>
                      <a:pt x="186" y="1310"/>
                      <a:pt x="193" y="1313"/>
                    </a:cubicBezTo>
                    <a:cubicBezTo>
                      <a:pt x="200" y="1317"/>
                      <a:pt x="198" y="1330"/>
                      <a:pt x="198" y="1330"/>
                    </a:cubicBezTo>
                    <a:cubicBezTo>
                      <a:pt x="179" y="1328"/>
                      <a:pt x="179" y="1328"/>
                      <a:pt x="179" y="1328"/>
                    </a:cubicBezTo>
                    <a:cubicBezTo>
                      <a:pt x="190" y="1341"/>
                      <a:pt x="190" y="1341"/>
                      <a:pt x="190" y="1341"/>
                    </a:cubicBezTo>
                    <a:cubicBezTo>
                      <a:pt x="183" y="1349"/>
                      <a:pt x="183" y="1349"/>
                      <a:pt x="183" y="1349"/>
                    </a:cubicBezTo>
                    <a:cubicBezTo>
                      <a:pt x="195" y="1367"/>
                      <a:pt x="195" y="1367"/>
                      <a:pt x="195" y="1367"/>
                    </a:cubicBezTo>
                    <a:cubicBezTo>
                      <a:pt x="195" y="1367"/>
                      <a:pt x="188" y="1375"/>
                      <a:pt x="181" y="1384"/>
                    </a:cubicBezTo>
                    <a:cubicBezTo>
                      <a:pt x="174" y="1394"/>
                      <a:pt x="212" y="1403"/>
                      <a:pt x="212" y="1403"/>
                    </a:cubicBezTo>
                    <a:cubicBezTo>
                      <a:pt x="212" y="1403"/>
                      <a:pt x="205" y="1409"/>
                      <a:pt x="200" y="1413"/>
                    </a:cubicBezTo>
                    <a:cubicBezTo>
                      <a:pt x="195" y="1416"/>
                      <a:pt x="202" y="1427"/>
                      <a:pt x="212" y="1432"/>
                    </a:cubicBezTo>
                    <a:cubicBezTo>
                      <a:pt x="221" y="1436"/>
                      <a:pt x="234" y="1433"/>
                      <a:pt x="234" y="1433"/>
                    </a:cubicBezTo>
                    <a:cubicBezTo>
                      <a:pt x="239" y="1457"/>
                      <a:pt x="239" y="1457"/>
                      <a:pt x="239" y="1457"/>
                    </a:cubicBezTo>
                    <a:cubicBezTo>
                      <a:pt x="239" y="1457"/>
                      <a:pt x="219" y="1470"/>
                      <a:pt x="214" y="1477"/>
                    </a:cubicBezTo>
                    <a:cubicBezTo>
                      <a:pt x="209" y="1484"/>
                      <a:pt x="228" y="1485"/>
                      <a:pt x="228" y="1485"/>
                    </a:cubicBezTo>
                    <a:cubicBezTo>
                      <a:pt x="228" y="1485"/>
                      <a:pt x="252" y="1490"/>
                      <a:pt x="252" y="1497"/>
                    </a:cubicBezTo>
                    <a:cubicBezTo>
                      <a:pt x="252" y="1504"/>
                      <a:pt x="237" y="1498"/>
                      <a:pt x="227" y="1493"/>
                    </a:cubicBezTo>
                    <a:cubicBezTo>
                      <a:pt x="218" y="1488"/>
                      <a:pt x="216" y="1503"/>
                      <a:pt x="216" y="1503"/>
                    </a:cubicBezTo>
                    <a:cubicBezTo>
                      <a:pt x="235" y="1507"/>
                      <a:pt x="235" y="1507"/>
                      <a:pt x="235" y="1507"/>
                    </a:cubicBezTo>
                    <a:cubicBezTo>
                      <a:pt x="221" y="1514"/>
                      <a:pt x="221" y="1514"/>
                      <a:pt x="221" y="1514"/>
                    </a:cubicBezTo>
                    <a:cubicBezTo>
                      <a:pt x="222" y="1531"/>
                      <a:pt x="222" y="1531"/>
                      <a:pt x="222" y="1531"/>
                    </a:cubicBezTo>
                    <a:cubicBezTo>
                      <a:pt x="222" y="1531"/>
                      <a:pt x="238" y="1523"/>
                      <a:pt x="231" y="1544"/>
                    </a:cubicBezTo>
                    <a:cubicBezTo>
                      <a:pt x="224" y="1565"/>
                      <a:pt x="214" y="1535"/>
                      <a:pt x="214" y="1535"/>
                    </a:cubicBezTo>
                    <a:cubicBezTo>
                      <a:pt x="190" y="1536"/>
                      <a:pt x="190" y="1536"/>
                      <a:pt x="190" y="1536"/>
                    </a:cubicBezTo>
                    <a:cubicBezTo>
                      <a:pt x="206" y="1529"/>
                      <a:pt x="206" y="1529"/>
                      <a:pt x="206" y="1529"/>
                    </a:cubicBezTo>
                    <a:cubicBezTo>
                      <a:pt x="206" y="1529"/>
                      <a:pt x="189" y="1511"/>
                      <a:pt x="186" y="1512"/>
                    </a:cubicBezTo>
                    <a:cubicBezTo>
                      <a:pt x="182" y="1513"/>
                      <a:pt x="185" y="1522"/>
                      <a:pt x="185" y="1522"/>
                    </a:cubicBezTo>
                    <a:cubicBezTo>
                      <a:pt x="179" y="1516"/>
                      <a:pt x="179" y="1516"/>
                      <a:pt x="179" y="1516"/>
                    </a:cubicBezTo>
                    <a:cubicBezTo>
                      <a:pt x="154" y="1523"/>
                      <a:pt x="154" y="1523"/>
                      <a:pt x="154" y="1523"/>
                    </a:cubicBezTo>
                    <a:cubicBezTo>
                      <a:pt x="176" y="1528"/>
                      <a:pt x="176" y="1528"/>
                      <a:pt x="176" y="1528"/>
                    </a:cubicBezTo>
                    <a:cubicBezTo>
                      <a:pt x="176" y="1528"/>
                      <a:pt x="172" y="1531"/>
                      <a:pt x="168" y="1537"/>
                    </a:cubicBezTo>
                    <a:cubicBezTo>
                      <a:pt x="164" y="1543"/>
                      <a:pt x="148" y="1549"/>
                      <a:pt x="147" y="1558"/>
                    </a:cubicBezTo>
                    <a:cubicBezTo>
                      <a:pt x="146" y="1568"/>
                      <a:pt x="166" y="1572"/>
                      <a:pt x="169" y="1570"/>
                    </a:cubicBezTo>
                    <a:cubicBezTo>
                      <a:pt x="173" y="1568"/>
                      <a:pt x="161" y="1559"/>
                      <a:pt x="161" y="1559"/>
                    </a:cubicBezTo>
                    <a:cubicBezTo>
                      <a:pt x="176" y="1556"/>
                      <a:pt x="176" y="1556"/>
                      <a:pt x="176" y="1556"/>
                    </a:cubicBezTo>
                    <a:cubicBezTo>
                      <a:pt x="176" y="1556"/>
                      <a:pt x="183" y="1561"/>
                      <a:pt x="187" y="1565"/>
                    </a:cubicBezTo>
                    <a:cubicBezTo>
                      <a:pt x="190" y="1570"/>
                      <a:pt x="214" y="1567"/>
                      <a:pt x="214" y="1567"/>
                    </a:cubicBezTo>
                    <a:cubicBezTo>
                      <a:pt x="214" y="1567"/>
                      <a:pt x="229" y="1574"/>
                      <a:pt x="235" y="1582"/>
                    </a:cubicBezTo>
                    <a:cubicBezTo>
                      <a:pt x="241" y="1590"/>
                      <a:pt x="222" y="1598"/>
                      <a:pt x="222" y="1598"/>
                    </a:cubicBezTo>
                    <a:cubicBezTo>
                      <a:pt x="228" y="1608"/>
                      <a:pt x="228" y="1608"/>
                      <a:pt x="228" y="1608"/>
                    </a:cubicBezTo>
                    <a:cubicBezTo>
                      <a:pt x="240" y="1604"/>
                      <a:pt x="240" y="1604"/>
                      <a:pt x="240" y="1604"/>
                    </a:cubicBezTo>
                    <a:cubicBezTo>
                      <a:pt x="240" y="1615"/>
                      <a:pt x="240" y="1615"/>
                      <a:pt x="240" y="1615"/>
                    </a:cubicBezTo>
                    <a:cubicBezTo>
                      <a:pt x="252" y="1620"/>
                      <a:pt x="252" y="1620"/>
                      <a:pt x="252" y="1620"/>
                    </a:cubicBezTo>
                    <a:cubicBezTo>
                      <a:pt x="257" y="1604"/>
                      <a:pt x="257" y="1604"/>
                      <a:pt x="257" y="1604"/>
                    </a:cubicBezTo>
                    <a:cubicBezTo>
                      <a:pt x="266" y="1620"/>
                      <a:pt x="266" y="1620"/>
                      <a:pt x="266" y="1620"/>
                    </a:cubicBezTo>
                    <a:cubicBezTo>
                      <a:pt x="266" y="1620"/>
                      <a:pt x="285" y="1620"/>
                      <a:pt x="283" y="1634"/>
                    </a:cubicBezTo>
                    <a:cubicBezTo>
                      <a:pt x="280" y="1648"/>
                      <a:pt x="258" y="1632"/>
                      <a:pt x="250" y="1630"/>
                    </a:cubicBezTo>
                    <a:cubicBezTo>
                      <a:pt x="241" y="1629"/>
                      <a:pt x="248" y="1643"/>
                      <a:pt x="248" y="1643"/>
                    </a:cubicBezTo>
                    <a:cubicBezTo>
                      <a:pt x="248" y="1643"/>
                      <a:pt x="269" y="1650"/>
                      <a:pt x="270" y="1665"/>
                    </a:cubicBezTo>
                    <a:cubicBezTo>
                      <a:pt x="271" y="1679"/>
                      <a:pt x="256" y="1674"/>
                      <a:pt x="256" y="1674"/>
                    </a:cubicBezTo>
                    <a:cubicBezTo>
                      <a:pt x="265" y="1686"/>
                      <a:pt x="265" y="1686"/>
                      <a:pt x="265" y="1686"/>
                    </a:cubicBezTo>
                    <a:cubicBezTo>
                      <a:pt x="274" y="1710"/>
                      <a:pt x="274" y="1710"/>
                      <a:pt x="274" y="1710"/>
                    </a:cubicBezTo>
                    <a:cubicBezTo>
                      <a:pt x="283" y="1681"/>
                      <a:pt x="283" y="1681"/>
                      <a:pt x="283" y="1681"/>
                    </a:cubicBezTo>
                    <a:cubicBezTo>
                      <a:pt x="283" y="1701"/>
                      <a:pt x="283" y="1701"/>
                      <a:pt x="283" y="1701"/>
                    </a:cubicBezTo>
                    <a:cubicBezTo>
                      <a:pt x="296" y="1717"/>
                      <a:pt x="296" y="1717"/>
                      <a:pt x="296" y="1717"/>
                    </a:cubicBezTo>
                    <a:cubicBezTo>
                      <a:pt x="280" y="1717"/>
                      <a:pt x="280" y="1717"/>
                      <a:pt x="280" y="1717"/>
                    </a:cubicBezTo>
                    <a:cubicBezTo>
                      <a:pt x="283" y="1730"/>
                      <a:pt x="283" y="1730"/>
                      <a:pt x="283" y="1730"/>
                    </a:cubicBezTo>
                    <a:cubicBezTo>
                      <a:pt x="298" y="1731"/>
                      <a:pt x="298" y="1731"/>
                      <a:pt x="298" y="1731"/>
                    </a:cubicBezTo>
                    <a:cubicBezTo>
                      <a:pt x="289" y="1739"/>
                      <a:pt x="289" y="1739"/>
                      <a:pt x="289" y="1739"/>
                    </a:cubicBezTo>
                    <a:cubicBezTo>
                      <a:pt x="309" y="1745"/>
                      <a:pt x="309" y="1745"/>
                      <a:pt x="309" y="1745"/>
                    </a:cubicBezTo>
                    <a:cubicBezTo>
                      <a:pt x="296" y="1753"/>
                      <a:pt x="296" y="1753"/>
                      <a:pt x="296" y="1753"/>
                    </a:cubicBezTo>
                    <a:cubicBezTo>
                      <a:pt x="315" y="1760"/>
                      <a:pt x="315" y="1760"/>
                      <a:pt x="315" y="1760"/>
                    </a:cubicBezTo>
                    <a:cubicBezTo>
                      <a:pt x="310" y="1770"/>
                      <a:pt x="310" y="1770"/>
                      <a:pt x="310" y="1770"/>
                    </a:cubicBezTo>
                    <a:cubicBezTo>
                      <a:pt x="322" y="1773"/>
                      <a:pt x="322" y="1773"/>
                      <a:pt x="322" y="1773"/>
                    </a:cubicBezTo>
                    <a:cubicBezTo>
                      <a:pt x="322" y="1773"/>
                      <a:pt x="324" y="1750"/>
                      <a:pt x="331" y="1762"/>
                    </a:cubicBezTo>
                    <a:cubicBezTo>
                      <a:pt x="338" y="1773"/>
                      <a:pt x="329" y="1779"/>
                      <a:pt x="323" y="1783"/>
                    </a:cubicBezTo>
                    <a:cubicBezTo>
                      <a:pt x="317" y="1786"/>
                      <a:pt x="323" y="1794"/>
                      <a:pt x="323" y="1794"/>
                    </a:cubicBezTo>
                    <a:cubicBezTo>
                      <a:pt x="343" y="1795"/>
                      <a:pt x="343" y="1795"/>
                      <a:pt x="343" y="1795"/>
                    </a:cubicBezTo>
                    <a:cubicBezTo>
                      <a:pt x="343" y="1795"/>
                      <a:pt x="344" y="1805"/>
                      <a:pt x="350" y="1810"/>
                    </a:cubicBezTo>
                    <a:cubicBezTo>
                      <a:pt x="356" y="1815"/>
                      <a:pt x="373" y="1824"/>
                      <a:pt x="373" y="1824"/>
                    </a:cubicBezTo>
                    <a:cubicBezTo>
                      <a:pt x="370" y="1802"/>
                      <a:pt x="370" y="1802"/>
                      <a:pt x="370" y="1802"/>
                    </a:cubicBezTo>
                    <a:cubicBezTo>
                      <a:pt x="370" y="1802"/>
                      <a:pt x="391" y="1810"/>
                      <a:pt x="407" y="1821"/>
                    </a:cubicBezTo>
                    <a:cubicBezTo>
                      <a:pt x="422" y="1831"/>
                      <a:pt x="409" y="1841"/>
                      <a:pt x="409" y="1841"/>
                    </a:cubicBezTo>
                    <a:cubicBezTo>
                      <a:pt x="420" y="1848"/>
                      <a:pt x="420" y="1848"/>
                      <a:pt x="420" y="1848"/>
                    </a:cubicBezTo>
                    <a:cubicBezTo>
                      <a:pt x="419" y="1861"/>
                      <a:pt x="419" y="1861"/>
                      <a:pt x="419" y="1861"/>
                    </a:cubicBezTo>
                    <a:cubicBezTo>
                      <a:pt x="458" y="1861"/>
                      <a:pt x="458" y="1861"/>
                      <a:pt x="458" y="1861"/>
                    </a:cubicBezTo>
                    <a:cubicBezTo>
                      <a:pt x="462" y="1868"/>
                      <a:pt x="462" y="1868"/>
                      <a:pt x="462" y="1868"/>
                    </a:cubicBezTo>
                    <a:cubicBezTo>
                      <a:pt x="442" y="1868"/>
                      <a:pt x="442" y="1868"/>
                      <a:pt x="442" y="1868"/>
                    </a:cubicBezTo>
                    <a:cubicBezTo>
                      <a:pt x="434" y="1876"/>
                      <a:pt x="434" y="1876"/>
                      <a:pt x="434" y="1876"/>
                    </a:cubicBezTo>
                    <a:cubicBezTo>
                      <a:pt x="421" y="1877"/>
                      <a:pt x="421" y="1877"/>
                      <a:pt x="421" y="1877"/>
                    </a:cubicBezTo>
                    <a:cubicBezTo>
                      <a:pt x="410" y="1889"/>
                      <a:pt x="410" y="1889"/>
                      <a:pt x="410" y="1889"/>
                    </a:cubicBezTo>
                    <a:cubicBezTo>
                      <a:pt x="430" y="1892"/>
                      <a:pt x="430" y="1892"/>
                      <a:pt x="430" y="1892"/>
                    </a:cubicBezTo>
                    <a:cubicBezTo>
                      <a:pt x="426" y="1902"/>
                      <a:pt x="426" y="1902"/>
                      <a:pt x="426" y="1902"/>
                    </a:cubicBezTo>
                    <a:cubicBezTo>
                      <a:pt x="442" y="1900"/>
                      <a:pt x="442" y="1900"/>
                      <a:pt x="442" y="1900"/>
                    </a:cubicBezTo>
                    <a:cubicBezTo>
                      <a:pt x="444" y="1887"/>
                      <a:pt x="444" y="1887"/>
                      <a:pt x="444" y="1887"/>
                    </a:cubicBezTo>
                    <a:cubicBezTo>
                      <a:pt x="459" y="1893"/>
                      <a:pt x="459" y="1893"/>
                      <a:pt x="459" y="1893"/>
                    </a:cubicBezTo>
                    <a:cubicBezTo>
                      <a:pt x="459" y="1893"/>
                      <a:pt x="477" y="1868"/>
                      <a:pt x="486" y="1875"/>
                    </a:cubicBezTo>
                    <a:cubicBezTo>
                      <a:pt x="496" y="1882"/>
                      <a:pt x="467" y="1907"/>
                      <a:pt x="467" y="1907"/>
                    </a:cubicBezTo>
                    <a:cubicBezTo>
                      <a:pt x="467" y="1907"/>
                      <a:pt x="464" y="1900"/>
                      <a:pt x="455" y="1901"/>
                    </a:cubicBezTo>
                    <a:cubicBezTo>
                      <a:pt x="447" y="1902"/>
                      <a:pt x="452" y="1913"/>
                      <a:pt x="452" y="1913"/>
                    </a:cubicBezTo>
                    <a:cubicBezTo>
                      <a:pt x="440" y="1913"/>
                      <a:pt x="440" y="1913"/>
                      <a:pt x="440" y="1913"/>
                    </a:cubicBezTo>
                    <a:cubicBezTo>
                      <a:pt x="431" y="1910"/>
                      <a:pt x="419" y="1921"/>
                      <a:pt x="419" y="1921"/>
                    </a:cubicBezTo>
                    <a:cubicBezTo>
                      <a:pt x="428" y="1927"/>
                      <a:pt x="428" y="1927"/>
                      <a:pt x="428" y="1927"/>
                    </a:cubicBezTo>
                    <a:cubicBezTo>
                      <a:pt x="430" y="1945"/>
                      <a:pt x="430" y="1945"/>
                      <a:pt x="430" y="1945"/>
                    </a:cubicBezTo>
                    <a:cubicBezTo>
                      <a:pt x="450" y="1935"/>
                      <a:pt x="450" y="1935"/>
                      <a:pt x="450" y="1935"/>
                    </a:cubicBezTo>
                    <a:cubicBezTo>
                      <a:pt x="450" y="1935"/>
                      <a:pt x="455" y="1946"/>
                      <a:pt x="461" y="1945"/>
                    </a:cubicBezTo>
                    <a:cubicBezTo>
                      <a:pt x="466" y="1944"/>
                      <a:pt x="467" y="1924"/>
                      <a:pt x="476" y="1919"/>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38" name="Freeform 60">
                <a:extLst>
                  <a:ext uri="{FF2B5EF4-FFF2-40B4-BE49-F238E27FC236}">
                    <a16:creationId xmlns:a16="http://schemas.microsoft.com/office/drawing/2014/main" id="{656A479E-54C3-4726-9173-C1E0738D2981}"/>
                  </a:ext>
                </a:extLst>
              </p:cNvPr>
              <p:cNvSpPr>
                <a:spLocks/>
              </p:cNvSpPr>
              <p:nvPr>
                <p:custDataLst>
                  <p:tags r:id="rId19"/>
                </p:custDataLst>
              </p:nvPr>
            </p:nvSpPr>
            <p:spPr bwMode="gray">
              <a:xfrm>
                <a:off x="2163750" y="4381516"/>
                <a:ext cx="379410" cy="550865"/>
              </a:xfrm>
              <a:custGeom>
                <a:avLst/>
                <a:gdLst>
                  <a:gd name="T0" fmla="*/ 604 w 630"/>
                  <a:gd name="T1" fmla="*/ 869 h 993"/>
                  <a:gd name="T2" fmla="*/ 575 w 630"/>
                  <a:gd name="T3" fmla="*/ 854 h 993"/>
                  <a:gd name="T4" fmla="*/ 581 w 630"/>
                  <a:gd name="T5" fmla="*/ 821 h 993"/>
                  <a:gd name="T6" fmla="*/ 607 w 630"/>
                  <a:gd name="T7" fmla="*/ 835 h 993"/>
                  <a:gd name="T8" fmla="*/ 603 w 630"/>
                  <a:gd name="T9" fmla="*/ 799 h 993"/>
                  <a:gd name="T10" fmla="*/ 605 w 630"/>
                  <a:gd name="T11" fmla="*/ 744 h 993"/>
                  <a:gd name="T12" fmla="*/ 609 w 630"/>
                  <a:gd name="T13" fmla="*/ 694 h 993"/>
                  <a:gd name="T14" fmla="*/ 597 w 630"/>
                  <a:gd name="T15" fmla="*/ 632 h 993"/>
                  <a:gd name="T16" fmla="*/ 556 w 630"/>
                  <a:gd name="T17" fmla="*/ 590 h 993"/>
                  <a:gd name="T18" fmla="*/ 533 w 630"/>
                  <a:gd name="T19" fmla="*/ 591 h 993"/>
                  <a:gd name="T20" fmla="*/ 523 w 630"/>
                  <a:gd name="T21" fmla="*/ 562 h 993"/>
                  <a:gd name="T22" fmla="*/ 525 w 630"/>
                  <a:gd name="T23" fmla="*/ 507 h 993"/>
                  <a:gd name="T24" fmla="*/ 449 w 630"/>
                  <a:gd name="T25" fmla="*/ 541 h 993"/>
                  <a:gd name="T26" fmla="*/ 399 w 630"/>
                  <a:gd name="T27" fmla="*/ 509 h 993"/>
                  <a:gd name="T28" fmla="*/ 391 w 630"/>
                  <a:gd name="T29" fmla="*/ 465 h 993"/>
                  <a:gd name="T30" fmla="*/ 371 w 630"/>
                  <a:gd name="T31" fmla="*/ 420 h 993"/>
                  <a:gd name="T32" fmla="*/ 371 w 630"/>
                  <a:gd name="T33" fmla="*/ 396 h 993"/>
                  <a:gd name="T34" fmla="*/ 368 w 630"/>
                  <a:gd name="T35" fmla="*/ 370 h 993"/>
                  <a:gd name="T36" fmla="*/ 389 w 630"/>
                  <a:gd name="T37" fmla="*/ 331 h 993"/>
                  <a:gd name="T38" fmla="*/ 403 w 630"/>
                  <a:gd name="T39" fmla="*/ 277 h 993"/>
                  <a:gd name="T40" fmla="*/ 422 w 630"/>
                  <a:gd name="T41" fmla="*/ 265 h 993"/>
                  <a:gd name="T42" fmla="*/ 471 w 630"/>
                  <a:gd name="T43" fmla="*/ 244 h 993"/>
                  <a:gd name="T44" fmla="*/ 492 w 630"/>
                  <a:gd name="T45" fmla="*/ 240 h 993"/>
                  <a:gd name="T46" fmla="*/ 527 w 630"/>
                  <a:gd name="T47" fmla="*/ 236 h 993"/>
                  <a:gd name="T48" fmla="*/ 543 w 630"/>
                  <a:gd name="T49" fmla="*/ 227 h 993"/>
                  <a:gd name="T50" fmla="*/ 526 w 630"/>
                  <a:gd name="T51" fmla="*/ 207 h 993"/>
                  <a:gd name="T52" fmla="*/ 520 w 630"/>
                  <a:gd name="T53" fmla="*/ 171 h 993"/>
                  <a:gd name="T54" fmla="*/ 505 w 630"/>
                  <a:gd name="T55" fmla="*/ 135 h 993"/>
                  <a:gd name="T56" fmla="*/ 472 w 630"/>
                  <a:gd name="T57" fmla="*/ 130 h 993"/>
                  <a:gd name="T58" fmla="*/ 434 w 630"/>
                  <a:gd name="T59" fmla="*/ 138 h 993"/>
                  <a:gd name="T60" fmla="*/ 388 w 630"/>
                  <a:gd name="T61" fmla="*/ 106 h 993"/>
                  <a:gd name="T62" fmla="*/ 364 w 630"/>
                  <a:gd name="T63" fmla="*/ 73 h 993"/>
                  <a:gd name="T64" fmla="*/ 343 w 630"/>
                  <a:gd name="T65" fmla="*/ 57 h 993"/>
                  <a:gd name="T66" fmla="*/ 327 w 630"/>
                  <a:gd name="T67" fmla="*/ 33 h 993"/>
                  <a:gd name="T68" fmla="*/ 264 w 630"/>
                  <a:gd name="T69" fmla="*/ 0 h 993"/>
                  <a:gd name="T70" fmla="*/ 278 w 630"/>
                  <a:gd name="T71" fmla="*/ 1 h 993"/>
                  <a:gd name="T72" fmla="*/ 284 w 630"/>
                  <a:gd name="T73" fmla="*/ 31 h 993"/>
                  <a:gd name="T74" fmla="*/ 277 w 630"/>
                  <a:gd name="T75" fmla="*/ 58 h 993"/>
                  <a:gd name="T76" fmla="*/ 218 w 630"/>
                  <a:gd name="T77" fmla="*/ 143 h 993"/>
                  <a:gd name="T78" fmla="*/ 147 w 630"/>
                  <a:gd name="T79" fmla="*/ 186 h 993"/>
                  <a:gd name="T80" fmla="*/ 142 w 630"/>
                  <a:gd name="T81" fmla="*/ 201 h 993"/>
                  <a:gd name="T82" fmla="*/ 128 w 630"/>
                  <a:gd name="T83" fmla="*/ 252 h 993"/>
                  <a:gd name="T84" fmla="*/ 103 w 630"/>
                  <a:gd name="T85" fmla="*/ 270 h 993"/>
                  <a:gd name="T86" fmla="*/ 69 w 630"/>
                  <a:gd name="T87" fmla="*/ 243 h 993"/>
                  <a:gd name="T88" fmla="*/ 40 w 630"/>
                  <a:gd name="T89" fmla="*/ 246 h 993"/>
                  <a:gd name="T90" fmla="*/ 37 w 630"/>
                  <a:gd name="T91" fmla="*/ 224 h 993"/>
                  <a:gd name="T92" fmla="*/ 43 w 630"/>
                  <a:gd name="T93" fmla="*/ 188 h 993"/>
                  <a:gd name="T94" fmla="*/ 0 w 630"/>
                  <a:gd name="T95" fmla="*/ 254 h 993"/>
                  <a:gd name="T96" fmla="*/ 9 w 630"/>
                  <a:gd name="T97" fmla="*/ 282 h 993"/>
                  <a:gd name="T98" fmla="*/ 8 w 630"/>
                  <a:gd name="T99" fmla="*/ 331 h 993"/>
                  <a:gd name="T100" fmla="*/ 85 w 630"/>
                  <a:gd name="T101" fmla="*/ 394 h 993"/>
                  <a:gd name="T102" fmla="*/ 126 w 630"/>
                  <a:gd name="T103" fmla="*/ 462 h 993"/>
                  <a:gd name="T104" fmla="*/ 169 w 630"/>
                  <a:gd name="T105" fmla="*/ 547 h 993"/>
                  <a:gd name="T106" fmla="*/ 214 w 630"/>
                  <a:gd name="T107" fmla="*/ 622 h 993"/>
                  <a:gd name="T108" fmla="*/ 267 w 630"/>
                  <a:gd name="T109" fmla="*/ 715 h 993"/>
                  <a:gd name="T110" fmla="*/ 304 w 630"/>
                  <a:gd name="T111" fmla="*/ 803 h 993"/>
                  <a:gd name="T112" fmla="*/ 400 w 630"/>
                  <a:gd name="T113" fmla="*/ 869 h 993"/>
                  <a:gd name="T114" fmla="*/ 516 w 630"/>
                  <a:gd name="T115" fmla="*/ 939 h 993"/>
                  <a:gd name="T116" fmla="*/ 540 w 630"/>
                  <a:gd name="T117" fmla="*/ 968 h 993"/>
                  <a:gd name="T118" fmla="*/ 574 w 630"/>
                  <a:gd name="T119" fmla="*/ 993 h 993"/>
                  <a:gd name="T120" fmla="*/ 596 w 630"/>
                  <a:gd name="T121" fmla="*/ 954 h 993"/>
                  <a:gd name="T122" fmla="*/ 601 w 630"/>
                  <a:gd name="T123" fmla="*/ 929 h 993"/>
                  <a:gd name="T124" fmla="*/ 630 w 630"/>
                  <a:gd name="T125" fmla="*/ 889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30" h="993">
                    <a:moveTo>
                      <a:pt x="622" y="880"/>
                    </a:moveTo>
                    <a:cubicBezTo>
                      <a:pt x="622" y="880"/>
                      <a:pt x="612" y="873"/>
                      <a:pt x="604" y="869"/>
                    </a:cubicBezTo>
                    <a:cubicBezTo>
                      <a:pt x="596" y="865"/>
                      <a:pt x="593" y="857"/>
                      <a:pt x="593" y="857"/>
                    </a:cubicBezTo>
                    <a:cubicBezTo>
                      <a:pt x="593" y="857"/>
                      <a:pt x="579" y="859"/>
                      <a:pt x="575" y="854"/>
                    </a:cubicBezTo>
                    <a:cubicBezTo>
                      <a:pt x="580" y="840"/>
                      <a:pt x="580" y="840"/>
                      <a:pt x="580" y="840"/>
                    </a:cubicBezTo>
                    <a:cubicBezTo>
                      <a:pt x="580" y="840"/>
                      <a:pt x="576" y="825"/>
                      <a:pt x="581" y="821"/>
                    </a:cubicBezTo>
                    <a:cubicBezTo>
                      <a:pt x="584" y="818"/>
                      <a:pt x="598" y="830"/>
                      <a:pt x="607" y="838"/>
                    </a:cubicBezTo>
                    <a:cubicBezTo>
                      <a:pt x="607" y="836"/>
                      <a:pt x="607" y="835"/>
                      <a:pt x="607" y="835"/>
                    </a:cubicBezTo>
                    <a:cubicBezTo>
                      <a:pt x="612" y="824"/>
                      <a:pt x="612" y="824"/>
                      <a:pt x="612" y="824"/>
                    </a:cubicBezTo>
                    <a:cubicBezTo>
                      <a:pt x="612" y="824"/>
                      <a:pt x="604" y="813"/>
                      <a:pt x="603" y="799"/>
                    </a:cubicBezTo>
                    <a:cubicBezTo>
                      <a:pt x="601" y="784"/>
                      <a:pt x="616" y="776"/>
                      <a:pt x="620" y="766"/>
                    </a:cubicBezTo>
                    <a:cubicBezTo>
                      <a:pt x="624" y="757"/>
                      <a:pt x="605" y="744"/>
                      <a:pt x="605" y="744"/>
                    </a:cubicBezTo>
                    <a:cubicBezTo>
                      <a:pt x="618" y="724"/>
                      <a:pt x="618" y="724"/>
                      <a:pt x="618" y="724"/>
                    </a:cubicBezTo>
                    <a:cubicBezTo>
                      <a:pt x="609" y="694"/>
                      <a:pt x="609" y="694"/>
                      <a:pt x="609" y="694"/>
                    </a:cubicBezTo>
                    <a:cubicBezTo>
                      <a:pt x="609" y="694"/>
                      <a:pt x="619" y="683"/>
                      <a:pt x="620" y="677"/>
                    </a:cubicBezTo>
                    <a:cubicBezTo>
                      <a:pt x="622" y="670"/>
                      <a:pt x="612" y="645"/>
                      <a:pt x="597" y="632"/>
                    </a:cubicBezTo>
                    <a:cubicBezTo>
                      <a:pt x="586" y="621"/>
                      <a:pt x="579" y="600"/>
                      <a:pt x="577" y="591"/>
                    </a:cubicBezTo>
                    <a:cubicBezTo>
                      <a:pt x="568" y="590"/>
                      <a:pt x="560" y="590"/>
                      <a:pt x="556" y="590"/>
                    </a:cubicBezTo>
                    <a:cubicBezTo>
                      <a:pt x="545" y="590"/>
                      <a:pt x="549" y="599"/>
                      <a:pt x="541" y="599"/>
                    </a:cubicBezTo>
                    <a:cubicBezTo>
                      <a:pt x="533" y="599"/>
                      <a:pt x="533" y="591"/>
                      <a:pt x="533" y="591"/>
                    </a:cubicBezTo>
                    <a:cubicBezTo>
                      <a:pt x="526" y="592"/>
                      <a:pt x="526" y="592"/>
                      <a:pt x="526" y="592"/>
                    </a:cubicBezTo>
                    <a:cubicBezTo>
                      <a:pt x="526" y="592"/>
                      <a:pt x="525" y="572"/>
                      <a:pt x="523" y="562"/>
                    </a:cubicBezTo>
                    <a:cubicBezTo>
                      <a:pt x="521" y="552"/>
                      <a:pt x="526" y="538"/>
                      <a:pt x="528" y="534"/>
                    </a:cubicBezTo>
                    <a:cubicBezTo>
                      <a:pt x="530" y="530"/>
                      <a:pt x="525" y="507"/>
                      <a:pt x="525" y="507"/>
                    </a:cubicBezTo>
                    <a:cubicBezTo>
                      <a:pt x="491" y="537"/>
                      <a:pt x="491" y="537"/>
                      <a:pt x="491" y="537"/>
                    </a:cubicBezTo>
                    <a:cubicBezTo>
                      <a:pt x="449" y="541"/>
                      <a:pt x="449" y="541"/>
                      <a:pt x="449" y="541"/>
                    </a:cubicBezTo>
                    <a:cubicBezTo>
                      <a:pt x="449" y="541"/>
                      <a:pt x="441" y="522"/>
                      <a:pt x="438" y="515"/>
                    </a:cubicBezTo>
                    <a:cubicBezTo>
                      <a:pt x="435" y="508"/>
                      <a:pt x="399" y="509"/>
                      <a:pt x="399" y="509"/>
                    </a:cubicBezTo>
                    <a:cubicBezTo>
                      <a:pt x="399" y="509"/>
                      <a:pt x="414" y="496"/>
                      <a:pt x="416" y="491"/>
                    </a:cubicBezTo>
                    <a:cubicBezTo>
                      <a:pt x="418" y="486"/>
                      <a:pt x="396" y="471"/>
                      <a:pt x="391" y="465"/>
                    </a:cubicBezTo>
                    <a:cubicBezTo>
                      <a:pt x="386" y="459"/>
                      <a:pt x="373" y="438"/>
                      <a:pt x="373" y="438"/>
                    </a:cubicBezTo>
                    <a:cubicBezTo>
                      <a:pt x="371" y="420"/>
                      <a:pt x="371" y="420"/>
                      <a:pt x="371" y="420"/>
                    </a:cubicBezTo>
                    <a:cubicBezTo>
                      <a:pt x="371" y="420"/>
                      <a:pt x="356" y="414"/>
                      <a:pt x="356" y="409"/>
                    </a:cubicBezTo>
                    <a:cubicBezTo>
                      <a:pt x="356" y="404"/>
                      <a:pt x="371" y="396"/>
                      <a:pt x="371" y="396"/>
                    </a:cubicBezTo>
                    <a:cubicBezTo>
                      <a:pt x="365" y="392"/>
                      <a:pt x="365" y="392"/>
                      <a:pt x="365" y="392"/>
                    </a:cubicBezTo>
                    <a:cubicBezTo>
                      <a:pt x="365" y="392"/>
                      <a:pt x="360" y="378"/>
                      <a:pt x="368" y="370"/>
                    </a:cubicBezTo>
                    <a:cubicBezTo>
                      <a:pt x="376" y="362"/>
                      <a:pt x="389" y="345"/>
                      <a:pt x="395" y="354"/>
                    </a:cubicBezTo>
                    <a:cubicBezTo>
                      <a:pt x="401" y="363"/>
                      <a:pt x="391" y="338"/>
                      <a:pt x="389" y="331"/>
                    </a:cubicBezTo>
                    <a:cubicBezTo>
                      <a:pt x="387" y="324"/>
                      <a:pt x="402" y="315"/>
                      <a:pt x="402" y="315"/>
                    </a:cubicBezTo>
                    <a:cubicBezTo>
                      <a:pt x="403" y="277"/>
                      <a:pt x="403" y="277"/>
                      <a:pt x="403" y="277"/>
                    </a:cubicBezTo>
                    <a:cubicBezTo>
                      <a:pt x="419" y="277"/>
                      <a:pt x="419" y="277"/>
                      <a:pt x="419" y="277"/>
                    </a:cubicBezTo>
                    <a:cubicBezTo>
                      <a:pt x="419" y="277"/>
                      <a:pt x="420" y="269"/>
                      <a:pt x="422" y="265"/>
                    </a:cubicBezTo>
                    <a:cubicBezTo>
                      <a:pt x="424" y="261"/>
                      <a:pt x="450" y="244"/>
                      <a:pt x="450" y="244"/>
                    </a:cubicBezTo>
                    <a:cubicBezTo>
                      <a:pt x="471" y="244"/>
                      <a:pt x="471" y="244"/>
                      <a:pt x="471" y="244"/>
                    </a:cubicBezTo>
                    <a:cubicBezTo>
                      <a:pt x="473" y="237"/>
                      <a:pt x="473" y="237"/>
                      <a:pt x="473" y="237"/>
                    </a:cubicBezTo>
                    <a:cubicBezTo>
                      <a:pt x="492" y="240"/>
                      <a:pt x="492" y="240"/>
                      <a:pt x="492" y="240"/>
                    </a:cubicBezTo>
                    <a:cubicBezTo>
                      <a:pt x="492" y="240"/>
                      <a:pt x="503" y="225"/>
                      <a:pt x="513" y="224"/>
                    </a:cubicBezTo>
                    <a:cubicBezTo>
                      <a:pt x="523" y="223"/>
                      <a:pt x="527" y="236"/>
                      <a:pt x="527" y="236"/>
                    </a:cubicBezTo>
                    <a:cubicBezTo>
                      <a:pt x="527" y="236"/>
                      <a:pt x="534" y="239"/>
                      <a:pt x="539" y="236"/>
                    </a:cubicBezTo>
                    <a:cubicBezTo>
                      <a:pt x="541" y="235"/>
                      <a:pt x="542" y="231"/>
                      <a:pt x="543" y="227"/>
                    </a:cubicBezTo>
                    <a:cubicBezTo>
                      <a:pt x="532" y="223"/>
                      <a:pt x="532" y="223"/>
                      <a:pt x="532" y="223"/>
                    </a:cubicBezTo>
                    <a:cubicBezTo>
                      <a:pt x="526" y="207"/>
                      <a:pt x="526" y="207"/>
                      <a:pt x="526" y="207"/>
                    </a:cubicBezTo>
                    <a:cubicBezTo>
                      <a:pt x="526" y="207"/>
                      <a:pt x="512" y="212"/>
                      <a:pt x="509" y="206"/>
                    </a:cubicBezTo>
                    <a:cubicBezTo>
                      <a:pt x="506" y="201"/>
                      <a:pt x="515" y="171"/>
                      <a:pt x="520" y="171"/>
                    </a:cubicBezTo>
                    <a:cubicBezTo>
                      <a:pt x="525" y="171"/>
                      <a:pt x="533" y="163"/>
                      <a:pt x="533" y="148"/>
                    </a:cubicBezTo>
                    <a:cubicBezTo>
                      <a:pt x="533" y="134"/>
                      <a:pt x="505" y="135"/>
                      <a:pt x="505" y="135"/>
                    </a:cubicBezTo>
                    <a:cubicBezTo>
                      <a:pt x="505" y="135"/>
                      <a:pt x="497" y="123"/>
                      <a:pt x="493" y="122"/>
                    </a:cubicBezTo>
                    <a:cubicBezTo>
                      <a:pt x="489" y="121"/>
                      <a:pt x="481" y="130"/>
                      <a:pt x="472" y="130"/>
                    </a:cubicBezTo>
                    <a:cubicBezTo>
                      <a:pt x="464" y="130"/>
                      <a:pt x="463" y="123"/>
                      <a:pt x="449" y="120"/>
                    </a:cubicBezTo>
                    <a:cubicBezTo>
                      <a:pt x="435" y="117"/>
                      <a:pt x="434" y="138"/>
                      <a:pt x="434" y="138"/>
                    </a:cubicBezTo>
                    <a:cubicBezTo>
                      <a:pt x="434" y="138"/>
                      <a:pt x="412" y="138"/>
                      <a:pt x="393" y="133"/>
                    </a:cubicBezTo>
                    <a:cubicBezTo>
                      <a:pt x="374" y="128"/>
                      <a:pt x="389" y="113"/>
                      <a:pt x="388" y="106"/>
                    </a:cubicBezTo>
                    <a:cubicBezTo>
                      <a:pt x="387" y="98"/>
                      <a:pt x="369" y="97"/>
                      <a:pt x="369" y="97"/>
                    </a:cubicBezTo>
                    <a:cubicBezTo>
                      <a:pt x="369" y="97"/>
                      <a:pt x="367" y="79"/>
                      <a:pt x="364" y="73"/>
                    </a:cubicBezTo>
                    <a:cubicBezTo>
                      <a:pt x="362" y="67"/>
                      <a:pt x="354" y="70"/>
                      <a:pt x="354" y="70"/>
                    </a:cubicBezTo>
                    <a:cubicBezTo>
                      <a:pt x="343" y="57"/>
                      <a:pt x="343" y="57"/>
                      <a:pt x="343" y="57"/>
                    </a:cubicBezTo>
                    <a:cubicBezTo>
                      <a:pt x="335" y="57"/>
                      <a:pt x="335" y="57"/>
                      <a:pt x="335" y="57"/>
                    </a:cubicBezTo>
                    <a:cubicBezTo>
                      <a:pt x="327" y="33"/>
                      <a:pt x="327" y="33"/>
                      <a:pt x="327" y="33"/>
                    </a:cubicBezTo>
                    <a:cubicBezTo>
                      <a:pt x="327" y="33"/>
                      <a:pt x="297" y="9"/>
                      <a:pt x="290" y="5"/>
                    </a:cubicBezTo>
                    <a:cubicBezTo>
                      <a:pt x="284" y="1"/>
                      <a:pt x="274" y="1"/>
                      <a:pt x="264" y="0"/>
                    </a:cubicBezTo>
                    <a:cubicBezTo>
                      <a:pt x="264" y="0"/>
                      <a:pt x="264" y="0"/>
                      <a:pt x="264" y="0"/>
                    </a:cubicBezTo>
                    <a:cubicBezTo>
                      <a:pt x="269" y="0"/>
                      <a:pt x="273" y="1"/>
                      <a:pt x="278" y="1"/>
                    </a:cubicBezTo>
                    <a:cubicBezTo>
                      <a:pt x="279" y="19"/>
                      <a:pt x="268" y="19"/>
                      <a:pt x="268" y="19"/>
                    </a:cubicBezTo>
                    <a:cubicBezTo>
                      <a:pt x="284" y="31"/>
                      <a:pt x="284" y="31"/>
                      <a:pt x="284" y="31"/>
                    </a:cubicBezTo>
                    <a:cubicBezTo>
                      <a:pt x="287" y="53"/>
                      <a:pt x="287" y="53"/>
                      <a:pt x="287" y="53"/>
                    </a:cubicBezTo>
                    <a:cubicBezTo>
                      <a:pt x="277" y="58"/>
                      <a:pt x="277" y="58"/>
                      <a:pt x="277" y="58"/>
                    </a:cubicBezTo>
                    <a:cubicBezTo>
                      <a:pt x="269" y="87"/>
                      <a:pt x="269" y="87"/>
                      <a:pt x="269" y="87"/>
                    </a:cubicBezTo>
                    <a:cubicBezTo>
                      <a:pt x="269" y="87"/>
                      <a:pt x="241" y="128"/>
                      <a:pt x="218" y="143"/>
                    </a:cubicBezTo>
                    <a:cubicBezTo>
                      <a:pt x="195" y="157"/>
                      <a:pt x="174" y="157"/>
                      <a:pt x="161" y="168"/>
                    </a:cubicBezTo>
                    <a:cubicBezTo>
                      <a:pt x="147" y="179"/>
                      <a:pt x="147" y="186"/>
                      <a:pt x="147" y="186"/>
                    </a:cubicBezTo>
                    <a:cubicBezTo>
                      <a:pt x="139" y="189"/>
                      <a:pt x="139" y="189"/>
                      <a:pt x="139" y="189"/>
                    </a:cubicBezTo>
                    <a:cubicBezTo>
                      <a:pt x="142" y="201"/>
                      <a:pt x="142" y="201"/>
                      <a:pt x="142" y="201"/>
                    </a:cubicBezTo>
                    <a:cubicBezTo>
                      <a:pt x="142" y="201"/>
                      <a:pt x="134" y="206"/>
                      <a:pt x="132" y="216"/>
                    </a:cubicBezTo>
                    <a:cubicBezTo>
                      <a:pt x="131" y="225"/>
                      <a:pt x="128" y="252"/>
                      <a:pt x="128" y="252"/>
                    </a:cubicBezTo>
                    <a:cubicBezTo>
                      <a:pt x="128" y="252"/>
                      <a:pt x="119" y="254"/>
                      <a:pt x="115" y="256"/>
                    </a:cubicBezTo>
                    <a:cubicBezTo>
                      <a:pt x="111" y="259"/>
                      <a:pt x="116" y="270"/>
                      <a:pt x="103" y="270"/>
                    </a:cubicBezTo>
                    <a:cubicBezTo>
                      <a:pt x="89" y="270"/>
                      <a:pt x="93" y="246"/>
                      <a:pt x="88" y="241"/>
                    </a:cubicBezTo>
                    <a:cubicBezTo>
                      <a:pt x="82" y="237"/>
                      <a:pt x="69" y="243"/>
                      <a:pt x="69" y="243"/>
                    </a:cubicBezTo>
                    <a:cubicBezTo>
                      <a:pt x="60" y="232"/>
                      <a:pt x="60" y="232"/>
                      <a:pt x="60" y="232"/>
                    </a:cubicBezTo>
                    <a:cubicBezTo>
                      <a:pt x="60" y="232"/>
                      <a:pt x="50" y="250"/>
                      <a:pt x="40" y="246"/>
                    </a:cubicBezTo>
                    <a:cubicBezTo>
                      <a:pt x="31" y="241"/>
                      <a:pt x="47" y="232"/>
                      <a:pt x="47" y="232"/>
                    </a:cubicBezTo>
                    <a:cubicBezTo>
                      <a:pt x="37" y="224"/>
                      <a:pt x="37" y="224"/>
                      <a:pt x="37" y="224"/>
                    </a:cubicBezTo>
                    <a:cubicBezTo>
                      <a:pt x="37" y="224"/>
                      <a:pt x="50" y="212"/>
                      <a:pt x="58" y="203"/>
                    </a:cubicBezTo>
                    <a:cubicBezTo>
                      <a:pt x="67" y="194"/>
                      <a:pt x="43" y="188"/>
                      <a:pt x="43" y="188"/>
                    </a:cubicBezTo>
                    <a:cubicBezTo>
                      <a:pt x="43" y="188"/>
                      <a:pt x="17" y="216"/>
                      <a:pt x="9" y="223"/>
                    </a:cubicBezTo>
                    <a:cubicBezTo>
                      <a:pt x="1" y="230"/>
                      <a:pt x="0" y="241"/>
                      <a:pt x="0" y="254"/>
                    </a:cubicBezTo>
                    <a:cubicBezTo>
                      <a:pt x="0" y="267"/>
                      <a:pt x="12" y="264"/>
                      <a:pt x="12" y="264"/>
                    </a:cubicBezTo>
                    <a:cubicBezTo>
                      <a:pt x="9" y="282"/>
                      <a:pt x="9" y="282"/>
                      <a:pt x="9" y="282"/>
                    </a:cubicBezTo>
                    <a:cubicBezTo>
                      <a:pt x="9" y="282"/>
                      <a:pt x="26" y="292"/>
                      <a:pt x="27" y="304"/>
                    </a:cubicBezTo>
                    <a:cubicBezTo>
                      <a:pt x="28" y="316"/>
                      <a:pt x="8" y="317"/>
                      <a:pt x="8" y="331"/>
                    </a:cubicBezTo>
                    <a:cubicBezTo>
                      <a:pt x="8" y="345"/>
                      <a:pt x="42" y="347"/>
                      <a:pt x="51" y="352"/>
                    </a:cubicBezTo>
                    <a:cubicBezTo>
                      <a:pt x="59" y="357"/>
                      <a:pt x="82" y="389"/>
                      <a:pt x="85" y="394"/>
                    </a:cubicBezTo>
                    <a:cubicBezTo>
                      <a:pt x="87" y="398"/>
                      <a:pt x="99" y="418"/>
                      <a:pt x="99" y="424"/>
                    </a:cubicBezTo>
                    <a:cubicBezTo>
                      <a:pt x="99" y="430"/>
                      <a:pt x="123" y="456"/>
                      <a:pt x="126" y="462"/>
                    </a:cubicBezTo>
                    <a:cubicBezTo>
                      <a:pt x="130" y="468"/>
                      <a:pt x="164" y="522"/>
                      <a:pt x="164" y="522"/>
                    </a:cubicBezTo>
                    <a:cubicBezTo>
                      <a:pt x="169" y="547"/>
                      <a:pt x="169" y="547"/>
                      <a:pt x="169" y="547"/>
                    </a:cubicBezTo>
                    <a:cubicBezTo>
                      <a:pt x="169" y="547"/>
                      <a:pt x="197" y="602"/>
                      <a:pt x="197" y="609"/>
                    </a:cubicBezTo>
                    <a:cubicBezTo>
                      <a:pt x="197" y="616"/>
                      <a:pt x="205" y="616"/>
                      <a:pt x="214" y="622"/>
                    </a:cubicBezTo>
                    <a:cubicBezTo>
                      <a:pt x="222" y="628"/>
                      <a:pt x="218" y="635"/>
                      <a:pt x="220" y="647"/>
                    </a:cubicBezTo>
                    <a:cubicBezTo>
                      <a:pt x="221" y="658"/>
                      <a:pt x="255" y="699"/>
                      <a:pt x="267" y="715"/>
                    </a:cubicBezTo>
                    <a:cubicBezTo>
                      <a:pt x="279" y="732"/>
                      <a:pt x="270" y="754"/>
                      <a:pt x="270" y="762"/>
                    </a:cubicBezTo>
                    <a:cubicBezTo>
                      <a:pt x="270" y="771"/>
                      <a:pt x="293" y="796"/>
                      <a:pt x="304" y="803"/>
                    </a:cubicBezTo>
                    <a:cubicBezTo>
                      <a:pt x="314" y="810"/>
                      <a:pt x="324" y="826"/>
                      <a:pt x="332" y="835"/>
                    </a:cubicBezTo>
                    <a:cubicBezTo>
                      <a:pt x="340" y="843"/>
                      <a:pt x="386" y="861"/>
                      <a:pt x="400" y="869"/>
                    </a:cubicBezTo>
                    <a:cubicBezTo>
                      <a:pt x="415" y="877"/>
                      <a:pt x="442" y="883"/>
                      <a:pt x="463" y="901"/>
                    </a:cubicBezTo>
                    <a:cubicBezTo>
                      <a:pt x="484" y="919"/>
                      <a:pt x="516" y="939"/>
                      <a:pt x="516" y="939"/>
                    </a:cubicBezTo>
                    <a:cubicBezTo>
                      <a:pt x="522" y="954"/>
                      <a:pt x="522" y="954"/>
                      <a:pt x="522" y="954"/>
                    </a:cubicBezTo>
                    <a:cubicBezTo>
                      <a:pt x="522" y="954"/>
                      <a:pt x="533" y="962"/>
                      <a:pt x="540" y="968"/>
                    </a:cubicBezTo>
                    <a:cubicBezTo>
                      <a:pt x="547" y="974"/>
                      <a:pt x="574" y="992"/>
                      <a:pt x="574" y="992"/>
                    </a:cubicBezTo>
                    <a:cubicBezTo>
                      <a:pt x="574" y="993"/>
                      <a:pt x="574" y="993"/>
                      <a:pt x="574" y="993"/>
                    </a:cubicBezTo>
                    <a:cubicBezTo>
                      <a:pt x="580" y="989"/>
                      <a:pt x="589" y="983"/>
                      <a:pt x="596" y="977"/>
                    </a:cubicBezTo>
                    <a:cubicBezTo>
                      <a:pt x="608" y="968"/>
                      <a:pt x="596" y="954"/>
                      <a:pt x="596" y="954"/>
                    </a:cubicBezTo>
                    <a:cubicBezTo>
                      <a:pt x="608" y="946"/>
                      <a:pt x="608" y="946"/>
                      <a:pt x="608" y="946"/>
                    </a:cubicBezTo>
                    <a:cubicBezTo>
                      <a:pt x="601" y="929"/>
                      <a:pt x="601" y="929"/>
                      <a:pt x="601" y="929"/>
                    </a:cubicBezTo>
                    <a:cubicBezTo>
                      <a:pt x="601" y="929"/>
                      <a:pt x="611" y="919"/>
                      <a:pt x="620" y="912"/>
                    </a:cubicBezTo>
                    <a:cubicBezTo>
                      <a:pt x="626" y="908"/>
                      <a:pt x="629" y="897"/>
                      <a:pt x="630" y="889"/>
                    </a:cubicBezTo>
                    <a:lnTo>
                      <a:pt x="622" y="880"/>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39" name="Freeform 61">
                <a:extLst>
                  <a:ext uri="{FF2B5EF4-FFF2-40B4-BE49-F238E27FC236}">
                    <a16:creationId xmlns:a16="http://schemas.microsoft.com/office/drawing/2014/main" id="{7E650A12-F554-44B4-B54B-C305379D7216}"/>
                  </a:ext>
                </a:extLst>
              </p:cNvPr>
              <p:cNvSpPr>
                <a:spLocks noEditPoints="1"/>
              </p:cNvSpPr>
              <p:nvPr>
                <p:custDataLst>
                  <p:tags r:id="rId20"/>
                </p:custDataLst>
              </p:nvPr>
            </p:nvSpPr>
            <p:spPr bwMode="gray">
              <a:xfrm>
                <a:off x="2505060" y="4670442"/>
                <a:ext cx="361948" cy="393701"/>
              </a:xfrm>
              <a:custGeom>
                <a:avLst/>
                <a:gdLst>
                  <a:gd name="T0" fmla="*/ 1 w 604"/>
                  <a:gd name="T1" fmla="*/ 70 h 712"/>
                  <a:gd name="T2" fmla="*/ 599 w 604"/>
                  <a:gd name="T3" fmla="*/ 500 h 712"/>
                  <a:gd name="T4" fmla="*/ 584 w 604"/>
                  <a:gd name="T5" fmla="*/ 421 h 712"/>
                  <a:gd name="T6" fmla="*/ 561 w 604"/>
                  <a:gd name="T7" fmla="*/ 361 h 712"/>
                  <a:gd name="T8" fmla="*/ 468 w 604"/>
                  <a:gd name="T9" fmla="*/ 314 h 712"/>
                  <a:gd name="T10" fmla="*/ 463 w 604"/>
                  <a:gd name="T11" fmla="*/ 290 h 712"/>
                  <a:gd name="T12" fmla="*/ 450 w 604"/>
                  <a:gd name="T13" fmla="*/ 250 h 712"/>
                  <a:gd name="T14" fmla="*/ 418 w 604"/>
                  <a:gd name="T15" fmla="*/ 209 h 712"/>
                  <a:gd name="T16" fmla="*/ 367 w 604"/>
                  <a:gd name="T17" fmla="*/ 190 h 712"/>
                  <a:gd name="T18" fmla="*/ 320 w 604"/>
                  <a:gd name="T19" fmla="*/ 163 h 712"/>
                  <a:gd name="T20" fmla="*/ 290 w 604"/>
                  <a:gd name="T21" fmla="*/ 152 h 712"/>
                  <a:gd name="T22" fmla="*/ 258 w 604"/>
                  <a:gd name="T23" fmla="*/ 153 h 712"/>
                  <a:gd name="T24" fmla="*/ 230 w 604"/>
                  <a:gd name="T25" fmla="*/ 130 h 712"/>
                  <a:gd name="T26" fmla="*/ 210 w 604"/>
                  <a:gd name="T27" fmla="*/ 97 h 712"/>
                  <a:gd name="T28" fmla="*/ 200 w 604"/>
                  <a:gd name="T29" fmla="*/ 52 h 712"/>
                  <a:gd name="T30" fmla="*/ 211 w 604"/>
                  <a:gd name="T31" fmla="*/ 4 h 712"/>
                  <a:gd name="T32" fmla="*/ 183 w 604"/>
                  <a:gd name="T33" fmla="*/ 6 h 712"/>
                  <a:gd name="T34" fmla="*/ 151 w 604"/>
                  <a:gd name="T35" fmla="*/ 13 h 712"/>
                  <a:gd name="T36" fmla="*/ 104 w 604"/>
                  <a:gd name="T37" fmla="*/ 38 h 712"/>
                  <a:gd name="T38" fmla="*/ 76 w 604"/>
                  <a:gd name="T39" fmla="*/ 57 h 712"/>
                  <a:gd name="T40" fmla="*/ 50 w 604"/>
                  <a:gd name="T41" fmla="*/ 81 h 712"/>
                  <a:gd name="T42" fmla="*/ 9 w 604"/>
                  <a:gd name="T43" fmla="*/ 71 h 712"/>
                  <a:gd name="T44" fmla="*/ 52 w 604"/>
                  <a:gd name="T45" fmla="*/ 157 h 712"/>
                  <a:gd name="T46" fmla="*/ 50 w 604"/>
                  <a:gd name="T47" fmla="*/ 204 h 712"/>
                  <a:gd name="T48" fmla="*/ 52 w 604"/>
                  <a:gd name="T49" fmla="*/ 246 h 712"/>
                  <a:gd name="T50" fmla="*/ 44 w 604"/>
                  <a:gd name="T51" fmla="*/ 304 h 712"/>
                  <a:gd name="T52" fmla="*/ 39 w 604"/>
                  <a:gd name="T53" fmla="*/ 318 h 712"/>
                  <a:gd name="T54" fmla="*/ 62 w 604"/>
                  <a:gd name="T55" fmla="*/ 339 h 712"/>
                  <a:gd name="T56" fmla="*/ 76 w 604"/>
                  <a:gd name="T57" fmla="*/ 359 h 712"/>
                  <a:gd name="T58" fmla="*/ 62 w 604"/>
                  <a:gd name="T59" fmla="*/ 369 h 712"/>
                  <a:gd name="T60" fmla="*/ 33 w 604"/>
                  <a:gd name="T61" fmla="*/ 409 h 712"/>
                  <a:gd name="T62" fmla="*/ 39 w 604"/>
                  <a:gd name="T63" fmla="*/ 427 h 712"/>
                  <a:gd name="T64" fmla="*/ 64 w 604"/>
                  <a:gd name="T65" fmla="*/ 449 h 712"/>
                  <a:gd name="T66" fmla="*/ 105 w 604"/>
                  <a:gd name="T67" fmla="*/ 525 h 712"/>
                  <a:gd name="T68" fmla="*/ 104 w 604"/>
                  <a:gd name="T69" fmla="*/ 554 h 712"/>
                  <a:gd name="T70" fmla="*/ 102 w 604"/>
                  <a:gd name="T71" fmla="*/ 588 h 712"/>
                  <a:gd name="T72" fmla="*/ 134 w 604"/>
                  <a:gd name="T73" fmla="*/ 627 h 712"/>
                  <a:gd name="T74" fmla="*/ 147 w 604"/>
                  <a:gd name="T75" fmla="*/ 684 h 712"/>
                  <a:gd name="T76" fmla="*/ 188 w 604"/>
                  <a:gd name="T77" fmla="*/ 708 h 712"/>
                  <a:gd name="T78" fmla="*/ 199 w 604"/>
                  <a:gd name="T79" fmla="*/ 691 h 712"/>
                  <a:gd name="T80" fmla="*/ 214 w 604"/>
                  <a:gd name="T81" fmla="*/ 674 h 712"/>
                  <a:gd name="T82" fmla="*/ 241 w 604"/>
                  <a:gd name="T83" fmla="*/ 670 h 712"/>
                  <a:gd name="T84" fmla="*/ 318 w 604"/>
                  <a:gd name="T85" fmla="*/ 707 h 712"/>
                  <a:gd name="T86" fmla="*/ 374 w 604"/>
                  <a:gd name="T87" fmla="*/ 664 h 712"/>
                  <a:gd name="T88" fmla="*/ 403 w 604"/>
                  <a:gd name="T89" fmla="*/ 607 h 712"/>
                  <a:gd name="T90" fmla="*/ 413 w 604"/>
                  <a:gd name="T91" fmla="*/ 558 h 712"/>
                  <a:gd name="T92" fmla="*/ 486 w 604"/>
                  <a:gd name="T93" fmla="*/ 527 h 712"/>
                  <a:gd name="T94" fmla="*/ 574 w 604"/>
                  <a:gd name="T95" fmla="*/ 546 h 712"/>
                  <a:gd name="T96" fmla="*/ 602 w 604"/>
                  <a:gd name="T97" fmla="*/ 555 h 712"/>
                  <a:gd name="T98" fmla="*/ 603 w 604"/>
                  <a:gd name="T99" fmla="*/ 508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4" h="712">
                    <a:moveTo>
                      <a:pt x="0" y="70"/>
                    </a:moveTo>
                    <a:cubicBezTo>
                      <a:pt x="1" y="70"/>
                      <a:pt x="1" y="70"/>
                      <a:pt x="1" y="70"/>
                    </a:cubicBezTo>
                    <a:cubicBezTo>
                      <a:pt x="1" y="70"/>
                      <a:pt x="1" y="70"/>
                      <a:pt x="0" y="70"/>
                    </a:cubicBezTo>
                    <a:close/>
                    <a:moveTo>
                      <a:pt x="599" y="500"/>
                    </a:moveTo>
                    <a:cubicBezTo>
                      <a:pt x="599" y="500"/>
                      <a:pt x="604" y="474"/>
                      <a:pt x="604" y="460"/>
                    </a:cubicBezTo>
                    <a:cubicBezTo>
                      <a:pt x="604" y="446"/>
                      <a:pt x="595" y="428"/>
                      <a:pt x="584" y="421"/>
                    </a:cubicBezTo>
                    <a:cubicBezTo>
                      <a:pt x="573" y="414"/>
                      <a:pt x="564" y="413"/>
                      <a:pt x="557" y="404"/>
                    </a:cubicBezTo>
                    <a:cubicBezTo>
                      <a:pt x="550" y="395"/>
                      <a:pt x="561" y="361"/>
                      <a:pt x="561" y="361"/>
                    </a:cubicBezTo>
                    <a:cubicBezTo>
                      <a:pt x="561" y="361"/>
                      <a:pt x="484" y="363"/>
                      <a:pt x="471" y="354"/>
                    </a:cubicBezTo>
                    <a:cubicBezTo>
                      <a:pt x="458" y="345"/>
                      <a:pt x="468" y="314"/>
                      <a:pt x="468" y="314"/>
                    </a:cubicBezTo>
                    <a:cubicBezTo>
                      <a:pt x="468" y="314"/>
                      <a:pt x="452" y="300"/>
                      <a:pt x="450" y="294"/>
                    </a:cubicBezTo>
                    <a:cubicBezTo>
                      <a:pt x="448" y="288"/>
                      <a:pt x="463" y="290"/>
                      <a:pt x="463" y="290"/>
                    </a:cubicBezTo>
                    <a:cubicBezTo>
                      <a:pt x="461" y="269"/>
                      <a:pt x="461" y="269"/>
                      <a:pt x="461" y="269"/>
                    </a:cubicBezTo>
                    <a:cubicBezTo>
                      <a:pt x="461" y="269"/>
                      <a:pt x="454" y="257"/>
                      <a:pt x="450" y="250"/>
                    </a:cubicBezTo>
                    <a:cubicBezTo>
                      <a:pt x="446" y="243"/>
                      <a:pt x="451" y="240"/>
                      <a:pt x="450" y="230"/>
                    </a:cubicBezTo>
                    <a:cubicBezTo>
                      <a:pt x="449" y="220"/>
                      <a:pt x="429" y="211"/>
                      <a:pt x="418" y="209"/>
                    </a:cubicBezTo>
                    <a:cubicBezTo>
                      <a:pt x="407" y="207"/>
                      <a:pt x="396" y="212"/>
                      <a:pt x="386" y="211"/>
                    </a:cubicBezTo>
                    <a:cubicBezTo>
                      <a:pt x="376" y="210"/>
                      <a:pt x="367" y="190"/>
                      <a:pt x="367" y="190"/>
                    </a:cubicBezTo>
                    <a:cubicBezTo>
                      <a:pt x="367" y="190"/>
                      <a:pt x="351" y="189"/>
                      <a:pt x="340" y="184"/>
                    </a:cubicBezTo>
                    <a:cubicBezTo>
                      <a:pt x="329" y="179"/>
                      <a:pt x="321" y="167"/>
                      <a:pt x="320" y="163"/>
                    </a:cubicBezTo>
                    <a:cubicBezTo>
                      <a:pt x="319" y="159"/>
                      <a:pt x="312" y="166"/>
                      <a:pt x="304" y="166"/>
                    </a:cubicBezTo>
                    <a:cubicBezTo>
                      <a:pt x="296" y="166"/>
                      <a:pt x="290" y="152"/>
                      <a:pt x="290" y="152"/>
                    </a:cubicBezTo>
                    <a:cubicBezTo>
                      <a:pt x="290" y="152"/>
                      <a:pt x="280" y="159"/>
                      <a:pt x="276" y="158"/>
                    </a:cubicBezTo>
                    <a:cubicBezTo>
                      <a:pt x="272" y="157"/>
                      <a:pt x="268" y="157"/>
                      <a:pt x="258" y="153"/>
                    </a:cubicBezTo>
                    <a:cubicBezTo>
                      <a:pt x="248" y="149"/>
                      <a:pt x="252" y="138"/>
                      <a:pt x="249" y="133"/>
                    </a:cubicBezTo>
                    <a:cubicBezTo>
                      <a:pt x="246" y="128"/>
                      <a:pt x="230" y="130"/>
                      <a:pt x="230" y="130"/>
                    </a:cubicBezTo>
                    <a:cubicBezTo>
                      <a:pt x="224" y="110"/>
                      <a:pt x="224" y="110"/>
                      <a:pt x="224" y="110"/>
                    </a:cubicBezTo>
                    <a:cubicBezTo>
                      <a:pt x="224" y="110"/>
                      <a:pt x="217" y="106"/>
                      <a:pt x="210" y="97"/>
                    </a:cubicBezTo>
                    <a:cubicBezTo>
                      <a:pt x="203" y="88"/>
                      <a:pt x="210" y="82"/>
                      <a:pt x="210" y="73"/>
                    </a:cubicBezTo>
                    <a:cubicBezTo>
                      <a:pt x="210" y="64"/>
                      <a:pt x="201" y="56"/>
                      <a:pt x="200" y="52"/>
                    </a:cubicBezTo>
                    <a:cubicBezTo>
                      <a:pt x="199" y="48"/>
                      <a:pt x="207" y="35"/>
                      <a:pt x="207" y="35"/>
                    </a:cubicBezTo>
                    <a:cubicBezTo>
                      <a:pt x="207" y="35"/>
                      <a:pt x="215" y="8"/>
                      <a:pt x="211" y="4"/>
                    </a:cubicBezTo>
                    <a:cubicBezTo>
                      <a:pt x="207" y="0"/>
                      <a:pt x="194" y="8"/>
                      <a:pt x="193" y="12"/>
                    </a:cubicBezTo>
                    <a:cubicBezTo>
                      <a:pt x="192" y="16"/>
                      <a:pt x="183" y="6"/>
                      <a:pt x="183" y="6"/>
                    </a:cubicBezTo>
                    <a:cubicBezTo>
                      <a:pt x="174" y="14"/>
                      <a:pt x="174" y="14"/>
                      <a:pt x="174" y="14"/>
                    </a:cubicBezTo>
                    <a:cubicBezTo>
                      <a:pt x="174" y="14"/>
                      <a:pt x="164" y="13"/>
                      <a:pt x="151" y="13"/>
                    </a:cubicBezTo>
                    <a:cubicBezTo>
                      <a:pt x="138" y="13"/>
                      <a:pt x="128" y="39"/>
                      <a:pt x="128" y="39"/>
                    </a:cubicBezTo>
                    <a:cubicBezTo>
                      <a:pt x="104" y="38"/>
                      <a:pt x="104" y="38"/>
                      <a:pt x="104" y="38"/>
                    </a:cubicBezTo>
                    <a:cubicBezTo>
                      <a:pt x="100" y="56"/>
                      <a:pt x="100" y="56"/>
                      <a:pt x="100" y="56"/>
                    </a:cubicBezTo>
                    <a:cubicBezTo>
                      <a:pt x="76" y="57"/>
                      <a:pt x="76" y="57"/>
                      <a:pt x="76" y="57"/>
                    </a:cubicBezTo>
                    <a:cubicBezTo>
                      <a:pt x="71" y="69"/>
                      <a:pt x="71" y="69"/>
                      <a:pt x="71" y="69"/>
                    </a:cubicBezTo>
                    <a:cubicBezTo>
                      <a:pt x="71" y="69"/>
                      <a:pt x="63" y="78"/>
                      <a:pt x="50" y="81"/>
                    </a:cubicBezTo>
                    <a:cubicBezTo>
                      <a:pt x="37" y="84"/>
                      <a:pt x="34" y="73"/>
                      <a:pt x="34" y="73"/>
                    </a:cubicBezTo>
                    <a:cubicBezTo>
                      <a:pt x="34" y="73"/>
                      <a:pt x="21" y="72"/>
                      <a:pt x="9" y="71"/>
                    </a:cubicBezTo>
                    <a:cubicBezTo>
                      <a:pt x="11" y="80"/>
                      <a:pt x="18" y="101"/>
                      <a:pt x="29" y="112"/>
                    </a:cubicBezTo>
                    <a:cubicBezTo>
                      <a:pt x="44" y="125"/>
                      <a:pt x="54" y="150"/>
                      <a:pt x="52" y="157"/>
                    </a:cubicBezTo>
                    <a:cubicBezTo>
                      <a:pt x="51" y="163"/>
                      <a:pt x="41" y="174"/>
                      <a:pt x="41" y="174"/>
                    </a:cubicBezTo>
                    <a:cubicBezTo>
                      <a:pt x="50" y="204"/>
                      <a:pt x="50" y="204"/>
                      <a:pt x="50" y="204"/>
                    </a:cubicBezTo>
                    <a:cubicBezTo>
                      <a:pt x="37" y="224"/>
                      <a:pt x="37" y="224"/>
                      <a:pt x="37" y="224"/>
                    </a:cubicBezTo>
                    <a:cubicBezTo>
                      <a:pt x="37" y="224"/>
                      <a:pt x="56" y="237"/>
                      <a:pt x="52" y="246"/>
                    </a:cubicBezTo>
                    <a:cubicBezTo>
                      <a:pt x="48" y="256"/>
                      <a:pt x="33" y="264"/>
                      <a:pt x="35" y="279"/>
                    </a:cubicBezTo>
                    <a:cubicBezTo>
                      <a:pt x="36" y="293"/>
                      <a:pt x="44" y="304"/>
                      <a:pt x="44" y="304"/>
                    </a:cubicBezTo>
                    <a:cubicBezTo>
                      <a:pt x="39" y="315"/>
                      <a:pt x="39" y="315"/>
                      <a:pt x="39" y="315"/>
                    </a:cubicBezTo>
                    <a:cubicBezTo>
                      <a:pt x="39" y="315"/>
                      <a:pt x="39" y="316"/>
                      <a:pt x="39" y="318"/>
                    </a:cubicBezTo>
                    <a:cubicBezTo>
                      <a:pt x="44" y="322"/>
                      <a:pt x="47" y="326"/>
                      <a:pt x="47" y="326"/>
                    </a:cubicBezTo>
                    <a:cubicBezTo>
                      <a:pt x="62" y="339"/>
                      <a:pt x="62" y="339"/>
                      <a:pt x="62" y="339"/>
                    </a:cubicBezTo>
                    <a:cubicBezTo>
                      <a:pt x="63" y="351"/>
                      <a:pt x="63" y="351"/>
                      <a:pt x="63" y="351"/>
                    </a:cubicBezTo>
                    <a:cubicBezTo>
                      <a:pt x="76" y="359"/>
                      <a:pt x="76" y="359"/>
                      <a:pt x="76" y="359"/>
                    </a:cubicBezTo>
                    <a:cubicBezTo>
                      <a:pt x="68" y="376"/>
                      <a:pt x="68" y="376"/>
                      <a:pt x="68" y="376"/>
                    </a:cubicBezTo>
                    <a:cubicBezTo>
                      <a:pt x="62" y="369"/>
                      <a:pt x="62" y="369"/>
                      <a:pt x="62" y="369"/>
                    </a:cubicBezTo>
                    <a:cubicBezTo>
                      <a:pt x="61" y="377"/>
                      <a:pt x="58" y="388"/>
                      <a:pt x="52" y="392"/>
                    </a:cubicBezTo>
                    <a:cubicBezTo>
                      <a:pt x="43" y="399"/>
                      <a:pt x="33" y="409"/>
                      <a:pt x="33" y="409"/>
                    </a:cubicBezTo>
                    <a:cubicBezTo>
                      <a:pt x="40" y="426"/>
                      <a:pt x="40" y="426"/>
                      <a:pt x="40" y="426"/>
                    </a:cubicBezTo>
                    <a:cubicBezTo>
                      <a:pt x="39" y="427"/>
                      <a:pt x="39" y="427"/>
                      <a:pt x="39" y="427"/>
                    </a:cubicBezTo>
                    <a:cubicBezTo>
                      <a:pt x="50" y="449"/>
                      <a:pt x="50" y="449"/>
                      <a:pt x="50" y="449"/>
                    </a:cubicBezTo>
                    <a:cubicBezTo>
                      <a:pt x="64" y="449"/>
                      <a:pt x="64" y="449"/>
                      <a:pt x="64" y="449"/>
                    </a:cubicBezTo>
                    <a:cubicBezTo>
                      <a:pt x="73" y="501"/>
                      <a:pt x="73" y="501"/>
                      <a:pt x="73" y="501"/>
                    </a:cubicBezTo>
                    <a:cubicBezTo>
                      <a:pt x="73" y="501"/>
                      <a:pt x="109" y="513"/>
                      <a:pt x="105" y="525"/>
                    </a:cubicBezTo>
                    <a:cubicBezTo>
                      <a:pt x="101" y="537"/>
                      <a:pt x="93" y="543"/>
                      <a:pt x="93" y="543"/>
                    </a:cubicBezTo>
                    <a:cubicBezTo>
                      <a:pt x="104" y="554"/>
                      <a:pt x="104" y="554"/>
                      <a:pt x="104" y="554"/>
                    </a:cubicBezTo>
                    <a:cubicBezTo>
                      <a:pt x="104" y="554"/>
                      <a:pt x="89" y="566"/>
                      <a:pt x="93" y="575"/>
                    </a:cubicBezTo>
                    <a:cubicBezTo>
                      <a:pt x="97" y="585"/>
                      <a:pt x="102" y="588"/>
                      <a:pt x="102" y="588"/>
                    </a:cubicBezTo>
                    <a:cubicBezTo>
                      <a:pt x="102" y="605"/>
                      <a:pt x="102" y="605"/>
                      <a:pt x="102" y="605"/>
                    </a:cubicBezTo>
                    <a:cubicBezTo>
                      <a:pt x="102" y="605"/>
                      <a:pt x="131" y="616"/>
                      <a:pt x="134" y="627"/>
                    </a:cubicBezTo>
                    <a:cubicBezTo>
                      <a:pt x="136" y="638"/>
                      <a:pt x="134" y="668"/>
                      <a:pt x="134" y="668"/>
                    </a:cubicBezTo>
                    <a:cubicBezTo>
                      <a:pt x="147" y="684"/>
                      <a:pt x="147" y="684"/>
                      <a:pt x="147" y="684"/>
                    </a:cubicBezTo>
                    <a:cubicBezTo>
                      <a:pt x="147" y="684"/>
                      <a:pt x="146" y="710"/>
                      <a:pt x="158" y="711"/>
                    </a:cubicBezTo>
                    <a:cubicBezTo>
                      <a:pt x="170" y="712"/>
                      <a:pt x="188" y="708"/>
                      <a:pt x="188" y="708"/>
                    </a:cubicBezTo>
                    <a:cubicBezTo>
                      <a:pt x="188" y="689"/>
                      <a:pt x="188" y="689"/>
                      <a:pt x="188" y="689"/>
                    </a:cubicBezTo>
                    <a:cubicBezTo>
                      <a:pt x="199" y="691"/>
                      <a:pt x="199" y="691"/>
                      <a:pt x="199" y="691"/>
                    </a:cubicBezTo>
                    <a:cubicBezTo>
                      <a:pt x="199" y="677"/>
                      <a:pt x="199" y="677"/>
                      <a:pt x="199" y="677"/>
                    </a:cubicBezTo>
                    <a:cubicBezTo>
                      <a:pt x="214" y="674"/>
                      <a:pt x="214" y="674"/>
                      <a:pt x="214" y="674"/>
                    </a:cubicBezTo>
                    <a:cubicBezTo>
                      <a:pt x="222" y="657"/>
                      <a:pt x="222" y="657"/>
                      <a:pt x="222" y="657"/>
                    </a:cubicBezTo>
                    <a:cubicBezTo>
                      <a:pt x="222" y="657"/>
                      <a:pt x="227" y="666"/>
                      <a:pt x="241" y="670"/>
                    </a:cubicBezTo>
                    <a:cubicBezTo>
                      <a:pt x="254" y="674"/>
                      <a:pt x="296" y="673"/>
                      <a:pt x="296" y="673"/>
                    </a:cubicBezTo>
                    <a:cubicBezTo>
                      <a:pt x="318" y="707"/>
                      <a:pt x="318" y="707"/>
                      <a:pt x="318" y="707"/>
                    </a:cubicBezTo>
                    <a:cubicBezTo>
                      <a:pt x="323" y="670"/>
                      <a:pt x="323" y="670"/>
                      <a:pt x="323" y="670"/>
                    </a:cubicBezTo>
                    <a:cubicBezTo>
                      <a:pt x="374" y="664"/>
                      <a:pt x="374" y="664"/>
                      <a:pt x="374" y="664"/>
                    </a:cubicBezTo>
                    <a:cubicBezTo>
                      <a:pt x="397" y="681"/>
                      <a:pt x="397" y="681"/>
                      <a:pt x="397" y="681"/>
                    </a:cubicBezTo>
                    <a:cubicBezTo>
                      <a:pt x="397" y="681"/>
                      <a:pt x="405" y="613"/>
                      <a:pt x="403" y="607"/>
                    </a:cubicBezTo>
                    <a:cubicBezTo>
                      <a:pt x="402" y="600"/>
                      <a:pt x="387" y="578"/>
                      <a:pt x="394" y="574"/>
                    </a:cubicBezTo>
                    <a:cubicBezTo>
                      <a:pt x="401" y="570"/>
                      <a:pt x="413" y="558"/>
                      <a:pt x="413" y="558"/>
                    </a:cubicBezTo>
                    <a:cubicBezTo>
                      <a:pt x="417" y="539"/>
                      <a:pt x="417" y="539"/>
                      <a:pt x="417" y="539"/>
                    </a:cubicBezTo>
                    <a:cubicBezTo>
                      <a:pt x="486" y="527"/>
                      <a:pt x="486" y="527"/>
                      <a:pt x="486" y="527"/>
                    </a:cubicBezTo>
                    <a:cubicBezTo>
                      <a:pt x="539" y="518"/>
                      <a:pt x="539" y="518"/>
                      <a:pt x="539" y="518"/>
                    </a:cubicBezTo>
                    <a:cubicBezTo>
                      <a:pt x="574" y="546"/>
                      <a:pt x="574" y="546"/>
                      <a:pt x="574" y="546"/>
                    </a:cubicBezTo>
                    <a:cubicBezTo>
                      <a:pt x="587" y="569"/>
                      <a:pt x="587" y="569"/>
                      <a:pt x="587" y="569"/>
                    </a:cubicBezTo>
                    <a:cubicBezTo>
                      <a:pt x="587" y="563"/>
                      <a:pt x="602" y="555"/>
                      <a:pt x="602" y="555"/>
                    </a:cubicBezTo>
                    <a:cubicBezTo>
                      <a:pt x="602" y="555"/>
                      <a:pt x="590" y="545"/>
                      <a:pt x="588" y="540"/>
                    </a:cubicBezTo>
                    <a:cubicBezTo>
                      <a:pt x="586" y="535"/>
                      <a:pt x="603" y="508"/>
                      <a:pt x="603" y="508"/>
                    </a:cubicBezTo>
                    <a:lnTo>
                      <a:pt x="599" y="500"/>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40" name="Freeform 62">
                <a:extLst>
                  <a:ext uri="{FF2B5EF4-FFF2-40B4-BE49-F238E27FC236}">
                    <a16:creationId xmlns:a16="http://schemas.microsoft.com/office/drawing/2014/main" id="{4067B4E3-384D-47D1-BE63-25B2145D102F}"/>
                  </a:ext>
                </a:extLst>
              </p:cNvPr>
              <p:cNvSpPr>
                <a:spLocks noEditPoints="1"/>
              </p:cNvSpPr>
              <p:nvPr>
                <p:custDataLst>
                  <p:tags r:id="rId21"/>
                </p:custDataLst>
              </p:nvPr>
            </p:nvSpPr>
            <p:spPr bwMode="gray">
              <a:xfrm>
                <a:off x="590679" y="2324109"/>
                <a:ext cx="1069835" cy="492126"/>
              </a:xfrm>
              <a:custGeom>
                <a:avLst/>
                <a:gdLst>
                  <a:gd name="T0" fmla="*/ 1650 w 2049"/>
                  <a:gd name="T1" fmla="*/ 628 h 886"/>
                  <a:gd name="T2" fmla="*/ 1600 w 2049"/>
                  <a:gd name="T3" fmla="*/ 619 h 886"/>
                  <a:gd name="T4" fmla="*/ 1594 w 2049"/>
                  <a:gd name="T5" fmla="*/ 717 h 886"/>
                  <a:gd name="T6" fmla="*/ 1594 w 2049"/>
                  <a:gd name="T7" fmla="*/ 777 h 886"/>
                  <a:gd name="T8" fmla="*/ 1677 w 2049"/>
                  <a:gd name="T9" fmla="*/ 696 h 886"/>
                  <a:gd name="T10" fmla="*/ 1691 w 2049"/>
                  <a:gd name="T11" fmla="*/ 558 h 886"/>
                  <a:gd name="T12" fmla="*/ 1597 w 2049"/>
                  <a:gd name="T13" fmla="*/ 572 h 886"/>
                  <a:gd name="T14" fmla="*/ 1561 w 2049"/>
                  <a:gd name="T15" fmla="*/ 513 h 886"/>
                  <a:gd name="T16" fmla="*/ 2008 w 2049"/>
                  <a:gd name="T17" fmla="*/ 53 h 886"/>
                  <a:gd name="T18" fmla="*/ 1735 w 2049"/>
                  <a:gd name="T19" fmla="*/ 24 h 886"/>
                  <a:gd name="T20" fmla="*/ 1622 w 2049"/>
                  <a:gd name="T21" fmla="*/ 0 h 886"/>
                  <a:gd name="T22" fmla="*/ 1141 w 2049"/>
                  <a:gd name="T23" fmla="*/ 107 h 886"/>
                  <a:gd name="T24" fmla="*/ 1138 w 2049"/>
                  <a:gd name="T25" fmla="*/ 211 h 886"/>
                  <a:gd name="T26" fmla="*/ 1051 w 2049"/>
                  <a:gd name="T27" fmla="*/ 238 h 886"/>
                  <a:gd name="T28" fmla="*/ 837 w 2049"/>
                  <a:gd name="T29" fmla="*/ 261 h 886"/>
                  <a:gd name="T30" fmla="*/ 939 w 2049"/>
                  <a:gd name="T31" fmla="*/ 316 h 886"/>
                  <a:gd name="T32" fmla="*/ 1037 w 2049"/>
                  <a:gd name="T33" fmla="*/ 311 h 886"/>
                  <a:gd name="T34" fmla="*/ 898 w 2049"/>
                  <a:gd name="T35" fmla="*/ 357 h 886"/>
                  <a:gd name="T36" fmla="*/ 745 w 2049"/>
                  <a:gd name="T37" fmla="*/ 404 h 886"/>
                  <a:gd name="T38" fmla="*/ 643 w 2049"/>
                  <a:gd name="T39" fmla="*/ 462 h 886"/>
                  <a:gd name="T40" fmla="*/ 689 w 2049"/>
                  <a:gd name="T41" fmla="*/ 491 h 886"/>
                  <a:gd name="T42" fmla="*/ 619 w 2049"/>
                  <a:gd name="T43" fmla="*/ 510 h 886"/>
                  <a:gd name="T44" fmla="*/ 678 w 2049"/>
                  <a:gd name="T45" fmla="*/ 554 h 886"/>
                  <a:gd name="T46" fmla="*/ 694 w 2049"/>
                  <a:gd name="T47" fmla="*/ 576 h 886"/>
                  <a:gd name="T48" fmla="*/ 785 w 2049"/>
                  <a:gd name="T49" fmla="*/ 580 h 886"/>
                  <a:gd name="T50" fmla="*/ 815 w 2049"/>
                  <a:gd name="T51" fmla="*/ 598 h 886"/>
                  <a:gd name="T52" fmla="*/ 697 w 2049"/>
                  <a:gd name="T53" fmla="*/ 654 h 886"/>
                  <a:gd name="T54" fmla="*/ 491 w 2049"/>
                  <a:gd name="T55" fmla="*/ 747 h 886"/>
                  <a:gd name="T56" fmla="*/ 385 w 2049"/>
                  <a:gd name="T57" fmla="*/ 763 h 886"/>
                  <a:gd name="T58" fmla="*/ 373 w 2049"/>
                  <a:gd name="T59" fmla="*/ 783 h 886"/>
                  <a:gd name="T60" fmla="*/ 514 w 2049"/>
                  <a:gd name="T61" fmla="*/ 746 h 886"/>
                  <a:gd name="T62" fmla="*/ 653 w 2049"/>
                  <a:gd name="T63" fmla="*/ 697 h 886"/>
                  <a:gd name="T64" fmla="*/ 841 w 2049"/>
                  <a:gd name="T65" fmla="*/ 628 h 886"/>
                  <a:gd name="T66" fmla="*/ 1015 w 2049"/>
                  <a:gd name="T67" fmla="*/ 545 h 886"/>
                  <a:gd name="T68" fmla="*/ 1234 w 2049"/>
                  <a:gd name="T69" fmla="*/ 485 h 886"/>
                  <a:gd name="T70" fmla="*/ 1075 w 2049"/>
                  <a:gd name="T71" fmla="*/ 536 h 886"/>
                  <a:gd name="T72" fmla="*/ 1211 w 2049"/>
                  <a:gd name="T73" fmla="*/ 530 h 886"/>
                  <a:gd name="T74" fmla="*/ 1336 w 2049"/>
                  <a:gd name="T75" fmla="*/ 492 h 886"/>
                  <a:gd name="T76" fmla="*/ 1472 w 2049"/>
                  <a:gd name="T77" fmla="*/ 532 h 886"/>
                  <a:gd name="T78" fmla="*/ 1541 w 2049"/>
                  <a:gd name="T79" fmla="*/ 573 h 886"/>
                  <a:gd name="T80" fmla="*/ 1630 w 2049"/>
                  <a:gd name="T81" fmla="*/ 585 h 886"/>
                  <a:gd name="T82" fmla="*/ 1679 w 2049"/>
                  <a:gd name="T83" fmla="*/ 607 h 886"/>
                  <a:gd name="T84" fmla="*/ 1636 w 2049"/>
                  <a:gd name="T85" fmla="*/ 670 h 886"/>
                  <a:gd name="T86" fmla="*/ 1660 w 2049"/>
                  <a:gd name="T87" fmla="*/ 733 h 886"/>
                  <a:gd name="T88" fmla="*/ 1623 w 2049"/>
                  <a:gd name="T89" fmla="*/ 785 h 886"/>
                  <a:gd name="T90" fmla="*/ 1707 w 2049"/>
                  <a:gd name="T91" fmla="*/ 721 h 886"/>
                  <a:gd name="T92" fmla="*/ 1598 w 2049"/>
                  <a:gd name="T93" fmla="*/ 704 h 886"/>
                  <a:gd name="T94" fmla="*/ 1546 w 2049"/>
                  <a:gd name="T95" fmla="*/ 720 h 886"/>
                  <a:gd name="T96" fmla="*/ 510 w 2049"/>
                  <a:gd name="T97" fmla="*/ 517 h 886"/>
                  <a:gd name="T98" fmla="*/ 76 w 2049"/>
                  <a:gd name="T99" fmla="*/ 849 h 886"/>
                  <a:gd name="T100" fmla="*/ 859 w 2049"/>
                  <a:gd name="T101" fmla="*/ 663 h 886"/>
                  <a:gd name="T102" fmla="*/ 881 w 2049"/>
                  <a:gd name="T103" fmla="*/ 664 h 886"/>
                  <a:gd name="T104" fmla="*/ 908 w 2049"/>
                  <a:gd name="T105" fmla="*/ 635 h 886"/>
                  <a:gd name="T106" fmla="*/ 1646 w 2049"/>
                  <a:gd name="T107" fmla="*/ 762 h 886"/>
                  <a:gd name="T108" fmla="*/ 923 w 2049"/>
                  <a:gd name="T109" fmla="*/ 630 h 886"/>
                  <a:gd name="T110" fmla="*/ 290 w 2049"/>
                  <a:gd name="T111" fmla="*/ 788 h 886"/>
                  <a:gd name="T112" fmla="*/ 221 w 2049"/>
                  <a:gd name="T113" fmla="*/ 814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49" h="886">
                    <a:moveTo>
                      <a:pt x="1636" y="622"/>
                    </a:moveTo>
                    <a:cubicBezTo>
                      <a:pt x="1628" y="629"/>
                      <a:pt x="1614" y="645"/>
                      <a:pt x="1614" y="645"/>
                    </a:cubicBezTo>
                    <a:cubicBezTo>
                      <a:pt x="1602" y="669"/>
                      <a:pt x="1602" y="669"/>
                      <a:pt x="1602" y="669"/>
                    </a:cubicBezTo>
                    <a:cubicBezTo>
                      <a:pt x="1602" y="669"/>
                      <a:pt x="1623" y="665"/>
                      <a:pt x="1633" y="656"/>
                    </a:cubicBezTo>
                    <a:cubicBezTo>
                      <a:pt x="1643" y="647"/>
                      <a:pt x="1640" y="638"/>
                      <a:pt x="1640" y="638"/>
                    </a:cubicBezTo>
                    <a:cubicBezTo>
                      <a:pt x="1650" y="628"/>
                      <a:pt x="1650" y="628"/>
                      <a:pt x="1650" y="628"/>
                    </a:cubicBezTo>
                    <a:cubicBezTo>
                      <a:pt x="1650" y="628"/>
                      <a:pt x="1644" y="615"/>
                      <a:pt x="1636" y="622"/>
                    </a:cubicBezTo>
                    <a:close/>
                    <a:moveTo>
                      <a:pt x="1600" y="619"/>
                    </a:moveTo>
                    <a:cubicBezTo>
                      <a:pt x="1600" y="619"/>
                      <a:pt x="1575" y="626"/>
                      <a:pt x="1576" y="633"/>
                    </a:cubicBezTo>
                    <a:cubicBezTo>
                      <a:pt x="1577" y="640"/>
                      <a:pt x="1586" y="650"/>
                      <a:pt x="1586" y="650"/>
                    </a:cubicBezTo>
                    <a:cubicBezTo>
                      <a:pt x="1597" y="654"/>
                      <a:pt x="1614" y="646"/>
                      <a:pt x="1614" y="636"/>
                    </a:cubicBezTo>
                    <a:cubicBezTo>
                      <a:pt x="1614" y="626"/>
                      <a:pt x="1600" y="619"/>
                      <a:pt x="1600" y="619"/>
                    </a:cubicBezTo>
                    <a:close/>
                    <a:moveTo>
                      <a:pt x="1544" y="792"/>
                    </a:moveTo>
                    <a:cubicBezTo>
                      <a:pt x="1553" y="793"/>
                      <a:pt x="1553" y="793"/>
                      <a:pt x="1553" y="793"/>
                    </a:cubicBezTo>
                    <a:cubicBezTo>
                      <a:pt x="1559" y="768"/>
                      <a:pt x="1559" y="768"/>
                      <a:pt x="1559" y="768"/>
                    </a:cubicBezTo>
                    <a:cubicBezTo>
                      <a:pt x="1548" y="773"/>
                      <a:pt x="1548" y="773"/>
                      <a:pt x="1548" y="773"/>
                    </a:cubicBezTo>
                    <a:lnTo>
                      <a:pt x="1544" y="792"/>
                    </a:lnTo>
                    <a:close/>
                    <a:moveTo>
                      <a:pt x="1594" y="717"/>
                    </a:moveTo>
                    <a:cubicBezTo>
                      <a:pt x="1581" y="726"/>
                      <a:pt x="1581" y="726"/>
                      <a:pt x="1581" y="726"/>
                    </a:cubicBezTo>
                    <a:cubicBezTo>
                      <a:pt x="1581" y="726"/>
                      <a:pt x="1587" y="732"/>
                      <a:pt x="1591" y="733"/>
                    </a:cubicBezTo>
                    <a:cubicBezTo>
                      <a:pt x="1595" y="734"/>
                      <a:pt x="1577" y="743"/>
                      <a:pt x="1573" y="745"/>
                    </a:cubicBezTo>
                    <a:cubicBezTo>
                      <a:pt x="1569" y="747"/>
                      <a:pt x="1563" y="758"/>
                      <a:pt x="1568" y="767"/>
                    </a:cubicBezTo>
                    <a:cubicBezTo>
                      <a:pt x="1573" y="776"/>
                      <a:pt x="1572" y="794"/>
                      <a:pt x="1572" y="794"/>
                    </a:cubicBezTo>
                    <a:cubicBezTo>
                      <a:pt x="1572" y="794"/>
                      <a:pt x="1586" y="786"/>
                      <a:pt x="1594" y="777"/>
                    </a:cubicBezTo>
                    <a:cubicBezTo>
                      <a:pt x="1602" y="768"/>
                      <a:pt x="1590" y="756"/>
                      <a:pt x="1590" y="756"/>
                    </a:cubicBezTo>
                    <a:cubicBezTo>
                      <a:pt x="1590" y="756"/>
                      <a:pt x="1600" y="755"/>
                      <a:pt x="1609" y="745"/>
                    </a:cubicBezTo>
                    <a:cubicBezTo>
                      <a:pt x="1618" y="735"/>
                      <a:pt x="1594" y="717"/>
                      <a:pt x="1594" y="717"/>
                    </a:cubicBezTo>
                    <a:close/>
                    <a:moveTo>
                      <a:pt x="1707" y="721"/>
                    </a:moveTo>
                    <a:cubicBezTo>
                      <a:pt x="1707" y="721"/>
                      <a:pt x="1700" y="719"/>
                      <a:pt x="1700" y="714"/>
                    </a:cubicBezTo>
                    <a:cubicBezTo>
                      <a:pt x="1700" y="710"/>
                      <a:pt x="1672" y="709"/>
                      <a:pt x="1677" y="696"/>
                    </a:cubicBezTo>
                    <a:cubicBezTo>
                      <a:pt x="1682" y="683"/>
                      <a:pt x="1688" y="666"/>
                      <a:pt x="1688" y="666"/>
                    </a:cubicBezTo>
                    <a:cubicBezTo>
                      <a:pt x="1688" y="642"/>
                      <a:pt x="1688" y="642"/>
                      <a:pt x="1688" y="642"/>
                    </a:cubicBezTo>
                    <a:cubicBezTo>
                      <a:pt x="1688" y="642"/>
                      <a:pt x="1705" y="623"/>
                      <a:pt x="1698" y="606"/>
                    </a:cubicBezTo>
                    <a:cubicBezTo>
                      <a:pt x="1692" y="588"/>
                      <a:pt x="1685" y="586"/>
                      <a:pt x="1685" y="586"/>
                    </a:cubicBezTo>
                    <a:cubicBezTo>
                      <a:pt x="1691" y="575"/>
                      <a:pt x="1691" y="575"/>
                      <a:pt x="1691" y="575"/>
                    </a:cubicBezTo>
                    <a:cubicBezTo>
                      <a:pt x="1691" y="558"/>
                      <a:pt x="1691" y="558"/>
                      <a:pt x="1691" y="558"/>
                    </a:cubicBezTo>
                    <a:cubicBezTo>
                      <a:pt x="1691" y="558"/>
                      <a:pt x="1718" y="548"/>
                      <a:pt x="1699" y="542"/>
                    </a:cubicBezTo>
                    <a:cubicBezTo>
                      <a:pt x="1681" y="537"/>
                      <a:pt x="1653" y="547"/>
                      <a:pt x="1653" y="547"/>
                    </a:cubicBezTo>
                    <a:cubicBezTo>
                      <a:pt x="1651" y="555"/>
                      <a:pt x="1651" y="555"/>
                      <a:pt x="1651" y="555"/>
                    </a:cubicBezTo>
                    <a:cubicBezTo>
                      <a:pt x="1639" y="555"/>
                      <a:pt x="1639" y="555"/>
                      <a:pt x="1639" y="555"/>
                    </a:cubicBezTo>
                    <a:cubicBezTo>
                      <a:pt x="1639" y="555"/>
                      <a:pt x="1633" y="565"/>
                      <a:pt x="1625" y="565"/>
                    </a:cubicBezTo>
                    <a:cubicBezTo>
                      <a:pt x="1618" y="565"/>
                      <a:pt x="1597" y="572"/>
                      <a:pt x="1597" y="572"/>
                    </a:cubicBezTo>
                    <a:cubicBezTo>
                      <a:pt x="1597" y="572"/>
                      <a:pt x="1581" y="585"/>
                      <a:pt x="1575" y="585"/>
                    </a:cubicBezTo>
                    <a:cubicBezTo>
                      <a:pt x="1570" y="585"/>
                      <a:pt x="1589" y="566"/>
                      <a:pt x="1589" y="566"/>
                    </a:cubicBezTo>
                    <a:cubicBezTo>
                      <a:pt x="1589" y="566"/>
                      <a:pt x="1570" y="558"/>
                      <a:pt x="1570" y="547"/>
                    </a:cubicBezTo>
                    <a:cubicBezTo>
                      <a:pt x="1570" y="537"/>
                      <a:pt x="1570" y="528"/>
                      <a:pt x="1570" y="528"/>
                    </a:cubicBezTo>
                    <a:cubicBezTo>
                      <a:pt x="1585" y="513"/>
                      <a:pt x="1585" y="513"/>
                      <a:pt x="1585" y="513"/>
                    </a:cubicBezTo>
                    <a:cubicBezTo>
                      <a:pt x="1561" y="513"/>
                      <a:pt x="1561" y="513"/>
                      <a:pt x="1561" y="513"/>
                    </a:cubicBezTo>
                    <a:cubicBezTo>
                      <a:pt x="1561" y="513"/>
                      <a:pt x="1552" y="518"/>
                      <a:pt x="1549" y="518"/>
                    </a:cubicBezTo>
                    <a:cubicBezTo>
                      <a:pt x="1549" y="518"/>
                      <a:pt x="1520" y="524"/>
                      <a:pt x="1514" y="518"/>
                    </a:cubicBezTo>
                    <a:cubicBezTo>
                      <a:pt x="1508" y="512"/>
                      <a:pt x="1534" y="498"/>
                      <a:pt x="1534" y="498"/>
                    </a:cubicBezTo>
                    <a:cubicBezTo>
                      <a:pt x="2049" y="74"/>
                      <a:pt x="2049" y="74"/>
                      <a:pt x="2049" y="74"/>
                    </a:cubicBezTo>
                    <a:cubicBezTo>
                      <a:pt x="2037" y="74"/>
                      <a:pt x="2037" y="74"/>
                      <a:pt x="2037" y="74"/>
                    </a:cubicBezTo>
                    <a:cubicBezTo>
                      <a:pt x="2037" y="74"/>
                      <a:pt x="2034" y="51"/>
                      <a:pt x="2008" y="53"/>
                    </a:cubicBezTo>
                    <a:cubicBezTo>
                      <a:pt x="1982" y="55"/>
                      <a:pt x="1951" y="64"/>
                      <a:pt x="1947" y="64"/>
                    </a:cubicBezTo>
                    <a:cubicBezTo>
                      <a:pt x="1943" y="64"/>
                      <a:pt x="1916" y="50"/>
                      <a:pt x="1912" y="48"/>
                    </a:cubicBezTo>
                    <a:cubicBezTo>
                      <a:pt x="1908" y="46"/>
                      <a:pt x="1858" y="47"/>
                      <a:pt x="1858" y="47"/>
                    </a:cubicBezTo>
                    <a:cubicBezTo>
                      <a:pt x="1858" y="47"/>
                      <a:pt x="1842" y="39"/>
                      <a:pt x="1824" y="37"/>
                    </a:cubicBezTo>
                    <a:cubicBezTo>
                      <a:pt x="1806" y="35"/>
                      <a:pt x="1735" y="38"/>
                      <a:pt x="1732" y="38"/>
                    </a:cubicBezTo>
                    <a:cubicBezTo>
                      <a:pt x="1729" y="38"/>
                      <a:pt x="1735" y="24"/>
                      <a:pt x="1735" y="24"/>
                    </a:cubicBezTo>
                    <a:cubicBezTo>
                      <a:pt x="1735" y="24"/>
                      <a:pt x="1699" y="19"/>
                      <a:pt x="1694" y="18"/>
                    </a:cubicBezTo>
                    <a:cubicBezTo>
                      <a:pt x="1689" y="17"/>
                      <a:pt x="1656" y="24"/>
                      <a:pt x="1656" y="24"/>
                    </a:cubicBezTo>
                    <a:cubicBezTo>
                      <a:pt x="1676" y="2"/>
                      <a:pt x="1676" y="2"/>
                      <a:pt x="1676" y="2"/>
                    </a:cubicBezTo>
                    <a:cubicBezTo>
                      <a:pt x="1621" y="24"/>
                      <a:pt x="1621" y="24"/>
                      <a:pt x="1621" y="24"/>
                    </a:cubicBezTo>
                    <a:cubicBezTo>
                      <a:pt x="1642" y="2"/>
                      <a:pt x="1642" y="2"/>
                      <a:pt x="1642" y="2"/>
                    </a:cubicBezTo>
                    <a:cubicBezTo>
                      <a:pt x="1622" y="0"/>
                      <a:pt x="1622" y="0"/>
                      <a:pt x="1622" y="0"/>
                    </a:cubicBezTo>
                    <a:cubicBezTo>
                      <a:pt x="1622" y="0"/>
                      <a:pt x="1591" y="22"/>
                      <a:pt x="1561" y="22"/>
                    </a:cubicBezTo>
                    <a:cubicBezTo>
                      <a:pt x="1531" y="22"/>
                      <a:pt x="1485" y="16"/>
                      <a:pt x="1477" y="24"/>
                    </a:cubicBezTo>
                    <a:cubicBezTo>
                      <a:pt x="1469" y="32"/>
                      <a:pt x="1439" y="39"/>
                      <a:pt x="1439" y="39"/>
                    </a:cubicBezTo>
                    <a:cubicBezTo>
                      <a:pt x="1439" y="39"/>
                      <a:pt x="1390" y="39"/>
                      <a:pt x="1364" y="42"/>
                    </a:cubicBezTo>
                    <a:cubicBezTo>
                      <a:pt x="1338" y="45"/>
                      <a:pt x="1277" y="91"/>
                      <a:pt x="1235" y="97"/>
                    </a:cubicBezTo>
                    <a:cubicBezTo>
                      <a:pt x="1193" y="103"/>
                      <a:pt x="1141" y="107"/>
                      <a:pt x="1141" y="107"/>
                    </a:cubicBezTo>
                    <a:cubicBezTo>
                      <a:pt x="1141" y="107"/>
                      <a:pt x="1078" y="128"/>
                      <a:pt x="1081" y="133"/>
                    </a:cubicBezTo>
                    <a:cubicBezTo>
                      <a:pt x="1084" y="138"/>
                      <a:pt x="1105" y="149"/>
                      <a:pt x="1105" y="149"/>
                    </a:cubicBezTo>
                    <a:cubicBezTo>
                      <a:pt x="1105" y="149"/>
                      <a:pt x="1118" y="172"/>
                      <a:pt x="1112" y="175"/>
                    </a:cubicBezTo>
                    <a:cubicBezTo>
                      <a:pt x="1106" y="178"/>
                      <a:pt x="1097" y="187"/>
                      <a:pt x="1097" y="187"/>
                    </a:cubicBezTo>
                    <a:cubicBezTo>
                      <a:pt x="1157" y="188"/>
                      <a:pt x="1157" y="188"/>
                      <a:pt x="1157" y="188"/>
                    </a:cubicBezTo>
                    <a:cubicBezTo>
                      <a:pt x="1138" y="211"/>
                      <a:pt x="1138" y="211"/>
                      <a:pt x="1138" y="211"/>
                    </a:cubicBezTo>
                    <a:cubicBezTo>
                      <a:pt x="1182" y="213"/>
                      <a:pt x="1182" y="213"/>
                      <a:pt x="1182" y="213"/>
                    </a:cubicBezTo>
                    <a:cubicBezTo>
                      <a:pt x="1175" y="225"/>
                      <a:pt x="1175" y="225"/>
                      <a:pt x="1175" y="225"/>
                    </a:cubicBezTo>
                    <a:cubicBezTo>
                      <a:pt x="1139" y="224"/>
                      <a:pt x="1139" y="224"/>
                      <a:pt x="1139" y="224"/>
                    </a:cubicBezTo>
                    <a:cubicBezTo>
                      <a:pt x="1132" y="232"/>
                      <a:pt x="1132" y="232"/>
                      <a:pt x="1132" y="232"/>
                    </a:cubicBezTo>
                    <a:cubicBezTo>
                      <a:pt x="1110" y="232"/>
                      <a:pt x="1110" y="232"/>
                      <a:pt x="1110" y="232"/>
                    </a:cubicBezTo>
                    <a:cubicBezTo>
                      <a:pt x="1110" y="232"/>
                      <a:pt x="1076" y="238"/>
                      <a:pt x="1051" y="238"/>
                    </a:cubicBezTo>
                    <a:cubicBezTo>
                      <a:pt x="1026" y="238"/>
                      <a:pt x="1031" y="228"/>
                      <a:pt x="1045" y="223"/>
                    </a:cubicBezTo>
                    <a:cubicBezTo>
                      <a:pt x="1059" y="218"/>
                      <a:pt x="1017" y="215"/>
                      <a:pt x="1017" y="215"/>
                    </a:cubicBezTo>
                    <a:cubicBezTo>
                      <a:pt x="1017" y="215"/>
                      <a:pt x="969" y="213"/>
                      <a:pt x="967" y="221"/>
                    </a:cubicBezTo>
                    <a:cubicBezTo>
                      <a:pt x="965" y="229"/>
                      <a:pt x="969" y="234"/>
                      <a:pt x="969" y="234"/>
                    </a:cubicBezTo>
                    <a:cubicBezTo>
                      <a:pt x="969" y="234"/>
                      <a:pt x="934" y="236"/>
                      <a:pt x="911" y="239"/>
                    </a:cubicBezTo>
                    <a:cubicBezTo>
                      <a:pt x="888" y="242"/>
                      <a:pt x="820" y="255"/>
                      <a:pt x="837" y="261"/>
                    </a:cubicBezTo>
                    <a:cubicBezTo>
                      <a:pt x="854" y="267"/>
                      <a:pt x="877" y="270"/>
                      <a:pt x="877" y="270"/>
                    </a:cubicBezTo>
                    <a:cubicBezTo>
                      <a:pt x="848" y="280"/>
                      <a:pt x="848" y="280"/>
                      <a:pt x="848" y="280"/>
                    </a:cubicBezTo>
                    <a:cubicBezTo>
                      <a:pt x="840" y="307"/>
                      <a:pt x="840" y="307"/>
                      <a:pt x="840" y="307"/>
                    </a:cubicBezTo>
                    <a:cubicBezTo>
                      <a:pt x="840" y="307"/>
                      <a:pt x="864" y="311"/>
                      <a:pt x="880" y="311"/>
                    </a:cubicBezTo>
                    <a:cubicBezTo>
                      <a:pt x="896" y="311"/>
                      <a:pt x="910" y="308"/>
                      <a:pt x="910" y="308"/>
                    </a:cubicBezTo>
                    <a:cubicBezTo>
                      <a:pt x="939" y="316"/>
                      <a:pt x="939" y="316"/>
                      <a:pt x="939" y="316"/>
                    </a:cubicBezTo>
                    <a:cubicBezTo>
                      <a:pt x="948" y="304"/>
                      <a:pt x="948" y="304"/>
                      <a:pt x="948" y="304"/>
                    </a:cubicBezTo>
                    <a:cubicBezTo>
                      <a:pt x="957" y="315"/>
                      <a:pt x="957" y="315"/>
                      <a:pt x="957" y="315"/>
                    </a:cubicBezTo>
                    <a:cubicBezTo>
                      <a:pt x="957" y="315"/>
                      <a:pt x="989" y="297"/>
                      <a:pt x="994" y="297"/>
                    </a:cubicBezTo>
                    <a:cubicBezTo>
                      <a:pt x="999" y="297"/>
                      <a:pt x="1007" y="303"/>
                      <a:pt x="1017" y="299"/>
                    </a:cubicBezTo>
                    <a:cubicBezTo>
                      <a:pt x="1027" y="295"/>
                      <a:pt x="1045" y="281"/>
                      <a:pt x="1046" y="290"/>
                    </a:cubicBezTo>
                    <a:cubicBezTo>
                      <a:pt x="1047" y="299"/>
                      <a:pt x="1037" y="311"/>
                      <a:pt x="1037" y="311"/>
                    </a:cubicBezTo>
                    <a:cubicBezTo>
                      <a:pt x="999" y="312"/>
                      <a:pt x="999" y="312"/>
                      <a:pt x="999" y="312"/>
                    </a:cubicBezTo>
                    <a:cubicBezTo>
                      <a:pt x="1004" y="333"/>
                      <a:pt x="1004" y="333"/>
                      <a:pt x="1004" y="333"/>
                    </a:cubicBezTo>
                    <a:cubicBezTo>
                      <a:pt x="1004" y="333"/>
                      <a:pt x="976" y="360"/>
                      <a:pt x="958" y="361"/>
                    </a:cubicBezTo>
                    <a:cubicBezTo>
                      <a:pt x="940" y="362"/>
                      <a:pt x="920" y="362"/>
                      <a:pt x="920" y="362"/>
                    </a:cubicBezTo>
                    <a:cubicBezTo>
                      <a:pt x="910" y="350"/>
                      <a:pt x="910" y="350"/>
                      <a:pt x="910" y="350"/>
                    </a:cubicBezTo>
                    <a:cubicBezTo>
                      <a:pt x="898" y="357"/>
                      <a:pt x="898" y="357"/>
                      <a:pt x="898" y="357"/>
                    </a:cubicBezTo>
                    <a:cubicBezTo>
                      <a:pt x="898" y="365"/>
                      <a:pt x="898" y="365"/>
                      <a:pt x="898" y="365"/>
                    </a:cubicBezTo>
                    <a:cubicBezTo>
                      <a:pt x="898" y="365"/>
                      <a:pt x="857" y="389"/>
                      <a:pt x="844" y="381"/>
                    </a:cubicBezTo>
                    <a:cubicBezTo>
                      <a:pt x="831" y="373"/>
                      <a:pt x="824" y="371"/>
                      <a:pt x="824" y="371"/>
                    </a:cubicBezTo>
                    <a:cubicBezTo>
                      <a:pt x="762" y="406"/>
                      <a:pt x="762" y="406"/>
                      <a:pt x="762" y="406"/>
                    </a:cubicBezTo>
                    <a:cubicBezTo>
                      <a:pt x="748" y="418"/>
                      <a:pt x="748" y="418"/>
                      <a:pt x="748" y="418"/>
                    </a:cubicBezTo>
                    <a:cubicBezTo>
                      <a:pt x="745" y="404"/>
                      <a:pt x="745" y="404"/>
                      <a:pt x="745" y="404"/>
                    </a:cubicBezTo>
                    <a:cubicBezTo>
                      <a:pt x="745" y="404"/>
                      <a:pt x="720" y="415"/>
                      <a:pt x="706" y="420"/>
                    </a:cubicBezTo>
                    <a:cubicBezTo>
                      <a:pt x="692" y="425"/>
                      <a:pt x="682" y="440"/>
                      <a:pt x="682" y="440"/>
                    </a:cubicBezTo>
                    <a:cubicBezTo>
                      <a:pt x="662" y="434"/>
                      <a:pt x="662" y="434"/>
                      <a:pt x="662" y="434"/>
                    </a:cubicBezTo>
                    <a:cubicBezTo>
                      <a:pt x="662" y="447"/>
                      <a:pt x="662" y="447"/>
                      <a:pt x="662" y="447"/>
                    </a:cubicBezTo>
                    <a:cubicBezTo>
                      <a:pt x="662" y="447"/>
                      <a:pt x="649" y="441"/>
                      <a:pt x="646" y="447"/>
                    </a:cubicBezTo>
                    <a:cubicBezTo>
                      <a:pt x="643" y="453"/>
                      <a:pt x="643" y="462"/>
                      <a:pt x="643" y="462"/>
                    </a:cubicBezTo>
                    <a:cubicBezTo>
                      <a:pt x="636" y="471"/>
                      <a:pt x="636" y="471"/>
                      <a:pt x="636" y="471"/>
                    </a:cubicBezTo>
                    <a:cubicBezTo>
                      <a:pt x="676" y="457"/>
                      <a:pt x="676" y="457"/>
                      <a:pt x="676" y="457"/>
                    </a:cubicBezTo>
                    <a:cubicBezTo>
                      <a:pt x="661" y="469"/>
                      <a:pt x="661" y="469"/>
                      <a:pt x="661" y="469"/>
                    </a:cubicBezTo>
                    <a:cubicBezTo>
                      <a:pt x="661" y="475"/>
                      <a:pt x="661" y="475"/>
                      <a:pt x="661" y="475"/>
                    </a:cubicBezTo>
                    <a:cubicBezTo>
                      <a:pt x="648" y="483"/>
                      <a:pt x="648" y="483"/>
                      <a:pt x="648" y="483"/>
                    </a:cubicBezTo>
                    <a:cubicBezTo>
                      <a:pt x="648" y="483"/>
                      <a:pt x="698" y="482"/>
                      <a:pt x="689" y="491"/>
                    </a:cubicBezTo>
                    <a:cubicBezTo>
                      <a:pt x="680" y="500"/>
                      <a:pt x="658" y="498"/>
                      <a:pt x="658" y="498"/>
                    </a:cubicBezTo>
                    <a:cubicBezTo>
                      <a:pt x="641" y="502"/>
                      <a:pt x="641" y="502"/>
                      <a:pt x="641" y="502"/>
                    </a:cubicBezTo>
                    <a:cubicBezTo>
                      <a:pt x="649" y="494"/>
                      <a:pt x="649" y="494"/>
                      <a:pt x="649" y="494"/>
                    </a:cubicBezTo>
                    <a:cubicBezTo>
                      <a:pt x="640" y="489"/>
                      <a:pt x="640" y="489"/>
                      <a:pt x="640" y="489"/>
                    </a:cubicBezTo>
                    <a:cubicBezTo>
                      <a:pt x="640" y="489"/>
                      <a:pt x="611" y="500"/>
                      <a:pt x="612" y="503"/>
                    </a:cubicBezTo>
                    <a:cubicBezTo>
                      <a:pt x="613" y="506"/>
                      <a:pt x="619" y="510"/>
                      <a:pt x="619" y="510"/>
                    </a:cubicBezTo>
                    <a:cubicBezTo>
                      <a:pt x="619" y="510"/>
                      <a:pt x="608" y="537"/>
                      <a:pt x="612" y="538"/>
                    </a:cubicBezTo>
                    <a:cubicBezTo>
                      <a:pt x="616" y="539"/>
                      <a:pt x="659" y="536"/>
                      <a:pt x="659" y="536"/>
                    </a:cubicBezTo>
                    <a:cubicBezTo>
                      <a:pt x="691" y="518"/>
                      <a:pt x="691" y="518"/>
                      <a:pt x="691" y="518"/>
                    </a:cubicBezTo>
                    <a:cubicBezTo>
                      <a:pt x="738" y="499"/>
                      <a:pt x="738" y="499"/>
                      <a:pt x="738" y="499"/>
                    </a:cubicBezTo>
                    <a:cubicBezTo>
                      <a:pt x="738" y="499"/>
                      <a:pt x="694" y="520"/>
                      <a:pt x="689" y="528"/>
                    </a:cubicBezTo>
                    <a:cubicBezTo>
                      <a:pt x="684" y="536"/>
                      <a:pt x="685" y="552"/>
                      <a:pt x="678" y="554"/>
                    </a:cubicBezTo>
                    <a:cubicBezTo>
                      <a:pt x="671" y="556"/>
                      <a:pt x="659" y="549"/>
                      <a:pt x="653" y="558"/>
                    </a:cubicBezTo>
                    <a:cubicBezTo>
                      <a:pt x="647" y="567"/>
                      <a:pt x="643" y="577"/>
                      <a:pt x="638" y="582"/>
                    </a:cubicBezTo>
                    <a:cubicBezTo>
                      <a:pt x="633" y="587"/>
                      <a:pt x="618" y="596"/>
                      <a:pt x="618" y="596"/>
                    </a:cubicBezTo>
                    <a:cubicBezTo>
                      <a:pt x="654" y="592"/>
                      <a:pt x="654" y="592"/>
                      <a:pt x="654" y="592"/>
                    </a:cubicBezTo>
                    <a:cubicBezTo>
                      <a:pt x="647" y="604"/>
                      <a:pt x="647" y="604"/>
                      <a:pt x="647" y="604"/>
                    </a:cubicBezTo>
                    <a:cubicBezTo>
                      <a:pt x="647" y="604"/>
                      <a:pt x="677" y="573"/>
                      <a:pt x="694" y="576"/>
                    </a:cubicBezTo>
                    <a:cubicBezTo>
                      <a:pt x="711" y="579"/>
                      <a:pt x="702" y="584"/>
                      <a:pt x="702" y="584"/>
                    </a:cubicBezTo>
                    <a:cubicBezTo>
                      <a:pt x="718" y="582"/>
                      <a:pt x="718" y="582"/>
                      <a:pt x="718" y="582"/>
                    </a:cubicBezTo>
                    <a:cubicBezTo>
                      <a:pt x="718" y="582"/>
                      <a:pt x="705" y="607"/>
                      <a:pt x="719" y="607"/>
                    </a:cubicBezTo>
                    <a:cubicBezTo>
                      <a:pt x="733" y="607"/>
                      <a:pt x="750" y="585"/>
                      <a:pt x="750" y="585"/>
                    </a:cubicBezTo>
                    <a:cubicBezTo>
                      <a:pt x="778" y="572"/>
                      <a:pt x="778" y="572"/>
                      <a:pt x="778" y="572"/>
                    </a:cubicBezTo>
                    <a:cubicBezTo>
                      <a:pt x="785" y="580"/>
                      <a:pt x="785" y="580"/>
                      <a:pt x="785" y="580"/>
                    </a:cubicBezTo>
                    <a:cubicBezTo>
                      <a:pt x="765" y="582"/>
                      <a:pt x="765" y="582"/>
                      <a:pt x="765" y="582"/>
                    </a:cubicBezTo>
                    <a:cubicBezTo>
                      <a:pt x="765" y="582"/>
                      <a:pt x="751" y="596"/>
                      <a:pt x="762" y="596"/>
                    </a:cubicBezTo>
                    <a:cubicBezTo>
                      <a:pt x="773" y="596"/>
                      <a:pt x="819" y="583"/>
                      <a:pt x="819" y="583"/>
                    </a:cubicBezTo>
                    <a:cubicBezTo>
                      <a:pt x="847" y="571"/>
                      <a:pt x="847" y="571"/>
                      <a:pt x="847" y="571"/>
                    </a:cubicBezTo>
                    <a:cubicBezTo>
                      <a:pt x="815" y="588"/>
                      <a:pt x="815" y="588"/>
                      <a:pt x="815" y="588"/>
                    </a:cubicBezTo>
                    <a:cubicBezTo>
                      <a:pt x="815" y="598"/>
                      <a:pt x="815" y="598"/>
                      <a:pt x="815" y="598"/>
                    </a:cubicBezTo>
                    <a:cubicBezTo>
                      <a:pt x="815" y="598"/>
                      <a:pt x="797" y="599"/>
                      <a:pt x="786" y="603"/>
                    </a:cubicBezTo>
                    <a:cubicBezTo>
                      <a:pt x="775" y="607"/>
                      <a:pt x="767" y="620"/>
                      <a:pt x="767" y="620"/>
                    </a:cubicBezTo>
                    <a:cubicBezTo>
                      <a:pt x="747" y="622"/>
                      <a:pt x="747" y="622"/>
                      <a:pt x="747" y="622"/>
                    </a:cubicBezTo>
                    <a:cubicBezTo>
                      <a:pt x="723" y="642"/>
                      <a:pt x="723" y="642"/>
                      <a:pt x="723" y="642"/>
                    </a:cubicBezTo>
                    <a:cubicBezTo>
                      <a:pt x="724" y="651"/>
                      <a:pt x="724" y="651"/>
                      <a:pt x="724" y="651"/>
                    </a:cubicBezTo>
                    <a:cubicBezTo>
                      <a:pt x="697" y="654"/>
                      <a:pt x="697" y="654"/>
                      <a:pt x="697" y="654"/>
                    </a:cubicBezTo>
                    <a:cubicBezTo>
                      <a:pt x="697" y="654"/>
                      <a:pt x="652" y="663"/>
                      <a:pt x="647" y="670"/>
                    </a:cubicBezTo>
                    <a:cubicBezTo>
                      <a:pt x="642" y="677"/>
                      <a:pt x="645" y="691"/>
                      <a:pt x="636" y="691"/>
                    </a:cubicBezTo>
                    <a:cubicBezTo>
                      <a:pt x="627" y="691"/>
                      <a:pt x="600" y="691"/>
                      <a:pt x="584" y="693"/>
                    </a:cubicBezTo>
                    <a:cubicBezTo>
                      <a:pt x="568" y="695"/>
                      <a:pt x="515" y="734"/>
                      <a:pt x="515" y="734"/>
                    </a:cubicBezTo>
                    <a:cubicBezTo>
                      <a:pt x="500" y="737"/>
                      <a:pt x="500" y="737"/>
                      <a:pt x="500" y="737"/>
                    </a:cubicBezTo>
                    <a:cubicBezTo>
                      <a:pt x="491" y="747"/>
                      <a:pt x="491" y="747"/>
                      <a:pt x="491" y="747"/>
                    </a:cubicBezTo>
                    <a:cubicBezTo>
                      <a:pt x="490" y="736"/>
                      <a:pt x="490" y="736"/>
                      <a:pt x="490" y="736"/>
                    </a:cubicBezTo>
                    <a:cubicBezTo>
                      <a:pt x="490" y="736"/>
                      <a:pt x="458" y="732"/>
                      <a:pt x="447" y="738"/>
                    </a:cubicBezTo>
                    <a:cubicBezTo>
                      <a:pt x="436" y="744"/>
                      <a:pt x="412" y="754"/>
                      <a:pt x="412" y="754"/>
                    </a:cubicBezTo>
                    <a:cubicBezTo>
                      <a:pt x="403" y="752"/>
                      <a:pt x="403" y="752"/>
                      <a:pt x="403" y="752"/>
                    </a:cubicBezTo>
                    <a:cubicBezTo>
                      <a:pt x="404" y="760"/>
                      <a:pt x="404" y="760"/>
                      <a:pt x="404" y="760"/>
                    </a:cubicBezTo>
                    <a:cubicBezTo>
                      <a:pt x="385" y="763"/>
                      <a:pt x="385" y="763"/>
                      <a:pt x="385" y="763"/>
                    </a:cubicBezTo>
                    <a:cubicBezTo>
                      <a:pt x="378" y="769"/>
                      <a:pt x="378" y="769"/>
                      <a:pt x="378" y="769"/>
                    </a:cubicBezTo>
                    <a:cubicBezTo>
                      <a:pt x="362" y="767"/>
                      <a:pt x="362" y="767"/>
                      <a:pt x="362" y="767"/>
                    </a:cubicBezTo>
                    <a:cubicBezTo>
                      <a:pt x="345" y="782"/>
                      <a:pt x="345" y="782"/>
                      <a:pt x="345" y="782"/>
                    </a:cubicBezTo>
                    <a:cubicBezTo>
                      <a:pt x="350" y="788"/>
                      <a:pt x="350" y="788"/>
                      <a:pt x="350" y="788"/>
                    </a:cubicBezTo>
                    <a:cubicBezTo>
                      <a:pt x="360" y="776"/>
                      <a:pt x="360" y="776"/>
                      <a:pt x="360" y="776"/>
                    </a:cubicBezTo>
                    <a:cubicBezTo>
                      <a:pt x="373" y="783"/>
                      <a:pt x="373" y="783"/>
                      <a:pt x="373" y="783"/>
                    </a:cubicBezTo>
                    <a:cubicBezTo>
                      <a:pt x="387" y="771"/>
                      <a:pt x="387" y="771"/>
                      <a:pt x="387" y="771"/>
                    </a:cubicBezTo>
                    <a:cubicBezTo>
                      <a:pt x="388" y="779"/>
                      <a:pt x="388" y="779"/>
                      <a:pt x="388" y="779"/>
                    </a:cubicBezTo>
                    <a:cubicBezTo>
                      <a:pt x="388" y="779"/>
                      <a:pt x="409" y="778"/>
                      <a:pt x="417" y="771"/>
                    </a:cubicBezTo>
                    <a:cubicBezTo>
                      <a:pt x="425" y="764"/>
                      <a:pt x="441" y="750"/>
                      <a:pt x="450" y="748"/>
                    </a:cubicBezTo>
                    <a:cubicBezTo>
                      <a:pt x="459" y="746"/>
                      <a:pt x="451" y="762"/>
                      <a:pt x="464" y="762"/>
                    </a:cubicBezTo>
                    <a:cubicBezTo>
                      <a:pt x="477" y="762"/>
                      <a:pt x="514" y="746"/>
                      <a:pt x="514" y="746"/>
                    </a:cubicBezTo>
                    <a:cubicBezTo>
                      <a:pt x="536" y="752"/>
                      <a:pt x="536" y="752"/>
                      <a:pt x="536" y="752"/>
                    </a:cubicBezTo>
                    <a:cubicBezTo>
                      <a:pt x="548" y="740"/>
                      <a:pt x="548" y="740"/>
                      <a:pt x="548" y="740"/>
                    </a:cubicBezTo>
                    <a:cubicBezTo>
                      <a:pt x="548" y="740"/>
                      <a:pt x="585" y="738"/>
                      <a:pt x="596" y="729"/>
                    </a:cubicBezTo>
                    <a:cubicBezTo>
                      <a:pt x="607" y="720"/>
                      <a:pt x="619" y="706"/>
                      <a:pt x="628" y="705"/>
                    </a:cubicBezTo>
                    <a:cubicBezTo>
                      <a:pt x="637" y="704"/>
                      <a:pt x="649" y="704"/>
                      <a:pt x="649" y="704"/>
                    </a:cubicBezTo>
                    <a:cubicBezTo>
                      <a:pt x="653" y="697"/>
                      <a:pt x="653" y="697"/>
                      <a:pt x="653" y="697"/>
                    </a:cubicBezTo>
                    <a:cubicBezTo>
                      <a:pt x="677" y="697"/>
                      <a:pt x="677" y="697"/>
                      <a:pt x="677" y="697"/>
                    </a:cubicBezTo>
                    <a:cubicBezTo>
                      <a:pt x="684" y="691"/>
                      <a:pt x="684" y="691"/>
                      <a:pt x="684" y="691"/>
                    </a:cubicBezTo>
                    <a:cubicBezTo>
                      <a:pt x="684" y="691"/>
                      <a:pt x="717" y="684"/>
                      <a:pt x="732" y="677"/>
                    </a:cubicBezTo>
                    <a:cubicBezTo>
                      <a:pt x="747" y="670"/>
                      <a:pt x="762" y="656"/>
                      <a:pt x="762" y="656"/>
                    </a:cubicBezTo>
                    <a:cubicBezTo>
                      <a:pt x="803" y="650"/>
                      <a:pt x="803" y="650"/>
                      <a:pt x="803" y="650"/>
                    </a:cubicBezTo>
                    <a:cubicBezTo>
                      <a:pt x="841" y="628"/>
                      <a:pt x="841" y="628"/>
                      <a:pt x="841" y="628"/>
                    </a:cubicBezTo>
                    <a:cubicBezTo>
                      <a:pt x="841" y="628"/>
                      <a:pt x="885" y="627"/>
                      <a:pt x="892" y="620"/>
                    </a:cubicBezTo>
                    <a:cubicBezTo>
                      <a:pt x="899" y="613"/>
                      <a:pt x="912" y="601"/>
                      <a:pt x="912" y="601"/>
                    </a:cubicBezTo>
                    <a:cubicBezTo>
                      <a:pt x="912" y="601"/>
                      <a:pt x="954" y="594"/>
                      <a:pt x="958" y="586"/>
                    </a:cubicBezTo>
                    <a:cubicBezTo>
                      <a:pt x="962" y="578"/>
                      <a:pt x="947" y="578"/>
                      <a:pt x="947" y="578"/>
                    </a:cubicBezTo>
                    <a:cubicBezTo>
                      <a:pt x="947" y="578"/>
                      <a:pt x="970" y="562"/>
                      <a:pt x="979" y="557"/>
                    </a:cubicBezTo>
                    <a:cubicBezTo>
                      <a:pt x="988" y="552"/>
                      <a:pt x="1015" y="545"/>
                      <a:pt x="1015" y="545"/>
                    </a:cubicBezTo>
                    <a:cubicBezTo>
                      <a:pt x="1066" y="526"/>
                      <a:pt x="1066" y="526"/>
                      <a:pt x="1066" y="526"/>
                    </a:cubicBezTo>
                    <a:cubicBezTo>
                      <a:pt x="1060" y="513"/>
                      <a:pt x="1060" y="513"/>
                      <a:pt x="1060" y="513"/>
                    </a:cubicBezTo>
                    <a:cubicBezTo>
                      <a:pt x="1060" y="513"/>
                      <a:pt x="1083" y="519"/>
                      <a:pt x="1090" y="514"/>
                    </a:cubicBezTo>
                    <a:cubicBezTo>
                      <a:pt x="1097" y="509"/>
                      <a:pt x="1130" y="494"/>
                      <a:pt x="1130" y="494"/>
                    </a:cubicBezTo>
                    <a:cubicBezTo>
                      <a:pt x="1130" y="494"/>
                      <a:pt x="1188" y="470"/>
                      <a:pt x="1196" y="467"/>
                    </a:cubicBezTo>
                    <a:cubicBezTo>
                      <a:pt x="1204" y="464"/>
                      <a:pt x="1234" y="485"/>
                      <a:pt x="1234" y="485"/>
                    </a:cubicBezTo>
                    <a:cubicBezTo>
                      <a:pt x="1210" y="485"/>
                      <a:pt x="1210" y="485"/>
                      <a:pt x="1210" y="485"/>
                    </a:cubicBezTo>
                    <a:cubicBezTo>
                      <a:pt x="1197" y="477"/>
                      <a:pt x="1197" y="477"/>
                      <a:pt x="1197" y="477"/>
                    </a:cubicBezTo>
                    <a:cubicBezTo>
                      <a:pt x="1174" y="493"/>
                      <a:pt x="1174" y="493"/>
                      <a:pt x="1174" y="493"/>
                    </a:cubicBezTo>
                    <a:cubicBezTo>
                      <a:pt x="1151" y="493"/>
                      <a:pt x="1151" y="493"/>
                      <a:pt x="1151" y="493"/>
                    </a:cubicBezTo>
                    <a:cubicBezTo>
                      <a:pt x="1151" y="493"/>
                      <a:pt x="1128" y="515"/>
                      <a:pt x="1119" y="518"/>
                    </a:cubicBezTo>
                    <a:cubicBezTo>
                      <a:pt x="1110" y="521"/>
                      <a:pt x="1071" y="527"/>
                      <a:pt x="1075" y="536"/>
                    </a:cubicBezTo>
                    <a:cubicBezTo>
                      <a:pt x="1079" y="545"/>
                      <a:pt x="1099" y="544"/>
                      <a:pt x="1099" y="544"/>
                    </a:cubicBezTo>
                    <a:cubicBezTo>
                      <a:pt x="1099" y="544"/>
                      <a:pt x="1079" y="552"/>
                      <a:pt x="1075" y="552"/>
                    </a:cubicBezTo>
                    <a:cubicBezTo>
                      <a:pt x="1071" y="552"/>
                      <a:pt x="1042" y="551"/>
                      <a:pt x="1042" y="557"/>
                    </a:cubicBezTo>
                    <a:cubicBezTo>
                      <a:pt x="1042" y="563"/>
                      <a:pt x="1045" y="576"/>
                      <a:pt x="1065" y="568"/>
                    </a:cubicBezTo>
                    <a:cubicBezTo>
                      <a:pt x="1085" y="560"/>
                      <a:pt x="1129" y="536"/>
                      <a:pt x="1147" y="532"/>
                    </a:cubicBezTo>
                    <a:cubicBezTo>
                      <a:pt x="1165" y="528"/>
                      <a:pt x="1197" y="537"/>
                      <a:pt x="1211" y="530"/>
                    </a:cubicBezTo>
                    <a:cubicBezTo>
                      <a:pt x="1225" y="523"/>
                      <a:pt x="1247" y="502"/>
                      <a:pt x="1247" y="502"/>
                    </a:cubicBezTo>
                    <a:cubicBezTo>
                      <a:pt x="1245" y="492"/>
                      <a:pt x="1245" y="492"/>
                      <a:pt x="1245" y="492"/>
                    </a:cubicBezTo>
                    <a:cubicBezTo>
                      <a:pt x="1245" y="492"/>
                      <a:pt x="1299" y="471"/>
                      <a:pt x="1309" y="472"/>
                    </a:cubicBezTo>
                    <a:cubicBezTo>
                      <a:pt x="1319" y="473"/>
                      <a:pt x="1322" y="483"/>
                      <a:pt x="1322" y="483"/>
                    </a:cubicBezTo>
                    <a:cubicBezTo>
                      <a:pt x="1364" y="470"/>
                      <a:pt x="1364" y="470"/>
                      <a:pt x="1364" y="470"/>
                    </a:cubicBezTo>
                    <a:cubicBezTo>
                      <a:pt x="1336" y="492"/>
                      <a:pt x="1336" y="492"/>
                      <a:pt x="1336" y="492"/>
                    </a:cubicBezTo>
                    <a:cubicBezTo>
                      <a:pt x="1350" y="498"/>
                      <a:pt x="1350" y="498"/>
                      <a:pt x="1350" y="498"/>
                    </a:cubicBezTo>
                    <a:cubicBezTo>
                      <a:pt x="1350" y="498"/>
                      <a:pt x="1346" y="510"/>
                      <a:pt x="1350" y="510"/>
                    </a:cubicBezTo>
                    <a:cubicBezTo>
                      <a:pt x="1354" y="510"/>
                      <a:pt x="1395" y="485"/>
                      <a:pt x="1395" y="485"/>
                    </a:cubicBezTo>
                    <a:cubicBezTo>
                      <a:pt x="1395" y="485"/>
                      <a:pt x="1356" y="515"/>
                      <a:pt x="1367" y="520"/>
                    </a:cubicBezTo>
                    <a:cubicBezTo>
                      <a:pt x="1378" y="525"/>
                      <a:pt x="1406" y="526"/>
                      <a:pt x="1406" y="526"/>
                    </a:cubicBezTo>
                    <a:cubicBezTo>
                      <a:pt x="1472" y="532"/>
                      <a:pt x="1472" y="532"/>
                      <a:pt x="1472" y="532"/>
                    </a:cubicBezTo>
                    <a:cubicBezTo>
                      <a:pt x="1493" y="519"/>
                      <a:pt x="1493" y="519"/>
                      <a:pt x="1493" y="519"/>
                    </a:cubicBezTo>
                    <a:cubicBezTo>
                      <a:pt x="1493" y="519"/>
                      <a:pt x="1480" y="541"/>
                      <a:pt x="1491" y="542"/>
                    </a:cubicBezTo>
                    <a:cubicBezTo>
                      <a:pt x="1502" y="543"/>
                      <a:pt x="1534" y="541"/>
                      <a:pt x="1534" y="541"/>
                    </a:cubicBezTo>
                    <a:cubicBezTo>
                      <a:pt x="1556" y="535"/>
                      <a:pt x="1556" y="535"/>
                      <a:pt x="1556" y="535"/>
                    </a:cubicBezTo>
                    <a:cubicBezTo>
                      <a:pt x="1556" y="535"/>
                      <a:pt x="1517" y="549"/>
                      <a:pt x="1520" y="557"/>
                    </a:cubicBezTo>
                    <a:cubicBezTo>
                      <a:pt x="1523" y="565"/>
                      <a:pt x="1541" y="573"/>
                      <a:pt x="1541" y="573"/>
                    </a:cubicBezTo>
                    <a:cubicBezTo>
                      <a:pt x="1541" y="573"/>
                      <a:pt x="1539" y="609"/>
                      <a:pt x="1551" y="609"/>
                    </a:cubicBezTo>
                    <a:cubicBezTo>
                      <a:pt x="1563" y="609"/>
                      <a:pt x="1594" y="606"/>
                      <a:pt x="1594" y="606"/>
                    </a:cubicBezTo>
                    <a:cubicBezTo>
                      <a:pt x="1587" y="585"/>
                      <a:pt x="1587" y="585"/>
                      <a:pt x="1587" y="585"/>
                    </a:cubicBezTo>
                    <a:cubicBezTo>
                      <a:pt x="1601" y="580"/>
                      <a:pt x="1601" y="580"/>
                      <a:pt x="1601" y="580"/>
                    </a:cubicBezTo>
                    <a:cubicBezTo>
                      <a:pt x="1610" y="591"/>
                      <a:pt x="1610" y="591"/>
                      <a:pt x="1610" y="591"/>
                    </a:cubicBezTo>
                    <a:cubicBezTo>
                      <a:pt x="1630" y="585"/>
                      <a:pt x="1630" y="585"/>
                      <a:pt x="1630" y="585"/>
                    </a:cubicBezTo>
                    <a:cubicBezTo>
                      <a:pt x="1630" y="585"/>
                      <a:pt x="1610" y="608"/>
                      <a:pt x="1621" y="612"/>
                    </a:cubicBezTo>
                    <a:cubicBezTo>
                      <a:pt x="1632" y="616"/>
                      <a:pt x="1650" y="586"/>
                      <a:pt x="1650" y="586"/>
                    </a:cubicBezTo>
                    <a:cubicBezTo>
                      <a:pt x="1670" y="557"/>
                      <a:pt x="1670" y="557"/>
                      <a:pt x="1670" y="557"/>
                    </a:cubicBezTo>
                    <a:cubicBezTo>
                      <a:pt x="1652" y="599"/>
                      <a:pt x="1652" y="599"/>
                      <a:pt x="1652" y="599"/>
                    </a:cubicBezTo>
                    <a:cubicBezTo>
                      <a:pt x="1656" y="615"/>
                      <a:pt x="1656" y="615"/>
                      <a:pt x="1656" y="615"/>
                    </a:cubicBezTo>
                    <a:cubicBezTo>
                      <a:pt x="1679" y="607"/>
                      <a:pt x="1679" y="607"/>
                      <a:pt x="1679" y="607"/>
                    </a:cubicBezTo>
                    <a:cubicBezTo>
                      <a:pt x="1664" y="623"/>
                      <a:pt x="1664" y="623"/>
                      <a:pt x="1664" y="623"/>
                    </a:cubicBezTo>
                    <a:cubicBezTo>
                      <a:pt x="1681" y="638"/>
                      <a:pt x="1681" y="638"/>
                      <a:pt x="1681" y="638"/>
                    </a:cubicBezTo>
                    <a:cubicBezTo>
                      <a:pt x="1669" y="635"/>
                      <a:pt x="1669" y="635"/>
                      <a:pt x="1669" y="635"/>
                    </a:cubicBezTo>
                    <a:cubicBezTo>
                      <a:pt x="1667" y="647"/>
                      <a:pt x="1667" y="647"/>
                      <a:pt x="1667" y="647"/>
                    </a:cubicBezTo>
                    <a:cubicBezTo>
                      <a:pt x="1648" y="660"/>
                      <a:pt x="1648" y="660"/>
                      <a:pt x="1648" y="660"/>
                    </a:cubicBezTo>
                    <a:cubicBezTo>
                      <a:pt x="1636" y="670"/>
                      <a:pt x="1636" y="670"/>
                      <a:pt x="1636" y="670"/>
                    </a:cubicBezTo>
                    <a:cubicBezTo>
                      <a:pt x="1657" y="681"/>
                      <a:pt x="1657" y="681"/>
                      <a:pt x="1657" y="681"/>
                    </a:cubicBezTo>
                    <a:cubicBezTo>
                      <a:pt x="1654" y="702"/>
                      <a:pt x="1654" y="702"/>
                      <a:pt x="1654" y="702"/>
                    </a:cubicBezTo>
                    <a:cubicBezTo>
                      <a:pt x="1642" y="714"/>
                      <a:pt x="1642" y="714"/>
                      <a:pt x="1642" y="714"/>
                    </a:cubicBezTo>
                    <a:cubicBezTo>
                      <a:pt x="1654" y="719"/>
                      <a:pt x="1654" y="719"/>
                      <a:pt x="1654" y="719"/>
                    </a:cubicBezTo>
                    <a:cubicBezTo>
                      <a:pt x="1639" y="733"/>
                      <a:pt x="1639" y="733"/>
                      <a:pt x="1639" y="733"/>
                    </a:cubicBezTo>
                    <a:cubicBezTo>
                      <a:pt x="1660" y="733"/>
                      <a:pt x="1660" y="733"/>
                      <a:pt x="1660" y="733"/>
                    </a:cubicBezTo>
                    <a:cubicBezTo>
                      <a:pt x="1685" y="724"/>
                      <a:pt x="1685" y="724"/>
                      <a:pt x="1685" y="724"/>
                    </a:cubicBezTo>
                    <a:cubicBezTo>
                      <a:pt x="1663" y="750"/>
                      <a:pt x="1663" y="750"/>
                      <a:pt x="1663" y="750"/>
                    </a:cubicBezTo>
                    <a:cubicBezTo>
                      <a:pt x="1652" y="760"/>
                      <a:pt x="1652" y="760"/>
                      <a:pt x="1652" y="760"/>
                    </a:cubicBezTo>
                    <a:cubicBezTo>
                      <a:pt x="1667" y="765"/>
                      <a:pt x="1667" y="765"/>
                      <a:pt x="1667" y="765"/>
                    </a:cubicBezTo>
                    <a:cubicBezTo>
                      <a:pt x="1637" y="777"/>
                      <a:pt x="1637" y="777"/>
                      <a:pt x="1637" y="777"/>
                    </a:cubicBezTo>
                    <a:cubicBezTo>
                      <a:pt x="1623" y="785"/>
                      <a:pt x="1623" y="785"/>
                      <a:pt x="1623" y="785"/>
                    </a:cubicBezTo>
                    <a:cubicBezTo>
                      <a:pt x="1637" y="791"/>
                      <a:pt x="1637" y="791"/>
                      <a:pt x="1637" y="791"/>
                    </a:cubicBezTo>
                    <a:cubicBezTo>
                      <a:pt x="1637" y="791"/>
                      <a:pt x="1636" y="794"/>
                      <a:pt x="1634" y="798"/>
                    </a:cubicBezTo>
                    <a:cubicBezTo>
                      <a:pt x="1655" y="788"/>
                      <a:pt x="1676" y="777"/>
                      <a:pt x="1680" y="773"/>
                    </a:cubicBezTo>
                    <a:cubicBezTo>
                      <a:pt x="1690" y="763"/>
                      <a:pt x="1690" y="747"/>
                      <a:pt x="1690" y="747"/>
                    </a:cubicBezTo>
                    <a:cubicBezTo>
                      <a:pt x="1690" y="747"/>
                      <a:pt x="1717" y="736"/>
                      <a:pt x="1717" y="728"/>
                    </a:cubicBezTo>
                    <a:cubicBezTo>
                      <a:pt x="1717" y="720"/>
                      <a:pt x="1707" y="721"/>
                      <a:pt x="1707" y="721"/>
                    </a:cubicBezTo>
                    <a:close/>
                    <a:moveTo>
                      <a:pt x="1598" y="704"/>
                    </a:moveTo>
                    <a:cubicBezTo>
                      <a:pt x="1604" y="718"/>
                      <a:pt x="1624" y="696"/>
                      <a:pt x="1624" y="696"/>
                    </a:cubicBezTo>
                    <a:cubicBezTo>
                      <a:pt x="1639" y="692"/>
                      <a:pt x="1639" y="692"/>
                      <a:pt x="1639" y="692"/>
                    </a:cubicBezTo>
                    <a:cubicBezTo>
                      <a:pt x="1638" y="682"/>
                      <a:pt x="1638" y="682"/>
                      <a:pt x="1638" y="682"/>
                    </a:cubicBezTo>
                    <a:cubicBezTo>
                      <a:pt x="1620" y="679"/>
                      <a:pt x="1620" y="679"/>
                      <a:pt x="1620" y="679"/>
                    </a:cubicBezTo>
                    <a:cubicBezTo>
                      <a:pt x="1620" y="679"/>
                      <a:pt x="1595" y="697"/>
                      <a:pt x="1598" y="704"/>
                    </a:cubicBezTo>
                    <a:close/>
                    <a:moveTo>
                      <a:pt x="1583" y="656"/>
                    </a:moveTo>
                    <a:cubicBezTo>
                      <a:pt x="1576" y="653"/>
                      <a:pt x="1559" y="664"/>
                      <a:pt x="1558" y="670"/>
                    </a:cubicBezTo>
                    <a:cubicBezTo>
                      <a:pt x="1557" y="676"/>
                      <a:pt x="1550" y="689"/>
                      <a:pt x="1550" y="689"/>
                    </a:cubicBezTo>
                    <a:cubicBezTo>
                      <a:pt x="1549" y="698"/>
                      <a:pt x="1549" y="698"/>
                      <a:pt x="1549" y="698"/>
                    </a:cubicBezTo>
                    <a:cubicBezTo>
                      <a:pt x="1549" y="698"/>
                      <a:pt x="1541" y="702"/>
                      <a:pt x="1540" y="709"/>
                    </a:cubicBezTo>
                    <a:cubicBezTo>
                      <a:pt x="1539" y="716"/>
                      <a:pt x="1546" y="720"/>
                      <a:pt x="1546" y="720"/>
                    </a:cubicBezTo>
                    <a:cubicBezTo>
                      <a:pt x="1546" y="720"/>
                      <a:pt x="1559" y="700"/>
                      <a:pt x="1576" y="687"/>
                    </a:cubicBezTo>
                    <a:cubicBezTo>
                      <a:pt x="1593" y="674"/>
                      <a:pt x="1590" y="659"/>
                      <a:pt x="1583" y="656"/>
                    </a:cubicBezTo>
                    <a:close/>
                    <a:moveTo>
                      <a:pt x="525" y="542"/>
                    </a:moveTo>
                    <a:cubicBezTo>
                      <a:pt x="547" y="540"/>
                      <a:pt x="594" y="519"/>
                      <a:pt x="578" y="515"/>
                    </a:cubicBezTo>
                    <a:cubicBezTo>
                      <a:pt x="561" y="510"/>
                      <a:pt x="539" y="507"/>
                      <a:pt x="533" y="513"/>
                    </a:cubicBezTo>
                    <a:cubicBezTo>
                      <a:pt x="527" y="519"/>
                      <a:pt x="514" y="506"/>
                      <a:pt x="510" y="517"/>
                    </a:cubicBezTo>
                    <a:cubicBezTo>
                      <a:pt x="507" y="528"/>
                      <a:pt x="513" y="543"/>
                      <a:pt x="525" y="542"/>
                    </a:cubicBezTo>
                    <a:close/>
                    <a:moveTo>
                      <a:pt x="0" y="886"/>
                    </a:moveTo>
                    <a:cubicBezTo>
                      <a:pt x="41" y="880"/>
                      <a:pt x="41" y="880"/>
                      <a:pt x="41" y="880"/>
                    </a:cubicBezTo>
                    <a:cubicBezTo>
                      <a:pt x="49" y="869"/>
                      <a:pt x="49" y="869"/>
                      <a:pt x="49" y="869"/>
                    </a:cubicBezTo>
                    <a:cubicBezTo>
                      <a:pt x="90" y="863"/>
                      <a:pt x="90" y="863"/>
                      <a:pt x="90" y="863"/>
                    </a:cubicBezTo>
                    <a:cubicBezTo>
                      <a:pt x="76" y="849"/>
                      <a:pt x="76" y="849"/>
                      <a:pt x="76" y="849"/>
                    </a:cubicBezTo>
                    <a:lnTo>
                      <a:pt x="0" y="886"/>
                    </a:lnTo>
                    <a:close/>
                    <a:moveTo>
                      <a:pt x="908" y="635"/>
                    </a:moveTo>
                    <a:cubicBezTo>
                      <a:pt x="905" y="636"/>
                      <a:pt x="892" y="641"/>
                      <a:pt x="892" y="641"/>
                    </a:cubicBezTo>
                    <a:cubicBezTo>
                      <a:pt x="892" y="641"/>
                      <a:pt x="884" y="634"/>
                      <a:pt x="879" y="635"/>
                    </a:cubicBezTo>
                    <a:cubicBezTo>
                      <a:pt x="874" y="636"/>
                      <a:pt x="875" y="651"/>
                      <a:pt x="875" y="651"/>
                    </a:cubicBezTo>
                    <a:cubicBezTo>
                      <a:pt x="859" y="663"/>
                      <a:pt x="859" y="663"/>
                      <a:pt x="859" y="663"/>
                    </a:cubicBezTo>
                    <a:cubicBezTo>
                      <a:pt x="859" y="646"/>
                      <a:pt x="859" y="646"/>
                      <a:pt x="859" y="646"/>
                    </a:cubicBezTo>
                    <a:cubicBezTo>
                      <a:pt x="859" y="646"/>
                      <a:pt x="845" y="641"/>
                      <a:pt x="831" y="654"/>
                    </a:cubicBezTo>
                    <a:cubicBezTo>
                      <a:pt x="831" y="654"/>
                      <a:pt x="814" y="665"/>
                      <a:pt x="811" y="672"/>
                    </a:cubicBezTo>
                    <a:cubicBezTo>
                      <a:pt x="809" y="680"/>
                      <a:pt x="831" y="681"/>
                      <a:pt x="831" y="681"/>
                    </a:cubicBezTo>
                    <a:cubicBezTo>
                      <a:pt x="831" y="681"/>
                      <a:pt x="861" y="681"/>
                      <a:pt x="872" y="676"/>
                    </a:cubicBezTo>
                    <a:cubicBezTo>
                      <a:pt x="884" y="671"/>
                      <a:pt x="881" y="664"/>
                      <a:pt x="881" y="664"/>
                    </a:cubicBezTo>
                    <a:cubicBezTo>
                      <a:pt x="899" y="661"/>
                      <a:pt x="899" y="661"/>
                      <a:pt x="899" y="661"/>
                    </a:cubicBezTo>
                    <a:cubicBezTo>
                      <a:pt x="900" y="655"/>
                      <a:pt x="900" y="655"/>
                      <a:pt x="900" y="655"/>
                    </a:cubicBezTo>
                    <a:cubicBezTo>
                      <a:pt x="925" y="654"/>
                      <a:pt x="925" y="654"/>
                      <a:pt x="925" y="654"/>
                    </a:cubicBezTo>
                    <a:cubicBezTo>
                      <a:pt x="931" y="638"/>
                      <a:pt x="931" y="638"/>
                      <a:pt x="931" y="638"/>
                    </a:cubicBezTo>
                    <a:cubicBezTo>
                      <a:pt x="920" y="640"/>
                      <a:pt x="920" y="640"/>
                      <a:pt x="920" y="640"/>
                    </a:cubicBezTo>
                    <a:cubicBezTo>
                      <a:pt x="920" y="640"/>
                      <a:pt x="912" y="634"/>
                      <a:pt x="908" y="635"/>
                    </a:cubicBezTo>
                    <a:close/>
                    <a:moveTo>
                      <a:pt x="107" y="860"/>
                    </a:moveTo>
                    <a:cubicBezTo>
                      <a:pt x="135" y="859"/>
                      <a:pt x="135" y="859"/>
                      <a:pt x="135" y="859"/>
                    </a:cubicBezTo>
                    <a:cubicBezTo>
                      <a:pt x="161" y="840"/>
                      <a:pt x="161" y="840"/>
                      <a:pt x="161" y="840"/>
                    </a:cubicBezTo>
                    <a:cubicBezTo>
                      <a:pt x="152" y="829"/>
                      <a:pt x="152" y="829"/>
                      <a:pt x="152" y="829"/>
                    </a:cubicBezTo>
                    <a:lnTo>
                      <a:pt x="107" y="860"/>
                    </a:lnTo>
                    <a:close/>
                    <a:moveTo>
                      <a:pt x="1646" y="762"/>
                    </a:moveTo>
                    <a:cubicBezTo>
                      <a:pt x="1652" y="749"/>
                      <a:pt x="1637" y="734"/>
                      <a:pt x="1627" y="744"/>
                    </a:cubicBezTo>
                    <a:cubicBezTo>
                      <a:pt x="1617" y="754"/>
                      <a:pt x="1611" y="784"/>
                      <a:pt x="1611" y="784"/>
                    </a:cubicBezTo>
                    <a:cubicBezTo>
                      <a:pt x="1611" y="784"/>
                      <a:pt x="1624" y="773"/>
                      <a:pt x="1629" y="773"/>
                    </a:cubicBezTo>
                    <a:cubicBezTo>
                      <a:pt x="1634" y="773"/>
                      <a:pt x="1640" y="775"/>
                      <a:pt x="1646" y="762"/>
                    </a:cubicBezTo>
                    <a:close/>
                    <a:moveTo>
                      <a:pt x="953" y="609"/>
                    </a:moveTo>
                    <a:cubicBezTo>
                      <a:pt x="940" y="618"/>
                      <a:pt x="916" y="623"/>
                      <a:pt x="923" y="630"/>
                    </a:cubicBezTo>
                    <a:cubicBezTo>
                      <a:pt x="934" y="641"/>
                      <a:pt x="959" y="629"/>
                      <a:pt x="959" y="629"/>
                    </a:cubicBezTo>
                    <a:cubicBezTo>
                      <a:pt x="966" y="620"/>
                      <a:pt x="966" y="620"/>
                      <a:pt x="966" y="620"/>
                    </a:cubicBezTo>
                    <a:cubicBezTo>
                      <a:pt x="966" y="620"/>
                      <a:pt x="982" y="624"/>
                      <a:pt x="979" y="618"/>
                    </a:cubicBezTo>
                    <a:cubicBezTo>
                      <a:pt x="977" y="612"/>
                      <a:pt x="967" y="600"/>
                      <a:pt x="953" y="609"/>
                    </a:cubicBezTo>
                    <a:close/>
                    <a:moveTo>
                      <a:pt x="331" y="777"/>
                    </a:moveTo>
                    <a:cubicBezTo>
                      <a:pt x="319" y="777"/>
                      <a:pt x="290" y="788"/>
                      <a:pt x="290" y="788"/>
                    </a:cubicBezTo>
                    <a:cubicBezTo>
                      <a:pt x="290" y="788"/>
                      <a:pt x="253" y="802"/>
                      <a:pt x="254" y="809"/>
                    </a:cubicBezTo>
                    <a:cubicBezTo>
                      <a:pt x="256" y="818"/>
                      <a:pt x="270" y="812"/>
                      <a:pt x="289" y="806"/>
                    </a:cubicBezTo>
                    <a:cubicBezTo>
                      <a:pt x="308" y="799"/>
                      <a:pt x="328" y="809"/>
                      <a:pt x="335" y="803"/>
                    </a:cubicBezTo>
                    <a:cubicBezTo>
                      <a:pt x="342" y="797"/>
                      <a:pt x="344" y="777"/>
                      <a:pt x="331" y="777"/>
                    </a:cubicBezTo>
                    <a:close/>
                    <a:moveTo>
                      <a:pt x="219" y="828"/>
                    </a:moveTo>
                    <a:cubicBezTo>
                      <a:pt x="221" y="814"/>
                      <a:pt x="221" y="814"/>
                      <a:pt x="221" y="814"/>
                    </a:cubicBezTo>
                    <a:cubicBezTo>
                      <a:pt x="184" y="829"/>
                      <a:pt x="184" y="829"/>
                      <a:pt x="184" y="829"/>
                    </a:cubicBezTo>
                    <a:lnTo>
                      <a:pt x="219" y="828"/>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41" name="Freeform 63">
                <a:extLst>
                  <a:ext uri="{FF2B5EF4-FFF2-40B4-BE49-F238E27FC236}">
                    <a16:creationId xmlns:a16="http://schemas.microsoft.com/office/drawing/2014/main" id="{404872B3-1C08-4839-91F2-683815A8E369}"/>
                  </a:ext>
                </a:extLst>
              </p:cNvPr>
              <p:cNvSpPr>
                <a:spLocks/>
              </p:cNvSpPr>
              <p:nvPr>
                <p:custDataLst>
                  <p:tags r:id="rId22"/>
                </p:custDataLst>
              </p:nvPr>
            </p:nvSpPr>
            <p:spPr bwMode="gray">
              <a:xfrm>
                <a:off x="1789103" y="2571760"/>
                <a:ext cx="19049" cy="15875"/>
              </a:xfrm>
              <a:custGeom>
                <a:avLst/>
                <a:gdLst>
                  <a:gd name="T0" fmla="*/ 25 w 39"/>
                  <a:gd name="T1" fmla="*/ 0 h 35"/>
                  <a:gd name="T2" fmla="*/ 1 w 39"/>
                  <a:gd name="T3" fmla="*/ 14 h 35"/>
                  <a:gd name="T4" fmla="*/ 11 w 39"/>
                  <a:gd name="T5" fmla="*/ 31 h 35"/>
                  <a:gd name="T6" fmla="*/ 39 w 39"/>
                  <a:gd name="T7" fmla="*/ 17 h 35"/>
                  <a:gd name="T8" fmla="*/ 25 w 39"/>
                  <a:gd name="T9" fmla="*/ 0 h 35"/>
                </a:gdLst>
                <a:ahLst/>
                <a:cxnLst>
                  <a:cxn ang="0">
                    <a:pos x="T0" y="T1"/>
                  </a:cxn>
                  <a:cxn ang="0">
                    <a:pos x="T2" y="T3"/>
                  </a:cxn>
                  <a:cxn ang="0">
                    <a:pos x="T4" y="T5"/>
                  </a:cxn>
                  <a:cxn ang="0">
                    <a:pos x="T6" y="T7"/>
                  </a:cxn>
                  <a:cxn ang="0">
                    <a:pos x="T8" y="T9"/>
                  </a:cxn>
                </a:cxnLst>
                <a:rect l="0" t="0" r="r" b="b"/>
                <a:pathLst>
                  <a:path w="39" h="35">
                    <a:moveTo>
                      <a:pt x="25" y="0"/>
                    </a:moveTo>
                    <a:cubicBezTo>
                      <a:pt x="25" y="0"/>
                      <a:pt x="0" y="7"/>
                      <a:pt x="1" y="14"/>
                    </a:cubicBezTo>
                    <a:cubicBezTo>
                      <a:pt x="2" y="21"/>
                      <a:pt x="11" y="31"/>
                      <a:pt x="11" y="31"/>
                    </a:cubicBezTo>
                    <a:cubicBezTo>
                      <a:pt x="22" y="35"/>
                      <a:pt x="39" y="27"/>
                      <a:pt x="39" y="17"/>
                    </a:cubicBezTo>
                    <a:cubicBezTo>
                      <a:pt x="39" y="7"/>
                      <a:pt x="25" y="0"/>
                      <a:pt x="25" y="0"/>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42" name="Freeform 64">
                <a:extLst>
                  <a:ext uri="{FF2B5EF4-FFF2-40B4-BE49-F238E27FC236}">
                    <a16:creationId xmlns:a16="http://schemas.microsoft.com/office/drawing/2014/main" id="{B57E478F-0755-4705-BC3C-291FC39AB262}"/>
                  </a:ext>
                </a:extLst>
              </p:cNvPr>
              <p:cNvSpPr>
                <a:spLocks/>
              </p:cNvSpPr>
              <p:nvPr>
                <p:custDataLst>
                  <p:tags r:id="rId23"/>
                </p:custDataLst>
              </p:nvPr>
            </p:nvSpPr>
            <p:spPr bwMode="gray">
              <a:xfrm>
                <a:off x="1801802" y="2568585"/>
                <a:ext cx="25400" cy="26988"/>
              </a:xfrm>
              <a:custGeom>
                <a:avLst/>
                <a:gdLst>
                  <a:gd name="T0" fmla="*/ 34 w 48"/>
                  <a:gd name="T1" fmla="*/ 7 h 54"/>
                  <a:gd name="T2" fmla="*/ 12 w 48"/>
                  <a:gd name="T3" fmla="*/ 30 h 54"/>
                  <a:gd name="T4" fmla="*/ 0 w 48"/>
                  <a:gd name="T5" fmla="*/ 54 h 54"/>
                  <a:gd name="T6" fmla="*/ 31 w 48"/>
                  <a:gd name="T7" fmla="*/ 41 h 54"/>
                  <a:gd name="T8" fmla="*/ 38 w 48"/>
                  <a:gd name="T9" fmla="*/ 23 h 54"/>
                  <a:gd name="T10" fmla="*/ 48 w 48"/>
                  <a:gd name="T11" fmla="*/ 13 h 54"/>
                  <a:gd name="T12" fmla="*/ 34 w 48"/>
                  <a:gd name="T13" fmla="*/ 7 h 54"/>
                </a:gdLst>
                <a:ahLst/>
                <a:cxnLst>
                  <a:cxn ang="0">
                    <a:pos x="T0" y="T1"/>
                  </a:cxn>
                  <a:cxn ang="0">
                    <a:pos x="T2" y="T3"/>
                  </a:cxn>
                  <a:cxn ang="0">
                    <a:pos x="T4" y="T5"/>
                  </a:cxn>
                  <a:cxn ang="0">
                    <a:pos x="T6" y="T7"/>
                  </a:cxn>
                  <a:cxn ang="0">
                    <a:pos x="T8" y="T9"/>
                  </a:cxn>
                  <a:cxn ang="0">
                    <a:pos x="T10" y="T11"/>
                  </a:cxn>
                  <a:cxn ang="0">
                    <a:pos x="T12" y="T13"/>
                  </a:cxn>
                </a:cxnLst>
                <a:rect l="0" t="0" r="r" b="b"/>
                <a:pathLst>
                  <a:path w="48" h="54">
                    <a:moveTo>
                      <a:pt x="34" y="7"/>
                    </a:moveTo>
                    <a:cubicBezTo>
                      <a:pt x="26" y="14"/>
                      <a:pt x="12" y="30"/>
                      <a:pt x="12" y="30"/>
                    </a:cubicBezTo>
                    <a:cubicBezTo>
                      <a:pt x="0" y="54"/>
                      <a:pt x="0" y="54"/>
                      <a:pt x="0" y="54"/>
                    </a:cubicBezTo>
                    <a:cubicBezTo>
                      <a:pt x="0" y="54"/>
                      <a:pt x="21" y="50"/>
                      <a:pt x="31" y="41"/>
                    </a:cubicBezTo>
                    <a:cubicBezTo>
                      <a:pt x="41" y="32"/>
                      <a:pt x="38" y="23"/>
                      <a:pt x="38" y="23"/>
                    </a:cubicBezTo>
                    <a:cubicBezTo>
                      <a:pt x="48" y="13"/>
                      <a:pt x="48" y="13"/>
                      <a:pt x="48" y="13"/>
                    </a:cubicBezTo>
                    <a:cubicBezTo>
                      <a:pt x="48" y="13"/>
                      <a:pt x="42" y="0"/>
                      <a:pt x="34" y="7"/>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43" name="Freeform 65">
                <a:extLst>
                  <a:ext uri="{FF2B5EF4-FFF2-40B4-BE49-F238E27FC236}">
                    <a16:creationId xmlns:a16="http://schemas.microsoft.com/office/drawing/2014/main" id="{60C0C04A-A1CC-4CAF-9B34-3CB519FEAF1C}"/>
                  </a:ext>
                </a:extLst>
              </p:cNvPr>
              <p:cNvSpPr>
                <a:spLocks/>
              </p:cNvSpPr>
              <p:nvPr>
                <p:custDataLst>
                  <p:tags r:id="rId24"/>
                </p:custDataLst>
              </p:nvPr>
            </p:nvSpPr>
            <p:spPr bwMode="gray">
              <a:xfrm>
                <a:off x="1090607" y="2647960"/>
                <a:ext cx="49212" cy="20638"/>
              </a:xfrm>
              <a:custGeom>
                <a:avLst/>
                <a:gdLst>
                  <a:gd name="T0" fmla="*/ 78 w 91"/>
                  <a:gd name="T1" fmla="*/ 0 h 41"/>
                  <a:gd name="T2" fmla="*/ 37 w 91"/>
                  <a:gd name="T3" fmla="*/ 11 h 41"/>
                  <a:gd name="T4" fmla="*/ 1 w 91"/>
                  <a:gd name="T5" fmla="*/ 32 h 41"/>
                  <a:gd name="T6" fmla="*/ 36 w 91"/>
                  <a:gd name="T7" fmla="*/ 29 h 41"/>
                  <a:gd name="T8" fmla="*/ 82 w 91"/>
                  <a:gd name="T9" fmla="*/ 26 h 41"/>
                  <a:gd name="T10" fmla="*/ 78 w 91"/>
                  <a:gd name="T11" fmla="*/ 0 h 41"/>
                </a:gdLst>
                <a:ahLst/>
                <a:cxnLst>
                  <a:cxn ang="0">
                    <a:pos x="T0" y="T1"/>
                  </a:cxn>
                  <a:cxn ang="0">
                    <a:pos x="T2" y="T3"/>
                  </a:cxn>
                  <a:cxn ang="0">
                    <a:pos x="T4" y="T5"/>
                  </a:cxn>
                  <a:cxn ang="0">
                    <a:pos x="T6" y="T7"/>
                  </a:cxn>
                  <a:cxn ang="0">
                    <a:pos x="T8" y="T9"/>
                  </a:cxn>
                  <a:cxn ang="0">
                    <a:pos x="T10" y="T11"/>
                  </a:cxn>
                </a:cxnLst>
                <a:rect l="0" t="0" r="r" b="b"/>
                <a:pathLst>
                  <a:path w="91" h="41">
                    <a:moveTo>
                      <a:pt x="78" y="0"/>
                    </a:moveTo>
                    <a:cubicBezTo>
                      <a:pt x="66" y="0"/>
                      <a:pt x="37" y="11"/>
                      <a:pt x="37" y="11"/>
                    </a:cubicBezTo>
                    <a:cubicBezTo>
                      <a:pt x="37" y="11"/>
                      <a:pt x="0" y="25"/>
                      <a:pt x="1" y="32"/>
                    </a:cubicBezTo>
                    <a:cubicBezTo>
                      <a:pt x="3" y="41"/>
                      <a:pt x="17" y="35"/>
                      <a:pt x="36" y="29"/>
                    </a:cubicBezTo>
                    <a:cubicBezTo>
                      <a:pt x="55" y="22"/>
                      <a:pt x="75" y="32"/>
                      <a:pt x="82" y="26"/>
                    </a:cubicBezTo>
                    <a:cubicBezTo>
                      <a:pt x="89" y="20"/>
                      <a:pt x="91" y="0"/>
                      <a:pt x="78" y="0"/>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44" name="Freeform 66">
                <a:extLst>
                  <a:ext uri="{FF2B5EF4-FFF2-40B4-BE49-F238E27FC236}">
                    <a16:creationId xmlns:a16="http://schemas.microsoft.com/office/drawing/2014/main" id="{FCAF5486-C45E-4398-A299-D4112E133DD7}"/>
                  </a:ext>
                </a:extLst>
              </p:cNvPr>
              <p:cNvSpPr>
                <a:spLocks/>
              </p:cNvSpPr>
              <p:nvPr>
                <p:custDataLst>
                  <p:tags r:id="rId25"/>
                </p:custDataLst>
              </p:nvPr>
            </p:nvSpPr>
            <p:spPr bwMode="gray">
              <a:xfrm>
                <a:off x="1012819" y="2673360"/>
                <a:ext cx="30163" cy="15875"/>
              </a:xfrm>
              <a:custGeom>
                <a:avLst/>
                <a:gdLst>
                  <a:gd name="T0" fmla="*/ 0 w 127"/>
                  <a:gd name="T1" fmla="*/ 73 h 73"/>
                  <a:gd name="T2" fmla="*/ 66 w 127"/>
                  <a:gd name="T3" fmla="*/ 71 h 73"/>
                  <a:gd name="T4" fmla="*/ 127 w 127"/>
                  <a:gd name="T5" fmla="*/ 26 h 73"/>
                  <a:gd name="T6" fmla="*/ 106 w 127"/>
                  <a:gd name="T7" fmla="*/ 0 h 73"/>
                  <a:gd name="T8" fmla="*/ 0 w 127"/>
                  <a:gd name="T9" fmla="*/ 73 h 73"/>
                </a:gdLst>
                <a:ahLst/>
                <a:cxnLst>
                  <a:cxn ang="0">
                    <a:pos x="T0" y="T1"/>
                  </a:cxn>
                  <a:cxn ang="0">
                    <a:pos x="T2" y="T3"/>
                  </a:cxn>
                  <a:cxn ang="0">
                    <a:pos x="T4" y="T5"/>
                  </a:cxn>
                  <a:cxn ang="0">
                    <a:pos x="T6" y="T7"/>
                  </a:cxn>
                  <a:cxn ang="0">
                    <a:pos x="T8" y="T9"/>
                  </a:cxn>
                </a:cxnLst>
                <a:rect l="0" t="0" r="r" b="b"/>
                <a:pathLst>
                  <a:path w="127" h="73">
                    <a:moveTo>
                      <a:pt x="0" y="73"/>
                    </a:moveTo>
                    <a:lnTo>
                      <a:pt x="66" y="71"/>
                    </a:lnTo>
                    <a:lnTo>
                      <a:pt x="127" y="26"/>
                    </a:lnTo>
                    <a:lnTo>
                      <a:pt x="106" y="0"/>
                    </a:lnTo>
                    <a:lnTo>
                      <a:pt x="0" y="73"/>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45" name="Freeform 67">
                <a:extLst>
                  <a:ext uri="{FF2B5EF4-FFF2-40B4-BE49-F238E27FC236}">
                    <a16:creationId xmlns:a16="http://schemas.microsoft.com/office/drawing/2014/main" id="{ED2F2F9C-EB60-4734-9661-DE9C3303C929}"/>
                  </a:ext>
                </a:extLst>
              </p:cNvPr>
              <p:cNvSpPr>
                <a:spLocks/>
              </p:cNvSpPr>
              <p:nvPr>
                <p:custDataLst>
                  <p:tags r:id="rId26"/>
                </p:custDataLst>
              </p:nvPr>
            </p:nvSpPr>
            <p:spPr bwMode="gray">
              <a:xfrm>
                <a:off x="1798627" y="2600335"/>
                <a:ext cx="22224" cy="19050"/>
              </a:xfrm>
              <a:custGeom>
                <a:avLst/>
                <a:gdLst>
                  <a:gd name="T0" fmla="*/ 3 w 44"/>
                  <a:gd name="T1" fmla="*/ 25 h 39"/>
                  <a:gd name="T2" fmla="*/ 29 w 44"/>
                  <a:gd name="T3" fmla="*/ 17 h 39"/>
                  <a:gd name="T4" fmla="*/ 44 w 44"/>
                  <a:gd name="T5" fmla="*/ 13 h 39"/>
                  <a:gd name="T6" fmla="*/ 43 w 44"/>
                  <a:gd name="T7" fmla="*/ 3 h 39"/>
                  <a:gd name="T8" fmla="*/ 25 w 44"/>
                  <a:gd name="T9" fmla="*/ 0 h 39"/>
                  <a:gd name="T10" fmla="*/ 3 w 44"/>
                  <a:gd name="T11" fmla="*/ 25 h 39"/>
                </a:gdLst>
                <a:ahLst/>
                <a:cxnLst>
                  <a:cxn ang="0">
                    <a:pos x="T0" y="T1"/>
                  </a:cxn>
                  <a:cxn ang="0">
                    <a:pos x="T2" y="T3"/>
                  </a:cxn>
                  <a:cxn ang="0">
                    <a:pos x="T4" y="T5"/>
                  </a:cxn>
                  <a:cxn ang="0">
                    <a:pos x="T6" y="T7"/>
                  </a:cxn>
                  <a:cxn ang="0">
                    <a:pos x="T8" y="T9"/>
                  </a:cxn>
                  <a:cxn ang="0">
                    <a:pos x="T10" y="T11"/>
                  </a:cxn>
                </a:cxnLst>
                <a:rect l="0" t="0" r="r" b="b"/>
                <a:pathLst>
                  <a:path w="44" h="39">
                    <a:moveTo>
                      <a:pt x="3" y="25"/>
                    </a:moveTo>
                    <a:cubicBezTo>
                      <a:pt x="9" y="39"/>
                      <a:pt x="29" y="17"/>
                      <a:pt x="29" y="17"/>
                    </a:cubicBezTo>
                    <a:cubicBezTo>
                      <a:pt x="44" y="13"/>
                      <a:pt x="44" y="13"/>
                      <a:pt x="44" y="13"/>
                    </a:cubicBezTo>
                    <a:cubicBezTo>
                      <a:pt x="43" y="3"/>
                      <a:pt x="43" y="3"/>
                      <a:pt x="43" y="3"/>
                    </a:cubicBezTo>
                    <a:cubicBezTo>
                      <a:pt x="25" y="0"/>
                      <a:pt x="25" y="0"/>
                      <a:pt x="25" y="0"/>
                    </a:cubicBezTo>
                    <a:cubicBezTo>
                      <a:pt x="25" y="0"/>
                      <a:pt x="0" y="18"/>
                      <a:pt x="3" y="25"/>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46" name="Freeform 68">
                <a:extLst>
                  <a:ext uri="{FF2B5EF4-FFF2-40B4-BE49-F238E27FC236}">
                    <a16:creationId xmlns:a16="http://schemas.microsoft.com/office/drawing/2014/main" id="{6CA1D6BB-1160-430D-BBA9-30BCB54AE8D7}"/>
                  </a:ext>
                </a:extLst>
              </p:cNvPr>
              <p:cNvSpPr>
                <a:spLocks/>
              </p:cNvSpPr>
              <p:nvPr>
                <p:custDataLst>
                  <p:tags r:id="rId27"/>
                </p:custDataLst>
              </p:nvPr>
            </p:nvSpPr>
            <p:spPr bwMode="gray">
              <a:xfrm>
                <a:off x="1439855" y="2562235"/>
                <a:ext cx="36512" cy="20638"/>
              </a:xfrm>
              <a:custGeom>
                <a:avLst/>
                <a:gdLst>
                  <a:gd name="T0" fmla="*/ 37 w 66"/>
                  <a:gd name="T1" fmla="*/ 9 h 41"/>
                  <a:gd name="T2" fmla="*/ 7 w 66"/>
                  <a:gd name="T3" fmla="*/ 30 h 41"/>
                  <a:gd name="T4" fmla="*/ 43 w 66"/>
                  <a:gd name="T5" fmla="*/ 29 h 41"/>
                  <a:gd name="T6" fmla="*/ 50 w 66"/>
                  <a:gd name="T7" fmla="*/ 20 h 41"/>
                  <a:gd name="T8" fmla="*/ 63 w 66"/>
                  <a:gd name="T9" fmla="*/ 18 h 41"/>
                  <a:gd name="T10" fmla="*/ 37 w 66"/>
                  <a:gd name="T11" fmla="*/ 9 h 41"/>
                </a:gdLst>
                <a:ahLst/>
                <a:cxnLst>
                  <a:cxn ang="0">
                    <a:pos x="T0" y="T1"/>
                  </a:cxn>
                  <a:cxn ang="0">
                    <a:pos x="T2" y="T3"/>
                  </a:cxn>
                  <a:cxn ang="0">
                    <a:pos x="T4" y="T5"/>
                  </a:cxn>
                  <a:cxn ang="0">
                    <a:pos x="T6" y="T7"/>
                  </a:cxn>
                  <a:cxn ang="0">
                    <a:pos x="T8" y="T9"/>
                  </a:cxn>
                  <a:cxn ang="0">
                    <a:pos x="T10" y="T11"/>
                  </a:cxn>
                </a:cxnLst>
                <a:rect l="0" t="0" r="r" b="b"/>
                <a:pathLst>
                  <a:path w="66" h="41">
                    <a:moveTo>
                      <a:pt x="37" y="9"/>
                    </a:moveTo>
                    <a:cubicBezTo>
                      <a:pt x="24" y="18"/>
                      <a:pt x="0" y="23"/>
                      <a:pt x="7" y="30"/>
                    </a:cubicBezTo>
                    <a:cubicBezTo>
                      <a:pt x="18" y="41"/>
                      <a:pt x="43" y="29"/>
                      <a:pt x="43" y="29"/>
                    </a:cubicBezTo>
                    <a:cubicBezTo>
                      <a:pt x="50" y="20"/>
                      <a:pt x="50" y="20"/>
                      <a:pt x="50" y="20"/>
                    </a:cubicBezTo>
                    <a:cubicBezTo>
                      <a:pt x="50" y="20"/>
                      <a:pt x="66" y="24"/>
                      <a:pt x="63" y="18"/>
                    </a:cubicBezTo>
                    <a:cubicBezTo>
                      <a:pt x="61" y="12"/>
                      <a:pt x="51" y="0"/>
                      <a:pt x="37" y="9"/>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47" name="Freeform 69">
                <a:extLst>
                  <a:ext uri="{FF2B5EF4-FFF2-40B4-BE49-F238E27FC236}">
                    <a16:creationId xmlns:a16="http://schemas.microsoft.com/office/drawing/2014/main" id="{A4CA9A01-18E7-49C3-A878-B38BE3AD1796}"/>
                  </a:ext>
                </a:extLst>
              </p:cNvPr>
              <p:cNvSpPr>
                <a:spLocks/>
              </p:cNvSpPr>
              <p:nvPr>
                <p:custDataLst>
                  <p:tags r:id="rId28"/>
                </p:custDataLst>
              </p:nvPr>
            </p:nvSpPr>
            <p:spPr bwMode="gray">
              <a:xfrm>
                <a:off x="1384292" y="2579698"/>
                <a:ext cx="63499" cy="22225"/>
              </a:xfrm>
              <a:custGeom>
                <a:avLst/>
                <a:gdLst>
                  <a:gd name="T0" fmla="*/ 99 w 122"/>
                  <a:gd name="T1" fmla="*/ 1 h 47"/>
                  <a:gd name="T2" fmla="*/ 83 w 122"/>
                  <a:gd name="T3" fmla="*/ 7 h 47"/>
                  <a:gd name="T4" fmla="*/ 70 w 122"/>
                  <a:gd name="T5" fmla="*/ 1 h 47"/>
                  <a:gd name="T6" fmla="*/ 66 w 122"/>
                  <a:gd name="T7" fmla="*/ 17 h 47"/>
                  <a:gd name="T8" fmla="*/ 50 w 122"/>
                  <a:gd name="T9" fmla="*/ 29 h 47"/>
                  <a:gd name="T10" fmla="*/ 50 w 122"/>
                  <a:gd name="T11" fmla="*/ 12 h 47"/>
                  <a:gd name="T12" fmla="*/ 22 w 122"/>
                  <a:gd name="T13" fmla="*/ 20 h 47"/>
                  <a:gd name="T14" fmla="*/ 2 w 122"/>
                  <a:gd name="T15" fmla="*/ 38 h 47"/>
                  <a:gd name="T16" fmla="*/ 22 w 122"/>
                  <a:gd name="T17" fmla="*/ 47 h 47"/>
                  <a:gd name="T18" fmla="*/ 63 w 122"/>
                  <a:gd name="T19" fmla="*/ 42 h 47"/>
                  <a:gd name="T20" fmla="*/ 72 w 122"/>
                  <a:gd name="T21" fmla="*/ 30 h 47"/>
                  <a:gd name="T22" fmla="*/ 90 w 122"/>
                  <a:gd name="T23" fmla="*/ 27 h 47"/>
                  <a:gd name="T24" fmla="*/ 91 w 122"/>
                  <a:gd name="T25" fmla="*/ 21 h 47"/>
                  <a:gd name="T26" fmla="*/ 116 w 122"/>
                  <a:gd name="T27" fmla="*/ 20 h 47"/>
                  <a:gd name="T28" fmla="*/ 122 w 122"/>
                  <a:gd name="T29" fmla="*/ 4 h 47"/>
                  <a:gd name="T30" fmla="*/ 111 w 122"/>
                  <a:gd name="T31" fmla="*/ 6 h 47"/>
                  <a:gd name="T32" fmla="*/ 99 w 122"/>
                  <a:gd name="T33"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2" h="47">
                    <a:moveTo>
                      <a:pt x="99" y="1"/>
                    </a:moveTo>
                    <a:cubicBezTo>
                      <a:pt x="96" y="2"/>
                      <a:pt x="83" y="7"/>
                      <a:pt x="83" y="7"/>
                    </a:cubicBezTo>
                    <a:cubicBezTo>
                      <a:pt x="83" y="7"/>
                      <a:pt x="75" y="0"/>
                      <a:pt x="70" y="1"/>
                    </a:cubicBezTo>
                    <a:cubicBezTo>
                      <a:pt x="65" y="2"/>
                      <a:pt x="66" y="17"/>
                      <a:pt x="66" y="17"/>
                    </a:cubicBezTo>
                    <a:cubicBezTo>
                      <a:pt x="50" y="29"/>
                      <a:pt x="50" y="29"/>
                      <a:pt x="50" y="29"/>
                    </a:cubicBezTo>
                    <a:cubicBezTo>
                      <a:pt x="50" y="12"/>
                      <a:pt x="50" y="12"/>
                      <a:pt x="50" y="12"/>
                    </a:cubicBezTo>
                    <a:cubicBezTo>
                      <a:pt x="50" y="12"/>
                      <a:pt x="36" y="7"/>
                      <a:pt x="22" y="20"/>
                    </a:cubicBezTo>
                    <a:cubicBezTo>
                      <a:pt x="22" y="20"/>
                      <a:pt x="5" y="31"/>
                      <a:pt x="2" y="38"/>
                    </a:cubicBezTo>
                    <a:cubicBezTo>
                      <a:pt x="0" y="46"/>
                      <a:pt x="22" y="47"/>
                      <a:pt x="22" y="47"/>
                    </a:cubicBezTo>
                    <a:cubicBezTo>
                      <a:pt x="22" y="47"/>
                      <a:pt x="52" y="47"/>
                      <a:pt x="63" y="42"/>
                    </a:cubicBezTo>
                    <a:cubicBezTo>
                      <a:pt x="75" y="37"/>
                      <a:pt x="72" y="30"/>
                      <a:pt x="72" y="30"/>
                    </a:cubicBezTo>
                    <a:cubicBezTo>
                      <a:pt x="90" y="27"/>
                      <a:pt x="90" y="27"/>
                      <a:pt x="90" y="27"/>
                    </a:cubicBezTo>
                    <a:cubicBezTo>
                      <a:pt x="91" y="21"/>
                      <a:pt x="91" y="21"/>
                      <a:pt x="91" y="21"/>
                    </a:cubicBezTo>
                    <a:cubicBezTo>
                      <a:pt x="116" y="20"/>
                      <a:pt x="116" y="20"/>
                      <a:pt x="116" y="20"/>
                    </a:cubicBezTo>
                    <a:cubicBezTo>
                      <a:pt x="122" y="4"/>
                      <a:pt x="122" y="4"/>
                      <a:pt x="122" y="4"/>
                    </a:cubicBezTo>
                    <a:cubicBezTo>
                      <a:pt x="111" y="6"/>
                      <a:pt x="111" y="6"/>
                      <a:pt x="111" y="6"/>
                    </a:cubicBezTo>
                    <a:cubicBezTo>
                      <a:pt x="111" y="6"/>
                      <a:pt x="103" y="0"/>
                      <a:pt x="99" y="1"/>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48" name="Freeform 70">
                <a:extLst>
                  <a:ext uri="{FF2B5EF4-FFF2-40B4-BE49-F238E27FC236}">
                    <a16:creationId xmlns:a16="http://schemas.microsoft.com/office/drawing/2014/main" id="{708F86AC-32B8-4D11-B39B-021E233B2D79}"/>
                  </a:ext>
                </a:extLst>
              </p:cNvPr>
              <p:cNvSpPr>
                <a:spLocks/>
              </p:cNvSpPr>
              <p:nvPr>
                <p:custDataLst>
                  <p:tags r:id="rId29"/>
                </p:custDataLst>
              </p:nvPr>
            </p:nvSpPr>
            <p:spPr bwMode="gray">
              <a:xfrm>
                <a:off x="1806564" y="2627323"/>
                <a:ext cx="22224" cy="25400"/>
              </a:xfrm>
              <a:custGeom>
                <a:avLst/>
                <a:gdLst>
                  <a:gd name="T0" fmla="*/ 35 w 41"/>
                  <a:gd name="T1" fmla="*/ 28 h 50"/>
                  <a:gd name="T2" fmla="*/ 16 w 41"/>
                  <a:gd name="T3" fmla="*/ 10 h 50"/>
                  <a:gd name="T4" fmla="*/ 0 w 41"/>
                  <a:gd name="T5" fmla="*/ 50 h 50"/>
                  <a:gd name="T6" fmla="*/ 18 w 41"/>
                  <a:gd name="T7" fmla="*/ 39 h 50"/>
                  <a:gd name="T8" fmla="*/ 35 w 41"/>
                  <a:gd name="T9" fmla="*/ 28 h 50"/>
                </a:gdLst>
                <a:ahLst/>
                <a:cxnLst>
                  <a:cxn ang="0">
                    <a:pos x="T0" y="T1"/>
                  </a:cxn>
                  <a:cxn ang="0">
                    <a:pos x="T2" y="T3"/>
                  </a:cxn>
                  <a:cxn ang="0">
                    <a:pos x="T4" y="T5"/>
                  </a:cxn>
                  <a:cxn ang="0">
                    <a:pos x="T6" y="T7"/>
                  </a:cxn>
                  <a:cxn ang="0">
                    <a:pos x="T8" y="T9"/>
                  </a:cxn>
                </a:cxnLst>
                <a:rect l="0" t="0" r="r" b="b"/>
                <a:pathLst>
                  <a:path w="41" h="50">
                    <a:moveTo>
                      <a:pt x="35" y="28"/>
                    </a:moveTo>
                    <a:cubicBezTo>
                      <a:pt x="41" y="15"/>
                      <a:pt x="26" y="0"/>
                      <a:pt x="16" y="10"/>
                    </a:cubicBezTo>
                    <a:cubicBezTo>
                      <a:pt x="6" y="20"/>
                      <a:pt x="0" y="50"/>
                      <a:pt x="0" y="50"/>
                    </a:cubicBezTo>
                    <a:cubicBezTo>
                      <a:pt x="0" y="50"/>
                      <a:pt x="13" y="39"/>
                      <a:pt x="18" y="39"/>
                    </a:cubicBezTo>
                    <a:cubicBezTo>
                      <a:pt x="23" y="39"/>
                      <a:pt x="29" y="41"/>
                      <a:pt x="35" y="28"/>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49" name="Freeform 71">
                <a:extLst>
                  <a:ext uri="{FF2B5EF4-FFF2-40B4-BE49-F238E27FC236}">
                    <a16:creationId xmlns:a16="http://schemas.microsoft.com/office/drawing/2014/main" id="{5A7B1A97-068D-4F60-9B83-4ACE5C06D806}"/>
                  </a:ext>
                </a:extLst>
              </p:cNvPr>
              <p:cNvSpPr>
                <a:spLocks/>
              </p:cNvSpPr>
              <p:nvPr>
                <p:custDataLst>
                  <p:tags r:id="rId30"/>
                </p:custDataLst>
              </p:nvPr>
            </p:nvSpPr>
            <p:spPr bwMode="gray">
              <a:xfrm>
                <a:off x="1054094" y="2667010"/>
                <a:ext cx="20637" cy="6350"/>
              </a:xfrm>
              <a:custGeom>
                <a:avLst/>
                <a:gdLst>
                  <a:gd name="T0" fmla="*/ 83 w 88"/>
                  <a:gd name="T1" fmla="*/ 33 h 35"/>
                  <a:gd name="T2" fmla="*/ 88 w 88"/>
                  <a:gd name="T3" fmla="*/ 0 h 35"/>
                  <a:gd name="T4" fmla="*/ 0 w 88"/>
                  <a:gd name="T5" fmla="*/ 35 h 35"/>
                  <a:gd name="T6" fmla="*/ 83 w 88"/>
                  <a:gd name="T7" fmla="*/ 33 h 35"/>
                </a:gdLst>
                <a:ahLst/>
                <a:cxnLst>
                  <a:cxn ang="0">
                    <a:pos x="T0" y="T1"/>
                  </a:cxn>
                  <a:cxn ang="0">
                    <a:pos x="T2" y="T3"/>
                  </a:cxn>
                  <a:cxn ang="0">
                    <a:pos x="T4" y="T5"/>
                  </a:cxn>
                  <a:cxn ang="0">
                    <a:pos x="T6" y="T7"/>
                  </a:cxn>
                </a:cxnLst>
                <a:rect l="0" t="0" r="r" b="b"/>
                <a:pathLst>
                  <a:path w="88" h="35">
                    <a:moveTo>
                      <a:pt x="83" y="33"/>
                    </a:moveTo>
                    <a:lnTo>
                      <a:pt x="88" y="0"/>
                    </a:lnTo>
                    <a:lnTo>
                      <a:pt x="0" y="35"/>
                    </a:lnTo>
                    <a:lnTo>
                      <a:pt x="83" y="33"/>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50" name="Freeform 72">
                <a:extLst>
                  <a:ext uri="{FF2B5EF4-FFF2-40B4-BE49-F238E27FC236}">
                    <a16:creationId xmlns:a16="http://schemas.microsoft.com/office/drawing/2014/main" id="{27B30C49-0262-4379-803C-18D37AED3B76}"/>
                  </a:ext>
                </a:extLst>
              </p:cNvPr>
              <p:cNvSpPr>
                <a:spLocks noEditPoints="1"/>
              </p:cNvSpPr>
              <p:nvPr>
                <p:custDataLst>
                  <p:tags r:id="rId31"/>
                </p:custDataLst>
              </p:nvPr>
            </p:nvSpPr>
            <p:spPr bwMode="gray">
              <a:xfrm>
                <a:off x="2116125" y="3689364"/>
                <a:ext cx="295273" cy="103188"/>
              </a:xfrm>
              <a:custGeom>
                <a:avLst/>
                <a:gdLst>
                  <a:gd name="T0" fmla="*/ 475 w 493"/>
                  <a:gd name="T1" fmla="*/ 151 h 185"/>
                  <a:gd name="T2" fmla="*/ 445 w 493"/>
                  <a:gd name="T3" fmla="*/ 148 h 185"/>
                  <a:gd name="T4" fmla="*/ 434 w 493"/>
                  <a:gd name="T5" fmla="*/ 129 h 185"/>
                  <a:gd name="T6" fmla="*/ 399 w 493"/>
                  <a:gd name="T7" fmla="*/ 128 h 185"/>
                  <a:gd name="T8" fmla="*/ 416 w 493"/>
                  <a:gd name="T9" fmla="*/ 114 h 185"/>
                  <a:gd name="T10" fmla="*/ 378 w 493"/>
                  <a:gd name="T11" fmla="*/ 106 h 185"/>
                  <a:gd name="T12" fmla="*/ 349 w 493"/>
                  <a:gd name="T13" fmla="*/ 96 h 185"/>
                  <a:gd name="T14" fmla="*/ 351 w 493"/>
                  <a:gd name="T15" fmla="*/ 79 h 185"/>
                  <a:gd name="T16" fmla="*/ 338 w 493"/>
                  <a:gd name="T17" fmla="*/ 77 h 185"/>
                  <a:gd name="T18" fmla="*/ 290 w 493"/>
                  <a:gd name="T19" fmla="*/ 45 h 185"/>
                  <a:gd name="T20" fmla="*/ 300 w 493"/>
                  <a:gd name="T21" fmla="*/ 64 h 185"/>
                  <a:gd name="T22" fmla="*/ 255 w 493"/>
                  <a:gd name="T23" fmla="*/ 42 h 185"/>
                  <a:gd name="T24" fmla="*/ 220 w 493"/>
                  <a:gd name="T25" fmla="*/ 12 h 185"/>
                  <a:gd name="T26" fmla="*/ 180 w 493"/>
                  <a:gd name="T27" fmla="*/ 12 h 185"/>
                  <a:gd name="T28" fmla="*/ 118 w 493"/>
                  <a:gd name="T29" fmla="*/ 0 h 185"/>
                  <a:gd name="T30" fmla="*/ 48 w 493"/>
                  <a:gd name="T31" fmla="*/ 26 h 185"/>
                  <a:gd name="T32" fmla="*/ 0 w 493"/>
                  <a:gd name="T33" fmla="*/ 51 h 185"/>
                  <a:gd name="T34" fmla="*/ 51 w 493"/>
                  <a:gd name="T35" fmla="*/ 49 h 185"/>
                  <a:gd name="T36" fmla="*/ 51 w 493"/>
                  <a:gd name="T37" fmla="*/ 39 h 185"/>
                  <a:gd name="T38" fmla="*/ 102 w 493"/>
                  <a:gd name="T39" fmla="*/ 36 h 185"/>
                  <a:gd name="T40" fmla="*/ 115 w 493"/>
                  <a:gd name="T41" fmla="*/ 29 h 185"/>
                  <a:gd name="T42" fmla="*/ 150 w 493"/>
                  <a:gd name="T43" fmla="*/ 34 h 185"/>
                  <a:gd name="T44" fmla="*/ 126 w 493"/>
                  <a:gd name="T45" fmla="*/ 46 h 185"/>
                  <a:gd name="T46" fmla="*/ 137 w 493"/>
                  <a:gd name="T47" fmla="*/ 54 h 185"/>
                  <a:gd name="T48" fmla="*/ 172 w 493"/>
                  <a:gd name="T49" fmla="*/ 66 h 185"/>
                  <a:gd name="T50" fmla="*/ 188 w 493"/>
                  <a:gd name="T51" fmla="*/ 61 h 185"/>
                  <a:gd name="T52" fmla="*/ 220 w 493"/>
                  <a:gd name="T53" fmla="*/ 81 h 185"/>
                  <a:gd name="T54" fmla="*/ 268 w 493"/>
                  <a:gd name="T55" fmla="*/ 79 h 185"/>
                  <a:gd name="T56" fmla="*/ 263 w 493"/>
                  <a:gd name="T57" fmla="*/ 96 h 185"/>
                  <a:gd name="T58" fmla="*/ 303 w 493"/>
                  <a:gd name="T59" fmla="*/ 113 h 185"/>
                  <a:gd name="T60" fmla="*/ 319 w 493"/>
                  <a:gd name="T61" fmla="*/ 136 h 185"/>
                  <a:gd name="T62" fmla="*/ 335 w 493"/>
                  <a:gd name="T63" fmla="*/ 150 h 185"/>
                  <a:gd name="T64" fmla="*/ 316 w 493"/>
                  <a:gd name="T65" fmla="*/ 172 h 185"/>
                  <a:gd name="T66" fmla="*/ 356 w 493"/>
                  <a:gd name="T67" fmla="*/ 163 h 185"/>
                  <a:gd name="T68" fmla="*/ 367 w 493"/>
                  <a:gd name="T69" fmla="*/ 168 h 185"/>
                  <a:gd name="T70" fmla="*/ 375 w 493"/>
                  <a:gd name="T71" fmla="*/ 180 h 185"/>
                  <a:gd name="T72" fmla="*/ 426 w 493"/>
                  <a:gd name="T73" fmla="*/ 178 h 185"/>
                  <a:gd name="T74" fmla="*/ 493 w 493"/>
                  <a:gd name="T75" fmla="*/ 163 h 185"/>
                  <a:gd name="T76" fmla="*/ 475 w 493"/>
                  <a:gd name="T77" fmla="*/ 151 h 185"/>
                  <a:gd name="T78" fmla="*/ 78 w 493"/>
                  <a:gd name="T79" fmla="*/ 84 h 185"/>
                  <a:gd name="T80" fmla="*/ 104 w 493"/>
                  <a:gd name="T81" fmla="*/ 84 h 185"/>
                  <a:gd name="T82" fmla="*/ 78 w 493"/>
                  <a:gd name="T83" fmla="*/ 84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93" h="185">
                    <a:moveTo>
                      <a:pt x="475" y="151"/>
                    </a:moveTo>
                    <a:cubicBezTo>
                      <a:pt x="456" y="148"/>
                      <a:pt x="445" y="148"/>
                      <a:pt x="445" y="148"/>
                    </a:cubicBezTo>
                    <a:cubicBezTo>
                      <a:pt x="445" y="148"/>
                      <a:pt x="453" y="131"/>
                      <a:pt x="434" y="129"/>
                    </a:cubicBezTo>
                    <a:cubicBezTo>
                      <a:pt x="416" y="126"/>
                      <a:pt x="399" y="128"/>
                      <a:pt x="399" y="128"/>
                    </a:cubicBezTo>
                    <a:cubicBezTo>
                      <a:pt x="416" y="114"/>
                      <a:pt x="416" y="114"/>
                      <a:pt x="416" y="114"/>
                    </a:cubicBezTo>
                    <a:cubicBezTo>
                      <a:pt x="416" y="114"/>
                      <a:pt x="386" y="106"/>
                      <a:pt x="378" y="106"/>
                    </a:cubicBezTo>
                    <a:cubicBezTo>
                      <a:pt x="370" y="106"/>
                      <a:pt x="349" y="96"/>
                      <a:pt x="349" y="96"/>
                    </a:cubicBezTo>
                    <a:cubicBezTo>
                      <a:pt x="349" y="96"/>
                      <a:pt x="359" y="79"/>
                      <a:pt x="351" y="79"/>
                    </a:cubicBezTo>
                    <a:cubicBezTo>
                      <a:pt x="343" y="79"/>
                      <a:pt x="338" y="77"/>
                      <a:pt x="338" y="77"/>
                    </a:cubicBezTo>
                    <a:cubicBezTo>
                      <a:pt x="338" y="77"/>
                      <a:pt x="298" y="37"/>
                      <a:pt x="290" y="45"/>
                    </a:cubicBezTo>
                    <a:cubicBezTo>
                      <a:pt x="282" y="52"/>
                      <a:pt x="300" y="64"/>
                      <a:pt x="300" y="64"/>
                    </a:cubicBezTo>
                    <a:cubicBezTo>
                      <a:pt x="255" y="42"/>
                      <a:pt x="255" y="42"/>
                      <a:pt x="255" y="42"/>
                    </a:cubicBezTo>
                    <a:cubicBezTo>
                      <a:pt x="255" y="42"/>
                      <a:pt x="231" y="17"/>
                      <a:pt x="220" y="12"/>
                    </a:cubicBezTo>
                    <a:cubicBezTo>
                      <a:pt x="209" y="7"/>
                      <a:pt x="180" y="12"/>
                      <a:pt x="180" y="12"/>
                    </a:cubicBezTo>
                    <a:cubicBezTo>
                      <a:pt x="180" y="12"/>
                      <a:pt x="156" y="0"/>
                      <a:pt x="118" y="0"/>
                    </a:cubicBezTo>
                    <a:cubicBezTo>
                      <a:pt x="81" y="0"/>
                      <a:pt x="64" y="12"/>
                      <a:pt x="48" y="26"/>
                    </a:cubicBezTo>
                    <a:cubicBezTo>
                      <a:pt x="32" y="41"/>
                      <a:pt x="0" y="51"/>
                      <a:pt x="0" y="51"/>
                    </a:cubicBezTo>
                    <a:cubicBezTo>
                      <a:pt x="51" y="49"/>
                      <a:pt x="51" y="49"/>
                      <a:pt x="51" y="49"/>
                    </a:cubicBezTo>
                    <a:cubicBezTo>
                      <a:pt x="51" y="39"/>
                      <a:pt x="51" y="39"/>
                      <a:pt x="51" y="39"/>
                    </a:cubicBezTo>
                    <a:cubicBezTo>
                      <a:pt x="102" y="36"/>
                      <a:pt x="102" y="36"/>
                      <a:pt x="102" y="36"/>
                    </a:cubicBezTo>
                    <a:cubicBezTo>
                      <a:pt x="115" y="29"/>
                      <a:pt x="115" y="29"/>
                      <a:pt x="115" y="29"/>
                    </a:cubicBezTo>
                    <a:cubicBezTo>
                      <a:pt x="115" y="29"/>
                      <a:pt x="142" y="27"/>
                      <a:pt x="150" y="34"/>
                    </a:cubicBezTo>
                    <a:cubicBezTo>
                      <a:pt x="158" y="42"/>
                      <a:pt x="126" y="46"/>
                      <a:pt x="126" y="46"/>
                    </a:cubicBezTo>
                    <a:cubicBezTo>
                      <a:pt x="137" y="54"/>
                      <a:pt x="137" y="54"/>
                      <a:pt x="137" y="54"/>
                    </a:cubicBezTo>
                    <a:cubicBezTo>
                      <a:pt x="137" y="54"/>
                      <a:pt x="155" y="61"/>
                      <a:pt x="172" y="66"/>
                    </a:cubicBezTo>
                    <a:cubicBezTo>
                      <a:pt x="188" y="71"/>
                      <a:pt x="188" y="61"/>
                      <a:pt x="188" y="61"/>
                    </a:cubicBezTo>
                    <a:cubicBezTo>
                      <a:pt x="188" y="61"/>
                      <a:pt x="204" y="74"/>
                      <a:pt x="220" y="81"/>
                    </a:cubicBezTo>
                    <a:cubicBezTo>
                      <a:pt x="236" y="89"/>
                      <a:pt x="268" y="79"/>
                      <a:pt x="268" y="79"/>
                    </a:cubicBezTo>
                    <a:cubicBezTo>
                      <a:pt x="263" y="96"/>
                      <a:pt x="263" y="96"/>
                      <a:pt x="263" y="96"/>
                    </a:cubicBezTo>
                    <a:cubicBezTo>
                      <a:pt x="303" y="113"/>
                      <a:pt x="303" y="113"/>
                      <a:pt x="303" y="113"/>
                    </a:cubicBezTo>
                    <a:cubicBezTo>
                      <a:pt x="319" y="136"/>
                      <a:pt x="319" y="136"/>
                      <a:pt x="319" y="136"/>
                    </a:cubicBezTo>
                    <a:cubicBezTo>
                      <a:pt x="319" y="136"/>
                      <a:pt x="335" y="143"/>
                      <a:pt x="335" y="150"/>
                    </a:cubicBezTo>
                    <a:cubicBezTo>
                      <a:pt x="335" y="158"/>
                      <a:pt x="308" y="165"/>
                      <a:pt x="316" y="172"/>
                    </a:cubicBezTo>
                    <a:cubicBezTo>
                      <a:pt x="324" y="180"/>
                      <a:pt x="348" y="163"/>
                      <a:pt x="356" y="163"/>
                    </a:cubicBezTo>
                    <a:cubicBezTo>
                      <a:pt x="364" y="163"/>
                      <a:pt x="381" y="165"/>
                      <a:pt x="367" y="168"/>
                    </a:cubicBezTo>
                    <a:cubicBezTo>
                      <a:pt x="354" y="170"/>
                      <a:pt x="375" y="180"/>
                      <a:pt x="375" y="180"/>
                    </a:cubicBezTo>
                    <a:cubicBezTo>
                      <a:pt x="375" y="180"/>
                      <a:pt x="397" y="185"/>
                      <a:pt x="426" y="178"/>
                    </a:cubicBezTo>
                    <a:cubicBezTo>
                      <a:pt x="456" y="170"/>
                      <a:pt x="493" y="163"/>
                      <a:pt x="493" y="163"/>
                    </a:cubicBezTo>
                    <a:cubicBezTo>
                      <a:pt x="493" y="163"/>
                      <a:pt x="493" y="153"/>
                      <a:pt x="475" y="151"/>
                    </a:cubicBezTo>
                    <a:close/>
                    <a:moveTo>
                      <a:pt x="78" y="84"/>
                    </a:moveTo>
                    <a:cubicBezTo>
                      <a:pt x="75" y="97"/>
                      <a:pt x="102" y="99"/>
                      <a:pt x="104" y="84"/>
                    </a:cubicBezTo>
                    <a:cubicBezTo>
                      <a:pt x="107" y="70"/>
                      <a:pt x="78" y="84"/>
                      <a:pt x="78" y="84"/>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51" name="Freeform 73">
                <a:extLst>
                  <a:ext uri="{FF2B5EF4-FFF2-40B4-BE49-F238E27FC236}">
                    <a16:creationId xmlns:a16="http://schemas.microsoft.com/office/drawing/2014/main" id="{A21F4257-8CD6-4249-A71B-DC3E1D87F957}"/>
                  </a:ext>
                </a:extLst>
              </p:cNvPr>
              <p:cNvSpPr>
                <a:spLocks/>
              </p:cNvSpPr>
              <p:nvPr>
                <p:custDataLst>
                  <p:tags r:id="rId32"/>
                </p:custDataLst>
              </p:nvPr>
            </p:nvSpPr>
            <p:spPr bwMode="gray">
              <a:xfrm>
                <a:off x="2278050" y="3833827"/>
                <a:ext cx="66675" cy="22225"/>
              </a:xfrm>
              <a:custGeom>
                <a:avLst/>
                <a:gdLst>
                  <a:gd name="T0" fmla="*/ 72 w 108"/>
                  <a:gd name="T1" fmla="*/ 42 h 42"/>
                  <a:gd name="T2" fmla="*/ 79 w 108"/>
                  <a:gd name="T3" fmla="*/ 28 h 42"/>
                  <a:gd name="T4" fmla="*/ 108 w 108"/>
                  <a:gd name="T5" fmla="*/ 34 h 42"/>
                  <a:gd name="T6" fmla="*/ 85 w 108"/>
                  <a:gd name="T7" fmla="*/ 9 h 42"/>
                  <a:gd name="T8" fmla="*/ 48 w 108"/>
                  <a:gd name="T9" fmla="*/ 6 h 42"/>
                  <a:gd name="T10" fmla="*/ 19 w 108"/>
                  <a:gd name="T11" fmla="*/ 4 h 42"/>
                  <a:gd name="T12" fmla="*/ 0 w 108"/>
                  <a:gd name="T13" fmla="*/ 9 h 42"/>
                  <a:gd name="T14" fmla="*/ 17 w 108"/>
                  <a:gd name="T15" fmla="*/ 26 h 42"/>
                  <a:gd name="T16" fmla="*/ 43 w 108"/>
                  <a:gd name="T17" fmla="*/ 32 h 42"/>
                  <a:gd name="T18" fmla="*/ 54 w 108"/>
                  <a:gd name="T19" fmla="*/ 38 h 42"/>
                  <a:gd name="T20" fmla="*/ 72 w 108"/>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42">
                    <a:moveTo>
                      <a:pt x="72" y="42"/>
                    </a:moveTo>
                    <a:cubicBezTo>
                      <a:pt x="79" y="28"/>
                      <a:pt x="79" y="28"/>
                      <a:pt x="79" y="28"/>
                    </a:cubicBezTo>
                    <a:cubicBezTo>
                      <a:pt x="108" y="34"/>
                      <a:pt x="108" y="34"/>
                      <a:pt x="108" y="34"/>
                    </a:cubicBezTo>
                    <a:cubicBezTo>
                      <a:pt x="108" y="34"/>
                      <a:pt x="95" y="9"/>
                      <a:pt x="85" y="9"/>
                    </a:cubicBezTo>
                    <a:cubicBezTo>
                      <a:pt x="75" y="9"/>
                      <a:pt x="58" y="7"/>
                      <a:pt x="48" y="6"/>
                    </a:cubicBezTo>
                    <a:cubicBezTo>
                      <a:pt x="37" y="4"/>
                      <a:pt x="27" y="0"/>
                      <a:pt x="19" y="4"/>
                    </a:cubicBezTo>
                    <a:cubicBezTo>
                      <a:pt x="11" y="7"/>
                      <a:pt x="0" y="9"/>
                      <a:pt x="0" y="9"/>
                    </a:cubicBezTo>
                    <a:cubicBezTo>
                      <a:pt x="0" y="9"/>
                      <a:pt x="8" y="20"/>
                      <a:pt x="17" y="26"/>
                    </a:cubicBezTo>
                    <a:cubicBezTo>
                      <a:pt x="25" y="32"/>
                      <a:pt x="43" y="32"/>
                      <a:pt x="43" y="32"/>
                    </a:cubicBezTo>
                    <a:cubicBezTo>
                      <a:pt x="54" y="38"/>
                      <a:pt x="54" y="38"/>
                      <a:pt x="54" y="38"/>
                    </a:cubicBezTo>
                    <a:lnTo>
                      <a:pt x="72" y="42"/>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52" name="Freeform 74">
                <a:extLst>
                  <a:ext uri="{FF2B5EF4-FFF2-40B4-BE49-F238E27FC236}">
                    <a16:creationId xmlns:a16="http://schemas.microsoft.com/office/drawing/2014/main" id="{DC97AF31-03A6-469C-A637-54A11512072D}"/>
                  </a:ext>
                </a:extLst>
              </p:cNvPr>
              <p:cNvSpPr>
                <a:spLocks/>
              </p:cNvSpPr>
              <p:nvPr>
                <p:custDataLst>
                  <p:tags r:id="rId33"/>
                </p:custDataLst>
              </p:nvPr>
            </p:nvSpPr>
            <p:spPr bwMode="gray">
              <a:xfrm>
                <a:off x="2598723" y="3835414"/>
                <a:ext cx="58736" cy="22225"/>
              </a:xfrm>
              <a:custGeom>
                <a:avLst/>
                <a:gdLst>
                  <a:gd name="T0" fmla="*/ 60 w 97"/>
                  <a:gd name="T1" fmla="*/ 9 h 40"/>
                  <a:gd name="T2" fmla="*/ 15 w 97"/>
                  <a:gd name="T3" fmla="*/ 0 h 40"/>
                  <a:gd name="T4" fmla="*/ 2 w 97"/>
                  <a:gd name="T5" fmla="*/ 32 h 40"/>
                  <a:gd name="T6" fmla="*/ 27 w 97"/>
                  <a:gd name="T7" fmla="*/ 40 h 40"/>
                  <a:gd name="T8" fmla="*/ 33 w 97"/>
                  <a:gd name="T9" fmla="*/ 34 h 40"/>
                  <a:gd name="T10" fmla="*/ 64 w 97"/>
                  <a:gd name="T11" fmla="*/ 34 h 40"/>
                  <a:gd name="T12" fmla="*/ 95 w 97"/>
                  <a:gd name="T13" fmla="*/ 10 h 40"/>
                  <a:gd name="T14" fmla="*/ 60 w 97"/>
                  <a:gd name="T15" fmla="*/ 9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40">
                    <a:moveTo>
                      <a:pt x="60" y="9"/>
                    </a:moveTo>
                    <a:cubicBezTo>
                      <a:pt x="52" y="9"/>
                      <a:pt x="29" y="0"/>
                      <a:pt x="15" y="0"/>
                    </a:cubicBezTo>
                    <a:cubicBezTo>
                      <a:pt x="0" y="0"/>
                      <a:pt x="2" y="32"/>
                      <a:pt x="2" y="32"/>
                    </a:cubicBezTo>
                    <a:cubicBezTo>
                      <a:pt x="27" y="40"/>
                      <a:pt x="27" y="40"/>
                      <a:pt x="27" y="40"/>
                    </a:cubicBezTo>
                    <a:cubicBezTo>
                      <a:pt x="33" y="34"/>
                      <a:pt x="33" y="34"/>
                      <a:pt x="33" y="34"/>
                    </a:cubicBezTo>
                    <a:cubicBezTo>
                      <a:pt x="33" y="34"/>
                      <a:pt x="48" y="36"/>
                      <a:pt x="64" y="34"/>
                    </a:cubicBezTo>
                    <a:cubicBezTo>
                      <a:pt x="81" y="32"/>
                      <a:pt x="97" y="17"/>
                      <a:pt x="95" y="10"/>
                    </a:cubicBezTo>
                    <a:cubicBezTo>
                      <a:pt x="93" y="2"/>
                      <a:pt x="68" y="10"/>
                      <a:pt x="60" y="9"/>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53" name="Freeform 75">
                <a:extLst>
                  <a:ext uri="{FF2B5EF4-FFF2-40B4-BE49-F238E27FC236}">
                    <a16:creationId xmlns:a16="http://schemas.microsoft.com/office/drawing/2014/main" id="{25590251-5668-413D-98F1-EBCEFE5861CF}"/>
                  </a:ext>
                </a:extLst>
              </p:cNvPr>
              <p:cNvSpPr>
                <a:spLocks/>
              </p:cNvSpPr>
              <p:nvPr>
                <p:custDataLst>
                  <p:tags r:id="rId34"/>
                </p:custDataLst>
              </p:nvPr>
            </p:nvSpPr>
            <p:spPr bwMode="gray">
              <a:xfrm>
                <a:off x="3022582" y="2854336"/>
                <a:ext cx="174624" cy="144463"/>
              </a:xfrm>
              <a:custGeom>
                <a:avLst/>
                <a:gdLst>
                  <a:gd name="T0" fmla="*/ 180 w 291"/>
                  <a:gd name="T1" fmla="*/ 17 h 260"/>
                  <a:gd name="T2" fmla="*/ 226 w 291"/>
                  <a:gd name="T3" fmla="*/ 5 h 260"/>
                  <a:gd name="T4" fmla="*/ 229 w 291"/>
                  <a:gd name="T5" fmla="*/ 20 h 260"/>
                  <a:gd name="T6" fmla="*/ 215 w 291"/>
                  <a:gd name="T7" fmla="*/ 29 h 260"/>
                  <a:gd name="T8" fmla="*/ 198 w 291"/>
                  <a:gd name="T9" fmla="*/ 60 h 260"/>
                  <a:gd name="T10" fmla="*/ 171 w 291"/>
                  <a:gd name="T11" fmla="*/ 72 h 260"/>
                  <a:gd name="T12" fmla="*/ 147 w 291"/>
                  <a:gd name="T13" fmla="*/ 101 h 260"/>
                  <a:gd name="T14" fmla="*/ 145 w 291"/>
                  <a:gd name="T15" fmla="*/ 119 h 260"/>
                  <a:gd name="T16" fmla="*/ 162 w 291"/>
                  <a:gd name="T17" fmla="*/ 106 h 260"/>
                  <a:gd name="T18" fmla="*/ 180 w 291"/>
                  <a:gd name="T19" fmla="*/ 76 h 260"/>
                  <a:gd name="T20" fmla="*/ 194 w 291"/>
                  <a:gd name="T21" fmla="*/ 88 h 260"/>
                  <a:gd name="T22" fmla="*/ 210 w 291"/>
                  <a:gd name="T23" fmla="*/ 94 h 260"/>
                  <a:gd name="T24" fmla="*/ 202 w 291"/>
                  <a:gd name="T25" fmla="*/ 115 h 260"/>
                  <a:gd name="T26" fmla="*/ 222 w 291"/>
                  <a:gd name="T27" fmla="*/ 113 h 260"/>
                  <a:gd name="T28" fmla="*/ 228 w 291"/>
                  <a:gd name="T29" fmla="*/ 132 h 260"/>
                  <a:gd name="T30" fmla="*/ 262 w 291"/>
                  <a:gd name="T31" fmla="*/ 111 h 260"/>
                  <a:gd name="T32" fmla="*/ 275 w 291"/>
                  <a:gd name="T33" fmla="*/ 120 h 260"/>
                  <a:gd name="T34" fmla="*/ 256 w 291"/>
                  <a:gd name="T35" fmla="*/ 138 h 260"/>
                  <a:gd name="T36" fmla="*/ 280 w 291"/>
                  <a:gd name="T37" fmla="*/ 144 h 260"/>
                  <a:gd name="T38" fmla="*/ 242 w 291"/>
                  <a:gd name="T39" fmla="*/ 197 h 260"/>
                  <a:gd name="T40" fmla="*/ 266 w 291"/>
                  <a:gd name="T41" fmla="*/ 198 h 260"/>
                  <a:gd name="T42" fmla="*/ 244 w 291"/>
                  <a:gd name="T43" fmla="*/ 212 h 260"/>
                  <a:gd name="T44" fmla="*/ 264 w 291"/>
                  <a:gd name="T45" fmla="*/ 213 h 260"/>
                  <a:gd name="T46" fmla="*/ 286 w 291"/>
                  <a:gd name="T47" fmla="*/ 204 h 260"/>
                  <a:gd name="T48" fmla="*/ 291 w 291"/>
                  <a:gd name="T49" fmla="*/ 219 h 260"/>
                  <a:gd name="T50" fmla="*/ 244 w 291"/>
                  <a:gd name="T51" fmla="*/ 260 h 260"/>
                  <a:gd name="T52" fmla="*/ 216 w 291"/>
                  <a:gd name="T53" fmla="*/ 256 h 260"/>
                  <a:gd name="T54" fmla="*/ 232 w 291"/>
                  <a:gd name="T55" fmla="*/ 240 h 260"/>
                  <a:gd name="T56" fmla="*/ 210 w 291"/>
                  <a:gd name="T57" fmla="*/ 242 h 260"/>
                  <a:gd name="T58" fmla="*/ 205 w 291"/>
                  <a:gd name="T59" fmla="*/ 237 h 260"/>
                  <a:gd name="T60" fmla="*/ 158 w 291"/>
                  <a:gd name="T61" fmla="*/ 243 h 260"/>
                  <a:gd name="T62" fmla="*/ 133 w 291"/>
                  <a:gd name="T63" fmla="*/ 239 h 260"/>
                  <a:gd name="T64" fmla="*/ 131 w 291"/>
                  <a:gd name="T65" fmla="*/ 236 h 260"/>
                  <a:gd name="T66" fmla="*/ 159 w 291"/>
                  <a:gd name="T67" fmla="*/ 228 h 260"/>
                  <a:gd name="T68" fmla="*/ 152 w 291"/>
                  <a:gd name="T69" fmla="*/ 217 h 260"/>
                  <a:gd name="T70" fmla="*/ 64 w 291"/>
                  <a:gd name="T71" fmla="*/ 199 h 260"/>
                  <a:gd name="T72" fmla="*/ 12 w 291"/>
                  <a:gd name="T73" fmla="*/ 201 h 260"/>
                  <a:gd name="T74" fmla="*/ 34 w 291"/>
                  <a:gd name="T75" fmla="*/ 186 h 260"/>
                  <a:gd name="T76" fmla="*/ 8 w 291"/>
                  <a:gd name="T77" fmla="*/ 176 h 260"/>
                  <a:gd name="T78" fmla="*/ 50 w 291"/>
                  <a:gd name="T79" fmla="*/ 153 h 260"/>
                  <a:gd name="T80" fmla="*/ 106 w 291"/>
                  <a:gd name="T81" fmla="*/ 101 h 260"/>
                  <a:gd name="T82" fmla="*/ 143 w 291"/>
                  <a:gd name="T83" fmla="*/ 65 h 260"/>
                  <a:gd name="T84" fmla="*/ 180 w 291"/>
                  <a:gd name="T85" fmla="*/ 17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1" h="260">
                    <a:moveTo>
                      <a:pt x="180" y="17"/>
                    </a:moveTo>
                    <a:cubicBezTo>
                      <a:pt x="180" y="17"/>
                      <a:pt x="209" y="0"/>
                      <a:pt x="226" y="5"/>
                    </a:cubicBezTo>
                    <a:cubicBezTo>
                      <a:pt x="244" y="10"/>
                      <a:pt x="229" y="20"/>
                      <a:pt x="229" y="20"/>
                    </a:cubicBezTo>
                    <a:cubicBezTo>
                      <a:pt x="215" y="29"/>
                      <a:pt x="215" y="29"/>
                      <a:pt x="215" y="29"/>
                    </a:cubicBezTo>
                    <a:cubicBezTo>
                      <a:pt x="215" y="29"/>
                      <a:pt x="210" y="49"/>
                      <a:pt x="198" y="60"/>
                    </a:cubicBezTo>
                    <a:cubicBezTo>
                      <a:pt x="186" y="71"/>
                      <a:pt x="171" y="72"/>
                      <a:pt x="171" y="72"/>
                    </a:cubicBezTo>
                    <a:cubicBezTo>
                      <a:pt x="147" y="101"/>
                      <a:pt x="147" y="101"/>
                      <a:pt x="147" y="101"/>
                    </a:cubicBezTo>
                    <a:cubicBezTo>
                      <a:pt x="145" y="119"/>
                      <a:pt x="145" y="119"/>
                      <a:pt x="145" y="119"/>
                    </a:cubicBezTo>
                    <a:cubicBezTo>
                      <a:pt x="162" y="106"/>
                      <a:pt x="162" y="106"/>
                      <a:pt x="162" y="106"/>
                    </a:cubicBezTo>
                    <a:cubicBezTo>
                      <a:pt x="180" y="76"/>
                      <a:pt x="180" y="76"/>
                      <a:pt x="180" y="76"/>
                    </a:cubicBezTo>
                    <a:cubicBezTo>
                      <a:pt x="194" y="88"/>
                      <a:pt x="194" y="88"/>
                      <a:pt x="194" y="88"/>
                    </a:cubicBezTo>
                    <a:cubicBezTo>
                      <a:pt x="210" y="94"/>
                      <a:pt x="210" y="94"/>
                      <a:pt x="210" y="94"/>
                    </a:cubicBezTo>
                    <a:cubicBezTo>
                      <a:pt x="202" y="115"/>
                      <a:pt x="202" y="115"/>
                      <a:pt x="202" y="115"/>
                    </a:cubicBezTo>
                    <a:cubicBezTo>
                      <a:pt x="222" y="113"/>
                      <a:pt x="222" y="113"/>
                      <a:pt x="222" y="113"/>
                    </a:cubicBezTo>
                    <a:cubicBezTo>
                      <a:pt x="228" y="132"/>
                      <a:pt x="228" y="132"/>
                      <a:pt x="228" y="132"/>
                    </a:cubicBezTo>
                    <a:cubicBezTo>
                      <a:pt x="262" y="111"/>
                      <a:pt x="262" y="111"/>
                      <a:pt x="262" y="111"/>
                    </a:cubicBezTo>
                    <a:cubicBezTo>
                      <a:pt x="275" y="120"/>
                      <a:pt x="275" y="120"/>
                      <a:pt x="275" y="120"/>
                    </a:cubicBezTo>
                    <a:cubicBezTo>
                      <a:pt x="275" y="120"/>
                      <a:pt x="265" y="135"/>
                      <a:pt x="256" y="138"/>
                    </a:cubicBezTo>
                    <a:cubicBezTo>
                      <a:pt x="248" y="141"/>
                      <a:pt x="274" y="144"/>
                      <a:pt x="280" y="144"/>
                    </a:cubicBezTo>
                    <a:cubicBezTo>
                      <a:pt x="286" y="145"/>
                      <a:pt x="242" y="197"/>
                      <a:pt x="242" y="197"/>
                    </a:cubicBezTo>
                    <a:cubicBezTo>
                      <a:pt x="266" y="198"/>
                      <a:pt x="266" y="198"/>
                      <a:pt x="266" y="198"/>
                    </a:cubicBezTo>
                    <a:cubicBezTo>
                      <a:pt x="244" y="212"/>
                      <a:pt x="244" y="212"/>
                      <a:pt x="244" y="212"/>
                    </a:cubicBezTo>
                    <a:cubicBezTo>
                      <a:pt x="264" y="213"/>
                      <a:pt x="264" y="213"/>
                      <a:pt x="264" y="213"/>
                    </a:cubicBezTo>
                    <a:cubicBezTo>
                      <a:pt x="286" y="204"/>
                      <a:pt x="286" y="204"/>
                      <a:pt x="286" y="204"/>
                    </a:cubicBezTo>
                    <a:cubicBezTo>
                      <a:pt x="291" y="219"/>
                      <a:pt x="291" y="219"/>
                      <a:pt x="291" y="219"/>
                    </a:cubicBezTo>
                    <a:cubicBezTo>
                      <a:pt x="244" y="260"/>
                      <a:pt x="244" y="260"/>
                      <a:pt x="244" y="260"/>
                    </a:cubicBezTo>
                    <a:cubicBezTo>
                      <a:pt x="216" y="256"/>
                      <a:pt x="216" y="256"/>
                      <a:pt x="216" y="256"/>
                    </a:cubicBezTo>
                    <a:cubicBezTo>
                      <a:pt x="232" y="240"/>
                      <a:pt x="232" y="240"/>
                      <a:pt x="232" y="240"/>
                    </a:cubicBezTo>
                    <a:cubicBezTo>
                      <a:pt x="210" y="242"/>
                      <a:pt x="210" y="242"/>
                      <a:pt x="210" y="242"/>
                    </a:cubicBezTo>
                    <a:cubicBezTo>
                      <a:pt x="205" y="237"/>
                      <a:pt x="205" y="237"/>
                      <a:pt x="205" y="237"/>
                    </a:cubicBezTo>
                    <a:cubicBezTo>
                      <a:pt x="158" y="243"/>
                      <a:pt x="158" y="243"/>
                      <a:pt x="158" y="243"/>
                    </a:cubicBezTo>
                    <a:cubicBezTo>
                      <a:pt x="133" y="239"/>
                      <a:pt x="133" y="239"/>
                      <a:pt x="133" y="239"/>
                    </a:cubicBezTo>
                    <a:cubicBezTo>
                      <a:pt x="131" y="236"/>
                      <a:pt x="131" y="236"/>
                      <a:pt x="131" y="236"/>
                    </a:cubicBezTo>
                    <a:cubicBezTo>
                      <a:pt x="159" y="228"/>
                      <a:pt x="159" y="228"/>
                      <a:pt x="159" y="228"/>
                    </a:cubicBezTo>
                    <a:cubicBezTo>
                      <a:pt x="159" y="228"/>
                      <a:pt x="168" y="217"/>
                      <a:pt x="152" y="217"/>
                    </a:cubicBezTo>
                    <a:cubicBezTo>
                      <a:pt x="136" y="216"/>
                      <a:pt x="64" y="199"/>
                      <a:pt x="64" y="199"/>
                    </a:cubicBezTo>
                    <a:cubicBezTo>
                      <a:pt x="64" y="199"/>
                      <a:pt x="24" y="213"/>
                      <a:pt x="12" y="201"/>
                    </a:cubicBezTo>
                    <a:cubicBezTo>
                      <a:pt x="0" y="189"/>
                      <a:pt x="34" y="186"/>
                      <a:pt x="34" y="186"/>
                    </a:cubicBezTo>
                    <a:cubicBezTo>
                      <a:pt x="34" y="186"/>
                      <a:pt x="6" y="183"/>
                      <a:pt x="8" y="176"/>
                    </a:cubicBezTo>
                    <a:cubicBezTo>
                      <a:pt x="10" y="170"/>
                      <a:pt x="50" y="153"/>
                      <a:pt x="50" y="153"/>
                    </a:cubicBezTo>
                    <a:cubicBezTo>
                      <a:pt x="106" y="101"/>
                      <a:pt x="106" y="101"/>
                      <a:pt x="106" y="101"/>
                    </a:cubicBezTo>
                    <a:cubicBezTo>
                      <a:pt x="143" y="65"/>
                      <a:pt x="143" y="65"/>
                      <a:pt x="143" y="65"/>
                    </a:cubicBezTo>
                    <a:lnTo>
                      <a:pt x="180" y="17"/>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54" name="Freeform 76">
                <a:extLst>
                  <a:ext uri="{FF2B5EF4-FFF2-40B4-BE49-F238E27FC236}">
                    <a16:creationId xmlns:a16="http://schemas.microsoft.com/office/drawing/2014/main" id="{5ADB29E4-3FF4-4DD5-905E-44141377E934}"/>
                  </a:ext>
                </a:extLst>
              </p:cNvPr>
              <p:cNvSpPr>
                <a:spLocks/>
              </p:cNvSpPr>
              <p:nvPr>
                <p:custDataLst>
                  <p:tags r:id="rId35"/>
                </p:custDataLst>
              </p:nvPr>
            </p:nvSpPr>
            <p:spPr bwMode="gray">
              <a:xfrm>
                <a:off x="1931977" y="3952890"/>
                <a:ext cx="71437" cy="41275"/>
              </a:xfrm>
              <a:custGeom>
                <a:avLst/>
                <a:gdLst>
                  <a:gd name="T0" fmla="*/ 116 w 117"/>
                  <a:gd name="T1" fmla="*/ 57 h 74"/>
                  <a:gd name="T2" fmla="*/ 115 w 117"/>
                  <a:gd name="T3" fmla="*/ 28 h 74"/>
                  <a:gd name="T4" fmla="*/ 100 w 117"/>
                  <a:gd name="T5" fmla="*/ 26 h 74"/>
                  <a:gd name="T6" fmla="*/ 84 w 117"/>
                  <a:gd name="T7" fmla="*/ 32 h 74"/>
                  <a:gd name="T8" fmla="*/ 76 w 117"/>
                  <a:gd name="T9" fmla="*/ 16 h 74"/>
                  <a:gd name="T10" fmla="*/ 61 w 117"/>
                  <a:gd name="T11" fmla="*/ 16 h 74"/>
                  <a:gd name="T12" fmla="*/ 48 w 117"/>
                  <a:gd name="T13" fmla="*/ 0 h 74"/>
                  <a:gd name="T14" fmla="*/ 33 w 117"/>
                  <a:gd name="T15" fmla="*/ 4 h 74"/>
                  <a:gd name="T16" fmla="*/ 32 w 117"/>
                  <a:gd name="T17" fmla="*/ 12 h 74"/>
                  <a:gd name="T18" fmla="*/ 19 w 117"/>
                  <a:gd name="T19" fmla="*/ 24 h 74"/>
                  <a:gd name="T20" fmla="*/ 0 w 117"/>
                  <a:gd name="T21" fmla="*/ 39 h 74"/>
                  <a:gd name="T22" fmla="*/ 20 w 117"/>
                  <a:gd name="T23" fmla="*/ 52 h 74"/>
                  <a:gd name="T24" fmla="*/ 48 w 117"/>
                  <a:gd name="T25" fmla="*/ 53 h 74"/>
                  <a:gd name="T26" fmla="*/ 64 w 117"/>
                  <a:gd name="T27" fmla="*/ 66 h 74"/>
                  <a:gd name="T28" fmla="*/ 86 w 117"/>
                  <a:gd name="T29" fmla="*/ 64 h 74"/>
                  <a:gd name="T30" fmla="*/ 98 w 117"/>
                  <a:gd name="T31" fmla="*/ 74 h 74"/>
                  <a:gd name="T32" fmla="*/ 110 w 117"/>
                  <a:gd name="T33" fmla="*/ 55 h 74"/>
                  <a:gd name="T34" fmla="*/ 117 w 117"/>
                  <a:gd name="T35" fmla="*/ 57 h 74"/>
                  <a:gd name="T36" fmla="*/ 116 w 117"/>
                  <a:gd name="T37" fmla="*/ 5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7" h="74">
                    <a:moveTo>
                      <a:pt x="116" y="57"/>
                    </a:moveTo>
                    <a:cubicBezTo>
                      <a:pt x="115" y="28"/>
                      <a:pt x="115" y="28"/>
                      <a:pt x="115" y="28"/>
                    </a:cubicBezTo>
                    <a:cubicBezTo>
                      <a:pt x="115" y="28"/>
                      <a:pt x="105" y="27"/>
                      <a:pt x="100" y="26"/>
                    </a:cubicBezTo>
                    <a:cubicBezTo>
                      <a:pt x="95" y="25"/>
                      <a:pt x="93" y="30"/>
                      <a:pt x="84" y="32"/>
                    </a:cubicBezTo>
                    <a:cubicBezTo>
                      <a:pt x="75" y="34"/>
                      <a:pt x="76" y="16"/>
                      <a:pt x="76" y="16"/>
                    </a:cubicBezTo>
                    <a:cubicBezTo>
                      <a:pt x="76" y="16"/>
                      <a:pt x="70" y="16"/>
                      <a:pt x="61" y="16"/>
                    </a:cubicBezTo>
                    <a:cubicBezTo>
                      <a:pt x="54" y="16"/>
                      <a:pt x="50" y="5"/>
                      <a:pt x="48" y="0"/>
                    </a:cubicBezTo>
                    <a:cubicBezTo>
                      <a:pt x="41" y="3"/>
                      <a:pt x="33" y="4"/>
                      <a:pt x="33" y="4"/>
                    </a:cubicBezTo>
                    <a:cubicBezTo>
                      <a:pt x="32" y="12"/>
                      <a:pt x="32" y="12"/>
                      <a:pt x="32" y="12"/>
                    </a:cubicBezTo>
                    <a:cubicBezTo>
                      <a:pt x="32" y="12"/>
                      <a:pt x="27" y="22"/>
                      <a:pt x="19" y="24"/>
                    </a:cubicBezTo>
                    <a:cubicBezTo>
                      <a:pt x="13" y="25"/>
                      <a:pt x="5" y="34"/>
                      <a:pt x="0" y="39"/>
                    </a:cubicBezTo>
                    <a:cubicBezTo>
                      <a:pt x="7" y="44"/>
                      <a:pt x="16" y="50"/>
                      <a:pt x="20" y="52"/>
                    </a:cubicBezTo>
                    <a:cubicBezTo>
                      <a:pt x="28" y="55"/>
                      <a:pt x="48" y="53"/>
                      <a:pt x="48" y="53"/>
                    </a:cubicBezTo>
                    <a:cubicBezTo>
                      <a:pt x="64" y="66"/>
                      <a:pt x="64" y="66"/>
                      <a:pt x="64" y="66"/>
                    </a:cubicBezTo>
                    <a:cubicBezTo>
                      <a:pt x="86" y="64"/>
                      <a:pt x="86" y="64"/>
                      <a:pt x="86" y="64"/>
                    </a:cubicBezTo>
                    <a:cubicBezTo>
                      <a:pt x="98" y="74"/>
                      <a:pt x="98" y="74"/>
                      <a:pt x="98" y="74"/>
                    </a:cubicBezTo>
                    <a:cubicBezTo>
                      <a:pt x="110" y="55"/>
                      <a:pt x="110" y="55"/>
                      <a:pt x="110" y="55"/>
                    </a:cubicBezTo>
                    <a:cubicBezTo>
                      <a:pt x="117" y="57"/>
                      <a:pt x="117" y="57"/>
                      <a:pt x="117" y="57"/>
                    </a:cubicBezTo>
                    <a:lnTo>
                      <a:pt x="116" y="57"/>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55" name="Freeform 77">
                <a:extLst>
                  <a:ext uri="{FF2B5EF4-FFF2-40B4-BE49-F238E27FC236}">
                    <a16:creationId xmlns:a16="http://schemas.microsoft.com/office/drawing/2014/main" id="{9D098AF7-C006-4106-BA33-096BB01E5D9E}"/>
                  </a:ext>
                </a:extLst>
              </p:cNvPr>
              <p:cNvSpPr>
                <a:spLocks/>
              </p:cNvSpPr>
              <p:nvPr>
                <p:custDataLst>
                  <p:tags r:id="rId36"/>
                </p:custDataLst>
              </p:nvPr>
            </p:nvSpPr>
            <p:spPr bwMode="gray">
              <a:xfrm>
                <a:off x="1966902" y="3832240"/>
                <a:ext cx="44450" cy="76201"/>
              </a:xfrm>
              <a:custGeom>
                <a:avLst/>
                <a:gdLst>
                  <a:gd name="T0" fmla="*/ 72 w 72"/>
                  <a:gd name="T1" fmla="*/ 22 h 140"/>
                  <a:gd name="T2" fmla="*/ 54 w 72"/>
                  <a:gd name="T3" fmla="*/ 11 h 140"/>
                  <a:gd name="T4" fmla="*/ 51 w 72"/>
                  <a:gd name="T5" fmla="*/ 0 h 140"/>
                  <a:gd name="T6" fmla="*/ 33 w 72"/>
                  <a:gd name="T7" fmla="*/ 33 h 140"/>
                  <a:gd name="T8" fmla="*/ 23 w 72"/>
                  <a:gd name="T9" fmla="*/ 26 h 140"/>
                  <a:gd name="T10" fmla="*/ 16 w 72"/>
                  <a:gd name="T11" fmla="*/ 36 h 140"/>
                  <a:gd name="T12" fmla="*/ 0 w 72"/>
                  <a:gd name="T13" fmla="*/ 140 h 140"/>
                  <a:gd name="T14" fmla="*/ 18 w 72"/>
                  <a:gd name="T15" fmla="*/ 140 h 140"/>
                  <a:gd name="T16" fmla="*/ 28 w 72"/>
                  <a:gd name="T17" fmla="*/ 114 h 140"/>
                  <a:gd name="T18" fmla="*/ 39 w 72"/>
                  <a:gd name="T19" fmla="*/ 118 h 140"/>
                  <a:gd name="T20" fmla="*/ 55 w 72"/>
                  <a:gd name="T21" fmla="*/ 93 h 140"/>
                  <a:gd name="T22" fmla="*/ 55 w 72"/>
                  <a:gd name="T23" fmla="*/ 60 h 140"/>
                  <a:gd name="T24" fmla="*/ 72 w 72"/>
                  <a:gd name="T25" fmla="*/ 2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40">
                    <a:moveTo>
                      <a:pt x="72" y="22"/>
                    </a:moveTo>
                    <a:cubicBezTo>
                      <a:pt x="72" y="17"/>
                      <a:pt x="54" y="11"/>
                      <a:pt x="54" y="11"/>
                    </a:cubicBezTo>
                    <a:cubicBezTo>
                      <a:pt x="51" y="0"/>
                      <a:pt x="51" y="0"/>
                      <a:pt x="51" y="0"/>
                    </a:cubicBezTo>
                    <a:cubicBezTo>
                      <a:pt x="51" y="0"/>
                      <a:pt x="44" y="32"/>
                      <a:pt x="33" y="33"/>
                    </a:cubicBezTo>
                    <a:cubicBezTo>
                      <a:pt x="22" y="34"/>
                      <a:pt x="28" y="26"/>
                      <a:pt x="23" y="26"/>
                    </a:cubicBezTo>
                    <a:cubicBezTo>
                      <a:pt x="18" y="26"/>
                      <a:pt x="16" y="36"/>
                      <a:pt x="16" y="36"/>
                    </a:cubicBezTo>
                    <a:cubicBezTo>
                      <a:pt x="0" y="140"/>
                      <a:pt x="0" y="140"/>
                      <a:pt x="0" y="140"/>
                    </a:cubicBezTo>
                    <a:cubicBezTo>
                      <a:pt x="18" y="140"/>
                      <a:pt x="18" y="140"/>
                      <a:pt x="18" y="140"/>
                    </a:cubicBezTo>
                    <a:cubicBezTo>
                      <a:pt x="28" y="114"/>
                      <a:pt x="28" y="114"/>
                      <a:pt x="28" y="114"/>
                    </a:cubicBezTo>
                    <a:cubicBezTo>
                      <a:pt x="39" y="118"/>
                      <a:pt x="39" y="118"/>
                      <a:pt x="39" y="118"/>
                    </a:cubicBezTo>
                    <a:cubicBezTo>
                      <a:pt x="39" y="118"/>
                      <a:pt x="55" y="104"/>
                      <a:pt x="55" y="93"/>
                    </a:cubicBezTo>
                    <a:cubicBezTo>
                      <a:pt x="55" y="82"/>
                      <a:pt x="51" y="70"/>
                      <a:pt x="55" y="60"/>
                    </a:cubicBezTo>
                    <a:cubicBezTo>
                      <a:pt x="59" y="50"/>
                      <a:pt x="72" y="27"/>
                      <a:pt x="72" y="22"/>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56" name="Freeform 78">
                <a:extLst>
                  <a:ext uri="{FF2B5EF4-FFF2-40B4-BE49-F238E27FC236}">
                    <a16:creationId xmlns:a16="http://schemas.microsoft.com/office/drawing/2014/main" id="{8DC76B07-1912-4C9C-B151-B4EEAFF2F59C}"/>
                  </a:ext>
                </a:extLst>
              </p:cNvPr>
              <p:cNvSpPr>
                <a:spLocks/>
              </p:cNvSpPr>
              <p:nvPr>
                <p:custDataLst>
                  <p:tags r:id="rId37"/>
                </p:custDataLst>
              </p:nvPr>
            </p:nvSpPr>
            <p:spPr bwMode="gray">
              <a:xfrm>
                <a:off x="1874827" y="3851290"/>
                <a:ext cx="122237" cy="123825"/>
              </a:xfrm>
              <a:custGeom>
                <a:avLst/>
                <a:gdLst>
                  <a:gd name="T0" fmla="*/ 190 w 199"/>
                  <a:gd name="T1" fmla="*/ 103 h 222"/>
                  <a:gd name="T2" fmla="*/ 179 w 199"/>
                  <a:gd name="T3" fmla="*/ 110 h 222"/>
                  <a:gd name="T4" fmla="*/ 170 w 199"/>
                  <a:gd name="T5" fmla="*/ 105 h 222"/>
                  <a:gd name="T6" fmla="*/ 152 w 199"/>
                  <a:gd name="T7" fmla="*/ 105 h 222"/>
                  <a:gd name="T8" fmla="*/ 168 w 199"/>
                  <a:gd name="T9" fmla="*/ 1 h 222"/>
                  <a:gd name="T10" fmla="*/ 81 w 199"/>
                  <a:gd name="T11" fmla="*/ 0 h 222"/>
                  <a:gd name="T12" fmla="*/ 82 w 199"/>
                  <a:gd name="T13" fmla="*/ 30 h 222"/>
                  <a:gd name="T14" fmla="*/ 54 w 199"/>
                  <a:gd name="T15" fmla="*/ 34 h 222"/>
                  <a:gd name="T16" fmla="*/ 64 w 199"/>
                  <a:gd name="T17" fmla="*/ 38 h 222"/>
                  <a:gd name="T18" fmla="*/ 75 w 199"/>
                  <a:gd name="T19" fmla="*/ 56 h 222"/>
                  <a:gd name="T20" fmla="*/ 87 w 199"/>
                  <a:gd name="T21" fmla="*/ 57 h 222"/>
                  <a:gd name="T22" fmla="*/ 91 w 199"/>
                  <a:gd name="T23" fmla="*/ 73 h 222"/>
                  <a:gd name="T24" fmla="*/ 103 w 199"/>
                  <a:gd name="T25" fmla="*/ 79 h 222"/>
                  <a:gd name="T26" fmla="*/ 94 w 199"/>
                  <a:gd name="T27" fmla="*/ 86 h 222"/>
                  <a:gd name="T28" fmla="*/ 94 w 199"/>
                  <a:gd name="T29" fmla="*/ 97 h 222"/>
                  <a:gd name="T30" fmla="*/ 35 w 199"/>
                  <a:gd name="T31" fmla="*/ 96 h 222"/>
                  <a:gd name="T32" fmla="*/ 14 w 199"/>
                  <a:gd name="T33" fmla="*/ 127 h 222"/>
                  <a:gd name="T34" fmla="*/ 14 w 199"/>
                  <a:gd name="T35" fmla="*/ 165 h 222"/>
                  <a:gd name="T36" fmla="*/ 0 w 199"/>
                  <a:gd name="T37" fmla="*/ 179 h 222"/>
                  <a:gd name="T38" fmla="*/ 14 w 199"/>
                  <a:gd name="T39" fmla="*/ 192 h 222"/>
                  <a:gd name="T40" fmla="*/ 47 w 199"/>
                  <a:gd name="T41" fmla="*/ 213 h 222"/>
                  <a:gd name="T42" fmla="*/ 80 w 199"/>
                  <a:gd name="T43" fmla="*/ 213 h 222"/>
                  <a:gd name="T44" fmla="*/ 92 w 199"/>
                  <a:gd name="T45" fmla="*/ 222 h 222"/>
                  <a:gd name="T46" fmla="*/ 111 w 199"/>
                  <a:gd name="T47" fmla="*/ 207 h 222"/>
                  <a:gd name="T48" fmla="*/ 124 w 199"/>
                  <a:gd name="T49" fmla="*/ 195 h 222"/>
                  <a:gd name="T50" fmla="*/ 125 w 199"/>
                  <a:gd name="T51" fmla="*/ 187 h 222"/>
                  <a:gd name="T52" fmla="*/ 149 w 199"/>
                  <a:gd name="T53" fmla="*/ 176 h 222"/>
                  <a:gd name="T54" fmla="*/ 151 w 199"/>
                  <a:gd name="T55" fmla="*/ 155 h 222"/>
                  <a:gd name="T56" fmla="*/ 179 w 199"/>
                  <a:gd name="T57" fmla="*/ 131 h 222"/>
                  <a:gd name="T58" fmla="*/ 199 w 199"/>
                  <a:gd name="T59" fmla="*/ 112 h 222"/>
                  <a:gd name="T60" fmla="*/ 190 w 199"/>
                  <a:gd name="T61" fmla="*/ 10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9" h="222">
                    <a:moveTo>
                      <a:pt x="190" y="103"/>
                    </a:moveTo>
                    <a:cubicBezTo>
                      <a:pt x="179" y="110"/>
                      <a:pt x="179" y="110"/>
                      <a:pt x="179" y="110"/>
                    </a:cubicBezTo>
                    <a:cubicBezTo>
                      <a:pt x="170" y="105"/>
                      <a:pt x="170" y="105"/>
                      <a:pt x="170" y="105"/>
                    </a:cubicBezTo>
                    <a:cubicBezTo>
                      <a:pt x="152" y="105"/>
                      <a:pt x="152" y="105"/>
                      <a:pt x="152" y="105"/>
                    </a:cubicBezTo>
                    <a:cubicBezTo>
                      <a:pt x="168" y="1"/>
                      <a:pt x="168" y="1"/>
                      <a:pt x="168" y="1"/>
                    </a:cubicBezTo>
                    <a:cubicBezTo>
                      <a:pt x="81" y="0"/>
                      <a:pt x="81" y="0"/>
                      <a:pt x="81" y="0"/>
                    </a:cubicBezTo>
                    <a:cubicBezTo>
                      <a:pt x="81" y="0"/>
                      <a:pt x="84" y="24"/>
                      <a:pt x="82" y="30"/>
                    </a:cubicBezTo>
                    <a:cubicBezTo>
                      <a:pt x="80" y="36"/>
                      <a:pt x="54" y="34"/>
                      <a:pt x="54" y="34"/>
                    </a:cubicBezTo>
                    <a:cubicBezTo>
                      <a:pt x="64" y="38"/>
                      <a:pt x="64" y="38"/>
                      <a:pt x="64" y="38"/>
                    </a:cubicBezTo>
                    <a:cubicBezTo>
                      <a:pt x="64" y="38"/>
                      <a:pt x="65" y="54"/>
                      <a:pt x="75" y="56"/>
                    </a:cubicBezTo>
                    <a:cubicBezTo>
                      <a:pt x="85" y="58"/>
                      <a:pt x="87" y="57"/>
                      <a:pt x="87" y="57"/>
                    </a:cubicBezTo>
                    <a:cubicBezTo>
                      <a:pt x="91" y="73"/>
                      <a:pt x="91" y="73"/>
                      <a:pt x="91" y="73"/>
                    </a:cubicBezTo>
                    <a:cubicBezTo>
                      <a:pt x="91" y="73"/>
                      <a:pt x="103" y="69"/>
                      <a:pt x="103" y="79"/>
                    </a:cubicBezTo>
                    <a:cubicBezTo>
                      <a:pt x="103" y="89"/>
                      <a:pt x="94" y="86"/>
                      <a:pt x="94" y="86"/>
                    </a:cubicBezTo>
                    <a:cubicBezTo>
                      <a:pt x="94" y="97"/>
                      <a:pt x="94" y="97"/>
                      <a:pt x="94" y="97"/>
                    </a:cubicBezTo>
                    <a:cubicBezTo>
                      <a:pt x="35" y="96"/>
                      <a:pt x="35" y="96"/>
                      <a:pt x="35" y="96"/>
                    </a:cubicBezTo>
                    <a:cubicBezTo>
                      <a:pt x="14" y="127"/>
                      <a:pt x="14" y="127"/>
                      <a:pt x="14" y="127"/>
                    </a:cubicBezTo>
                    <a:cubicBezTo>
                      <a:pt x="14" y="127"/>
                      <a:pt x="14" y="149"/>
                      <a:pt x="14" y="165"/>
                    </a:cubicBezTo>
                    <a:cubicBezTo>
                      <a:pt x="14" y="181"/>
                      <a:pt x="0" y="179"/>
                      <a:pt x="0" y="179"/>
                    </a:cubicBezTo>
                    <a:cubicBezTo>
                      <a:pt x="3" y="185"/>
                      <a:pt x="7" y="189"/>
                      <a:pt x="14" y="192"/>
                    </a:cubicBezTo>
                    <a:cubicBezTo>
                      <a:pt x="33" y="199"/>
                      <a:pt x="36" y="209"/>
                      <a:pt x="47" y="213"/>
                    </a:cubicBezTo>
                    <a:cubicBezTo>
                      <a:pt x="58" y="217"/>
                      <a:pt x="80" y="213"/>
                      <a:pt x="80" y="213"/>
                    </a:cubicBezTo>
                    <a:cubicBezTo>
                      <a:pt x="80" y="213"/>
                      <a:pt x="86" y="217"/>
                      <a:pt x="92" y="222"/>
                    </a:cubicBezTo>
                    <a:cubicBezTo>
                      <a:pt x="97" y="217"/>
                      <a:pt x="105" y="208"/>
                      <a:pt x="111" y="207"/>
                    </a:cubicBezTo>
                    <a:cubicBezTo>
                      <a:pt x="119" y="205"/>
                      <a:pt x="124" y="195"/>
                      <a:pt x="124" y="195"/>
                    </a:cubicBezTo>
                    <a:cubicBezTo>
                      <a:pt x="125" y="187"/>
                      <a:pt x="125" y="187"/>
                      <a:pt x="125" y="187"/>
                    </a:cubicBezTo>
                    <a:cubicBezTo>
                      <a:pt x="125" y="187"/>
                      <a:pt x="146" y="185"/>
                      <a:pt x="149" y="176"/>
                    </a:cubicBezTo>
                    <a:cubicBezTo>
                      <a:pt x="152" y="167"/>
                      <a:pt x="151" y="155"/>
                      <a:pt x="151" y="155"/>
                    </a:cubicBezTo>
                    <a:cubicBezTo>
                      <a:pt x="151" y="155"/>
                      <a:pt x="164" y="139"/>
                      <a:pt x="179" y="131"/>
                    </a:cubicBezTo>
                    <a:cubicBezTo>
                      <a:pt x="194" y="123"/>
                      <a:pt x="199" y="112"/>
                      <a:pt x="199" y="112"/>
                    </a:cubicBezTo>
                    <a:lnTo>
                      <a:pt x="190" y="103"/>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57" name="Freeform 79">
                <a:extLst>
                  <a:ext uri="{FF2B5EF4-FFF2-40B4-BE49-F238E27FC236}">
                    <a16:creationId xmlns:a16="http://schemas.microsoft.com/office/drawing/2014/main" id="{FF739785-C630-4D0C-826A-E3B6F766E983}"/>
                  </a:ext>
                </a:extLst>
              </p:cNvPr>
              <p:cNvSpPr>
                <a:spLocks/>
              </p:cNvSpPr>
              <p:nvPr>
                <p:custDataLst>
                  <p:tags r:id="rId38"/>
                </p:custDataLst>
              </p:nvPr>
            </p:nvSpPr>
            <p:spPr bwMode="gray">
              <a:xfrm>
                <a:off x="1314442" y="3409963"/>
                <a:ext cx="750883" cy="541340"/>
              </a:xfrm>
              <a:custGeom>
                <a:avLst/>
                <a:gdLst>
                  <a:gd name="T0" fmla="*/ 968 w 1247"/>
                  <a:gd name="T1" fmla="*/ 891 h 976"/>
                  <a:gd name="T2" fmla="*/ 1036 w 1247"/>
                  <a:gd name="T3" fmla="*/ 874 h 976"/>
                  <a:gd name="T4" fmla="*/ 1008 w 1247"/>
                  <a:gd name="T5" fmla="*/ 851 h 976"/>
                  <a:gd name="T6" fmla="*/ 1015 w 1247"/>
                  <a:gd name="T7" fmla="*/ 825 h 976"/>
                  <a:gd name="T8" fmla="*/ 1108 w 1247"/>
                  <a:gd name="T9" fmla="*/ 786 h 976"/>
                  <a:gd name="T10" fmla="*/ 1139 w 1247"/>
                  <a:gd name="T11" fmla="*/ 771 h 976"/>
                  <a:gd name="T12" fmla="*/ 1162 w 1247"/>
                  <a:gd name="T13" fmla="*/ 767 h 976"/>
                  <a:gd name="T14" fmla="*/ 1182 w 1247"/>
                  <a:gd name="T15" fmla="*/ 717 h 976"/>
                  <a:gd name="T16" fmla="*/ 1184 w 1247"/>
                  <a:gd name="T17" fmla="*/ 701 h 976"/>
                  <a:gd name="T18" fmla="*/ 1234 w 1247"/>
                  <a:gd name="T19" fmla="*/ 632 h 976"/>
                  <a:gd name="T20" fmla="*/ 1172 w 1247"/>
                  <a:gd name="T21" fmla="*/ 594 h 976"/>
                  <a:gd name="T22" fmla="*/ 1060 w 1247"/>
                  <a:gd name="T23" fmla="*/ 655 h 976"/>
                  <a:gd name="T24" fmla="*/ 1043 w 1247"/>
                  <a:gd name="T25" fmla="*/ 716 h 976"/>
                  <a:gd name="T26" fmla="*/ 974 w 1247"/>
                  <a:gd name="T27" fmla="*/ 749 h 976"/>
                  <a:gd name="T28" fmla="*/ 836 w 1247"/>
                  <a:gd name="T29" fmla="*/ 753 h 976"/>
                  <a:gd name="T30" fmla="*/ 777 w 1247"/>
                  <a:gd name="T31" fmla="*/ 708 h 976"/>
                  <a:gd name="T32" fmla="*/ 750 w 1247"/>
                  <a:gd name="T33" fmla="*/ 616 h 976"/>
                  <a:gd name="T34" fmla="*/ 752 w 1247"/>
                  <a:gd name="T35" fmla="*/ 507 h 976"/>
                  <a:gd name="T36" fmla="*/ 768 w 1247"/>
                  <a:gd name="T37" fmla="*/ 434 h 976"/>
                  <a:gd name="T38" fmla="*/ 806 w 1247"/>
                  <a:gd name="T39" fmla="*/ 364 h 976"/>
                  <a:gd name="T40" fmla="*/ 780 w 1247"/>
                  <a:gd name="T41" fmla="*/ 355 h 976"/>
                  <a:gd name="T42" fmla="*/ 720 w 1247"/>
                  <a:gd name="T43" fmla="*/ 332 h 976"/>
                  <a:gd name="T44" fmla="*/ 714 w 1247"/>
                  <a:gd name="T45" fmla="*/ 280 h 976"/>
                  <a:gd name="T46" fmla="*/ 700 w 1247"/>
                  <a:gd name="T47" fmla="*/ 241 h 976"/>
                  <a:gd name="T48" fmla="*/ 661 w 1247"/>
                  <a:gd name="T49" fmla="*/ 154 h 976"/>
                  <a:gd name="T50" fmla="*/ 621 w 1247"/>
                  <a:gd name="T51" fmla="*/ 154 h 976"/>
                  <a:gd name="T52" fmla="*/ 519 w 1247"/>
                  <a:gd name="T53" fmla="*/ 161 h 976"/>
                  <a:gd name="T54" fmla="*/ 491 w 1247"/>
                  <a:gd name="T55" fmla="*/ 76 h 976"/>
                  <a:gd name="T56" fmla="*/ 390 w 1247"/>
                  <a:gd name="T57" fmla="*/ 45 h 976"/>
                  <a:gd name="T58" fmla="*/ 378 w 1247"/>
                  <a:gd name="T59" fmla="*/ 72 h 976"/>
                  <a:gd name="T60" fmla="*/ 106 w 1247"/>
                  <a:gd name="T61" fmla="*/ 0 h 976"/>
                  <a:gd name="T62" fmla="*/ 0 w 1247"/>
                  <a:gd name="T63" fmla="*/ 25 h 976"/>
                  <a:gd name="T64" fmla="*/ 10 w 1247"/>
                  <a:gd name="T65" fmla="*/ 76 h 976"/>
                  <a:gd name="T66" fmla="*/ 5 w 1247"/>
                  <a:gd name="T67" fmla="*/ 117 h 976"/>
                  <a:gd name="T68" fmla="*/ 42 w 1247"/>
                  <a:gd name="T69" fmla="*/ 176 h 976"/>
                  <a:gd name="T70" fmla="*/ 58 w 1247"/>
                  <a:gd name="T71" fmla="*/ 267 h 976"/>
                  <a:gd name="T72" fmla="*/ 7 w 1247"/>
                  <a:gd name="T73" fmla="*/ 261 h 976"/>
                  <a:gd name="T74" fmla="*/ 43 w 1247"/>
                  <a:gd name="T75" fmla="*/ 296 h 976"/>
                  <a:gd name="T76" fmla="*/ 91 w 1247"/>
                  <a:gd name="T77" fmla="*/ 337 h 976"/>
                  <a:gd name="T78" fmla="*/ 142 w 1247"/>
                  <a:gd name="T79" fmla="*/ 459 h 976"/>
                  <a:gd name="T80" fmla="*/ 210 w 1247"/>
                  <a:gd name="T81" fmla="*/ 506 h 976"/>
                  <a:gd name="T82" fmla="*/ 172 w 1247"/>
                  <a:gd name="T83" fmla="*/ 452 h 976"/>
                  <a:gd name="T84" fmla="*/ 162 w 1247"/>
                  <a:gd name="T85" fmla="*/ 387 h 976"/>
                  <a:gd name="T86" fmla="*/ 131 w 1247"/>
                  <a:gd name="T87" fmla="*/ 319 h 976"/>
                  <a:gd name="T88" fmla="*/ 116 w 1247"/>
                  <a:gd name="T89" fmla="*/ 227 h 976"/>
                  <a:gd name="T90" fmla="*/ 66 w 1247"/>
                  <a:gd name="T91" fmla="*/ 128 h 976"/>
                  <a:gd name="T92" fmla="*/ 84 w 1247"/>
                  <a:gd name="T93" fmla="*/ 42 h 976"/>
                  <a:gd name="T94" fmla="*/ 138 w 1247"/>
                  <a:gd name="T95" fmla="*/ 73 h 976"/>
                  <a:gd name="T96" fmla="*/ 160 w 1247"/>
                  <a:gd name="T97" fmla="*/ 180 h 976"/>
                  <a:gd name="T98" fmla="*/ 208 w 1247"/>
                  <a:gd name="T99" fmla="*/ 284 h 976"/>
                  <a:gd name="T100" fmla="*/ 257 w 1247"/>
                  <a:gd name="T101" fmla="*/ 318 h 976"/>
                  <a:gd name="T102" fmla="*/ 255 w 1247"/>
                  <a:gd name="T103" fmla="*/ 375 h 976"/>
                  <a:gd name="T104" fmla="*/ 294 w 1247"/>
                  <a:gd name="T105" fmla="*/ 418 h 976"/>
                  <a:gd name="T106" fmla="*/ 313 w 1247"/>
                  <a:gd name="T107" fmla="*/ 456 h 976"/>
                  <a:gd name="T108" fmla="*/ 371 w 1247"/>
                  <a:gd name="T109" fmla="*/ 575 h 976"/>
                  <a:gd name="T110" fmla="*/ 375 w 1247"/>
                  <a:gd name="T111" fmla="*/ 645 h 976"/>
                  <a:gd name="T112" fmla="*/ 423 w 1247"/>
                  <a:gd name="T113" fmla="*/ 740 h 976"/>
                  <a:gd name="T114" fmla="*/ 556 w 1247"/>
                  <a:gd name="T115" fmla="*/ 838 h 976"/>
                  <a:gd name="T116" fmla="*/ 677 w 1247"/>
                  <a:gd name="T117" fmla="*/ 899 h 976"/>
                  <a:gd name="T118" fmla="*/ 840 w 1247"/>
                  <a:gd name="T119" fmla="*/ 878 h 976"/>
                  <a:gd name="T120" fmla="*/ 947 w 1247"/>
                  <a:gd name="T121" fmla="*/ 960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47" h="976">
                    <a:moveTo>
                      <a:pt x="947" y="960"/>
                    </a:moveTo>
                    <a:cubicBezTo>
                      <a:pt x="947" y="944"/>
                      <a:pt x="947" y="922"/>
                      <a:pt x="947" y="922"/>
                    </a:cubicBezTo>
                    <a:cubicBezTo>
                      <a:pt x="968" y="891"/>
                      <a:pt x="968" y="891"/>
                      <a:pt x="968" y="891"/>
                    </a:cubicBezTo>
                    <a:cubicBezTo>
                      <a:pt x="1027" y="892"/>
                      <a:pt x="1027" y="892"/>
                      <a:pt x="1027" y="892"/>
                    </a:cubicBezTo>
                    <a:cubicBezTo>
                      <a:pt x="1027" y="881"/>
                      <a:pt x="1027" y="881"/>
                      <a:pt x="1027" y="881"/>
                    </a:cubicBezTo>
                    <a:cubicBezTo>
                      <a:pt x="1027" y="881"/>
                      <a:pt x="1036" y="884"/>
                      <a:pt x="1036" y="874"/>
                    </a:cubicBezTo>
                    <a:cubicBezTo>
                      <a:pt x="1036" y="864"/>
                      <a:pt x="1024" y="868"/>
                      <a:pt x="1024" y="868"/>
                    </a:cubicBezTo>
                    <a:cubicBezTo>
                      <a:pt x="1020" y="852"/>
                      <a:pt x="1020" y="852"/>
                      <a:pt x="1020" y="852"/>
                    </a:cubicBezTo>
                    <a:cubicBezTo>
                      <a:pt x="1020" y="852"/>
                      <a:pt x="1018" y="853"/>
                      <a:pt x="1008" y="851"/>
                    </a:cubicBezTo>
                    <a:cubicBezTo>
                      <a:pt x="998" y="849"/>
                      <a:pt x="997" y="833"/>
                      <a:pt x="997" y="833"/>
                    </a:cubicBezTo>
                    <a:cubicBezTo>
                      <a:pt x="987" y="829"/>
                      <a:pt x="987" y="829"/>
                      <a:pt x="987" y="829"/>
                    </a:cubicBezTo>
                    <a:cubicBezTo>
                      <a:pt x="987" y="829"/>
                      <a:pt x="1013" y="831"/>
                      <a:pt x="1015" y="825"/>
                    </a:cubicBezTo>
                    <a:cubicBezTo>
                      <a:pt x="1017" y="819"/>
                      <a:pt x="1014" y="795"/>
                      <a:pt x="1014" y="795"/>
                    </a:cubicBezTo>
                    <a:cubicBezTo>
                      <a:pt x="1101" y="796"/>
                      <a:pt x="1101" y="796"/>
                      <a:pt x="1101" y="796"/>
                    </a:cubicBezTo>
                    <a:cubicBezTo>
                      <a:pt x="1101" y="796"/>
                      <a:pt x="1103" y="786"/>
                      <a:pt x="1108" y="786"/>
                    </a:cubicBezTo>
                    <a:cubicBezTo>
                      <a:pt x="1113" y="786"/>
                      <a:pt x="1107" y="794"/>
                      <a:pt x="1118" y="793"/>
                    </a:cubicBezTo>
                    <a:cubicBezTo>
                      <a:pt x="1129" y="792"/>
                      <a:pt x="1136" y="760"/>
                      <a:pt x="1136" y="760"/>
                    </a:cubicBezTo>
                    <a:cubicBezTo>
                      <a:pt x="1139" y="771"/>
                      <a:pt x="1139" y="771"/>
                      <a:pt x="1139" y="771"/>
                    </a:cubicBezTo>
                    <a:cubicBezTo>
                      <a:pt x="1150" y="761"/>
                      <a:pt x="1150" y="761"/>
                      <a:pt x="1150" y="761"/>
                    </a:cubicBezTo>
                    <a:cubicBezTo>
                      <a:pt x="1164" y="745"/>
                      <a:pt x="1164" y="745"/>
                      <a:pt x="1164" y="745"/>
                    </a:cubicBezTo>
                    <a:cubicBezTo>
                      <a:pt x="1164" y="745"/>
                      <a:pt x="1158" y="764"/>
                      <a:pt x="1162" y="767"/>
                    </a:cubicBezTo>
                    <a:cubicBezTo>
                      <a:pt x="1166" y="770"/>
                      <a:pt x="1173" y="770"/>
                      <a:pt x="1173" y="770"/>
                    </a:cubicBezTo>
                    <a:cubicBezTo>
                      <a:pt x="1188" y="725"/>
                      <a:pt x="1188" y="725"/>
                      <a:pt x="1188" y="725"/>
                    </a:cubicBezTo>
                    <a:cubicBezTo>
                      <a:pt x="1182" y="717"/>
                      <a:pt x="1182" y="717"/>
                      <a:pt x="1182" y="717"/>
                    </a:cubicBezTo>
                    <a:cubicBezTo>
                      <a:pt x="1195" y="713"/>
                      <a:pt x="1195" y="713"/>
                      <a:pt x="1195" y="713"/>
                    </a:cubicBezTo>
                    <a:cubicBezTo>
                      <a:pt x="1196" y="705"/>
                      <a:pt x="1196" y="705"/>
                      <a:pt x="1196" y="705"/>
                    </a:cubicBezTo>
                    <a:cubicBezTo>
                      <a:pt x="1184" y="701"/>
                      <a:pt x="1184" y="701"/>
                      <a:pt x="1184" y="701"/>
                    </a:cubicBezTo>
                    <a:cubicBezTo>
                      <a:pt x="1196" y="688"/>
                      <a:pt x="1196" y="688"/>
                      <a:pt x="1196" y="688"/>
                    </a:cubicBezTo>
                    <a:cubicBezTo>
                      <a:pt x="1200" y="672"/>
                      <a:pt x="1200" y="672"/>
                      <a:pt x="1200" y="672"/>
                    </a:cubicBezTo>
                    <a:cubicBezTo>
                      <a:pt x="1200" y="672"/>
                      <a:pt x="1230" y="641"/>
                      <a:pt x="1234" y="632"/>
                    </a:cubicBezTo>
                    <a:cubicBezTo>
                      <a:pt x="1238" y="623"/>
                      <a:pt x="1247" y="600"/>
                      <a:pt x="1236" y="597"/>
                    </a:cubicBezTo>
                    <a:cubicBezTo>
                      <a:pt x="1225" y="594"/>
                      <a:pt x="1203" y="601"/>
                      <a:pt x="1203" y="601"/>
                    </a:cubicBezTo>
                    <a:cubicBezTo>
                      <a:pt x="1203" y="601"/>
                      <a:pt x="1179" y="594"/>
                      <a:pt x="1172" y="594"/>
                    </a:cubicBezTo>
                    <a:cubicBezTo>
                      <a:pt x="1165" y="594"/>
                      <a:pt x="1137" y="602"/>
                      <a:pt x="1123" y="606"/>
                    </a:cubicBezTo>
                    <a:cubicBezTo>
                      <a:pt x="1109" y="610"/>
                      <a:pt x="1084" y="606"/>
                      <a:pt x="1078" y="612"/>
                    </a:cubicBezTo>
                    <a:cubicBezTo>
                      <a:pt x="1072" y="618"/>
                      <a:pt x="1061" y="639"/>
                      <a:pt x="1060" y="655"/>
                    </a:cubicBezTo>
                    <a:cubicBezTo>
                      <a:pt x="1059" y="671"/>
                      <a:pt x="1059" y="686"/>
                      <a:pt x="1059" y="686"/>
                    </a:cubicBezTo>
                    <a:cubicBezTo>
                      <a:pt x="1049" y="690"/>
                      <a:pt x="1049" y="690"/>
                      <a:pt x="1049" y="690"/>
                    </a:cubicBezTo>
                    <a:cubicBezTo>
                      <a:pt x="1049" y="690"/>
                      <a:pt x="1049" y="710"/>
                      <a:pt x="1043" y="716"/>
                    </a:cubicBezTo>
                    <a:cubicBezTo>
                      <a:pt x="1037" y="722"/>
                      <a:pt x="1016" y="728"/>
                      <a:pt x="1011" y="737"/>
                    </a:cubicBezTo>
                    <a:cubicBezTo>
                      <a:pt x="1006" y="746"/>
                      <a:pt x="1009" y="765"/>
                      <a:pt x="996" y="766"/>
                    </a:cubicBezTo>
                    <a:cubicBezTo>
                      <a:pt x="983" y="767"/>
                      <a:pt x="990" y="749"/>
                      <a:pt x="974" y="749"/>
                    </a:cubicBezTo>
                    <a:cubicBezTo>
                      <a:pt x="958" y="749"/>
                      <a:pt x="932" y="761"/>
                      <a:pt x="912" y="761"/>
                    </a:cubicBezTo>
                    <a:cubicBezTo>
                      <a:pt x="892" y="761"/>
                      <a:pt x="864" y="784"/>
                      <a:pt x="855" y="780"/>
                    </a:cubicBezTo>
                    <a:cubicBezTo>
                      <a:pt x="846" y="776"/>
                      <a:pt x="847" y="755"/>
                      <a:pt x="836" y="753"/>
                    </a:cubicBezTo>
                    <a:cubicBezTo>
                      <a:pt x="825" y="751"/>
                      <a:pt x="797" y="748"/>
                      <a:pt x="797" y="748"/>
                    </a:cubicBezTo>
                    <a:cubicBezTo>
                      <a:pt x="797" y="748"/>
                      <a:pt x="795" y="731"/>
                      <a:pt x="790" y="724"/>
                    </a:cubicBezTo>
                    <a:cubicBezTo>
                      <a:pt x="785" y="717"/>
                      <a:pt x="777" y="708"/>
                      <a:pt x="777" y="708"/>
                    </a:cubicBezTo>
                    <a:cubicBezTo>
                      <a:pt x="777" y="685"/>
                      <a:pt x="777" y="685"/>
                      <a:pt x="777" y="685"/>
                    </a:cubicBezTo>
                    <a:cubicBezTo>
                      <a:pt x="751" y="644"/>
                      <a:pt x="751" y="644"/>
                      <a:pt x="751" y="644"/>
                    </a:cubicBezTo>
                    <a:cubicBezTo>
                      <a:pt x="750" y="616"/>
                      <a:pt x="750" y="616"/>
                      <a:pt x="750" y="616"/>
                    </a:cubicBezTo>
                    <a:cubicBezTo>
                      <a:pt x="739" y="596"/>
                      <a:pt x="739" y="596"/>
                      <a:pt x="739" y="596"/>
                    </a:cubicBezTo>
                    <a:cubicBezTo>
                      <a:pt x="736" y="539"/>
                      <a:pt x="736" y="539"/>
                      <a:pt x="736" y="539"/>
                    </a:cubicBezTo>
                    <a:cubicBezTo>
                      <a:pt x="736" y="539"/>
                      <a:pt x="752" y="518"/>
                      <a:pt x="752" y="507"/>
                    </a:cubicBezTo>
                    <a:cubicBezTo>
                      <a:pt x="752" y="496"/>
                      <a:pt x="754" y="466"/>
                      <a:pt x="754" y="466"/>
                    </a:cubicBezTo>
                    <a:cubicBezTo>
                      <a:pt x="752" y="439"/>
                      <a:pt x="752" y="439"/>
                      <a:pt x="752" y="439"/>
                    </a:cubicBezTo>
                    <a:cubicBezTo>
                      <a:pt x="768" y="434"/>
                      <a:pt x="768" y="434"/>
                      <a:pt x="768" y="434"/>
                    </a:cubicBezTo>
                    <a:cubicBezTo>
                      <a:pt x="768" y="434"/>
                      <a:pt x="767" y="394"/>
                      <a:pt x="775" y="392"/>
                    </a:cubicBezTo>
                    <a:cubicBezTo>
                      <a:pt x="783" y="390"/>
                      <a:pt x="791" y="401"/>
                      <a:pt x="793" y="392"/>
                    </a:cubicBezTo>
                    <a:cubicBezTo>
                      <a:pt x="795" y="383"/>
                      <a:pt x="806" y="364"/>
                      <a:pt x="806" y="364"/>
                    </a:cubicBezTo>
                    <a:cubicBezTo>
                      <a:pt x="806" y="363"/>
                      <a:pt x="806" y="363"/>
                      <a:pt x="806" y="363"/>
                    </a:cubicBezTo>
                    <a:cubicBezTo>
                      <a:pt x="803" y="364"/>
                      <a:pt x="799" y="365"/>
                      <a:pt x="794" y="365"/>
                    </a:cubicBezTo>
                    <a:cubicBezTo>
                      <a:pt x="783" y="365"/>
                      <a:pt x="785" y="355"/>
                      <a:pt x="780" y="355"/>
                    </a:cubicBezTo>
                    <a:cubicBezTo>
                      <a:pt x="775" y="355"/>
                      <a:pt x="756" y="355"/>
                      <a:pt x="756" y="355"/>
                    </a:cubicBezTo>
                    <a:cubicBezTo>
                      <a:pt x="750" y="344"/>
                      <a:pt x="750" y="344"/>
                      <a:pt x="750" y="344"/>
                    </a:cubicBezTo>
                    <a:cubicBezTo>
                      <a:pt x="750" y="344"/>
                      <a:pt x="720" y="343"/>
                      <a:pt x="720" y="332"/>
                    </a:cubicBezTo>
                    <a:cubicBezTo>
                      <a:pt x="720" y="321"/>
                      <a:pt x="722" y="313"/>
                      <a:pt x="722" y="313"/>
                    </a:cubicBezTo>
                    <a:cubicBezTo>
                      <a:pt x="714" y="307"/>
                      <a:pt x="714" y="307"/>
                      <a:pt x="714" y="307"/>
                    </a:cubicBezTo>
                    <a:cubicBezTo>
                      <a:pt x="714" y="280"/>
                      <a:pt x="714" y="280"/>
                      <a:pt x="714" y="280"/>
                    </a:cubicBezTo>
                    <a:cubicBezTo>
                      <a:pt x="714" y="280"/>
                      <a:pt x="724" y="277"/>
                      <a:pt x="717" y="270"/>
                    </a:cubicBezTo>
                    <a:cubicBezTo>
                      <a:pt x="710" y="263"/>
                      <a:pt x="701" y="262"/>
                      <a:pt x="701" y="254"/>
                    </a:cubicBezTo>
                    <a:cubicBezTo>
                      <a:pt x="701" y="247"/>
                      <a:pt x="700" y="241"/>
                      <a:pt x="700" y="241"/>
                    </a:cubicBezTo>
                    <a:cubicBezTo>
                      <a:pt x="700" y="241"/>
                      <a:pt x="689" y="234"/>
                      <a:pt x="689" y="225"/>
                    </a:cubicBezTo>
                    <a:cubicBezTo>
                      <a:pt x="689" y="216"/>
                      <a:pt x="697" y="201"/>
                      <a:pt x="689" y="193"/>
                    </a:cubicBezTo>
                    <a:cubicBezTo>
                      <a:pt x="681" y="185"/>
                      <a:pt x="661" y="154"/>
                      <a:pt x="661" y="154"/>
                    </a:cubicBezTo>
                    <a:cubicBezTo>
                      <a:pt x="632" y="153"/>
                      <a:pt x="632" y="153"/>
                      <a:pt x="632" y="153"/>
                    </a:cubicBezTo>
                    <a:cubicBezTo>
                      <a:pt x="622" y="148"/>
                      <a:pt x="622" y="148"/>
                      <a:pt x="622" y="148"/>
                    </a:cubicBezTo>
                    <a:cubicBezTo>
                      <a:pt x="621" y="154"/>
                      <a:pt x="621" y="154"/>
                      <a:pt x="621" y="154"/>
                    </a:cubicBezTo>
                    <a:cubicBezTo>
                      <a:pt x="621" y="154"/>
                      <a:pt x="609" y="153"/>
                      <a:pt x="605" y="157"/>
                    </a:cubicBezTo>
                    <a:cubicBezTo>
                      <a:pt x="601" y="161"/>
                      <a:pt x="588" y="195"/>
                      <a:pt x="569" y="195"/>
                    </a:cubicBezTo>
                    <a:cubicBezTo>
                      <a:pt x="550" y="195"/>
                      <a:pt x="519" y="161"/>
                      <a:pt x="519" y="161"/>
                    </a:cubicBezTo>
                    <a:cubicBezTo>
                      <a:pt x="519" y="161"/>
                      <a:pt x="529" y="119"/>
                      <a:pt x="519" y="109"/>
                    </a:cubicBezTo>
                    <a:cubicBezTo>
                      <a:pt x="508" y="98"/>
                      <a:pt x="497" y="97"/>
                      <a:pt x="497" y="97"/>
                    </a:cubicBezTo>
                    <a:cubicBezTo>
                      <a:pt x="491" y="76"/>
                      <a:pt x="491" y="76"/>
                      <a:pt x="491" y="76"/>
                    </a:cubicBezTo>
                    <a:cubicBezTo>
                      <a:pt x="473" y="68"/>
                      <a:pt x="473" y="68"/>
                      <a:pt x="473" y="68"/>
                    </a:cubicBezTo>
                    <a:cubicBezTo>
                      <a:pt x="473" y="68"/>
                      <a:pt x="478" y="60"/>
                      <a:pt x="463" y="45"/>
                    </a:cubicBezTo>
                    <a:cubicBezTo>
                      <a:pt x="390" y="45"/>
                      <a:pt x="390" y="45"/>
                      <a:pt x="390" y="45"/>
                    </a:cubicBezTo>
                    <a:cubicBezTo>
                      <a:pt x="390" y="45"/>
                      <a:pt x="383" y="49"/>
                      <a:pt x="383" y="55"/>
                    </a:cubicBezTo>
                    <a:cubicBezTo>
                      <a:pt x="383" y="61"/>
                      <a:pt x="385" y="65"/>
                      <a:pt x="382" y="69"/>
                    </a:cubicBezTo>
                    <a:cubicBezTo>
                      <a:pt x="378" y="72"/>
                      <a:pt x="378" y="72"/>
                      <a:pt x="378" y="72"/>
                    </a:cubicBezTo>
                    <a:cubicBezTo>
                      <a:pt x="246" y="74"/>
                      <a:pt x="246" y="74"/>
                      <a:pt x="246" y="74"/>
                    </a:cubicBezTo>
                    <a:cubicBezTo>
                      <a:pt x="106" y="10"/>
                      <a:pt x="106" y="10"/>
                      <a:pt x="106" y="10"/>
                    </a:cubicBezTo>
                    <a:cubicBezTo>
                      <a:pt x="106" y="10"/>
                      <a:pt x="96" y="10"/>
                      <a:pt x="106" y="0"/>
                    </a:cubicBezTo>
                    <a:cubicBezTo>
                      <a:pt x="7" y="4"/>
                      <a:pt x="7" y="4"/>
                      <a:pt x="7" y="4"/>
                    </a:cubicBezTo>
                    <a:cubicBezTo>
                      <a:pt x="4" y="2"/>
                      <a:pt x="4" y="2"/>
                      <a:pt x="4" y="2"/>
                    </a:cubicBezTo>
                    <a:cubicBezTo>
                      <a:pt x="2" y="12"/>
                      <a:pt x="0" y="20"/>
                      <a:pt x="0" y="25"/>
                    </a:cubicBezTo>
                    <a:cubicBezTo>
                      <a:pt x="0" y="36"/>
                      <a:pt x="13" y="54"/>
                      <a:pt x="13" y="54"/>
                    </a:cubicBezTo>
                    <a:cubicBezTo>
                      <a:pt x="2" y="61"/>
                      <a:pt x="2" y="61"/>
                      <a:pt x="2" y="61"/>
                    </a:cubicBezTo>
                    <a:cubicBezTo>
                      <a:pt x="10" y="76"/>
                      <a:pt x="10" y="76"/>
                      <a:pt x="10" y="76"/>
                    </a:cubicBezTo>
                    <a:cubicBezTo>
                      <a:pt x="3" y="86"/>
                      <a:pt x="3" y="86"/>
                      <a:pt x="3" y="86"/>
                    </a:cubicBezTo>
                    <a:cubicBezTo>
                      <a:pt x="16" y="97"/>
                      <a:pt x="16" y="97"/>
                      <a:pt x="16" y="97"/>
                    </a:cubicBezTo>
                    <a:cubicBezTo>
                      <a:pt x="5" y="117"/>
                      <a:pt x="5" y="117"/>
                      <a:pt x="5" y="117"/>
                    </a:cubicBezTo>
                    <a:cubicBezTo>
                      <a:pt x="14" y="121"/>
                      <a:pt x="14" y="121"/>
                      <a:pt x="14" y="121"/>
                    </a:cubicBezTo>
                    <a:cubicBezTo>
                      <a:pt x="14" y="121"/>
                      <a:pt x="11" y="162"/>
                      <a:pt x="20" y="171"/>
                    </a:cubicBezTo>
                    <a:cubicBezTo>
                      <a:pt x="29" y="180"/>
                      <a:pt x="42" y="176"/>
                      <a:pt x="42" y="176"/>
                    </a:cubicBezTo>
                    <a:cubicBezTo>
                      <a:pt x="42" y="176"/>
                      <a:pt x="66" y="219"/>
                      <a:pt x="66" y="227"/>
                    </a:cubicBezTo>
                    <a:cubicBezTo>
                      <a:pt x="66" y="235"/>
                      <a:pt x="47" y="260"/>
                      <a:pt x="47" y="260"/>
                    </a:cubicBezTo>
                    <a:cubicBezTo>
                      <a:pt x="58" y="267"/>
                      <a:pt x="58" y="267"/>
                      <a:pt x="58" y="267"/>
                    </a:cubicBezTo>
                    <a:cubicBezTo>
                      <a:pt x="50" y="276"/>
                      <a:pt x="50" y="276"/>
                      <a:pt x="50" y="276"/>
                    </a:cubicBezTo>
                    <a:cubicBezTo>
                      <a:pt x="41" y="264"/>
                      <a:pt x="41" y="264"/>
                      <a:pt x="41" y="264"/>
                    </a:cubicBezTo>
                    <a:cubicBezTo>
                      <a:pt x="7" y="261"/>
                      <a:pt x="7" y="261"/>
                      <a:pt x="7" y="261"/>
                    </a:cubicBezTo>
                    <a:cubicBezTo>
                      <a:pt x="23" y="279"/>
                      <a:pt x="23" y="279"/>
                      <a:pt x="23" y="279"/>
                    </a:cubicBezTo>
                    <a:cubicBezTo>
                      <a:pt x="29" y="295"/>
                      <a:pt x="29" y="295"/>
                      <a:pt x="29" y="295"/>
                    </a:cubicBezTo>
                    <a:cubicBezTo>
                      <a:pt x="43" y="296"/>
                      <a:pt x="43" y="296"/>
                      <a:pt x="43" y="296"/>
                    </a:cubicBezTo>
                    <a:cubicBezTo>
                      <a:pt x="43" y="296"/>
                      <a:pt x="60" y="319"/>
                      <a:pt x="65" y="317"/>
                    </a:cubicBezTo>
                    <a:cubicBezTo>
                      <a:pt x="70" y="315"/>
                      <a:pt x="85" y="305"/>
                      <a:pt x="85" y="305"/>
                    </a:cubicBezTo>
                    <a:cubicBezTo>
                      <a:pt x="85" y="305"/>
                      <a:pt x="84" y="328"/>
                      <a:pt x="91" y="337"/>
                    </a:cubicBezTo>
                    <a:cubicBezTo>
                      <a:pt x="98" y="346"/>
                      <a:pt x="113" y="358"/>
                      <a:pt x="113" y="368"/>
                    </a:cubicBezTo>
                    <a:cubicBezTo>
                      <a:pt x="113" y="378"/>
                      <a:pt x="96" y="398"/>
                      <a:pt x="102" y="412"/>
                    </a:cubicBezTo>
                    <a:cubicBezTo>
                      <a:pt x="108" y="426"/>
                      <a:pt x="128" y="442"/>
                      <a:pt x="142" y="459"/>
                    </a:cubicBezTo>
                    <a:cubicBezTo>
                      <a:pt x="156" y="476"/>
                      <a:pt x="175" y="497"/>
                      <a:pt x="175" y="497"/>
                    </a:cubicBezTo>
                    <a:cubicBezTo>
                      <a:pt x="175" y="497"/>
                      <a:pt x="162" y="524"/>
                      <a:pt x="178" y="525"/>
                    </a:cubicBezTo>
                    <a:cubicBezTo>
                      <a:pt x="194" y="526"/>
                      <a:pt x="210" y="506"/>
                      <a:pt x="210" y="506"/>
                    </a:cubicBezTo>
                    <a:cubicBezTo>
                      <a:pt x="206" y="493"/>
                      <a:pt x="206" y="493"/>
                      <a:pt x="206" y="493"/>
                    </a:cubicBezTo>
                    <a:cubicBezTo>
                      <a:pt x="206" y="493"/>
                      <a:pt x="198" y="457"/>
                      <a:pt x="190" y="453"/>
                    </a:cubicBezTo>
                    <a:cubicBezTo>
                      <a:pt x="182" y="449"/>
                      <a:pt x="172" y="452"/>
                      <a:pt x="172" y="452"/>
                    </a:cubicBezTo>
                    <a:cubicBezTo>
                      <a:pt x="160" y="435"/>
                      <a:pt x="160" y="435"/>
                      <a:pt x="160" y="435"/>
                    </a:cubicBezTo>
                    <a:cubicBezTo>
                      <a:pt x="160" y="435"/>
                      <a:pt x="164" y="422"/>
                      <a:pt x="162" y="414"/>
                    </a:cubicBezTo>
                    <a:cubicBezTo>
                      <a:pt x="160" y="406"/>
                      <a:pt x="162" y="387"/>
                      <a:pt x="162" y="387"/>
                    </a:cubicBezTo>
                    <a:cubicBezTo>
                      <a:pt x="150" y="365"/>
                      <a:pt x="150" y="365"/>
                      <a:pt x="150" y="365"/>
                    </a:cubicBezTo>
                    <a:cubicBezTo>
                      <a:pt x="150" y="365"/>
                      <a:pt x="160" y="341"/>
                      <a:pt x="156" y="329"/>
                    </a:cubicBezTo>
                    <a:cubicBezTo>
                      <a:pt x="152" y="317"/>
                      <a:pt x="131" y="319"/>
                      <a:pt x="131" y="319"/>
                    </a:cubicBezTo>
                    <a:cubicBezTo>
                      <a:pt x="131" y="288"/>
                      <a:pt x="131" y="288"/>
                      <a:pt x="131" y="288"/>
                    </a:cubicBezTo>
                    <a:cubicBezTo>
                      <a:pt x="114" y="267"/>
                      <a:pt x="114" y="267"/>
                      <a:pt x="114" y="267"/>
                    </a:cubicBezTo>
                    <a:cubicBezTo>
                      <a:pt x="116" y="227"/>
                      <a:pt x="116" y="227"/>
                      <a:pt x="116" y="227"/>
                    </a:cubicBezTo>
                    <a:cubicBezTo>
                      <a:pt x="116" y="227"/>
                      <a:pt x="102" y="207"/>
                      <a:pt x="97" y="201"/>
                    </a:cubicBezTo>
                    <a:cubicBezTo>
                      <a:pt x="92" y="195"/>
                      <a:pt x="89" y="170"/>
                      <a:pt x="89" y="170"/>
                    </a:cubicBezTo>
                    <a:cubicBezTo>
                      <a:pt x="89" y="170"/>
                      <a:pt x="63" y="132"/>
                      <a:pt x="66" y="128"/>
                    </a:cubicBezTo>
                    <a:cubicBezTo>
                      <a:pt x="69" y="124"/>
                      <a:pt x="79" y="107"/>
                      <a:pt x="75" y="95"/>
                    </a:cubicBezTo>
                    <a:cubicBezTo>
                      <a:pt x="71" y="83"/>
                      <a:pt x="85" y="67"/>
                      <a:pt x="85" y="67"/>
                    </a:cubicBezTo>
                    <a:cubicBezTo>
                      <a:pt x="84" y="42"/>
                      <a:pt x="84" y="42"/>
                      <a:pt x="84" y="42"/>
                    </a:cubicBezTo>
                    <a:cubicBezTo>
                      <a:pt x="84" y="42"/>
                      <a:pt x="104" y="62"/>
                      <a:pt x="113" y="62"/>
                    </a:cubicBezTo>
                    <a:cubicBezTo>
                      <a:pt x="122" y="62"/>
                      <a:pt x="134" y="58"/>
                      <a:pt x="134" y="58"/>
                    </a:cubicBezTo>
                    <a:cubicBezTo>
                      <a:pt x="134" y="58"/>
                      <a:pt x="131" y="69"/>
                      <a:pt x="138" y="73"/>
                    </a:cubicBezTo>
                    <a:cubicBezTo>
                      <a:pt x="145" y="77"/>
                      <a:pt x="155" y="77"/>
                      <a:pt x="155" y="77"/>
                    </a:cubicBezTo>
                    <a:cubicBezTo>
                      <a:pt x="155" y="77"/>
                      <a:pt x="152" y="88"/>
                      <a:pt x="152" y="106"/>
                    </a:cubicBezTo>
                    <a:cubicBezTo>
                      <a:pt x="152" y="124"/>
                      <a:pt x="160" y="180"/>
                      <a:pt x="160" y="180"/>
                    </a:cubicBezTo>
                    <a:cubicBezTo>
                      <a:pt x="160" y="180"/>
                      <a:pt x="181" y="255"/>
                      <a:pt x="189" y="257"/>
                    </a:cubicBezTo>
                    <a:cubicBezTo>
                      <a:pt x="197" y="259"/>
                      <a:pt x="217" y="257"/>
                      <a:pt x="217" y="257"/>
                    </a:cubicBezTo>
                    <a:cubicBezTo>
                      <a:pt x="217" y="257"/>
                      <a:pt x="199" y="268"/>
                      <a:pt x="208" y="284"/>
                    </a:cubicBezTo>
                    <a:cubicBezTo>
                      <a:pt x="217" y="300"/>
                      <a:pt x="234" y="302"/>
                      <a:pt x="234" y="302"/>
                    </a:cubicBezTo>
                    <a:cubicBezTo>
                      <a:pt x="236" y="317"/>
                      <a:pt x="236" y="317"/>
                      <a:pt x="236" y="317"/>
                    </a:cubicBezTo>
                    <a:cubicBezTo>
                      <a:pt x="257" y="318"/>
                      <a:pt x="257" y="318"/>
                      <a:pt x="257" y="318"/>
                    </a:cubicBezTo>
                    <a:cubicBezTo>
                      <a:pt x="260" y="346"/>
                      <a:pt x="260" y="346"/>
                      <a:pt x="260" y="346"/>
                    </a:cubicBezTo>
                    <a:cubicBezTo>
                      <a:pt x="260" y="346"/>
                      <a:pt x="228" y="359"/>
                      <a:pt x="238" y="374"/>
                    </a:cubicBezTo>
                    <a:cubicBezTo>
                      <a:pt x="248" y="389"/>
                      <a:pt x="255" y="375"/>
                      <a:pt x="255" y="375"/>
                    </a:cubicBezTo>
                    <a:cubicBezTo>
                      <a:pt x="255" y="375"/>
                      <a:pt x="264" y="395"/>
                      <a:pt x="270" y="397"/>
                    </a:cubicBezTo>
                    <a:cubicBezTo>
                      <a:pt x="276" y="399"/>
                      <a:pt x="294" y="401"/>
                      <a:pt x="294" y="404"/>
                    </a:cubicBezTo>
                    <a:cubicBezTo>
                      <a:pt x="294" y="407"/>
                      <a:pt x="294" y="418"/>
                      <a:pt x="294" y="418"/>
                    </a:cubicBezTo>
                    <a:cubicBezTo>
                      <a:pt x="294" y="418"/>
                      <a:pt x="279" y="437"/>
                      <a:pt x="290" y="438"/>
                    </a:cubicBezTo>
                    <a:cubicBezTo>
                      <a:pt x="301" y="439"/>
                      <a:pt x="313" y="437"/>
                      <a:pt x="313" y="437"/>
                    </a:cubicBezTo>
                    <a:cubicBezTo>
                      <a:pt x="313" y="456"/>
                      <a:pt x="313" y="456"/>
                      <a:pt x="313" y="456"/>
                    </a:cubicBezTo>
                    <a:cubicBezTo>
                      <a:pt x="313" y="456"/>
                      <a:pt x="335" y="481"/>
                      <a:pt x="345" y="495"/>
                    </a:cubicBezTo>
                    <a:cubicBezTo>
                      <a:pt x="355" y="509"/>
                      <a:pt x="373" y="538"/>
                      <a:pt x="373" y="547"/>
                    </a:cubicBezTo>
                    <a:cubicBezTo>
                      <a:pt x="373" y="556"/>
                      <a:pt x="370" y="562"/>
                      <a:pt x="371" y="575"/>
                    </a:cubicBezTo>
                    <a:cubicBezTo>
                      <a:pt x="372" y="588"/>
                      <a:pt x="386" y="595"/>
                      <a:pt x="384" y="606"/>
                    </a:cubicBezTo>
                    <a:cubicBezTo>
                      <a:pt x="382" y="617"/>
                      <a:pt x="364" y="625"/>
                      <a:pt x="364" y="632"/>
                    </a:cubicBezTo>
                    <a:cubicBezTo>
                      <a:pt x="364" y="639"/>
                      <a:pt x="375" y="645"/>
                      <a:pt x="375" y="645"/>
                    </a:cubicBezTo>
                    <a:cubicBezTo>
                      <a:pt x="375" y="645"/>
                      <a:pt x="351" y="642"/>
                      <a:pt x="351" y="659"/>
                    </a:cubicBezTo>
                    <a:cubicBezTo>
                      <a:pt x="351" y="676"/>
                      <a:pt x="350" y="717"/>
                      <a:pt x="373" y="719"/>
                    </a:cubicBezTo>
                    <a:cubicBezTo>
                      <a:pt x="396" y="721"/>
                      <a:pt x="416" y="727"/>
                      <a:pt x="423" y="740"/>
                    </a:cubicBezTo>
                    <a:cubicBezTo>
                      <a:pt x="430" y="753"/>
                      <a:pt x="437" y="779"/>
                      <a:pt x="453" y="781"/>
                    </a:cubicBezTo>
                    <a:cubicBezTo>
                      <a:pt x="469" y="783"/>
                      <a:pt x="496" y="777"/>
                      <a:pt x="507" y="788"/>
                    </a:cubicBezTo>
                    <a:cubicBezTo>
                      <a:pt x="518" y="799"/>
                      <a:pt x="525" y="825"/>
                      <a:pt x="556" y="838"/>
                    </a:cubicBezTo>
                    <a:cubicBezTo>
                      <a:pt x="587" y="851"/>
                      <a:pt x="632" y="851"/>
                      <a:pt x="639" y="861"/>
                    </a:cubicBezTo>
                    <a:cubicBezTo>
                      <a:pt x="646" y="871"/>
                      <a:pt x="649" y="881"/>
                      <a:pt x="659" y="881"/>
                    </a:cubicBezTo>
                    <a:cubicBezTo>
                      <a:pt x="669" y="881"/>
                      <a:pt x="677" y="899"/>
                      <a:pt x="677" y="899"/>
                    </a:cubicBezTo>
                    <a:cubicBezTo>
                      <a:pt x="677" y="899"/>
                      <a:pt x="720" y="894"/>
                      <a:pt x="722" y="897"/>
                    </a:cubicBezTo>
                    <a:cubicBezTo>
                      <a:pt x="724" y="900"/>
                      <a:pt x="731" y="921"/>
                      <a:pt x="745" y="917"/>
                    </a:cubicBezTo>
                    <a:cubicBezTo>
                      <a:pt x="759" y="913"/>
                      <a:pt x="829" y="875"/>
                      <a:pt x="840" y="878"/>
                    </a:cubicBezTo>
                    <a:cubicBezTo>
                      <a:pt x="851" y="881"/>
                      <a:pt x="921" y="938"/>
                      <a:pt x="924" y="946"/>
                    </a:cubicBezTo>
                    <a:cubicBezTo>
                      <a:pt x="926" y="951"/>
                      <a:pt x="927" y="964"/>
                      <a:pt x="933" y="974"/>
                    </a:cubicBezTo>
                    <a:cubicBezTo>
                      <a:pt x="933" y="974"/>
                      <a:pt x="947" y="976"/>
                      <a:pt x="947" y="960"/>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58" name="Freeform 80">
                <a:extLst>
                  <a:ext uri="{FF2B5EF4-FFF2-40B4-BE49-F238E27FC236}">
                    <a16:creationId xmlns:a16="http://schemas.microsoft.com/office/drawing/2014/main" id="{71BCB90A-3CE4-43AA-868B-51BFE1C2704F}"/>
                  </a:ext>
                </a:extLst>
              </p:cNvPr>
              <p:cNvSpPr>
                <a:spLocks/>
              </p:cNvSpPr>
              <p:nvPr>
                <p:custDataLst>
                  <p:tags r:id="rId39"/>
                </p:custDataLst>
              </p:nvPr>
            </p:nvSpPr>
            <p:spPr bwMode="gray">
              <a:xfrm>
                <a:off x="1962139" y="3905265"/>
                <a:ext cx="177799" cy="92075"/>
              </a:xfrm>
              <a:custGeom>
                <a:avLst/>
                <a:gdLst>
                  <a:gd name="T0" fmla="*/ 103 w 296"/>
                  <a:gd name="T1" fmla="*/ 162 h 166"/>
                  <a:gd name="T2" fmla="*/ 105 w 296"/>
                  <a:gd name="T3" fmla="*/ 151 h 166"/>
                  <a:gd name="T4" fmla="*/ 114 w 296"/>
                  <a:gd name="T5" fmla="*/ 149 h 166"/>
                  <a:gd name="T6" fmla="*/ 115 w 296"/>
                  <a:gd name="T7" fmla="*/ 122 h 166"/>
                  <a:gd name="T8" fmla="*/ 135 w 296"/>
                  <a:gd name="T9" fmla="*/ 123 h 166"/>
                  <a:gd name="T10" fmla="*/ 148 w 296"/>
                  <a:gd name="T11" fmla="*/ 109 h 166"/>
                  <a:gd name="T12" fmla="*/ 162 w 296"/>
                  <a:gd name="T13" fmla="*/ 118 h 166"/>
                  <a:gd name="T14" fmla="*/ 189 w 296"/>
                  <a:gd name="T15" fmla="*/ 95 h 166"/>
                  <a:gd name="T16" fmla="*/ 190 w 296"/>
                  <a:gd name="T17" fmla="*/ 85 h 166"/>
                  <a:gd name="T18" fmla="*/ 203 w 296"/>
                  <a:gd name="T19" fmla="*/ 84 h 166"/>
                  <a:gd name="T20" fmla="*/ 213 w 296"/>
                  <a:gd name="T21" fmla="*/ 65 h 166"/>
                  <a:gd name="T22" fmla="*/ 238 w 296"/>
                  <a:gd name="T23" fmla="*/ 76 h 166"/>
                  <a:gd name="T24" fmla="*/ 251 w 296"/>
                  <a:gd name="T25" fmla="*/ 66 h 166"/>
                  <a:gd name="T26" fmla="*/ 262 w 296"/>
                  <a:gd name="T27" fmla="*/ 66 h 166"/>
                  <a:gd name="T28" fmla="*/ 281 w 296"/>
                  <a:gd name="T29" fmla="*/ 65 h 166"/>
                  <a:gd name="T30" fmla="*/ 294 w 296"/>
                  <a:gd name="T31" fmla="*/ 55 h 166"/>
                  <a:gd name="T32" fmla="*/ 283 w 296"/>
                  <a:gd name="T33" fmla="*/ 41 h 166"/>
                  <a:gd name="T34" fmla="*/ 268 w 296"/>
                  <a:gd name="T35" fmla="*/ 35 h 166"/>
                  <a:gd name="T36" fmla="*/ 248 w 296"/>
                  <a:gd name="T37" fmla="*/ 18 h 166"/>
                  <a:gd name="T38" fmla="*/ 230 w 296"/>
                  <a:gd name="T39" fmla="*/ 13 h 166"/>
                  <a:gd name="T40" fmla="*/ 214 w 296"/>
                  <a:gd name="T41" fmla="*/ 1 h 166"/>
                  <a:gd name="T42" fmla="*/ 192 w 296"/>
                  <a:gd name="T43" fmla="*/ 9 h 166"/>
                  <a:gd name="T44" fmla="*/ 171 w 296"/>
                  <a:gd name="T45" fmla="*/ 0 h 166"/>
                  <a:gd name="T46" fmla="*/ 148 w 296"/>
                  <a:gd name="T47" fmla="*/ 18 h 166"/>
                  <a:gd name="T48" fmla="*/ 125 w 296"/>
                  <a:gd name="T49" fmla="*/ 17 h 166"/>
                  <a:gd name="T50" fmla="*/ 109 w 296"/>
                  <a:gd name="T51" fmla="*/ 11 h 166"/>
                  <a:gd name="T52" fmla="*/ 89 w 296"/>
                  <a:gd name="T53" fmla="*/ 16 h 166"/>
                  <a:gd name="T54" fmla="*/ 81 w 296"/>
                  <a:gd name="T55" fmla="*/ 2 h 166"/>
                  <a:gd name="T56" fmla="*/ 59 w 296"/>
                  <a:gd name="T57" fmla="*/ 15 h 166"/>
                  <a:gd name="T58" fmla="*/ 39 w 296"/>
                  <a:gd name="T59" fmla="*/ 34 h 166"/>
                  <a:gd name="T60" fmla="*/ 11 w 296"/>
                  <a:gd name="T61" fmla="*/ 58 h 166"/>
                  <a:gd name="T62" fmla="*/ 9 w 296"/>
                  <a:gd name="T63" fmla="*/ 79 h 166"/>
                  <a:gd name="T64" fmla="*/ 0 w 296"/>
                  <a:gd name="T65" fmla="*/ 86 h 166"/>
                  <a:gd name="T66" fmla="*/ 13 w 296"/>
                  <a:gd name="T67" fmla="*/ 102 h 166"/>
                  <a:gd name="T68" fmla="*/ 28 w 296"/>
                  <a:gd name="T69" fmla="*/ 102 h 166"/>
                  <a:gd name="T70" fmla="*/ 36 w 296"/>
                  <a:gd name="T71" fmla="*/ 118 h 166"/>
                  <a:gd name="T72" fmla="*/ 52 w 296"/>
                  <a:gd name="T73" fmla="*/ 112 h 166"/>
                  <a:gd name="T74" fmla="*/ 67 w 296"/>
                  <a:gd name="T75" fmla="*/ 114 h 166"/>
                  <a:gd name="T76" fmla="*/ 68 w 296"/>
                  <a:gd name="T77" fmla="*/ 143 h 166"/>
                  <a:gd name="T78" fmla="*/ 85 w 296"/>
                  <a:gd name="T79" fmla="*/ 148 h 166"/>
                  <a:gd name="T80" fmla="*/ 89 w 296"/>
                  <a:gd name="T81" fmla="*/ 166 h 166"/>
                  <a:gd name="T82" fmla="*/ 103 w 296"/>
                  <a:gd name="T83" fmla="*/ 1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6" h="166">
                    <a:moveTo>
                      <a:pt x="103" y="162"/>
                    </a:moveTo>
                    <a:cubicBezTo>
                      <a:pt x="109" y="160"/>
                      <a:pt x="105" y="151"/>
                      <a:pt x="105" y="151"/>
                    </a:cubicBezTo>
                    <a:cubicBezTo>
                      <a:pt x="114" y="149"/>
                      <a:pt x="114" y="149"/>
                      <a:pt x="114" y="149"/>
                    </a:cubicBezTo>
                    <a:cubicBezTo>
                      <a:pt x="114" y="149"/>
                      <a:pt x="100" y="122"/>
                      <a:pt x="115" y="122"/>
                    </a:cubicBezTo>
                    <a:cubicBezTo>
                      <a:pt x="130" y="122"/>
                      <a:pt x="135" y="123"/>
                      <a:pt x="135" y="123"/>
                    </a:cubicBezTo>
                    <a:cubicBezTo>
                      <a:pt x="135" y="123"/>
                      <a:pt x="140" y="108"/>
                      <a:pt x="148" y="109"/>
                    </a:cubicBezTo>
                    <a:cubicBezTo>
                      <a:pt x="156" y="110"/>
                      <a:pt x="147" y="118"/>
                      <a:pt x="162" y="118"/>
                    </a:cubicBezTo>
                    <a:cubicBezTo>
                      <a:pt x="177" y="118"/>
                      <a:pt x="189" y="95"/>
                      <a:pt x="189" y="95"/>
                    </a:cubicBezTo>
                    <a:cubicBezTo>
                      <a:pt x="190" y="85"/>
                      <a:pt x="190" y="85"/>
                      <a:pt x="190" y="85"/>
                    </a:cubicBezTo>
                    <a:cubicBezTo>
                      <a:pt x="203" y="84"/>
                      <a:pt x="203" y="84"/>
                      <a:pt x="203" y="84"/>
                    </a:cubicBezTo>
                    <a:cubicBezTo>
                      <a:pt x="203" y="84"/>
                      <a:pt x="204" y="64"/>
                      <a:pt x="213" y="65"/>
                    </a:cubicBezTo>
                    <a:cubicBezTo>
                      <a:pt x="222" y="66"/>
                      <a:pt x="228" y="77"/>
                      <a:pt x="238" y="76"/>
                    </a:cubicBezTo>
                    <a:cubicBezTo>
                      <a:pt x="248" y="75"/>
                      <a:pt x="247" y="66"/>
                      <a:pt x="251" y="66"/>
                    </a:cubicBezTo>
                    <a:cubicBezTo>
                      <a:pt x="255" y="66"/>
                      <a:pt x="262" y="66"/>
                      <a:pt x="262" y="66"/>
                    </a:cubicBezTo>
                    <a:cubicBezTo>
                      <a:pt x="281" y="65"/>
                      <a:pt x="281" y="65"/>
                      <a:pt x="281" y="65"/>
                    </a:cubicBezTo>
                    <a:cubicBezTo>
                      <a:pt x="282" y="61"/>
                      <a:pt x="296" y="62"/>
                      <a:pt x="294" y="55"/>
                    </a:cubicBezTo>
                    <a:cubicBezTo>
                      <a:pt x="292" y="48"/>
                      <a:pt x="283" y="41"/>
                      <a:pt x="283" y="41"/>
                    </a:cubicBezTo>
                    <a:cubicBezTo>
                      <a:pt x="268" y="35"/>
                      <a:pt x="268" y="35"/>
                      <a:pt x="268" y="35"/>
                    </a:cubicBezTo>
                    <a:cubicBezTo>
                      <a:pt x="268" y="35"/>
                      <a:pt x="257" y="27"/>
                      <a:pt x="248" y="18"/>
                    </a:cubicBezTo>
                    <a:cubicBezTo>
                      <a:pt x="239" y="9"/>
                      <a:pt x="230" y="13"/>
                      <a:pt x="230" y="13"/>
                    </a:cubicBezTo>
                    <a:cubicBezTo>
                      <a:pt x="230" y="13"/>
                      <a:pt x="226" y="1"/>
                      <a:pt x="214" y="1"/>
                    </a:cubicBezTo>
                    <a:cubicBezTo>
                      <a:pt x="202" y="1"/>
                      <a:pt x="192" y="9"/>
                      <a:pt x="192" y="9"/>
                    </a:cubicBezTo>
                    <a:cubicBezTo>
                      <a:pt x="192" y="9"/>
                      <a:pt x="178" y="0"/>
                      <a:pt x="171" y="0"/>
                    </a:cubicBezTo>
                    <a:cubicBezTo>
                      <a:pt x="164" y="0"/>
                      <a:pt x="148" y="18"/>
                      <a:pt x="148" y="18"/>
                    </a:cubicBezTo>
                    <a:cubicBezTo>
                      <a:pt x="125" y="17"/>
                      <a:pt x="125" y="17"/>
                      <a:pt x="125" y="17"/>
                    </a:cubicBezTo>
                    <a:cubicBezTo>
                      <a:pt x="125" y="17"/>
                      <a:pt x="112" y="11"/>
                      <a:pt x="109" y="11"/>
                    </a:cubicBezTo>
                    <a:cubicBezTo>
                      <a:pt x="106" y="11"/>
                      <a:pt x="89" y="16"/>
                      <a:pt x="89" y="16"/>
                    </a:cubicBezTo>
                    <a:cubicBezTo>
                      <a:pt x="89" y="16"/>
                      <a:pt x="84" y="2"/>
                      <a:pt x="81" y="2"/>
                    </a:cubicBezTo>
                    <a:cubicBezTo>
                      <a:pt x="78" y="2"/>
                      <a:pt x="59" y="15"/>
                      <a:pt x="59" y="15"/>
                    </a:cubicBezTo>
                    <a:cubicBezTo>
                      <a:pt x="59" y="15"/>
                      <a:pt x="54" y="26"/>
                      <a:pt x="39" y="34"/>
                    </a:cubicBezTo>
                    <a:cubicBezTo>
                      <a:pt x="24" y="42"/>
                      <a:pt x="11" y="58"/>
                      <a:pt x="11" y="58"/>
                    </a:cubicBezTo>
                    <a:cubicBezTo>
                      <a:pt x="11" y="58"/>
                      <a:pt x="12" y="70"/>
                      <a:pt x="9" y="79"/>
                    </a:cubicBezTo>
                    <a:cubicBezTo>
                      <a:pt x="8" y="82"/>
                      <a:pt x="4" y="85"/>
                      <a:pt x="0" y="86"/>
                    </a:cubicBezTo>
                    <a:cubicBezTo>
                      <a:pt x="2" y="91"/>
                      <a:pt x="6" y="102"/>
                      <a:pt x="13" y="102"/>
                    </a:cubicBezTo>
                    <a:cubicBezTo>
                      <a:pt x="22" y="102"/>
                      <a:pt x="28" y="102"/>
                      <a:pt x="28" y="102"/>
                    </a:cubicBezTo>
                    <a:cubicBezTo>
                      <a:pt x="28" y="102"/>
                      <a:pt x="27" y="120"/>
                      <a:pt x="36" y="118"/>
                    </a:cubicBezTo>
                    <a:cubicBezTo>
                      <a:pt x="45" y="116"/>
                      <a:pt x="47" y="111"/>
                      <a:pt x="52" y="112"/>
                    </a:cubicBezTo>
                    <a:cubicBezTo>
                      <a:pt x="57" y="113"/>
                      <a:pt x="67" y="114"/>
                      <a:pt x="67" y="114"/>
                    </a:cubicBezTo>
                    <a:cubicBezTo>
                      <a:pt x="68" y="143"/>
                      <a:pt x="68" y="143"/>
                      <a:pt x="68" y="143"/>
                    </a:cubicBezTo>
                    <a:cubicBezTo>
                      <a:pt x="85" y="148"/>
                      <a:pt x="85" y="148"/>
                      <a:pt x="85" y="148"/>
                    </a:cubicBezTo>
                    <a:cubicBezTo>
                      <a:pt x="92" y="158"/>
                      <a:pt x="89" y="166"/>
                      <a:pt x="89" y="166"/>
                    </a:cubicBezTo>
                    <a:cubicBezTo>
                      <a:pt x="89" y="166"/>
                      <a:pt x="97" y="164"/>
                      <a:pt x="103" y="162"/>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59" name="Freeform 81">
                <a:extLst>
                  <a:ext uri="{FF2B5EF4-FFF2-40B4-BE49-F238E27FC236}">
                    <a16:creationId xmlns:a16="http://schemas.microsoft.com/office/drawing/2014/main" id="{3828C9E9-D791-4C4B-9234-C29E97627E05}"/>
                  </a:ext>
                </a:extLst>
              </p:cNvPr>
              <p:cNvSpPr>
                <a:spLocks/>
              </p:cNvSpPr>
              <p:nvPr>
                <p:custDataLst>
                  <p:tags r:id="rId40"/>
                </p:custDataLst>
              </p:nvPr>
            </p:nvSpPr>
            <p:spPr bwMode="gray">
              <a:xfrm>
                <a:off x="2120888" y="4094178"/>
                <a:ext cx="166687" cy="79375"/>
              </a:xfrm>
              <a:custGeom>
                <a:avLst/>
                <a:gdLst>
                  <a:gd name="T0" fmla="*/ 209 w 279"/>
                  <a:gd name="T1" fmla="*/ 47 h 141"/>
                  <a:gd name="T2" fmla="*/ 224 w 279"/>
                  <a:gd name="T3" fmla="*/ 66 h 141"/>
                  <a:gd name="T4" fmla="*/ 232 w 279"/>
                  <a:gd name="T5" fmla="*/ 63 h 141"/>
                  <a:gd name="T6" fmla="*/ 254 w 279"/>
                  <a:gd name="T7" fmla="*/ 81 h 141"/>
                  <a:gd name="T8" fmla="*/ 232 w 279"/>
                  <a:gd name="T9" fmla="*/ 71 h 141"/>
                  <a:gd name="T10" fmla="*/ 229 w 279"/>
                  <a:gd name="T11" fmla="*/ 106 h 141"/>
                  <a:gd name="T12" fmla="*/ 243 w 279"/>
                  <a:gd name="T13" fmla="*/ 128 h 141"/>
                  <a:gd name="T14" fmla="*/ 243 w 279"/>
                  <a:gd name="T15" fmla="*/ 128 h 141"/>
                  <a:gd name="T16" fmla="*/ 253 w 279"/>
                  <a:gd name="T17" fmla="*/ 107 h 141"/>
                  <a:gd name="T18" fmla="*/ 269 w 279"/>
                  <a:gd name="T19" fmla="*/ 109 h 141"/>
                  <a:gd name="T20" fmla="*/ 279 w 279"/>
                  <a:gd name="T21" fmla="*/ 84 h 141"/>
                  <a:gd name="T22" fmla="*/ 266 w 279"/>
                  <a:gd name="T23" fmla="*/ 70 h 141"/>
                  <a:gd name="T24" fmla="*/ 270 w 279"/>
                  <a:gd name="T25" fmla="*/ 58 h 141"/>
                  <a:gd name="T26" fmla="*/ 255 w 279"/>
                  <a:gd name="T27" fmla="*/ 46 h 141"/>
                  <a:gd name="T28" fmla="*/ 236 w 279"/>
                  <a:gd name="T29" fmla="*/ 18 h 141"/>
                  <a:gd name="T30" fmla="*/ 196 w 279"/>
                  <a:gd name="T31" fmla="*/ 13 h 141"/>
                  <a:gd name="T32" fmla="*/ 195 w 279"/>
                  <a:gd name="T33" fmla="*/ 4 h 141"/>
                  <a:gd name="T34" fmla="*/ 163 w 279"/>
                  <a:gd name="T35" fmla="*/ 7 h 141"/>
                  <a:gd name="T36" fmla="*/ 144 w 279"/>
                  <a:gd name="T37" fmla="*/ 27 h 141"/>
                  <a:gd name="T38" fmla="*/ 126 w 279"/>
                  <a:gd name="T39" fmla="*/ 25 h 141"/>
                  <a:gd name="T40" fmla="*/ 94 w 279"/>
                  <a:gd name="T41" fmla="*/ 50 h 141"/>
                  <a:gd name="T42" fmla="*/ 75 w 279"/>
                  <a:gd name="T43" fmla="*/ 43 h 141"/>
                  <a:gd name="T44" fmla="*/ 65 w 279"/>
                  <a:gd name="T45" fmla="*/ 32 h 141"/>
                  <a:gd name="T46" fmla="*/ 59 w 279"/>
                  <a:gd name="T47" fmla="*/ 39 h 141"/>
                  <a:gd name="T48" fmla="*/ 40 w 279"/>
                  <a:gd name="T49" fmla="*/ 35 h 141"/>
                  <a:gd name="T50" fmla="*/ 35 w 279"/>
                  <a:gd name="T51" fmla="*/ 10 h 141"/>
                  <a:gd name="T52" fmla="*/ 27 w 279"/>
                  <a:gd name="T53" fmla="*/ 5 h 141"/>
                  <a:gd name="T54" fmla="*/ 10 w 279"/>
                  <a:gd name="T55" fmla="*/ 11 h 141"/>
                  <a:gd name="T56" fmla="*/ 10 w 279"/>
                  <a:gd name="T57" fmla="*/ 33 h 141"/>
                  <a:gd name="T58" fmla="*/ 24 w 279"/>
                  <a:gd name="T59" fmla="*/ 40 h 141"/>
                  <a:gd name="T60" fmla="*/ 11 w 279"/>
                  <a:gd name="T61" fmla="*/ 51 h 141"/>
                  <a:gd name="T62" fmla="*/ 10 w 279"/>
                  <a:gd name="T63" fmla="*/ 65 h 141"/>
                  <a:gd name="T64" fmla="*/ 6 w 279"/>
                  <a:gd name="T65" fmla="*/ 70 h 141"/>
                  <a:gd name="T66" fmla="*/ 11 w 279"/>
                  <a:gd name="T67" fmla="*/ 75 h 141"/>
                  <a:gd name="T68" fmla="*/ 39 w 279"/>
                  <a:gd name="T69" fmla="*/ 69 h 141"/>
                  <a:gd name="T70" fmla="*/ 44 w 279"/>
                  <a:gd name="T71" fmla="*/ 81 h 141"/>
                  <a:gd name="T72" fmla="*/ 64 w 279"/>
                  <a:gd name="T73" fmla="*/ 80 h 141"/>
                  <a:gd name="T74" fmla="*/ 67 w 279"/>
                  <a:gd name="T75" fmla="*/ 107 h 141"/>
                  <a:gd name="T76" fmla="*/ 86 w 279"/>
                  <a:gd name="T77" fmla="*/ 102 h 141"/>
                  <a:gd name="T78" fmla="*/ 86 w 279"/>
                  <a:gd name="T79" fmla="*/ 89 h 141"/>
                  <a:gd name="T80" fmla="*/ 97 w 279"/>
                  <a:gd name="T81" fmla="*/ 88 h 141"/>
                  <a:gd name="T82" fmla="*/ 115 w 279"/>
                  <a:gd name="T83" fmla="*/ 134 h 141"/>
                  <a:gd name="T84" fmla="*/ 143 w 279"/>
                  <a:gd name="T85" fmla="*/ 118 h 141"/>
                  <a:gd name="T86" fmla="*/ 116 w 279"/>
                  <a:gd name="T87" fmla="*/ 81 h 141"/>
                  <a:gd name="T88" fmla="*/ 147 w 279"/>
                  <a:gd name="T89" fmla="*/ 62 h 141"/>
                  <a:gd name="T90" fmla="*/ 177 w 279"/>
                  <a:gd name="T91" fmla="*/ 36 h 141"/>
                  <a:gd name="T92" fmla="*/ 209 w 279"/>
                  <a:gd name="T93" fmla="*/ 47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9" h="141">
                    <a:moveTo>
                      <a:pt x="209" y="47"/>
                    </a:moveTo>
                    <a:cubicBezTo>
                      <a:pt x="215" y="51"/>
                      <a:pt x="224" y="66"/>
                      <a:pt x="224" y="66"/>
                    </a:cubicBezTo>
                    <a:cubicBezTo>
                      <a:pt x="232" y="63"/>
                      <a:pt x="232" y="63"/>
                      <a:pt x="232" y="63"/>
                    </a:cubicBezTo>
                    <a:cubicBezTo>
                      <a:pt x="254" y="81"/>
                      <a:pt x="254" y="81"/>
                      <a:pt x="254" y="81"/>
                    </a:cubicBezTo>
                    <a:cubicBezTo>
                      <a:pt x="232" y="71"/>
                      <a:pt x="232" y="71"/>
                      <a:pt x="232" y="71"/>
                    </a:cubicBezTo>
                    <a:cubicBezTo>
                      <a:pt x="232" y="71"/>
                      <a:pt x="229" y="100"/>
                      <a:pt x="229" y="106"/>
                    </a:cubicBezTo>
                    <a:cubicBezTo>
                      <a:pt x="229" y="111"/>
                      <a:pt x="240" y="124"/>
                      <a:pt x="243" y="128"/>
                    </a:cubicBezTo>
                    <a:cubicBezTo>
                      <a:pt x="243" y="128"/>
                      <a:pt x="243" y="128"/>
                      <a:pt x="243" y="128"/>
                    </a:cubicBezTo>
                    <a:cubicBezTo>
                      <a:pt x="253" y="107"/>
                      <a:pt x="253" y="107"/>
                      <a:pt x="253" y="107"/>
                    </a:cubicBezTo>
                    <a:cubicBezTo>
                      <a:pt x="253" y="107"/>
                      <a:pt x="260" y="117"/>
                      <a:pt x="269" y="109"/>
                    </a:cubicBezTo>
                    <a:cubicBezTo>
                      <a:pt x="279" y="101"/>
                      <a:pt x="279" y="84"/>
                      <a:pt x="279" y="84"/>
                    </a:cubicBezTo>
                    <a:cubicBezTo>
                      <a:pt x="279" y="84"/>
                      <a:pt x="266" y="77"/>
                      <a:pt x="266" y="70"/>
                    </a:cubicBezTo>
                    <a:cubicBezTo>
                      <a:pt x="266" y="64"/>
                      <a:pt x="269" y="59"/>
                      <a:pt x="270" y="58"/>
                    </a:cubicBezTo>
                    <a:cubicBezTo>
                      <a:pt x="255" y="46"/>
                      <a:pt x="255" y="46"/>
                      <a:pt x="255" y="46"/>
                    </a:cubicBezTo>
                    <a:cubicBezTo>
                      <a:pt x="255" y="46"/>
                      <a:pt x="251" y="24"/>
                      <a:pt x="236" y="18"/>
                    </a:cubicBezTo>
                    <a:cubicBezTo>
                      <a:pt x="221" y="12"/>
                      <a:pt x="196" y="13"/>
                      <a:pt x="196" y="13"/>
                    </a:cubicBezTo>
                    <a:cubicBezTo>
                      <a:pt x="195" y="4"/>
                      <a:pt x="195" y="4"/>
                      <a:pt x="195" y="4"/>
                    </a:cubicBezTo>
                    <a:cubicBezTo>
                      <a:pt x="195" y="4"/>
                      <a:pt x="169" y="0"/>
                      <a:pt x="163" y="7"/>
                    </a:cubicBezTo>
                    <a:cubicBezTo>
                      <a:pt x="157" y="14"/>
                      <a:pt x="144" y="27"/>
                      <a:pt x="144" y="27"/>
                    </a:cubicBezTo>
                    <a:cubicBezTo>
                      <a:pt x="144" y="27"/>
                      <a:pt x="134" y="18"/>
                      <a:pt x="126" y="25"/>
                    </a:cubicBezTo>
                    <a:cubicBezTo>
                      <a:pt x="118" y="32"/>
                      <a:pt x="104" y="50"/>
                      <a:pt x="94" y="50"/>
                    </a:cubicBezTo>
                    <a:cubicBezTo>
                      <a:pt x="84" y="50"/>
                      <a:pt x="75" y="43"/>
                      <a:pt x="75" y="43"/>
                    </a:cubicBezTo>
                    <a:cubicBezTo>
                      <a:pt x="65" y="32"/>
                      <a:pt x="65" y="32"/>
                      <a:pt x="65" y="32"/>
                    </a:cubicBezTo>
                    <a:cubicBezTo>
                      <a:pt x="59" y="39"/>
                      <a:pt x="59" y="39"/>
                      <a:pt x="59" y="39"/>
                    </a:cubicBezTo>
                    <a:cubicBezTo>
                      <a:pt x="59" y="39"/>
                      <a:pt x="45" y="44"/>
                      <a:pt x="40" y="35"/>
                    </a:cubicBezTo>
                    <a:cubicBezTo>
                      <a:pt x="35" y="26"/>
                      <a:pt x="42" y="16"/>
                      <a:pt x="35" y="10"/>
                    </a:cubicBezTo>
                    <a:cubicBezTo>
                      <a:pt x="33" y="8"/>
                      <a:pt x="30" y="7"/>
                      <a:pt x="27" y="5"/>
                    </a:cubicBezTo>
                    <a:cubicBezTo>
                      <a:pt x="23" y="6"/>
                      <a:pt x="16" y="9"/>
                      <a:pt x="10" y="11"/>
                    </a:cubicBezTo>
                    <a:cubicBezTo>
                      <a:pt x="0" y="14"/>
                      <a:pt x="10" y="33"/>
                      <a:pt x="10" y="33"/>
                    </a:cubicBezTo>
                    <a:cubicBezTo>
                      <a:pt x="10" y="33"/>
                      <a:pt x="24" y="35"/>
                      <a:pt x="24" y="40"/>
                    </a:cubicBezTo>
                    <a:cubicBezTo>
                      <a:pt x="24" y="45"/>
                      <a:pt x="11" y="51"/>
                      <a:pt x="11" y="51"/>
                    </a:cubicBezTo>
                    <a:cubicBezTo>
                      <a:pt x="10" y="65"/>
                      <a:pt x="10" y="65"/>
                      <a:pt x="10" y="65"/>
                    </a:cubicBezTo>
                    <a:cubicBezTo>
                      <a:pt x="6" y="70"/>
                      <a:pt x="6" y="70"/>
                      <a:pt x="6" y="70"/>
                    </a:cubicBezTo>
                    <a:cubicBezTo>
                      <a:pt x="11" y="75"/>
                      <a:pt x="11" y="75"/>
                      <a:pt x="11" y="75"/>
                    </a:cubicBezTo>
                    <a:cubicBezTo>
                      <a:pt x="39" y="69"/>
                      <a:pt x="39" y="69"/>
                      <a:pt x="39" y="69"/>
                    </a:cubicBezTo>
                    <a:cubicBezTo>
                      <a:pt x="44" y="81"/>
                      <a:pt x="44" y="81"/>
                      <a:pt x="44" y="81"/>
                    </a:cubicBezTo>
                    <a:cubicBezTo>
                      <a:pt x="64" y="80"/>
                      <a:pt x="64" y="80"/>
                      <a:pt x="64" y="80"/>
                    </a:cubicBezTo>
                    <a:cubicBezTo>
                      <a:pt x="64" y="80"/>
                      <a:pt x="59" y="102"/>
                      <a:pt x="67" y="107"/>
                    </a:cubicBezTo>
                    <a:cubicBezTo>
                      <a:pt x="75" y="112"/>
                      <a:pt x="86" y="102"/>
                      <a:pt x="86" y="102"/>
                    </a:cubicBezTo>
                    <a:cubicBezTo>
                      <a:pt x="86" y="89"/>
                      <a:pt x="86" y="89"/>
                      <a:pt x="86" y="89"/>
                    </a:cubicBezTo>
                    <a:cubicBezTo>
                      <a:pt x="97" y="88"/>
                      <a:pt x="97" y="88"/>
                      <a:pt x="97" y="88"/>
                    </a:cubicBezTo>
                    <a:cubicBezTo>
                      <a:pt x="97" y="88"/>
                      <a:pt x="101" y="141"/>
                      <a:pt x="115" y="134"/>
                    </a:cubicBezTo>
                    <a:cubicBezTo>
                      <a:pt x="129" y="127"/>
                      <a:pt x="143" y="118"/>
                      <a:pt x="143" y="118"/>
                    </a:cubicBezTo>
                    <a:cubicBezTo>
                      <a:pt x="143" y="118"/>
                      <a:pt x="105" y="91"/>
                      <a:pt x="116" y="81"/>
                    </a:cubicBezTo>
                    <a:cubicBezTo>
                      <a:pt x="127" y="71"/>
                      <a:pt x="138" y="70"/>
                      <a:pt x="147" y="62"/>
                    </a:cubicBezTo>
                    <a:cubicBezTo>
                      <a:pt x="156" y="54"/>
                      <a:pt x="167" y="34"/>
                      <a:pt x="177" y="36"/>
                    </a:cubicBezTo>
                    <a:cubicBezTo>
                      <a:pt x="187" y="38"/>
                      <a:pt x="203" y="43"/>
                      <a:pt x="209" y="47"/>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60" name="Freeform 82">
                <a:extLst>
                  <a:ext uri="{FF2B5EF4-FFF2-40B4-BE49-F238E27FC236}">
                    <a16:creationId xmlns:a16="http://schemas.microsoft.com/office/drawing/2014/main" id="{4FFC7BBE-2B33-4C40-B2C8-4D912FF357A9}"/>
                  </a:ext>
                </a:extLst>
              </p:cNvPr>
              <p:cNvSpPr>
                <a:spLocks/>
              </p:cNvSpPr>
              <p:nvPr>
                <p:custDataLst>
                  <p:tags r:id="rId41"/>
                </p:custDataLst>
              </p:nvPr>
            </p:nvSpPr>
            <p:spPr bwMode="gray">
              <a:xfrm>
                <a:off x="2463785" y="3790964"/>
                <a:ext cx="103187" cy="61914"/>
              </a:xfrm>
              <a:custGeom>
                <a:avLst/>
                <a:gdLst>
                  <a:gd name="T0" fmla="*/ 165 w 172"/>
                  <a:gd name="T1" fmla="*/ 68 h 111"/>
                  <a:gd name="T2" fmla="*/ 128 w 172"/>
                  <a:gd name="T3" fmla="*/ 43 h 111"/>
                  <a:gd name="T4" fmla="*/ 97 w 172"/>
                  <a:gd name="T5" fmla="*/ 32 h 111"/>
                  <a:gd name="T6" fmla="*/ 75 w 172"/>
                  <a:gd name="T7" fmla="*/ 5 h 111"/>
                  <a:gd name="T8" fmla="*/ 29 w 172"/>
                  <a:gd name="T9" fmla="*/ 0 h 111"/>
                  <a:gd name="T10" fmla="*/ 15 w 172"/>
                  <a:gd name="T11" fmla="*/ 4 h 111"/>
                  <a:gd name="T12" fmla="*/ 21 w 172"/>
                  <a:gd name="T13" fmla="*/ 26 h 111"/>
                  <a:gd name="T14" fmla="*/ 14 w 172"/>
                  <a:gd name="T15" fmla="*/ 48 h 111"/>
                  <a:gd name="T16" fmla="*/ 3 w 172"/>
                  <a:gd name="T17" fmla="*/ 73 h 111"/>
                  <a:gd name="T18" fmla="*/ 10 w 172"/>
                  <a:gd name="T19" fmla="*/ 97 h 111"/>
                  <a:gd name="T20" fmla="*/ 0 w 172"/>
                  <a:gd name="T21" fmla="*/ 84 h 111"/>
                  <a:gd name="T22" fmla="*/ 23 w 172"/>
                  <a:gd name="T23" fmla="*/ 111 h 111"/>
                  <a:gd name="T24" fmla="*/ 56 w 172"/>
                  <a:gd name="T25" fmla="*/ 87 h 111"/>
                  <a:gd name="T26" fmla="*/ 118 w 172"/>
                  <a:gd name="T27" fmla="*/ 89 h 111"/>
                  <a:gd name="T28" fmla="*/ 161 w 172"/>
                  <a:gd name="T29" fmla="*/ 89 h 111"/>
                  <a:gd name="T30" fmla="*/ 165 w 172"/>
                  <a:gd name="T31" fmla="*/ 6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2" h="111">
                    <a:moveTo>
                      <a:pt x="165" y="68"/>
                    </a:moveTo>
                    <a:cubicBezTo>
                      <a:pt x="165" y="68"/>
                      <a:pt x="143" y="49"/>
                      <a:pt x="128" y="43"/>
                    </a:cubicBezTo>
                    <a:cubicBezTo>
                      <a:pt x="114" y="38"/>
                      <a:pt x="108" y="36"/>
                      <a:pt x="97" y="32"/>
                    </a:cubicBezTo>
                    <a:cubicBezTo>
                      <a:pt x="87" y="28"/>
                      <a:pt x="81" y="9"/>
                      <a:pt x="75" y="5"/>
                    </a:cubicBezTo>
                    <a:cubicBezTo>
                      <a:pt x="69" y="2"/>
                      <a:pt x="46" y="0"/>
                      <a:pt x="29" y="0"/>
                    </a:cubicBezTo>
                    <a:cubicBezTo>
                      <a:pt x="22" y="0"/>
                      <a:pt x="18" y="2"/>
                      <a:pt x="15" y="4"/>
                    </a:cubicBezTo>
                    <a:cubicBezTo>
                      <a:pt x="17" y="10"/>
                      <a:pt x="21" y="20"/>
                      <a:pt x="21" y="26"/>
                    </a:cubicBezTo>
                    <a:cubicBezTo>
                      <a:pt x="20" y="36"/>
                      <a:pt x="16" y="39"/>
                      <a:pt x="14" y="48"/>
                    </a:cubicBezTo>
                    <a:cubicBezTo>
                      <a:pt x="11" y="57"/>
                      <a:pt x="3" y="73"/>
                      <a:pt x="3" y="73"/>
                    </a:cubicBezTo>
                    <a:cubicBezTo>
                      <a:pt x="10" y="97"/>
                      <a:pt x="10" y="97"/>
                      <a:pt x="10" y="97"/>
                    </a:cubicBezTo>
                    <a:cubicBezTo>
                      <a:pt x="0" y="84"/>
                      <a:pt x="0" y="84"/>
                      <a:pt x="0" y="84"/>
                    </a:cubicBezTo>
                    <a:cubicBezTo>
                      <a:pt x="23" y="111"/>
                      <a:pt x="23" y="111"/>
                      <a:pt x="23" y="111"/>
                    </a:cubicBezTo>
                    <a:cubicBezTo>
                      <a:pt x="56" y="87"/>
                      <a:pt x="56" y="87"/>
                      <a:pt x="56" y="87"/>
                    </a:cubicBezTo>
                    <a:cubicBezTo>
                      <a:pt x="56" y="87"/>
                      <a:pt x="85" y="87"/>
                      <a:pt x="118" y="89"/>
                    </a:cubicBezTo>
                    <a:cubicBezTo>
                      <a:pt x="131" y="90"/>
                      <a:pt x="153" y="93"/>
                      <a:pt x="161" y="89"/>
                    </a:cubicBezTo>
                    <a:cubicBezTo>
                      <a:pt x="172" y="83"/>
                      <a:pt x="165" y="68"/>
                      <a:pt x="165" y="68"/>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61" name="Freeform 83">
                <a:extLst>
                  <a:ext uri="{FF2B5EF4-FFF2-40B4-BE49-F238E27FC236}">
                    <a16:creationId xmlns:a16="http://schemas.microsoft.com/office/drawing/2014/main" id="{37DA0997-56B7-48E3-906C-CD1579784C5F}"/>
                  </a:ext>
                </a:extLst>
              </p:cNvPr>
              <p:cNvSpPr>
                <a:spLocks/>
              </p:cNvSpPr>
              <p:nvPr>
                <p:custDataLst>
                  <p:tags r:id="rId42"/>
                </p:custDataLst>
              </p:nvPr>
            </p:nvSpPr>
            <p:spPr bwMode="gray">
              <a:xfrm>
                <a:off x="2397111" y="3790964"/>
                <a:ext cx="79375" cy="58738"/>
              </a:xfrm>
              <a:custGeom>
                <a:avLst/>
                <a:gdLst>
                  <a:gd name="T0" fmla="*/ 114 w 132"/>
                  <a:gd name="T1" fmla="*/ 74 h 106"/>
                  <a:gd name="T2" fmla="*/ 125 w 132"/>
                  <a:gd name="T3" fmla="*/ 49 h 106"/>
                  <a:gd name="T4" fmla="*/ 132 w 132"/>
                  <a:gd name="T5" fmla="*/ 27 h 106"/>
                  <a:gd name="T6" fmla="*/ 126 w 132"/>
                  <a:gd name="T7" fmla="*/ 5 h 106"/>
                  <a:gd name="T8" fmla="*/ 120 w 132"/>
                  <a:gd name="T9" fmla="*/ 12 h 106"/>
                  <a:gd name="T10" fmla="*/ 70 w 132"/>
                  <a:gd name="T11" fmla="*/ 0 h 106"/>
                  <a:gd name="T12" fmla="*/ 43 w 132"/>
                  <a:gd name="T13" fmla="*/ 10 h 106"/>
                  <a:gd name="T14" fmla="*/ 68 w 132"/>
                  <a:gd name="T15" fmla="*/ 17 h 106"/>
                  <a:gd name="T16" fmla="*/ 87 w 132"/>
                  <a:gd name="T17" fmla="*/ 31 h 106"/>
                  <a:gd name="T18" fmla="*/ 74 w 132"/>
                  <a:gd name="T19" fmla="*/ 49 h 106"/>
                  <a:gd name="T20" fmla="*/ 72 w 132"/>
                  <a:gd name="T21" fmla="*/ 70 h 106"/>
                  <a:gd name="T22" fmla="*/ 31 w 132"/>
                  <a:gd name="T23" fmla="*/ 64 h 106"/>
                  <a:gd name="T24" fmla="*/ 0 w 132"/>
                  <a:gd name="T25" fmla="*/ 72 h 106"/>
                  <a:gd name="T26" fmla="*/ 26 w 132"/>
                  <a:gd name="T27" fmla="*/ 102 h 106"/>
                  <a:gd name="T28" fmla="*/ 43 w 132"/>
                  <a:gd name="T29" fmla="*/ 87 h 106"/>
                  <a:gd name="T30" fmla="*/ 74 w 132"/>
                  <a:gd name="T31" fmla="*/ 89 h 106"/>
                  <a:gd name="T32" fmla="*/ 111 w 132"/>
                  <a:gd name="T33" fmla="*/ 85 h 106"/>
                  <a:gd name="T34" fmla="*/ 121 w 132"/>
                  <a:gd name="T35" fmla="*/ 98 h 106"/>
                  <a:gd name="T36" fmla="*/ 114 w 132"/>
                  <a:gd name="T37" fmla="*/ 7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2" h="106">
                    <a:moveTo>
                      <a:pt x="114" y="74"/>
                    </a:moveTo>
                    <a:cubicBezTo>
                      <a:pt x="114" y="74"/>
                      <a:pt x="122" y="58"/>
                      <a:pt x="125" y="49"/>
                    </a:cubicBezTo>
                    <a:cubicBezTo>
                      <a:pt x="127" y="40"/>
                      <a:pt x="131" y="37"/>
                      <a:pt x="132" y="27"/>
                    </a:cubicBezTo>
                    <a:cubicBezTo>
                      <a:pt x="132" y="21"/>
                      <a:pt x="128" y="11"/>
                      <a:pt x="126" y="5"/>
                    </a:cubicBezTo>
                    <a:cubicBezTo>
                      <a:pt x="121" y="8"/>
                      <a:pt x="120" y="12"/>
                      <a:pt x="120" y="12"/>
                    </a:cubicBezTo>
                    <a:cubicBezTo>
                      <a:pt x="120" y="12"/>
                      <a:pt x="85" y="0"/>
                      <a:pt x="70" y="0"/>
                    </a:cubicBezTo>
                    <a:cubicBezTo>
                      <a:pt x="56" y="0"/>
                      <a:pt x="49" y="2"/>
                      <a:pt x="43" y="10"/>
                    </a:cubicBezTo>
                    <a:cubicBezTo>
                      <a:pt x="37" y="17"/>
                      <a:pt x="62" y="17"/>
                      <a:pt x="68" y="17"/>
                    </a:cubicBezTo>
                    <a:cubicBezTo>
                      <a:pt x="74" y="17"/>
                      <a:pt x="87" y="31"/>
                      <a:pt x="87" y="31"/>
                    </a:cubicBezTo>
                    <a:cubicBezTo>
                      <a:pt x="87" y="31"/>
                      <a:pt x="72" y="34"/>
                      <a:pt x="74" y="49"/>
                    </a:cubicBezTo>
                    <a:cubicBezTo>
                      <a:pt x="76" y="65"/>
                      <a:pt x="84" y="70"/>
                      <a:pt x="72" y="70"/>
                    </a:cubicBezTo>
                    <a:cubicBezTo>
                      <a:pt x="59" y="70"/>
                      <a:pt x="39" y="63"/>
                      <a:pt x="31" y="64"/>
                    </a:cubicBezTo>
                    <a:cubicBezTo>
                      <a:pt x="22" y="66"/>
                      <a:pt x="6" y="62"/>
                      <a:pt x="0" y="72"/>
                    </a:cubicBezTo>
                    <a:cubicBezTo>
                      <a:pt x="0" y="72"/>
                      <a:pt x="18" y="98"/>
                      <a:pt x="26" y="102"/>
                    </a:cubicBezTo>
                    <a:cubicBezTo>
                      <a:pt x="35" y="106"/>
                      <a:pt x="43" y="87"/>
                      <a:pt x="43" y="87"/>
                    </a:cubicBezTo>
                    <a:cubicBezTo>
                      <a:pt x="43" y="87"/>
                      <a:pt x="57" y="89"/>
                      <a:pt x="74" y="89"/>
                    </a:cubicBezTo>
                    <a:cubicBezTo>
                      <a:pt x="90" y="89"/>
                      <a:pt x="111" y="85"/>
                      <a:pt x="111" y="85"/>
                    </a:cubicBezTo>
                    <a:cubicBezTo>
                      <a:pt x="121" y="98"/>
                      <a:pt x="121" y="98"/>
                      <a:pt x="121" y="98"/>
                    </a:cubicBezTo>
                    <a:lnTo>
                      <a:pt x="114" y="74"/>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62" name="Freeform 84">
                <a:extLst>
                  <a:ext uri="{FF2B5EF4-FFF2-40B4-BE49-F238E27FC236}">
                    <a16:creationId xmlns:a16="http://schemas.microsoft.com/office/drawing/2014/main" id="{FA6BB38B-FC21-4C89-9837-AF10E896AFFF}"/>
                  </a:ext>
                </a:extLst>
              </p:cNvPr>
              <p:cNvSpPr>
                <a:spLocks/>
              </p:cNvSpPr>
              <p:nvPr>
                <p:custDataLst>
                  <p:tags r:id="rId43"/>
                </p:custDataLst>
              </p:nvPr>
            </p:nvSpPr>
            <p:spPr bwMode="gray">
              <a:xfrm>
                <a:off x="2359011" y="3113100"/>
                <a:ext cx="11113" cy="11112"/>
              </a:xfrm>
              <a:custGeom>
                <a:avLst/>
                <a:gdLst>
                  <a:gd name="T0" fmla="*/ 0 w 22"/>
                  <a:gd name="T1" fmla="*/ 15 h 25"/>
                  <a:gd name="T2" fmla="*/ 12 w 22"/>
                  <a:gd name="T3" fmla="*/ 22 h 25"/>
                  <a:gd name="T4" fmla="*/ 15 w 22"/>
                  <a:gd name="T5" fmla="*/ 9 h 25"/>
                  <a:gd name="T6" fmla="*/ 0 w 22"/>
                  <a:gd name="T7" fmla="*/ 15 h 25"/>
                </a:gdLst>
                <a:ahLst/>
                <a:cxnLst>
                  <a:cxn ang="0">
                    <a:pos x="T0" y="T1"/>
                  </a:cxn>
                  <a:cxn ang="0">
                    <a:pos x="T2" y="T3"/>
                  </a:cxn>
                  <a:cxn ang="0">
                    <a:pos x="T4" y="T5"/>
                  </a:cxn>
                  <a:cxn ang="0">
                    <a:pos x="T6" y="T7"/>
                  </a:cxn>
                </a:cxnLst>
                <a:rect l="0" t="0" r="r" b="b"/>
                <a:pathLst>
                  <a:path w="22" h="25">
                    <a:moveTo>
                      <a:pt x="0" y="15"/>
                    </a:moveTo>
                    <a:cubicBezTo>
                      <a:pt x="0" y="15"/>
                      <a:pt x="2" y="25"/>
                      <a:pt x="12" y="22"/>
                    </a:cubicBezTo>
                    <a:cubicBezTo>
                      <a:pt x="22" y="19"/>
                      <a:pt x="18" y="18"/>
                      <a:pt x="15" y="9"/>
                    </a:cubicBezTo>
                    <a:cubicBezTo>
                      <a:pt x="12" y="0"/>
                      <a:pt x="0" y="4"/>
                      <a:pt x="0" y="15"/>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63" name="Freeform 85">
                <a:extLst>
                  <a:ext uri="{FF2B5EF4-FFF2-40B4-BE49-F238E27FC236}">
                    <a16:creationId xmlns:a16="http://schemas.microsoft.com/office/drawing/2014/main" id="{61F20500-CF22-4019-84C9-B962E816AF4E}"/>
                  </a:ext>
                </a:extLst>
              </p:cNvPr>
              <p:cNvSpPr>
                <a:spLocks noEditPoints="1"/>
              </p:cNvSpPr>
              <p:nvPr>
                <p:custDataLst>
                  <p:tags r:id="rId44"/>
                </p:custDataLst>
              </p:nvPr>
            </p:nvSpPr>
            <p:spPr bwMode="gray">
              <a:xfrm>
                <a:off x="1319205" y="2065346"/>
                <a:ext cx="2235187" cy="1068390"/>
              </a:xfrm>
              <a:custGeom>
                <a:avLst/>
                <a:gdLst>
                  <a:gd name="T0" fmla="*/ 1824 w 3718"/>
                  <a:gd name="T1" fmla="*/ 304 h 1928"/>
                  <a:gd name="T2" fmla="*/ 1868 w 3718"/>
                  <a:gd name="T3" fmla="*/ 216 h 1928"/>
                  <a:gd name="T4" fmla="*/ 141 w 3718"/>
                  <a:gd name="T5" fmla="*/ 1354 h 1928"/>
                  <a:gd name="T6" fmla="*/ 138 w 3718"/>
                  <a:gd name="T7" fmla="*/ 1561 h 1928"/>
                  <a:gd name="T8" fmla="*/ 1554 w 3718"/>
                  <a:gd name="T9" fmla="*/ 213 h 1928"/>
                  <a:gd name="T10" fmla="*/ 34 w 3718"/>
                  <a:gd name="T11" fmla="*/ 1340 h 1928"/>
                  <a:gd name="T12" fmla="*/ 1227 w 3718"/>
                  <a:gd name="T13" fmla="*/ 437 h 1928"/>
                  <a:gd name="T14" fmla="*/ 2245 w 3718"/>
                  <a:gd name="T15" fmla="*/ 414 h 1928"/>
                  <a:gd name="T16" fmla="*/ 2627 w 3718"/>
                  <a:gd name="T17" fmla="*/ 171 h 1928"/>
                  <a:gd name="T18" fmla="*/ 2592 w 3718"/>
                  <a:gd name="T19" fmla="*/ 114 h 1928"/>
                  <a:gd name="T20" fmla="*/ 2731 w 3718"/>
                  <a:gd name="T21" fmla="*/ 327 h 1928"/>
                  <a:gd name="T22" fmla="*/ 2578 w 3718"/>
                  <a:gd name="T23" fmla="*/ 240 h 1928"/>
                  <a:gd name="T24" fmla="*/ 2488 w 3718"/>
                  <a:gd name="T25" fmla="*/ 156 h 1928"/>
                  <a:gd name="T26" fmla="*/ 1744 w 3718"/>
                  <a:gd name="T27" fmla="*/ 405 h 1928"/>
                  <a:gd name="T28" fmla="*/ 1851 w 3718"/>
                  <a:gd name="T29" fmla="*/ 586 h 1928"/>
                  <a:gd name="T30" fmla="*/ 2278 w 3718"/>
                  <a:gd name="T31" fmla="*/ 144 h 1928"/>
                  <a:gd name="T32" fmla="*/ 3024 w 3718"/>
                  <a:gd name="T33" fmla="*/ 564 h 1928"/>
                  <a:gd name="T34" fmla="*/ 2988 w 3718"/>
                  <a:gd name="T35" fmla="*/ 474 h 1928"/>
                  <a:gd name="T36" fmla="*/ 2753 w 3718"/>
                  <a:gd name="T37" fmla="*/ 381 h 1928"/>
                  <a:gd name="T38" fmla="*/ 2565 w 3718"/>
                  <a:gd name="T39" fmla="*/ 358 h 1928"/>
                  <a:gd name="T40" fmla="*/ 2816 w 3718"/>
                  <a:gd name="T41" fmla="*/ 590 h 1928"/>
                  <a:gd name="T42" fmla="*/ 2732 w 3718"/>
                  <a:gd name="T43" fmla="*/ 829 h 1928"/>
                  <a:gd name="T44" fmla="*/ 2995 w 3718"/>
                  <a:gd name="T45" fmla="*/ 792 h 1928"/>
                  <a:gd name="T46" fmla="*/ 3152 w 3718"/>
                  <a:gd name="T47" fmla="*/ 694 h 1928"/>
                  <a:gd name="T48" fmla="*/ 2821 w 3718"/>
                  <a:gd name="T49" fmla="*/ 613 h 1928"/>
                  <a:gd name="T50" fmla="*/ 3034 w 3718"/>
                  <a:gd name="T51" fmla="*/ 25 h 1928"/>
                  <a:gd name="T52" fmla="*/ 3027 w 3718"/>
                  <a:gd name="T53" fmla="*/ 92 h 1928"/>
                  <a:gd name="T54" fmla="*/ 2737 w 3718"/>
                  <a:gd name="T55" fmla="*/ 191 h 1928"/>
                  <a:gd name="T56" fmla="*/ 2975 w 3718"/>
                  <a:gd name="T57" fmla="*/ 248 h 1928"/>
                  <a:gd name="T58" fmla="*/ 3379 w 3718"/>
                  <a:gd name="T59" fmla="*/ 91 h 1928"/>
                  <a:gd name="T60" fmla="*/ 2747 w 3718"/>
                  <a:gd name="T61" fmla="*/ 549 h 1928"/>
                  <a:gd name="T62" fmla="*/ 2686 w 3718"/>
                  <a:gd name="T63" fmla="*/ 1536 h 1928"/>
                  <a:gd name="T64" fmla="*/ 2958 w 3718"/>
                  <a:gd name="T65" fmla="*/ 1304 h 1928"/>
                  <a:gd name="T66" fmla="*/ 2899 w 3718"/>
                  <a:gd name="T67" fmla="*/ 1093 h 1928"/>
                  <a:gd name="T68" fmla="*/ 2744 w 3718"/>
                  <a:gd name="T69" fmla="*/ 1079 h 1928"/>
                  <a:gd name="T70" fmla="*/ 2677 w 3718"/>
                  <a:gd name="T71" fmla="*/ 900 h 1928"/>
                  <a:gd name="T72" fmla="*/ 2180 w 3718"/>
                  <a:gd name="T73" fmla="*/ 1298 h 1928"/>
                  <a:gd name="T74" fmla="*/ 1908 w 3718"/>
                  <a:gd name="T75" fmla="*/ 1200 h 1928"/>
                  <a:gd name="T76" fmla="*/ 1986 w 3718"/>
                  <a:gd name="T77" fmla="*/ 814 h 1928"/>
                  <a:gd name="T78" fmla="*/ 2401 w 3718"/>
                  <a:gd name="T79" fmla="*/ 658 h 1928"/>
                  <a:gd name="T80" fmla="*/ 2262 w 3718"/>
                  <a:gd name="T81" fmla="*/ 563 h 1928"/>
                  <a:gd name="T82" fmla="*/ 2163 w 3718"/>
                  <a:gd name="T83" fmla="*/ 561 h 1928"/>
                  <a:gd name="T84" fmla="*/ 1863 w 3718"/>
                  <a:gd name="T85" fmla="*/ 625 h 1928"/>
                  <a:gd name="T86" fmla="*/ 1155 w 3718"/>
                  <a:gd name="T87" fmla="*/ 554 h 1928"/>
                  <a:gd name="T88" fmla="*/ 983 w 3718"/>
                  <a:gd name="T89" fmla="*/ 514 h 1928"/>
                  <a:gd name="T90" fmla="*/ 52 w 3718"/>
                  <a:gd name="T91" fmla="*/ 964 h 1928"/>
                  <a:gd name="T92" fmla="*/ 225 w 3718"/>
                  <a:gd name="T93" fmla="*/ 1187 h 1928"/>
                  <a:gd name="T94" fmla="*/ 184 w 3718"/>
                  <a:gd name="T95" fmla="*/ 1387 h 1928"/>
                  <a:gd name="T96" fmla="*/ 1394 w 3718"/>
                  <a:gd name="T97" fmla="*/ 1537 h 1928"/>
                  <a:gd name="T98" fmla="*/ 1727 w 3718"/>
                  <a:gd name="T99" fmla="*/ 1604 h 1928"/>
                  <a:gd name="T100" fmla="*/ 1868 w 3718"/>
                  <a:gd name="T101" fmla="*/ 1783 h 1928"/>
                  <a:gd name="T102" fmla="*/ 1928 w 3718"/>
                  <a:gd name="T103" fmla="*/ 1826 h 1928"/>
                  <a:gd name="T104" fmla="*/ 2453 w 3718"/>
                  <a:gd name="T105" fmla="*/ 1735 h 1928"/>
                  <a:gd name="T106" fmla="*/ 2655 w 3718"/>
                  <a:gd name="T107" fmla="*/ 1772 h 1928"/>
                  <a:gd name="T108" fmla="*/ 2574 w 3718"/>
                  <a:gd name="T109" fmla="*/ 1597 h 1928"/>
                  <a:gd name="T110" fmla="*/ 2967 w 3718"/>
                  <a:gd name="T111" fmla="*/ 1436 h 1928"/>
                  <a:gd name="T112" fmla="*/ 1119 w 3718"/>
                  <a:gd name="T113" fmla="*/ 664 h 1928"/>
                  <a:gd name="T114" fmla="*/ 990 w 3718"/>
                  <a:gd name="T115" fmla="*/ 760 h 1928"/>
                  <a:gd name="T116" fmla="*/ 985 w 3718"/>
                  <a:gd name="T117" fmla="*/ 939 h 1928"/>
                  <a:gd name="T118" fmla="*/ 1403 w 3718"/>
                  <a:gd name="T119" fmla="*/ 1433 h 1928"/>
                  <a:gd name="T120" fmla="*/ 2456 w 3718"/>
                  <a:gd name="T121" fmla="*/ 825 h 1928"/>
                  <a:gd name="T122" fmla="*/ 2386 w 3718"/>
                  <a:gd name="T123" fmla="*/ 823 h 1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18" h="1928">
                    <a:moveTo>
                      <a:pt x="2074" y="170"/>
                    </a:moveTo>
                    <a:cubicBezTo>
                      <a:pt x="2084" y="169"/>
                      <a:pt x="2113" y="177"/>
                      <a:pt x="2115" y="169"/>
                    </a:cubicBezTo>
                    <a:cubicBezTo>
                      <a:pt x="2117" y="160"/>
                      <a:pt x="2107" y="154"/>
                      <a:pt x="2091" y="154"/>
                    </a:cubicBezTo>
                    <a:cubicBezTo>
                      <a:pt x="2074" y="154"/>
                      <a:pt x="2009" y="165"/>
                      <a:pt x="2009" y="165"/>
                    </a:cubicBezTo>
                    <a:cubicBezTo>
                      <a:pt x="2009" y="165"/>
                      <a:pt x="2065" y="171"/>
                      <a:pt x="2074" y="170"/>
                    </a:cubicBezTo>
                    <a:close/>
                    <a:moveTo>
                      <a:pt x="1990" y="214"/>
                    </a:moveTo>
                    <a:cubicBezTo>
                      <a:pt x="2052" y="218"/>
                      <a:pt x="2047" y="199"/>
                      <a:pt x="2047" y="199"/>
                    </a:cubicBezTo>
                    <a:cubicBezTo>
                      <a:pt x="2043" y="189"/>
                      <a:pt x="2043" y="189"/>
                      <a:pt x="2043" y="189"/>
                    </a:cubicBezTo>
                    <a:cubicBezTo>
                      <a:pt x="2089" y="184"/>
                      <a:pt x="2089" y="184"/>
                      <a:pt x="2089" y="184"/>
                    </a:cubicBezTo>
                    <a:cubicBezTo>
                      <a:pt x="2078" y="176"/>
                      <a:pt x="2078" y="176"/>
                      <a:pt x="2078" y="176"/>
                    </a:cubicBezTo>
                    <a:cubicBezTo>
                      <a:pt x="2033" y="178"/>
                      <a:pt x="2033" y="178"/>
                      <a:pt x="2033" y="178"/>
                    </a:cubicBezTo>
                    <a:cubicBezTo>
                      <a:pt x="2025" y="186"/>
                      <a:pt x="2025" y="186"/>
                      <a:pt x="2025" y="186"/>
                    </a:cubicBezTo>
                    <a:cubicBezTo>
                      <a:pt x="2025" y="186"/>
                      <a:pt x="1966" y="173"/>
                      <a:pt x="1959" y="189"/>
                    </a:cubicBezTo>
                    <a:cubicBezTo>
                      <a:pt x="1953" y="205"/>
                      <a:pt x="1990" y="214"/>
                      <a:pt x="1990" y="214"/>
                    </a:cubicBezTo>
                    <a:close/>
                    <a:moveTo>
                      <a:pt x="1785" y="257"/>
                    </a:moveTo>
                    <a:cubicBezTo>
                      <a:pt x="1749" y="275"/>
                      <a:pt x="1749" y="275"/>
                      <a:pt x="1749" y="275"/>
                    </a:cubicBezTo>
                    <a:cubicBezTo>
                      <a:pt x="1749" y="275"/>
                      <a:pt x="1784" y="281"/>
                      <a:pt x="1768" y="284"/>
                    </a:cubicBezTo>
                    <a:cubicBezTo>
                      <a:pt x="1752" y="288"/>
                      <a:pt x="1694" y="292"/>
                      <a:pt x="1694" y="292"/>
                    </a:cubicBezTo>
                    <a:cubicBezTo>
                      <a:pt x="1680" y="308"/>
                      <a:pt x="1680" y="308"/>
                      <a:pt x="1680" y="308"/>
                    </a:cubicBezTo>
                    <a:cubicBezTo>
                      <a:pt x="1717" y="303"/>
                      <a:pt x="1717" y="303"/>
                      <a:pt x="1717" y="303"/>
                    </a:cubicBezTo>
                    <a:cubicBezTo>
                      <a:pt x="1717" y="303"/>
                      <a:pt x="1732" y="308"/>
                      <a:pt x="1751" y="311"/>
                    </a:cubicBezTo>
                    <a:cubicBezTo>
                      <a:pt x="1770" y="314"/>
                      <a:pt x="1826" y="295"/>
                      <a:pt x="1826" y="295"/>
                    </a:cubicBezTo>
                    <a:cubicBezTo>
                      <a:pt x="1824" y="304"/>
                      <a:pt x="1824" y="304"/>
                      <a:pt x="1824" y="304"/>
                    </a:cubicBezTo>
                    <a:cubicBezTo>
                      <a:pt x="1824" y="304"/>
                      <a:pt x="1862" y="299"/>
                      <a:pt x="1892" y="297"/>
                    </a:cubicBezTo>
                    <a:cubicBezTo>
                      <a:pt x="1920" y="295"/>
                      <a:pt x="1895" y="302"/>
                      <a:pt x="1885" y="304"/>
                    </a:cubicBezTo>
                    <a:cubicBezTo>
                      <a:pt x="1875" y="305"/>
                      <a:pt x="1841" y="309"/>
                      <a:pt x="1816" y="312"/>
                    </a:cubicBezTo>
                    <a:cubicBezTo>
                      <a:pt x="1791" y="315"/>
                      <a:pt x="1760" y="326"/>
                      <a:pt x="1760" y="326"/>
                    </a:cubicBezTo>
                    <a:cubicBezTo>
                      <a:pt x="1760" y="326"/>
                      <a:pt x="1788" y="331"/>
                      <a:pt x="1838" y="333"/>
                    </a:cubicBezTo>
                    <a:cubicBezTo>
                      <a:pt x="1886" y="334"/>
                      <a:pt x="1920" y="313"/>
                      <a:pt x="1920" y="313"/>
                    </a:cubicBezTo>
                    <a:cubicBezTo>
                      <a:pt x="1970" y="300"/>
                      <a:pt x="1970" y="300"/>
                      <a:pt x="1970" y="300"/>
                    </a:cubicBezTo>
                    <a:cubicBezTo>
                      <a:pt x="1970" y="300"/>
                      <a:pt x="1987" y="306"/>
                      <a:pt x="2035" y="300"/>
                    </a:cubicBezTo>
                    <a:cubicBezTo>
                      <a:pt x="2081" y="294"/>
                      <a:pt x="2084" y="284"/>
                      <a:pt x="2103" y="279"/>
                    </a:cubicBezTo>
                    <a:cubicBezTo>
                      <a:pt x="2121" y="274"/>
                      <a:pt x="2106" y="254"/>
                      <a:pt x="2086" y="254"/>
                    </a:cubicBezTo>
                    <a:cubicBezTo>
                      <a:pt x="2066" y="255"/>
                      <a:pt x="2072" y="268"/>
                      <a:pt x="2072" y="268"/>
                    </a:cubicBezTo>
                    <a:cubicBezTo>
                      <a:pt x="2045" y="267"/>
                      <a:pt x="2045" y="267"/>
                      <a:pt x="2045" y="267"/>
                    </a:cubicBezTo>
                    <a:cubicBezTo>
                      <a:pt x="2045" y="267"/>
                      <a:pt x="2050" y="260"/>
                      <a:pt x="2055" y="252"/>
                    </a:cubicBezTo>
                    <a:cubicBezTo>
                      <a:pt x="2060" y="244"/>
                      <a:pt x="2073" y="229"/>
                      <a:pt x="2061" y="229"/>
                    </a:cubicBezTo>
                    <a:cubicBezTo>
                      <a:pt x="2049" y="228"/>
                      <a:pt x="2024" y="239"/>
                      <a:pt x="1991" y="249"/>
                    </a:cubicBezTo>
                    <a:cubicBezTo>
                      <a:pt x="1957" y="259"/>
                      <a:pt x="2012" y="256"/>
                      <a:pt x="2012" y="256"/>
                    </a:cubicBezTo>
                    <a:cubicBezTo>
                      <a:pt x="2009" y="272"/>
                      <a:pt x="2009" y="272"/>
                      <a:pt x="2009" y="272"/>
                    </a:cubicBezTo>
                    <a:cubicBezTo>
                      <a:pt x="1929" y="282"/>
                      <a:pt x="1929" y="282"/>
                      <a:pt x="1929" y="282"/>
                    </a:cubicBezTo>
                    <a:cubicBezTo>
                      <a:pt x="1929" y="282"/>
                      <a:pt x="1923" y="262"/>
                      <a:pt x="1928" y="253"/>
                    </a:cubicBezTo>
                    <a:cubicBezTo>
                      <a:pt x="1932" y="244"/>
                      <a:pt x="1875" y="240"/>
                      <a:pt x="1875" y="240"/>
                    </a:cubicBezTo>
                    <a:lnTo>
                      <a:pt x="1785" y="257"/>
                    </a:lnTo>
                    <a:close/>
                    <a:moveTo>
                      <a:pt x="1887" y="230"/>
                    </a:moveTo>
                    <a:cubicBezTo>
                      <a:pt x="1905" y="215"/>
                      <a:pt x="1886" y="206"/>
                      <a:pt x="1868" y="216"/>
                    </a:cubicBezTo>
                    <a:cubicBezTo>
                      <a:pt x="1849" y="226"/>
                      <a:pt x="1887" y="230"/>
                      <a:pt x="1887" y="230"/>
                    </a:cubicBezTo>
                    <a:close/>
                    <a:moveTo>
                      <a:pt x="2008" y="377"/>
                    </a:moveTo>
                    <a:cubicBezTo>
                      <a:pt x="1988" y="361"/>
                      <a:pt x="1988" y="361"/>
                      <a:pt x="1988" y="361"/>
                    </a:cubicBezTo>
                    <a:cubicBezTo>
                      <a:pt x="1969" y="363"/>
                      <a:pt x="1969" y="363"/>
                      <a:pt x="1969" y="363"/>
                    </a:cubicBezTo>
                    <a:cubicBezTo>
                      <a:pt x="1969" y="363"/>
                      <a:pt x="1957" y="348"/>
                      <a:pt x="1932" y="357"/>
                    </a:cubicBezTo>
                    <a:cubicBezTo>
                      <a:pt x="1906" y="365"/>
                      <a:pt x="1964" y="389"/>
                      <a:pt x="1964" y="389"/>
                    </a:cubicBezTo>
                    <a:lnTo>
                      <a:pt x="2008" y="377"/>
                    </a:lnTo>
                    <a:close/>
                    <a:moveTo>
                      <a:pt x="1638" y="280"/>
                    </a:moveTo>
                    <a:cubicBezTo>
                      <a:pt x="1598" y="290"/>
                      <a:pt x="1626" y="295"/>
                      <a:pt x="1626" y="295"/>
                    </a:cubicBezTo>
                    <a:cubicBezTo>
                      <a:pt x="1683" y="281"/>
                      <a:pt x="1679" y="269"/>
                      <a:pt x="1638" y="280"/>
                    </a:cubicBezTo>
                    <a:close/>
                    <a:moveTo>
                      <a:pt x="1978" y="572"/>
                    </a:moveTo>
                    <a:cubicBezTo>
                      <a:pt x="1997" y="574"/>
                      <a:pt x="2006" y="580"/>
                      <a:pt x="2022" y="588"/>
                    </a:cubicBezTo>
                    <a:cubicBezTo>
                      <a:pt x="2038" y="596"/>
                      <a:pt x="2092" y="587"/>
                      <a:pt x="2092" y="587"/>
                    </a:cubicBezTo>
                    <a:cubicBezTo>
                      <a:pt x="2078" y="542"/>
                      <a:pt x="2078" y="542"/>
                      <a:pt x="2078" y="542"/>
                    </a:cubicBezTo>
                    <a:cubicBezTo>
                      <a:pt x="2012" y="528"/>
                      <a:pt x="2012" y="528"/>
                      <a:pt x="2012" y="528"/>
                    </a:cubicBezTo>
                    <a:cubicBezTo>
                      <a:pt x="1990" y="553"/>
                      <a:pt x="1990" y="553"/>
                      <a:pt x="1990" y="553"/>
                    </a:cubicBezTo>
                    <a:cubicBezTo>
                      <a:pt x="1968" y="555"/>
                      <a:pt x="1968" y="555"/>
                      <a:pt x="1968" y="555"/>
                    </a:cubicBezTo>
                    <a:cubicBezTo>
                      <a:pt x="1968" y="555"/>
                      <a:pt x="1959" y="571"/>
                      <a:pt x="1978" y="572"/>
                    </a:cubicBezTo>
                    <a:close/>
                    <a:moveTo>
                      <a:pt x="109" y="1360"/>
                    </a:moveTo>
                    <a:cubicBezTo>
                      <a:pt x="109" y="1369"/>
                      <a:pt x="126" y="1366"/>
                      <a:pt x="126" y="1366"/>
                    </a:cubicBezTo>
                    <a:cubicBezTo>
                      <a:pt x="124" y="1383"/>
                      <a:pt x="124" y="1383"/>
                      <a:pt x="124" y="1383"/>
                    </a:cubicBezTo>
                    <a:cubicBezTo>
                      <a:pt x="143" y="1371"/>
                      <a:pt x="143" y="1371"/>
                      <a:pt x="143" y="1371"/>
                    </a:cubicBezTo>
                    <a:cubicBezTo>
                      <a:pt x="141" y="1354"/>
                      <a:pt x="141" y="1354"/>
                      <a:pt x="141" y="1354"/>
                    </a:cubicBezTo>
                    <a:cubicBezTo>
                      <a:pt x="141" y="1354"/>
                      <a:pt x="109" y="1351"/>
                      <a:pt x="109" y="1360"/>
                    </a:cubicBezTo>
                    <a:close/>
                    <a:moveTo>
                      <a:pt x="166" y="1535"/>
                    </a:moveTo>
                    <a:cubicBezTo>
                      <a:pt x="166" y="1535"/>
                      <a:pt x="163" y="1521"/>
                      <a:pt x="164" y="1514"/>
                    </a:cubicBezTo>
                    <a:cubicBezTo>
                      <a:pt x="165" y="1507"/>
                      <a:pt x="170" y="1495"/>
                      <a:pt x="162" y="1485"/>
                    </a:cubicBezTo>
                    <a:cubicBezTo>
                      <a:pt x="162" y="1485"/>
                      <a:pt x="136" y="1481"/>
                      <a:pt x="127" y="1479"/>
                    </a:cubicBezTo>
                    <a:cubicBezTo>
                      <a:pt x="118" y="1477"/>
                      <a:pt x="103" y="1453"/>
                      <a:pt x="91" y="1452"/>
                    </a:cubicBezTo>
                    <a:cubicBezTo>
                      <a:pt x="79" y="1451"/>
                      <a:pt x="59" y="1463"/>
                      <a:pt x="64" y="1471"/>
                    </a:cubicBezTo>
                    <a:cubicBezTo>
                      <a:pt x="69" y="1479"/>
                      <a:pt x="78" y="1477"/>
                      <a:pt x="78" y="1477"/>
                    </a:cubicBezTo>
                    <a:cubicBezTo>
                      <a:pt x="87" y="1471"/>
                      <a:pt x="87" y="1471"/>
                      <a:pt x="87" y="1471"/>
                    </a:cubicBezTo>
                    <a:cubicBezTo>
                      <a:pt x="94" y="1476"/>
                      <a:pt x="94" y="1476"/>
                      <a:pt x="94" y="1476"/>
                    </a:cubicBezTo>
                    <a:cubicBezTo>
                      <a:pt x="88" y="1483"/>
                      <a:pt x="88" y="1483"/>
                      <a:pt x="88" y="1483"/>
                    </a:cubicBezTo>
                    <a:cubicBezTo>
                      <a:pt x="88" y="1483"/>
                      <a:pt x="59" y="1488"/>
                      <a:pt x="67" y="1497"/>
                    </a:cubicBezTo>
                    <a:cubicBezTo>
                      <a:pt x="75" y="1506"/>
                      <a:pt x="90" y="1497"/>
                      <a:pt x="90" y="1497"/>
                    </a:cubicBezTo>
                    <a:cubicBezTo>
                      <a:pt x="85" y="1512"/>
                      <a:pt x="85" y="1512"/>
                      <a:pt x="85" y="1512"/>
                    </a:cubicBezTo>
                    <a:cubicBezTo>
                      <a:pt x="100" y="1511"/>
                      <a:pt x="100" y="1511"/>
                      <a:pt x="100" y="1511"/>
                    </a:cubicBezTo>
                    <a:cubicBezTo>
                      <a:pt x="86" y="1522"/>
                      <a:pt x="86" y="1522"/>
                      <a:pt x="86" y="1522"/>
                    </a:cubicBezTo>
                    <a:cubicBezTo>
                      <a:pt x="112" y="1520"/>
                      <a:pt x="112" y="1520"/>
                      <a:pt x="112" y="1520"/>
                    </a:cubicBezTo>
                    <a:cubicBezTo>
                      <a:pt x="112" y="1520"/>
                      <a:pt x="85" y="1531"/>
                      <a:pt x="91" y="1536"/>
                    </a:cubicBezTo>
                    <a:cubicBezTo>
                      <a:pt x="97" y="1541"/>
                      <a:pt x="109" y="1520"/>
                      <a:pt x="115" y="1531"/>
                    </a:cubicBezTo>
                    <a:cubicBezTo>
                      <a:pt x="121" y="1542"/>
                      <a:pt x="99" y="1546"/>
                      <a:pt x="105" y="1553"/>
                    </a:cubicBezTo>
                    <a:cubicBezTo>
                      <a:pt x="111" y="1560"/>
                      <a:pt x="137" y="1555"/>
                      <a:pt x="137" y="1555"/>
                    </a:cubicBezTo>
                    <a:cubicBezTo>
                      <a:pt x="150" y="1547"/>
                      <a:pt x="150" y="1547"/>
                      <a:pt x="150" y="1547"/>
                    </a:cubicBezTo>
                    <a:cubicBezTo>
                      <a:pt x="138" y="1561"/>
                      <a:pt x="138" y="1561"/>
                      <a:pt x="138" y="1561"/>
                    </a:cubicBezTo>
                    <a:cubicBezTo>
                      <a:pt x="138" y="1561"/>
                      <a:pt x="113" y="1561"/>
                      <a:pt x="124" y="1570"/>
                    </a:cubicBezTo>
                    <a:cubicBezTo>
                      <a:pt x="135" y="1579"/>
                      <a:pt x="144" y="1579"/>
                      <a:pt x="144" y="1579"/>
                    </a:cubicBezTo>
                    <a:cubicBezTo>
                      <a:pt x="144" y="1579"/>
                      <a:pt x="168" y="1596"/>
                      <a:pt x="180" y="1586"/>
                    </a:cubicBezTo>
                    <a:cubicBezTo>
                      <a:pt x="192" y="1576"/>
                      <a:pt x="201" y="1568"/>
                      <a:pt x="192" y="1557"/>
                    </a:cubicBezTo>
                    <a:cubicBezTo>
                      <a:pt x="183" y="1546"/>
                      <a:pt x="166" y="1535"/>
                      <a:pt x="166" y="1535"/>
                    </a:cubicBezTo>
                    <a:close/>
                    <a:moveTo>
                      <a:pt x="1536" y="249"/>
                    </a:moveTo>
                    <a:cubicBezTo>
                      <a:pt x="1536" y="249"/>
                      <a:pt x="1574" y="242"/>
                      <a:pt x="1583" y="248"/>
                    </a:cubicBezTo>
                    <a:cubicBezTo>
                      <a:pt x="1593" y="254"/>
                      <a:pt x="1587" y="264"/>
                      <a:pt x="1599" y="264"/>
                    </a:cubicBezTo>
                    <a:cubicBezTo>
                      <a:pt x="1612" y="264"/>
                      <a:pt x="1634" y="259"/>
                      <a:pt x="1634" y="259"/>
                    </a:cubicBezTo>
                    <a:cubicBezTo>
                      <a:pt x="1634" y="259"/>
                      <a:pt x="1650" y="268"/>
                      <a:pt x="1665" y="261"/>
                    </a:cubicBezTo>
                    <a:cubicBezTo>
                      <a:pt x="1681" y="255"/>
                      <a:pt x="1678" y="238"/>
                      <a:pt x="1678" y="238"/>
                    </a:cubicBezTo>
                    <a:cubicBezTo>
                      <a:pt x="1700" y="238"/>
                      <a:pt x="1700" y="238"/>
                      <a:pt x="1700" y="238"/>
                    </a:cubicBezTo>
                    <a:cubicBezTo>
                      <a:pt x="1744" y="224"/>
                      <a:pt x="1744" y="224"/>
                      <a:pt x="1744" y="224"/>
                    </a:cubicBezTo>
                    <a:cubicBezTo>
                      <a:pt x="1719" y="247"/>
                      <a:pt x="1719" y="247"/>
                      <a:pt x="1719" y="247"/>
                    </a:cubicBezTo>
                    <a:cubicBezTo>
                      <a:pt x="1754" y="253"/>
                      <a:pt x="1754" y="253"/>
                      <a:pt x="1754" y="253"/>
                    </a:cubicBezTo>
                    <a:cubicBezTo>
                      <a:pt x="1791" y="238"/>
                      <a:pt x="1791" y="238"/>
                      <a:pt x="1791" y="238"/>
                    </a:cubicBezTo>
                    <a:cubicBezTo>
                      <a:pt x="1854" y="209"/>
                      <a:pt x="1854" y="209"/>
                      <a:pt x="1854" y="209"/>
                    </a:cubicBezTo>
                    <a:cubicBezTo>
                      <a:pt x="1854" y="209"/>
                      <a:pt x="1806" y="194"/>
                      <a:pt x="1797" y="194"/>
                    </a:cubicBezTo>
                    <a:cubicBezTo>
                      <a:pt x="1787" y="194"/>
                      <a:pt x="1734" y="190"/>
                      <a:pt x="1734" y="190"/>
                    </a:cubicBezTo>
                    <a:cubicBezTo>
                      <a:pt x="1683" y="198"/>
                      <a:pt x="1683" y="198"/>
                      <a:pt x="1683" y="198"/>
                    </a:cubicBezTo>
                    <a:cubicBezTo>
                      <a:pt x="1680" y="212"/>
                      <a:pt x="1680" y="212"/>
                      <a:pt x="1680" y="212"/>
                    </a:cubicBezTo>
                    <a:cubicBezTo>
                      <a:pt x="1602" y="218"/>
                      <a:pt x="1602" y="218"/>
                      <a:pt x="1602" y="218"/>
                    </a:cubicBezTo>
                    <a:cubicBezTo>
                      <a:pt x="1602" y="218"/>
                      <a:pt x="1576" y="209"/>
                      <a:pt x="1554" y="213"/>
                    </a:cubicBezTo>
                    <a:cubicBezTo>
                      <a:pt x="1532" y="216"/>
                      <a:pt x="1535" y="224"/>
                      <a:pt x="1535" y="224"/>
                    </a:cubicBezTo>
                    <a:cubicBezTo>
                      <a:pt x="1535" y="229"/>
                      <a:pt x="1536" y="249"/>
                      <a:pt x="1536" y="249"/>
                    </a:cubicBezTo>
                    <a:close/>
                    <a:moveTo>
                      <a:pt x="100" y="1323"/>
                    </a:moveTo>
                    <a:cubicBezTo>
                      <a:pt x="102" y="1338"/>
                      <a:pt x="113" y="1344"/>
                      <a:pt x="113" y="1344"/>
                    </a:cubicBezTo>
                    <a:cubicBezTo>
                      <a:pt x="121" y="1323"/>
                      <a:pt x="121" y="1323"/>
                      <a:pt x="121" y="1323"/>
                    </a:cubicBezTo>
                    <a:cubicBezTo>
                      <a:pt x="121" y="1323"/>
                      <a:pt x="98" y="1308"/>
                      <a:pt x="100" y="1323"/>
                    </a:cubicBezTo>
                    <a:close/>
                    <a:moveTo>
                      <a:pt x="82" y="1291"/>
                    </a:moveTo>
                    <a:cubicBezTo>
                      <a:pt x="78" y="1290"/>
                      <a:pt x="62" y="1294"/>
                      <a:pt x="56" y="1297"/>
                    </a:cubicBezTo>
                    <a:cubicBezTo>
                      <a:pt x="50" y="1300"/>
                      <a:pt x="45" y="1315"/>
                      <a:pt x="35" y="1315"/>
                    </a:cubicBezTo>
                    <a:cubicBezTo>
                      <a:pt x="25" y="1315"/>
                      <a:pt x="24" y="1307"/>
                      <a:pt x="34" y="1307"/>
                    </a:cubicBezTo>
                    <a:cubicBezTo>
                      <a:pt x="44" y="1307"/>
                      <a:pt x="62" y="1294"/>
                      <a:pt x="48" y="1295"/>
                    </a:cubicBezTo>
                    <a:cubicBezTo>
                      <a:pt x="34" y="1296"/>
                      <a:pt x="32" y="1299"/>
                      <a:pt x="32" y="1299"/>
                    </a:cubicBezTo>
                    <a:cubicBezTo>
                      <a:pt x="32" y="1299"/>
                      <a:pt x="35" y="1285"/>
                      <a:pt x="24" y="1289"/>
                    </a:cubicBezTo>
                    <a:cubicBezTo>
                      <a:pt x="13" y="1293"/>
                      <a:pt x="11" y="1306"/>
                      <a:pt x="11" y="1306"/>
                    </a:cubicBezTo>
                    <a:cubicBezTo>
                      <a:pt x="3" y="1324"/>
                      <a:pt x="3" y="1324"/>
                      <a:pt x="3" y="1324"/>
                    </a:cubicBezTo>
                    <a:cubicBezTo>
                      <a:pt x="3" y="1324"/>
                      <a:pt x="0" y="1336"/>
                      <a:pt x="3" y="1337"/>
                    </a:cubicBezTo>
                    <a:cubicBezTo>
                      <a:pt x="6" y="1338"/>
                      <a:pt x="9" y="1347"/>
                      <a:pt x="9" y="1347"/>
                    </a:cubicBezTo>
                    <a:cubicBezTo>
                      <a:pt x="0" y="1351"/>
                      <a:pt x="0" y="1351"/>
                      <a:pt x="0" y="1351"/>
                    </a:cubicBezTo>
                    <a:cubicBezTo>
                      <a:pt x="5" y="1386"/>
                      <a:pt x="5" y="1386"/>
                      <a:pt x="5" y="1386"/>
                    </a:cubicBezTo>
                    <a:cubicBezTo>
                      <a:pt x="5" y="1386"/>
                      <a:pt x="0" y="1398"/>
                      <a:pt x="16" y="1397"/>
                    </a:cubicBezTo>
                    <a:cubicBezTo>
                      <a:pt x="27" y="1396"/>
                      <a:pt x="16" y="1379"/>
                      <a:pt x="13" y="1372"/>
                    </a:cubicBezTo>
                    <a:cubicBezTo>
                      <a:pt x="10" y="1365"/>
                      <a:pt x="18" y="1359"/>
                      <a:pt x="23" y="1356"/>
                    </a:cubicBezTo>
                    <a:cubicBezTo>
                      <a:pt x="28" y="1353"/>
                      <a:pt x="36" y="1344"/>
                      <a:pt x="34" y="1340"/>
                    </a:cubicBezTo>
                    <a:cubicBezTo>
                      <a:pt x="34" y="1340"/>
                      <a:pt x="32" y="1329"/>
                      <a:pt x="38" y="1324"/>
                    </a:cubicBezTo>
                    <a:cubicBezTo>
                      <a:pt x="44" y="1319"/>
                      <a:pt x="55" y="1308"/>
                      <a:pt x="64" y="1303"/>
                    </a:cubicBezTo>
                    <a:cubicBezTo>
                      <a:pt x="73" y="1298"/>
                      <a:pt x="86" y="1292"/>
                      <a:pt x="82" y="1291"/>
                    </a:cubicBezTo>
                    <a:close/>
                    <a:moveTo>
                      <a:pt x="1263" y="454"/>
                    </a:moveTo>
                    <a:cubicBezTo>
                      <a:pt x="1268" y="466"/>
                      <a:pt x="1238" y="482"/>
                      <a:pt x="1266" y="478"/>
                    </a:cubicBezTo>
                    <a:cubicBezTo>
                      <a:pt x="1294" y="474"/>
                      <a:pt x="1328" y="462"/>
                      <a:pt x="1328" y="462"/>
                    </a:cubicBezTo>
                    <a:cubicBezTo>
                      <a:pt x="1354" y="468"/>
                      <a:pt x="1354" y="468"/>
                      <a:pt x="1354" y="468"/>
                    </a:cubicBezTo>
                    <a:cubicBezTo>
                      <a:pt x="1405" y="430"/>
                      <a:pt x="1405" y="430"/>
                      <a:pt x="1405" y="430"/>
                    </a:cubicBezTo>
                    <a:cubicBezTo>
                      <a:pt x="1493" y="402"/>
                      <a:pt x="1493" y="402"/>
                      <a:pt x="1493" y="402"/>
                    </a:cubicBezTo>
                    <a:cubicBezTo>
                      <a:pt x="1576" y="379"/>
                      <a:pt x="1576" y="379"/>
                      <a:pt x="1576" y="379"/>
                    </a:cubicBezTo>
                    <a:cubicBezTo>
                      <a:pt x="1642" y="366"/>
                      <a:pt x="1642" y="366"/>
                      <a:pt x="1642" y="366"/>
                    </a:cubicBezTo>
                    <a:cubicBezTo>
                      <a:pt x="1642" y="366"/>
                      <a:pt x="1603" y="334"/>
                      <a:pt x="1600" y="330"/>
                    </a:cubicBezTo>
                    <a:cubicBezTo>
                      <a:pt x="1596" y="327"/>
                      <a:pt x="1549" y="333"/>
                      <a:pt x="1549" y="333"/>
                    </a:cubicBezTo>
                    <a:cubicBezTo>
                      <a:pt x="1505" y="339"/>
                      <a:pt x="1505" y="339"/>
                      <a:pt x="1505" y="339"/>
                    </a:cubicBezTo>
                    <a:cubicBezTo>
                      <a:pt x="1481" y="321"/>
                      <a:pt x="1481" y="321"/>
                      <a:pt x="1481" y="321"/>
                    </a:cubicBezTo>
                    <a:cubicBezTo>
                      <a:pt x="1427" y="328"/>
                      <a:pt x="1427" y="328"/>
                      <a:pt x="1427" y="328"/>
                    </a:cubicBezTo>
                    <a:cubicBezTo>
                      <a:pt x="1393" y="338"/>
                      <a:pt x="1393" y="338"/>
                      <a:pt x="1393" y="338"/>
                    </a:cubicBezTo>
                    <a:cubicBezTo>
                      <a:pt x="1383" y="351"/>
                      <a:pt x="1383" y="351"/>
                      <a:pt x="1383" y="351"/>
                    </a:cubicBezTo>
                    <a:cubicBezTo>
                      <a:pt x="1372" y="371"/>
                      <a:pt x="1372" y="371"/>
                      <a:pt x="1372" y="371"/>
                    </a:cubicBezTo>
                    <a:cubicBezTo>
                      <a:pt x="1340" y="380"/>
                      <a:pt x="1340" y="380"/>
                      <a:pt x="1340" y="380"/>
                    </a:cubicBezTo>
                    <a:cubicBezTo>
                      <a:pt x="1294" y="393"/>
                      <a:pt x="1294" y="393"/>
                      <a:pt x="1294" y="393"/>
                    </a:cubicBezTo>
                    <a:cubicBezTo>
                      <a:pt x="1307" y="401"/>
                      <a:pt x="1307" y="401"/>
                      <a:pt x="1307" y="401"/>
                    </a:cubicBezTo>
                    <a:cubicBezTo>
                      <a:pt x="1227" y="437"/>
                      <a:pt x="1227" y="437"/>
                      <a:pt x="1227" y="437"/>
                    </a:cubicBezTo>
                    <a:cubicBezTo>
                      <a:pt x="1227" y="437"/>
                      <a:pt x="1259" y="442"/>
                      <a:pt x="1263" y="454"/>
                    </a:cubicBezTo>
                    <a:close/>
                    <a:moveTo>
                      <a:pt x="132" y="1313"/>
                    </a:moveTo>
                    <a:cubicBezTo>
                      <a:pt x="125" y="1331"/>
                      <a:pt x="125" y="1331"/>
                      <a:pt x="125" y="1331"/>
                    </a:cubicBezTo>
                    <a:cubicBezTo>
                      <a:pt x="127" y="1343"/>
                      <a:pt x="127" y="1343"/>
                      <a:pt x="127" y="1343"/>
                    </a:cubicBezTo>
                    <a:cubicBezTo>
                      <a:pt x="143" y="1333"/>
                      <a:pt x="143" y="1333"/>
                      <a:pt x="143" y="1333"/>
                    </a:cubicBezTo>
                    <a:lnTo>
                      <a:pt x="132" y="1313"/>
                    </a:lnTo>
                    <a:close/>
                    <a:moveTo>
                      <a:pt x="2786" y="403"/>
                    </a:moveTo>
                    <a:cubicBezTo>
                      <a:pt x="2802" y="409"/>
                      <a:pt x="2824" y="395"/>
                      <a:pt x="2824" y="395"/>
                    </a:cubicBezTo>
                    <a:cubicBezTo>
                      <a:pt x="2865" y="394"/>
                      <a:pt x="2865" y="394"/>
                      <a:pt x="2865" y="394"/>
                    </a:cubicBezTo>
                    <a:cubicBezTo>
                      <a:pt x="2865" y="394"/>
                      <a:pt x="2891" y="404"/>
                      <a:pt x="2899" y="398"/>
                    </a:cubicBezTo>
                    <a:cubicBezTo>
                      <a:pt x="2906" y="393"/>
                      <a:pt x="2900" y="370"/>
                      <a:pt x="2883" y="366"/>
                    </a:cubicBezTo>
                    <a:cubicBezTo>
                      <a:pt x="2865" y="362"/>
                      <a:pt x="2849" y="367"/>
                      <a:pt x="2849" y="367"/>
                    </a:cubicBezTo>
                    <a:cubicBezTo>
                      <a:pt x="2823" y="367"/>
                      <a:pt x="2823" y="367"/>
                      <a:pt x="2823" y="367"/>
                    </a:cubicBezTo>
                    <a:cubicBezTo>
                      <a:pt x="2823" y="367"/>
                      <a:pt x="2793" y="355"/>
                      <a:pt x="2782" y="364"/>
                    </a:cubicBezTo>
                    <a:cubicBezTo>
                      <a:pt x="2772" y="372"/>
                      <a:pt x="2768" y="378"/>
                      <a:pt x="2768" y="378"/>
                    </a:cubicBezTo>
                    <a:cubicBezTo>
                      <a:pt x="2781" y="385"/>
                      <a:pt x="2781" y="385"/>
                      <a:pt x="2781" y="385"/>
                    </a:cubicBezTo>
                    <a:cubicBezTo>
                      <a:pt x="2781" y="385"/>
                      <a:pt x="2772" y="397"/>
                      <a:pt x="2786" y="403"/>
                    </a:cubicBezTo>
                    <a:close/>
                    <a:moveTo>
                      <a:pt x="2471" y="347"/>
                    </a:moveTo>
                    <a:cubicBezTo>
                      <a:pt x="2457" y="346"/>
                      <a:pt x="2380" y="337"/>
                      <a:pt x="2339" y="339"/>
                    </a:cubicBezTo>
                    <a:cubicBezTo>
                      <a:pt x="2300" y="340"/>
                      <a:pt x="2311" y="339"/>
                      <a:pt x="2310" y="347"/>
                    </a:cubicBezTo>
                    <a:cubicBezTo>
                      <a:pt x="2308" y="356"/>
                      <a:pt x="2294" y="359"/>
                      <a:pt x="2260" y="367"/>
                    </a:cubicBezTo>
                    <a:cubicBezTo>
                      <a:pt x="2227" y="374"/>
                      <a:pt x="2259" y="375"/>
                      <a:pt x="2257" y="397"/>
                    </a:cubicBezTo>
                    <a:cubicBezTo>
                      <a:pt x="2245" y="414"/>
                      <a:pt x="2245" y="414"/>
                      <a:pt x="2245" y="414"/>
                    </a:cubicBezTo>
                    <a:cubicBezTo>
                      <a:pt x="2265" y="426"/>
                      <a:pt x="2265" y="426"/>
                      <a:pt x="2265" y="426"/>
                    </a:cubicBezTo>
                    <a:cubicBezTo>
                      <a:pt x="2318" y="404"/>
                      <a:pt x="2318" y="404"/>
                      <a:pt x="2318" y="404"/>
                    </a:cubicBezTo>
                    <a:cubicBezTo>
                      <a:pt x="2318" y="404"/>
                      <a:pt x="2299" y="397"/>
                      <a:pt x="2323" y="390"/>
                    </a:cubicBezTo>
                    <a:cubicBezTo>
                      <a:pt x="2348" y="383"/>
                      <a:pt x="2365" y="403"/>
                      <a:pt x="2365" y="403"/>
                    </a:cubicBezTo>
                    <a:cubicBezTo>
                      <a:pt x="2403" y="398"/>
                      <a:pt x="2403" y="398"/>
                      <a:pt x="2403" y="398"/>
                    </a:cubicBezTo>
                    <a:cubicBezTo>
                      <a:pt x="2398" y="383"/>
                      <a:pt x="2398" y="383"/>
                      <a:pt x="2398" y="383"/>
                    </a:cubicBezTo>
                    <a:cubicBezTo>
                      <a:pt x="2398" y="383"/>
                      <a:pt x="2447" y="381"/>
                      <a:pt x="2457" y="369"/>
                    </a:cubicBezTo>
                    <a:cubicBezTo>
                      <a:pt x="2467" y="358"/>
                      <a:pt x="2484" y="347"/>
                      <a:pt x="2471" y="347"/>
                    </a:cubicBezTo>
                    <a:close/>
                    <a:moveTo>
                      <a:pt x="2526" y="101"/>
                    </a:moveTo>
                    <a:cubicBezTo>
                      <a:pt x="2489" y="105"/>
                      <a:pt x="2489" y="105"/>
                      <a:pt x="2489" y="105"/>
                    </a:cubicBezTo>
                    <a:cubicBezTo>
                      <a:pt x="2503" y="123"/>
                      <a:pt x="2503" y="123"/>
                      <a:pt x="2503" y="123"/>
                    </a:cubicBezTo>
                    <a:lnTo>
                      <a:pt x="2526" y="101"/>
                    </a:lnTo>
                    <a:close/>
                    <a:moveTo>
                      <a:pt x="2406" y="324"/>
                    </a:moveTo>
                    <a:cubicBezTo>
                      <a:pt x="2417" y="317"/>
                      <a:pt x="2442" y="298"/>
                      <a:pt x="2438" y="290"/>
                    </a:cubicBezTo>
                    <a:cubicBezTo>
                      <a:pt x="2434" y="281"/>
                      <a:pt x="2400" y="283"/>
                      <a:pt x="2389" y="284"/>
                    </a:cubicBezTo>
                    <a:cubicBezTo>
                      <a:pt x="2366" y="286"/>
                      <a:pt x="2322" y="301"/>
                      <a:pt x="2334" y="309"/>
                    </a:cubicBezTo>
                    <a:cubicBezTo>
                      <a:pt x="2346" y="316"/>
                      <a:pt x="2406" y="324"/>
                      <a:pt x="2406" y="324"/>
                    </a:cubicBezTo>
                    <a:close/>
                    <a:moveTo>
                      <a:pt x="2634" y="123"/>
                    </a:moveTo>
                    <a:cubicBezTo>
                      <a:pt x="2598" y="131"/>
                      <a:pt x="2598" y="131"/>
                      <a:pt x="2598" y="131"/>
                    </a:cubicBezTo>
                    <a:cubicBezTo>
                      <a:pt x="2623" y="142"/>
                      <a:pt x="2623" y="142"/>
                      <a:pt x="2623" y="142"/>
                    </a:cubicBezTo>
                    <a:cubicBezTo>
                      <a:pt x="2623" y="142"/>
                      <a:pt x="2609" y="146"/>
                      <a:pt x="2611" y="156"/>
                    </a:cubicBezTo>
                    <a:cubicBezTo>
                      <a:pt x="2613" y="165"/>
                      <a:pt x="2640" y="162"/>
                      <a:pt x="2640" y="162"/>
                    </a:cubicBezTo>
                    <a:cubicBezTo>
                      <a:pt x="2627" y="171"/>
                      <a:pt x="2627" y="171"/>
                      <a:pt x="2627" y="171"/>
                    </a:cubicBezTo>
                    <a:cubicBezTo>
                      <a:pt x="2627" y="171"/>
                      <a:pt x="2645" y="175"/>
                      <a:pt x="2659" y="184"/>
                    </a:cubicBezTo>
                    <a:cubicBezTo>
                      <a:pt x="2673" y="192"/>
                      <a:pt x="2698" y="172"/>
                      <a:pt x="2698" y="172"/>
                    </a:cubicBezTo>
                    <a:cubicBezTo>
                      <a:pt x="2714" y="164"/>
                      <a:pt x="2714" y="164"/>
                      <a:pt x="2714" y="164"/>
                    </a:cubicBezTo>
                    <a:cubicBezTo>
                      <a:pt x="2714" y="164"/>
                      <a:pt x="2719" y="170"/>
                      <a:pt x="2725" y="181"/>
                    </a:cubicBezTo>
                    <a:cubicBezTo>
                      <a:pt x="2732" y="191"/>
                      <a:pt x="2756" y="173"/>
                      <a:pt x="2765" y="171"/>
                    </a:cubicBezTo>
                    <a:cubicBezTo>
                      <a:pt x="2774" y="169"/>
                      <a:pt x="2787" y="155"/>
                      <a:pt x="2787" y="155"/>
                    </a:cubicBezTo>
                    <a:cubicBezTo>
                      <a:pt x="2795" y="164"/>
                      <a:pt x="2795" y="164"/>
                      <a:pt x="2795" y="164"/>
                    </a:cubicBezTo>
                    <a:cubicBezTo>
                      <a:pt x="2795" y="164"/>
                      <a:pt x="2808" y="151"/>
                      <a:pt x="2810" y="146"/>
                    </a:cubicBezTo>
                    <a:cubicBezTo>
                      <a:pt x="2812" y="141"/>
                      <a:pt x="2865" y="143"/>
                      <a:pt x="2877" y="143"/>
                    </a:cubicBezTo>
                    <a:cubicBezTo>
                      <a:pt x="2889" y="143"/>
                      <a:pt x="2886" y="129"/>
                      <a:pt x="2886" y="129"/>
                    </a:cubicBezTo>
                    <a:cubicBezTo>
                      <a:pt x="2844" y="128"/>
                      <a:pt x="2844" y="128"/>
                      <a:pt x="2844" y="128"/>
                    </a:cubicBezTo>
                    <a:cubicBezTo>
                      <a:pt x="2864" y="117"/>
                      <a:pt x="2864" y="117"/>
                      <a:pt x="2864" y="117"/>
                    </a:cubicBezTo>
                    <a:cubicBezTo>
                      <a:pt x="2864" y="117"/>
                      <a:pt x="2872" y="97"/>
                      <a:pt x="2867" y="90"/>
                    </a:cubicBezTo>
                    <a:cubicBezTo>
                      <a:pt x="2863" y="84"/>
                      <a:pt x="2829" y="102"/>
                      <a:pt x="2829" y="102"/>
                    </a:cubicBezTo>
                    <a:cubicBezTo>
                      <a:pt x="2826" y="85"/>
                      <a:pt x="2826" y="85"/>
                      <a:pt x="2826" y="85"/>
                    </a:cubicBezTo>
                    <a:cubicBezTo>
                      <a:pt x="2794" y="91"/>
                      <a:pt x="2794" y="91"/>
                      <a:pt x="2794" y="91"/>
                    </a:cubicBezTo>
                    <a:cubicBezTo>
                      <a:pt x="2794" y="91"/>
                      <a:pt x="2791" y="71"/>
                      <a:pt x="2781" y="60"/>
                    </a:cubicBezTo>
                    <a:cubicBezTo>
                      <a:pt x="2772" y="49"/>
                      <a:pt x="2730" y="72"/>
                      <a:pt x="2730" y="72"/>
                    </a:cubicBezTo>
                    <a:cubicBezTo>
                      <a:pt x="2678" y="75"/>
                      <a:pt x="2678" y="75"/>
                      <a:pt x="2678" y="75"/>
                    </a:cubicBezTo>
                    <a:cubicBezTo>
                      <a:pt x="2695" y="88"/>
                      <a:pt x="2695" y="88"/>
                      <a:pt x="2695" y="88"/>
                    </a:cubicBezTo>
                    <a:cubicBezTo>
                      <a:pt x="2695" y="88"/>
                      <a:pt x="2658" y="85"/>
                      <a:pt x="2645" y="89"/>
                    </a:cubicBezTo>
                    <a:cubicBezTo>
                      <a:pt x="2633" y="93"/>
                      <a:pt x="2653" y="106"/>
                      <a:pt x="2653" y="106"/>
                    </a:cubicBezTo>
                    <a:cubicBezTo>
                      <a:pt x="2653" y="106"/>
                      <a:pt x="2596" y="100"/>
                      <a:pt x="2592" y="114"/>
                    </a:cubicBezTo>
                    <a:cubicBezTo>
                      <a:pt x="2587" y="128"/>
                      <a:pt x="2634" y="123"/>
                      <a:pt x="2634" y="123"/>
                    </a:cubicBezTo>
                    <a:close/>
                    <a:moveTo>
                      <a:pt x="2644" y="199"/>
                    </a:moveTo>
                    <a:cubicBezTo>
                      <a:pt x="2622" y="203"/>
                      <a:pt x="2622" y="213"/>
                      <a:pt x="2622" y="213"/>
                    </a:cubicBezTo>
                    <a:cubicBezTo>
                      <a:pt x="2640" y="216"/>
                      <a:pt x="2640" y="216"/>
                      <a:pt x="2640" y="216"/>
                    </a:cubicBezTo>
                    <a:cubicBezTo>
                      <a:pt x="2655" y="216"/>
                      <a:pt x="2667" y="195"/>
                      <a:pt x="2644" y="199"/>
                    </a:cubicBezTo>
                    <a:close/>
                    <a:moveTo>
                      <a:pt x="2488" y="226"/>
                    </a:moveTo>
                    <a:cubicBezTo>
                      <a:pt x="2484" y="226"/>
                      <a:pt x="2476" y="222"/>
                      <a:pt x="2476" y="222"/>
                    </a:cubicBezTo>
                    <a:cubicBezTo>
                      <a:pt x="2476" y="222"/>
                      <a:pt x="2416" y="222"/>
                      <a:pt x="2416" y="230"/>
                    </a:cubicBezTo>
                    <a:cubicBezTo>
                      <a:pt x="2416" y="239"/>
                      <a:pt x="2435" y="241"/>
                      <a:pt x="2435" y="241"/>
                    </a:cubicBezTo>
                    <a:cubicBezTo>
                      <a:pt x="2436" y="253"/>
                      <a:pt x="2436" y="253"/>
                      <a:pt x="2436" y="253"/>
                    </a:cubicBezTo>
                    <a:cubicBezTo>
                      <a:pt x="2436" y="253"/>
                      <a:pt x="2486" y="258"/>
                      <a:pt x="2490" y="256"/>
                    </a:cubicBezTo>
                    <a:cubicBezTo>
                      <a:pt x="2494" y="254"/>
                      <a:pt x="2506" y="255"/>
                      <a:pt x="2512" y="255"/>
                    </a:cubicBezTo>
                    <a:cubicBezTo>
                      <a:pt x="2510" y="263"/>
                      <a:pt x="2508" y="274"/>
                      <a:pt x="2508" y="274"/>
                    </a:cubicBezTo>
                    <a:cubicBezTo>
                      <a:pt x="2471" y="301"/>
                      <a:pt x="2471" y="301"/>
                      <a:pt x="2471" y="301"/>
                    </a:cubicBezTo>
                    <a:cubicBezTo>
                      <a:pt x="2485" y="307"/>
                      <a:pt x="2485" y="307"/>
                      <a:pt x="2485" y="307"/>
                    </a:cubicBezTo>
                    <a:cubicBezTo>
                      <a:pt x="2485" y="307"/>
                      <a:pt x="2461" y="322"/>
                      <a:pt x="2473" y="322"/>
                    </a:cubicBezTo>
                    <a:cubicBezTo>
                      <a:pt x="2485" y="322"/>
                      <a:pt x="2503" y="312"/>
                      <a:pt x="2503" y="312"/>
                    </a:cubicBezTo>
                    <a:cubicBezTo>
                      <a:pt x="2503" y="312"/>
                      <a:pt x="2494" y="325"/>
                      <a:pt x="2513" y="324"/>
                    </a:cubicBezTo>
                    <a:cubicBezTo>
                      <a:pt x="2532" y="323"/>
                      <a:pt x="2568" y="311"/>
                      <a:pt x="2568" y="311"/>
                    </a:cubicBezTo>
                    <a:cubicBezTo>
                      <a:pt x="2569" y="325"/>
                      <a:pt x="2569" y="325"/>
                      <a:pt x="2569" y="325"/>
                    </a:cubicBezTo>
                    <a:cubicBezTo>
                      <a:pt x="2614" y="322"/>
                      <a:pt x="2614" y="322"/>
                      <a:pt x="2614" y="322"/>
                    </a:cubicBezTo>
                    <a:cubicBezTo>
                      <a:pt x="2667" y="332"/>
                      <a:pt x="2667" y="332"/>
                      <a:pt x="2667" y="332"/>
                    </a:cubicBezTo>
                    <a:cubicBezTo>
                      <a:pt x="2731" y="327"/>
                      <a:pt x="2731" y="327"/>
                      <a:pt x="2731" y="327"/>
                    </a:cubicBezTo>
                    <a:cubicBezTo>
                      <a:pt x="2749" y="312"/>
                      <a:pt x="2749" y="312"/>
                      <a:pt x="2749" y="312"/>
                    </a:cubicBezTo>
                    <a:cubicBezTo>
                      <a:pt x="2749" y="312"/>
                      <a:pt x="2738" y="326"/>
                      <a:pt x="2751" y="327"/>
                    </a:cubicBezTo>
                    <a:cubicBezTo>
                      <a:pt x="2764" y="328"/>
                      <a:pt x="2839" y="326"/>
                      <a:pt x="2839" y="326"/>
                    </a:cubicBezTo>
                    <a:cubicBezTo>
                      <a:pt x="2846" y="312"/>
                      <a:pt x="2846" y="312"/>
                      <a:pt x="2846" y="312"/>
                    </a:cubicBezTo>
                    <a:cubicBezTo>
                      <a:pt x="2890" y="294"/>
                      <a:pt x="2890" y="294"/>
                      <a:pt x="2890" y="294"/>
                    </a:cubicBezTo>
                    <a:cubicBezTo>
                      <a:pt x="2879" y="290"/>
                      <a:pt x="2879" y="290"/>
                      <a:pt x="2879" y="290"/>
                    </a:cubicBezTo>
                    <a:cubicBezTo>
                      <a:pt x="2879" y="281"/>
                      <a:pt x="2879" y="281"/>
                      <a:pt x="2879" y="281"/>
                    </a:cubicBezTo>
                    <a:cubicBezTo>
                      <a:pt x="2879" y="281"/>
                      <a:pt x="2834" y="270"/>
                      <a:pt x="2818" y="270"/>
                    </a:cubicBezTo>
                    <a:cubicBezTo>
                      <a:pt x="2802" y="270"/>
                      <a:pt x="2681" y="294"/>
                      <a:pt x="2681" y="294"/>
                    </a:cubicBezTo>
                    <a:cubicBezTo>
                      <a:pt x="2681" y="294"/>
                      <a:pt x="2666" y="283"/>
                      <a:pt x="2658" y="282"/>
                    </a:cubicBezTo>
                    <a:cubicBezTo>
                      <a:pt x="2651" y="281"/>
                      <a:pt x="2621" y="294"/>
                      <a:pt x="2621" y="294"/>
                    </a:cubicBezTo>
                    <a:cubicBezTo>
                      <a:pt x="2608" y="280"/>
                      <a:pt x="2608" y="280"/>
                      <a:pt x="2608" y="280"/>
                    </a:cubicBezTo>
                    <a:cubicBezTo>
                      <a:pt x="2596" y="286"/>
                      <a:pt x="2596" y="286"/>
                      <a:pt x="2596" y="286"/>
                    </a:cubicBezTo>
                    <a:cubicBezTo>
                      <a:pt x="2574" y="282"/>
                      <a:pt x="2574" y="282"/>
                      <a:pt x="2574" y="282"/>
                    </a:cubicBezTo>
                    <a:cubicBezTo>
                      <a:pt x="2596" y="274"/>
                      <a:pt x="2596" y="274"/>
                      <a:pt x="2596" y="274"/>
                    </a:cubicBezTo>
                    <a:cubicBezTo>
                      <a:pt x="2583" y="268"/>
                      <a:pt x="2583" y="268"/>
                      <a:pt x="2583" y="268"/>
                    </a:cubicBezTo>
                    <a:cubicBezTo>
                      <a:pt x="2546" y="272"/>
                      <a:pt x="2546" y="272"/>
                      <a:pt x="2546" y="272"/>
                    </a:cubicBezTo>
                    <a:cubicBezTo>
                      <a:pt x="2570" y="265"/>
                      <a:pt x="2570" y="265"/>
                      <a:pt x="2570" y="265"/>
                    </a:cubicBezTo>
                    <a:cubicBezTo>
                      <a:pt x="2569" y="260"/>
                      <a:pt x="2569" y="260"/>
                      <a:pt x="2569" y="260"/>
                    </a:cubicBezTo>
                    <a:cubicBezTo>
                      <a:pt x="2615" y="259"/>
                      <a:pt x="2615" y="259"/>
                      <a:pt x="2615" y="259"/>
                    </a:cubicBezTo>
                    <a:cubicBezTo>
                      <a:pt x="2592" y="251"/>
                      <a:pt x="2592" y="251"/>
                      <a:pt x="2592" y="251"/>
                    </a:cubicBezTo>
                    <a:cubicBezTo>
                      <a:pt x="2576" y="251"/>
                      <a:pt x="2576" y="251"/>
                      <a:pt x="2576" y="251"/>
                    </a:cubicBezTo>
                    <a:cubicBezTo>
                      <a:pt x="2576" y="251"/>
                      <a:pt x="2588" y="241"/>
                      <a:pt x="2578" y="240"/>
                    </a:cubicBezTo>
                    <a:cubicBezTo>
                      <a:pt x="2570" y="239"/>
                      <a:pt x="2539" y="241"/>
                      <a:pt x="2523" y="244"/>
                    </a:cubicBezTo>
                    <a:cubicBezTo>
                      <a:pt x="2521" y="237"/>
                      <a:pt x="2492" y="226"/>
                      <a:pt x="2488" y="226"/>
                    </a:cubicBezTo>
                    <a:close/>
                    <a:moveTo>
                      <a:pt x="2173" y="281"/>
                    </a:moveTo>
                    <a:cubicBezTo>
                      <a:pt x="2182" y="281"/>
                      <a:pt x="2226" y="288"/>
                      <a:pt x="2226" y="288"/>
                    </a:cubicBezTo>
                    <a:cubicBezTo>
                      <a:pt x="2226" y="288"/>
                      <a:pt x="2202" y="308"/>
                      <a:pt x="2217" y="308"/>
                    </a:cubicBezTo>
                    <a:cubicBezTo>
                      <a:pt x="2232" y="308"/>
                      <a:pt x="2270" y="308"/>
                      <a:pt x="2270" y="308"/>
                    </a:cubicBezTo>
                    <a:cubicBezTo>
                      <a:pt x="2284" y="308"/>
                      <a:pt x="2309" y="302"/>
                      <a:pt x="2305" y="294"/>
                    </a:cubicBezTo>
                    <a:cubicBezTo>
                      <a:pt x="2301" y="285"/>
                      <a:pt x="2341" y="282"/>
                      <a:pt x="2339" y="273"/>
                    </a:cubicBezTo>
                    <a:cubicBezTo>
                      <a:pt x="2338" y="265"/>
                      <a:pt x="2376" y="259"/>
                      <a:pt x="2362" y="247"/>
                    </a:cubicBezTo>
                    <a:cubicBezTo>
                      <a:pt x="2348" y="236"/>
                      <a:pt x="2329" y="244"/>
                      <a:pt x="2329" y="244"/>
                    </a:cubicBezTo>
                    <a:cubicBezTo>
                      <a:pt x="2329" y="244"/>
                      <a:pt x="2282" y="229"/>
                      <a:pt x="2279" y="238"/>
                    </a:cubicBezTo>
                    <a:cubicBezTo>
                      <a:pt x="2276" y="246"/>
                      <a:pt x="2276" y="267"/>
                      <a:pt x="2276" y="267"/>
                    </a:cubicBezTo>
                    <a:cubicBezTo>
                      <a:pt x="2276" y="267"/>
                      <a:pt x="2255" y="242"/>
                      <a:pt x="2244" y="251"/>
                    </a:cubicBezTo>
                    <a:cubicBezTo>
                      <a:pt x="2232" y="259"/>
                      <a:pt x="2222" y="283"/>
                      <a:pt x="2213" y="276"/>
                    </a:cubicBezTo>
                    <a:cubicBezTo>
                      <a:pt x="2205" y="270"/>
                      <a:pt x="2200" y="245"/>
                      <a:pt x="2191" y="243"/>
                    </a:cubicBezTo>
                    <a:cubicBezTo>
                      <a:pt x="2181" y="241"/>
                      <a:pt x="2155" y="243"/>
                      <a:pt x="2156" y="256"/>
                    </a:cubicBezTo>
                    <a:cubicBezTo>
                      <a:pt x="2157" y="269"/>
                      <a:pt x="2165" y="281"/>
                      <a:pt x="2173" y="281"/>
                    </a:cubicBezTo>
                    <a:close/>
                    <a:moveTo>
                      <a:pt x="2477" y="192"/>
                    </a:moveTo>
                    <a:cubicBezTo>
                      <a:pt x="2487" y="195"/>
                      <a:pt x="2490" y="205"/>
                      <a:pt x="2490" y="205"/>
                    </a:cubicBezTo>
                    <a:cubicBezTo>
                      <a:pt x="2490" y="205"/>
                      <a:pt x="2532" y="202"/>
                      <a:pt x="2552" y="201"/>
                    </a:cubicBezTo>
                    <a:cubicBezTo>
                      <a:pt x="2571" y="200"/>
                      <a:pt x="2528" y="189"/>
                      <a:pt x="2528" y="189"/>
                    </a:cubicBezTo>
                    <a:cubicBezTo>
                      <a:pt x="2528" y="189"/>
                      <a:pt x="2537" y="179"/>
                      <a:pt x="2547" y="177"/>
                    </a:cubicBezTo>
                    <a:cubicBezTo>
                      <a:pt x="2558" y="175"/>
                      <a:pt x="2518" y="162"/>
                      <a:pt x="2488" y="156"/>
                    </a:cubicBezTo>
                    <a:cubicBezTo>
                      <a:pt x="2488" y="156"/>
                      <a:pt x="2464" y="160"/>
                      <a:pt x="2460" y="164"/>
                    </a:cubicBezTo>
                    <a:cubicBezTo>
                      <a:pt x="2456" y="169"/>
                      <a:pt x="2468" y="190"/>
                      <a:pt x="2477" y="192"/>
                    </a:cubicBezTo>
                    <a:close/>
                    <a:moveTo>
                      <a:pt x="2188" y="339"/>
                    </a:moveTo>
                    <a:cubicBezTo>
                      <a:pt x="2188" y="339"/>
                      <a:pt x="2127" y="341"/>
                      <a:pt x="2093" y="352"/>
                    </a:cubicBezTo>
                    <a:cubicBezTo>
                      <a:pt x="2060" y="363"/>
                      <a:pt x="2112" y="372"/>
                      <a:pt x="2101" y="385"/>
                    </a:cubicBezTo>
                    <a:cubicBezTo>
                      <a:pt x="2090" y="399"/>
                      <a:pt x="2068" y="364"/>
                      <a:pt x="2030" y="380"/>
                    </a:cubicBezTo>
                    <a:cubicBezTo>
                      <a:pt x="2042" y="405"/>
                      <a:pt x="2042" y="405"/>
                      <a:pt x="2042" y="405"/>
                    </a:cubicBezTo>
                    <a:cubicBezTo>
                      <a:pt x="2042" y="405"/>
                      <a:pt x="2048" y="415"/>
                      <a:pt x="2065" y="418"/>
                    </a:cubicBezTo>
                    <a:cubicBezTo>
                      <a:pt x="2083" y="421"/>
                      <a:pt x="2082" y="456"/>
                      <a:pt x="2082" y="456"/>
                    </a:cubicBezTo>
                    <a:cubicBezTo>
                      <a:pt x="2082" y="456"/>
                      <a:pt x="2152" y="447"/>
                      <a:pt x="2174" y="442"/>
                    </a:cubicBezTo>
                    <a:cubicBezTo>
                      <a:pt x="2196" y="436"/>
                      <a:pt x="2196" y="395"/>
                      <a:pt x="2196" y="395"/>
                    </a:cubicBezTo>
                    <a:cubicBezTo>
                      <a:pt x="2152" y="385"/>
                      <a:pt x="2152" y="385"/>
                      <a:pt x="2152" y="385"/>
                    </a:cubicBezTo>
                    <a:cubicBezTo>
                      <a:pt x="2152" y="385"/>
                      <a:pt x="2205" y="367"/>
                      <a:pt x="2232" y="358"/>
                    </a:cubicBezTo>
                    <a:cubicBezTo>
                      <a:pt x="2258" y="348"/>
                      <a:pt x="2188" y="339"/>
                      <a:pt x="2188" y="339"/>
                    </a:cubicBezTo>
                    <a:close/>
                    <a:moveTo>
                      <a:pt x="1929" y="499"/>
                    </a:moveTo>
                    <a:cubicBezTo>
                      <a:pt x="1927" y="493"/>
                      <a:pt x="1862" y="494"/>
                      <a:pt x="1862" y="494"/>
                    </a:cubicBezTo>
                    <a:cubicBezTo>
                      <a:pt x="1915" y="466"/>
                      <a:pt x="1915" y="466"/>
                      <a:pt x="1915" y="466"/>
                    </a:cubicBezTo>
                    <a:cubicBezTo>
                      <a:pt x="1915" y="466"/>
                      <a:pt x="1947" y="392"/>
                      <a:pt x="1918" y="383"/>
                    </a:cubicBezTo>
                    <a:cubicBezTo>
                      <a:pt x="1891" y="375"/>
                      <a:pt x="1852" y="393"/>
                      <a:pt x="1852" y="393"/>
                    </a:cubicBezTo>
                    <a:cubicBezTo>
                      <a:pt x="1852" y="393"/>
                      <a:pt x="1826" y="447"/>
                      <a:pt x="1802" y="450"/>
                    </a:cubicBezTo>
                    <a:cubicBezTo>
                      <a:pt x="1778" y="453"/>
                      <a:pt x="1818" y="413"/>
                      <a:pt x="1816" y="403"/>
                    </a:cubicBezTo>
                    <a:cubicBezTo>
                      <a:pt x="1814" y="393"/>
                      <a:pt x="1750" y="392"/>
                      <a:pt x="1750" y="392"/>
                    </a:cubicBezTo>
                    <a:cubicBezTo>
                      <a:pt x="1744" y="405"/>
                      <a:pt x="1744" y="405"/>
                      <a:pt x="1744" y="405"/>
                    </a:cubicBezTo>
                    <a:cubicBezTo>
                      <a:pt x="1744" y="405"/>
                      <a:pt x="1708" y="420"/>
                      <a:pt x="1671" y="423"/>
                    </a:cubicBezTo>
                    <a:cubicBezTo>
                      <a:pt x="1635" y="425"/>
                      <a:pt x="1687" y="412"/>
                      <a:pt x="1723" y="400"/>
                    </a:cubicBezTo>
                    <a:cubicBezTo>
                      <a:pt x="1761" y="388"/>
                      <a:pt x="1704" y="386"/>
                      <a:pt x="1704" y="386"/>
                    </a:cubicBezTo>
                    <a:cubicBezTo>
                      <a:pt x="1664" y="398"/>
                      <a:pt x="1664" y="398"/>
                      <a:pt x="1664" y="398"/>
                    </a:cubicBezTo>
                    <a:cubicBezTo>
                      <a:pt x="1636" y="401"/>
                      <a:pt x="1636" y="401"/>
                      <a:pt x="1636" y="401"/>
                    </a:cubicBezTo>
                    <a:cubicBezTo>
                      <a:pt x="1636" y="401"/>
                      <a:pt x="1651" y="391"/>
                      <a:pt x="1667" y="380"/>
                    </a:cubicBezTo>
                    <a:cubicBezTo>
                      <a:pt x="1682" y="369"/>
                      <a:pt x="1663" y="371"/>
                      <a:pt x="1663" y="371"/>
                    </a:cubicBezTo>
                    <a:cubicBezTo>
                      <a:pt x="1564" y="402"/>
                      <a:pt x="1564" y="402"/>
                      <a:pt x="1564" y="402"/>
                    </a:cubicBezTo>
                    <a:cubicBezTo>
                      <a:pt x="1550" y="403"/>
                      <a:pt x="1550" y="403"/>
                      <a:pt x="1550" y="403"/>
                    </a:cubicBezTo>
                    <a:cubicBezTo>
                      <a:pt x="1494" y="420"/>
                      <a:pt x="1494" y="420"/>
                      <a:pt x="1494" y="420"/>
                    </a:cubicBezTo>
                    <a:cubicBezTo>
                      <a:pt x="1496" y="428"/>
                      <a:pt x="1496" y="428"/>
                      <a:pt x="1496" y="428"/>
                    </a:cubicBezTo>
                    <a:cubicBezTo>
                      <a:pt x="1456" y="443"/>
                      <a:pt x="1456" y="443"/>
                      <a:pt x="1456" y="443"/>
                    </a:cubicBezTo>
                    <a:cubicBezTo>
                      <a:pt x="1447" y="453"/>
                      <a:pt x="1447" y="453"/>
                      <a:pt x="1447" y="453"/>
                    </a:cubicBezTo>
                    <a:cubicBezTo>
                      <a:pt x="1465" y="461"/>
                      <a:pt x="1465" y="461"/>
                      <a:pt x="1465" y="461"/>
                    </a:cubicBezTo>
                    <a:cubicBezTo>
                      <a:pt x="1465" y="461"/>
                      <a:pt x="1487" y="446"/>
                      <a:pt x="1492" y="458"/>
                    </a:cubicBezTo>
                    <a:cubicBezTo>
                      <a:pt x="1497" y="470"/>
                      <a:pt x="1451" y="464"/>
                      <a:pt x="1440" y="483"/>
                    </a:cubicBezTo>
                    <a:cubicBezTo>
                      <a:pt x="1428" y="503"/>
                      <a:pt x="1587" y="484"/>
                      <a:pt x="1565" y="502"/>
                    </a:cubicBezTo>
                    <a:cubicBezTo>
                      <a:pt x="1544" y="519"/>
                      <a:pt x="1417" y="508"/>
                      <a:pt x="1406" y="525"/>
                    </a:cubicBezTo>
                    <a:cubicBezTo>
                      <a:pt x="1395" y="542"/>
                      <a:pt x="1427" y="540"/>
                      <a:pt x="1450" y="552"/>
                    </a:cubicBezTo>
                    <a:cubicBezTo>
                      <a:pt x="1473" y="564"/>
                      <a:pt x="1438" y="557"/>
                      <a:pt x="1434" y="574"/>
                    </a:cubicBezTo>
                    <a:cubicBezTo>
                      <a:pt x="1430" y="590"/>
                      <a:pt x="1533" y="582"/>
                      <a:pt x="1533" y="582"/>
                    </a:cubicBezTo>
                    <a:cubicBezTo>
                      <a:pt x="1533" y="582"/>
                      <a:pt x="1702" y="566"/>
                      <a:pt x="1741" y="554"/>
                    </a:cubicBezTo>
                    <a:cubicBezTo>
                      <a:pt x="1768" y="545"/>
                      <a:pt x="1819" y="583"/>
                      <a:pt x="1851" y="586"/>
                    </a:cubicBezTo>
                    <a:cubicBezTo>
                      <a:pt x="1884" y="588"/>
                      <a:pt x="1895" y="551"/>
                      <a:pt x="1895" y="551"/>
                    </a:cubicBezTo>
                    <a:cubicBezTo>
                      <a:pt x="1843" y="550"/>
                      <a:pt x="1843" y="550"/>
                      <a:pt x="1843" y="550"/>
                    </a:cubicBezTo>
                    <a:cubicBezTo>
                      <a:pt x="1865" y="533"/>
                      <a:pt x="1865" y="533"/>
                      <a:pt x="1865" y="533"/>
                    </a:cubicBezTo>
                    <a:cubicBezTo>
                      <a:pt x="1865" y="533"/>
                      <a:pt x="1897" y="539"/>
                      <a:pt x="1929" y="532"/>
                    </a:cubicBezTo>
                    <a:cubicBezTo>
                      <a:pt x="1962" y="525"/>
                      <a:pt x="1931" y="506"/>
                      <a:pt x="1929" y="499"/>
                    </a:cubicBezTo>
                    <a:close/>
                    <a:moveTo>
                      <a:pt x="1909" y="590"/>
                    </a:moveTo>
                    <a:cubicBezTo>
                      <a:pt x="1941" y="591"/>
                      <a:pt x="1947" y="573"/>
                      <a:pt x="1925" y="574"/>
                    </a:cubicBezTo>
                    <a:cubicBezTo>
                      <a:pt x="1903" y="574"/>
                      <a:pt x="1909" y="590"/>
                      <a:pt x="1909" y="590"/>
                    </a:cubicBezTo>
                    <a:close/>
                    <a:moveTo>
                      <a:pt x="2183" y="224"/>
                    </a:moveTo>
                    <a:cubicBezTo>
                      <a:pt x="2201" y="221"/>
                      <a:pt x="2202" y="193"/>
                      <a:pt x="2187" y="193"/>
                    </a:cubicBezTo>
                    <a:cubicBezTo>
                      <a:pt x="2173" y="193"/>
                      <a:pt x="2166" y="226"/>
                      <a:pt x="2183" y="224"/>
                    </a:cubicBezTo>
                    <a:close/>
                    <a:moveTo>
                      <a:pt x="2307" y="155"/>
                    </a:moveTo>
                    <a:cubicBezTo>
                      <a:pt x="2307" y="155"/>
                      <a:pt x="2289" y="172"/>
                      <a:pt x="2303" y="173"/>
                    </a:cubicBezTo>
                    <a:cubicBezTo>
                      <a:pt x="2317" y="174"/>
                      <a:pt x="2349" y="175"/>
                      <a:pt x="2349" y="175"/>
                    </a:cubicBezTo>
                    <a:cubicBezTo>
                      <a:pt x="2349" y="175"/>
                      <a:pt x="2363" y="191"/>
                      <a:pt x="2380" y="191"/>
                    </a:cubicBezTo>
                    <a:cubicBezTo>
                      <a:pt x="2398" y="191"/>
                      <a:pt x="2411" y="177"/>
                      <a:pt x="2411" y="177"/>
                    </a:cubicBezTo>
                    <a:cubicBezTo>
                      <a:pt x="2402" y="169"/>
                      <a:pt x="2402" y="169"/>
                      <a:pt x="2402" y="169"/>
                    </a:cubicBezTo>
                    <a:cubicBezTo>
                      <a:pt x="2423" y="165"/>
                      <a:pt x="2423" y="165"/>
                      <a:pt x="2423" y="165"/>
                    </a:cubicBezTo>
                    <a:cubicBezTo>
                      <a:pt x="2393" y="143"/>
                      <a:pt x="2393" y="143"/>
                      <a:pt x="2393" y="143"/>
                    </a:cubicBezTo>
                    <a:cubicBezTo>
                      <a:pt x="2365" y="147"/>
                      <a:pt x="2365" y="147"/>
                      <a:pt x="2365" y="147"/>
                    </a:cubicBezTo>
                    <a:cubicBezTo>
                      <a:pt x="2355" y="132"/>
                      <a:pt x="2355" y="132"/>
                      <a:pt x="2355" y="132"/>
                    </a:cubicBezTo>
                    <a:cubicBezTo>
                      <a:pt x="2336" y="132"/>
                      <a:pt x="2336" y="132"/>
                      <a:pt x="2336" y="132"/>
                    </a:cubicBezTo>
                    <a:cubicBezTo>
                      <a:pt x="2314" y="132"/>
                      <a:pt x="2279" y="132"/>
                      <a:pt x="2278" y="144"/>
                    </a:cubicBezTo>
                    <a:cubicBezTo>
                      <a:pt x="2277" y="156"/>
                      <a:pt x="2307" y="155"/>
                      <a:pt x="2307" y="155"/>
                    </a:cubicBezTo>
                    <a:close/>
                    <a:moveTo>
                      <a:pt x="2285" y="872"/>
                    </a:moveTo>
                    <a:cubicBezTo>
                      <a:pt x="2230" y="922"/>
                      <a:pt x="2320" y="886"/>
                      <a:pt x="2320" y="886"/>
                    </a:cubicBezTo>
                    <a:cubicBezTo>
                      <a:pt x="2366" y="843"/>
                      <a:pt x="2339" y="821"/>
                      <a:pt x="2285" y="872"/>
                    </a:cubicBezTo>
                    <a:close/>
                    <a:moveTo>
                      <a:pt x="2943" y="929"/>
                    </a:moveTo>
                    <a:cubicBezTo>
                      <a:pt x="2953" y="921"/>
                      <a:pt x="2946" y="918"/>
                      <a:pt x="2946" y="918"/>
                    </a:cubicBezTo>
                    <a:cubicBezTo>
                      <a:pt x="2946" y="918"/>
                      <a:pt x="2924" y="913"/>
                      <a:pt x="2921" y="922"/>
                    </a:cubicBezTo>
                    <a:cubicBezTo>
                      <a:pt x="2921" y="922"/>
                      <a:pt x="2932" y="936"/>
                      <a:pt x="2943" y="929"/>
                    </a:cubicBezTo>
                    <a:close/>
                    <a:moveTo>
                      <a:pt x="2077" y="1360"/>
                    </a:moveTo>
                    <a:cubicBezTo>
                      <a:pt x="2105" y="1356"/>
                      <a:pt x="2070" y="1342"/>
                      <a:pt x="2070" y="1342"/>
                    </a:cubicBezTo>
                    <a:cubicBezTo>
                      <a:pt x="2026" y="1351"/>
                      <a:pt x="2048" y="1363"/>
                      <a:pt x="2077" y="1360"/>
                    </a:cubicBezTo>
                    <a:close/>
                    <a:moveTo>
                      <a:pt x="3172" y="665"/>
                    </a:moveTo>
                    <a:cubicBezTo>
                      <a:pt x="3167" y="669"/>
                      <a:pt x="3155" y="660"/>
                      <a:pt x="3155" y="660"/>
                    </a:cubicBezTo>
                    <a:cubicBezTo>
                      <a:pt x="3133" y="673"/>
                      <a:pt x="3133" y="673"/>
                      <a:pt x="3133" y="673"/>
                    </a:cubicBezTo>
                    <a:cubicBezTo>
                      <a:pt x="3135" y="656"/>
                      <a:pt x="3135" y="656"/>
                      <a:pt x="3135" y="656"/>
                    </a:cubicBezTo>
                    <a:cubicBezTo>
                      <a:pt x="3107" y="656"/>
                      <a:pt x="3107" y="656"/>
                      <a:pt x="3107" y="656"/>
                    </a:cubicBezTo>
                    <a:cubicBezTo>
                      <a:pt x="3107" y="656"/>
                      <a:pt x="3139" y="646"/>
                      <a:pt x="3133" y="636"/>
                    </a:cubicBezTo>
                    <a:cubicBezTo>
                      <a:pt x="3128" y="625"/>
                      <a:pt x="3079" y="624"/>
                      <a:pt x="3079" y="624"/>
                    </a:cubicBezTo>
                    <a:cubicBezTo>
                      <a:pt x="3073" y="613"/>
                      <a:pt x="3073" y="613"/>
                      <a:pt x="3073" y="613"/>
                    </a:cubicBezTo>
                    <a:cubicBezTo>
                      <a:pt x="3041" y="612"/>
                      <a:pt x="3041" y="612"/>
                      <a:pt x="3041" y="612"/>
                    </a:cubicBezTo>
                    <a:cubicBezTo>
                      <a:pt x="2997" y="581"/>
                      <a:pt x="2997" y="581"/>
                      <a:pt x="2997" y="581"/>
                    </a:cubicBezTo>
                    <a:cubicBezTo>
                      <a:pt x="3044" y="578"/>
                      <a:pt x="3044" y="578"/>
                      <a:pt x="3044" y="578"/>
                    </a:cubicBezTo>
                    <a:cubicBezTo>
                      <a:pt x="3024" y="564"/>
                      <a:pt x="3024" y="564"/>
                      <a:pt x="3024" y="564"/>
                    </a:cubicBezTo>
                    <a:cubicBezTo>
                      <a:pt x="3024" y="564"/>
                      <a:pt x="3037" y="560"/>
                      <a:pt x="3041" y="560"/>
                    </a:cubicBezTo>
                    <a:cubicBezTo>
                      <a:pt x="3045" y="560"/>
                      <a:pt x="3097" y="572"/>
                      <a:pt x="3091" y="558"/>
                    </a:cubicBezTo>
                    <a:cubicBezTo>
                      <a:pt x="3084" y="545"/>
                      <a:pt x="3029" y="548"/>
                      <a:pt x="3029" y="548"/>
                    </a:cubicBezTo>
                    <a:cubicBezTo>
                      <a:pt x="3011" y="546"/>
                      <a:pt x="3011" y="546"/>
                      <a:pt x="3011" y="546"/>
                    </a:cubicBezTo>
                    <a:cubicBezTo>
                      <a:pt x="3011" y="546"/>
                      <a:pt x="3088" y="544"/>
                      <a:pt x="3091" y="534"/>
                    </a:cubicBezTo>
                    <a:cubicBezTo>
                      <a:pt x="3093" y="525"/>
                      <a:pt x="3069" y="525"/>
                      <a:pt x="3069" y="525"/>
                    </a:cubicBezTo>
                    <a:cubicBezTo>
                      <a:pt x="3000" y="536"/>
                      <a:pt x="3000" y="536"/>
                      <a:pt x="3000" y="536"/>
                    </a:cubicBezTo>
                    <a:cubicBezTo>
                      <a:pt x="3040" y="512"/>
                      <a:pt x="3040" y="512"/>
                      <a:pt x="3040" y="512"/>
                    </a:cubicBezTo>
                    <a:cubicBezTo>
                      <a:pt x="3040" y="512"/>
                      <a:pt x="3093" y="518"/>
                      <a:pt x="3077" y="504"/>
                    </a:cubicBezTo>
                    <a:cubicBezTo>
                      <a:pt x="3061" y="489"/>
                      <a:pt x="3035" y="489"/>
                      <a:pt x="3035" y="489"/>
                    </a:cubicBezTo>
                    <a:cubicBezTo>
                      <a:pt x="3009" y="504"/>
                      <a:pt x="3009" y="504"/>
                      <a:pt x="3009" y="504"/>
                    </a:cubicBezTo>
                    <a:cubicBezTo>
                      <a:pt x="2999" y="500"/>
                      <a:pt x="2999" y="500"/>
                      <a:pt x="2999" y="500"/>
                    </a:cubicBezTo>
                    <a:cubicBezTo>
                      <a:pt x="2971" y="520"/>
                      <a:pt x="2971" y="520"/>
                      <a:pt x="2971" y="520"/>
                    </a:cubicBezTo>
                    <a:cubicBezTo>
                      <a:pt x="2973" y="505"/>
                      <a:pt x="2973" y="505"/>
                      <a:pt x="2973" y="505"/>
                    </a:cubicBezTo>
                    <a:cubicBezTo>
                      <a:pt x="2959" y="517"/>
                      <a:pt x="2959" y="517"/>
                      <a:pt x="2959" y="517"/>
                    </a:cubicBezTo>
                    <a:cubicBezTo>
                      <a:pt x="2973" y="497"/>
                      <a:pt x="2973" y="497"/>
                      <a:pt x="2973" y="497"/>
                    </a:cubicBezTo>
                    <a:cubicBezTo>
                      <a:pt x="2973" y="497"/>
                      <a:pt x="2993" y="502"/>
                      <a:pt x="3003" y="493"/>
                    </a:cubicBezTo>
                    <a:cubicBezTo>
                      <a:pt x="3012" y="484"/>
                      <a:pt x="3012" y="470"/>
                      <a:pt x="3005" y="472"/>
                    </a:cubicBezTo>
                    <a:cubicBezTo>
                      <a:pt x="2999" y="473"/>
                      <a:pt x="2991" y="485"/>
                      <a:pt x="2991" y="485"/>
                    </a:cubicBezTo>
                    <a:cubicBezTo>
                      <a:pt x="2967" y="486"/>
                      <a:pt x="2967" y="486"/>
                      <a:pt x="2967" y="486"/>
                    </a:cubicBezTo>
                    <a:cubicBezTo>
                      <a:pt x="2952" y="493"/>
                      <a:pt x="2952" y="493"/>
                      <a:pt x="2952" y="493"/>
                    </a:cubicBezTo>
                    <a:cubicBezTo>
                      <a:pt x="2968" y="474"/>
                      <a:pt x="2968" y="474"/>
                      <a:pt x="2968" y="474"/>
                    </a:cubicBezTo>
                    <a:cubicBezTo>
                      <a:pt x="2988" y="474"/>
                      <a:pt x="2988" y="474"/>
                      <a:pt x="2988" y="474"/>
                    </a:cubicBezTo>
                    <a:cubicBezTo>
                      <a:pt x="2988" y="474"/>
                      <a:pt x="3012" y="465"/>
                      <a:pt x="2999" y="457"/>
                    </a:cubicBezTo>
                    <a:cubicBezTo>
                      <a:pt x="2985" y="449"/>
                      <a:pt x="2941" y="469"/>
                      <a:pt x="2941" y="469"/>
                    </a:cubicBezTo>
                    <a:cubicBezTo>
                      <a:pt x="2933" y="460"/>
                      <a:pt x="2933" y="460"/>
                      <a:pt x="2933" y="460"/>
                    </a:cubicBezTo>
                    <a:cubicBezTo>
                      <a:pt x="2917" y="472"/>
                      <a:pt x="2917" y="472"/>
                      <a:pt x="2917" y="472"/>
                    </a:cubicBezTo>
                    <a:cubicBezTo>
                      <a:pt x="2932" y="452"/>
                      <a:pt x="2932" y="452"/>
                      <a:pt x="2932" y="452"/>
                    </a:cubicBezTo>
                    <a:cubicBezTo>
                      <a:pt x="2895" y="465"/>
                      <a:pt x="2895" y="465"/>
                      <a:pt x="2895" y="465"/>
                    </a:cubicBezTo>
                    <a:cubicBezTo>
                      <a:pt x="2895" y="450"/>
                      <a:pt x="2895" y="450"/>
                      <a:pt x="2895" y="450"/>
                    </a:cubicBezTo>
                    <a:cubicBezTo>
                      <a:pt x="2895" y="450"/>
                      <a:pt x="2931" y="441"/>
                      <a:pt x="2931" y="437"/>
                    </a:cubicBezTo>
                    <a:cubicBezTo>
                      <a:pt x="2931" y="433"/>
                      <a:pt x="2881" y="442"/>
                      <a:pt x="2881" y="442"/>
                    </a:cubicBezTo>
                    <a:cubicBezTo>
                      <a:pt x="2880" y="434"/>
                      <a:pt x="2880" y="434"/>
                      <a:pt x="2880" y="434"/>
                    </a:cubicBezTo>
                    <a:cubicBezTo>
                      <a:pt x="2880" y="434"/>
                      <a:pt x="2928" y="424"/>
                      <a:pt x="2923" y="417"/>
                    </a:cubicBezTo>
                    <a:cubicBezTo>
                      <a:pt x="2917" y="410"/>
                      <a:pt x="2852" y="409"/>
                      <a:pt x="2844" y="406"/>
                    </a:cubicBezTo>
                    <a:cubicBezTo>
                      <a:pt x="2836" y="404"/>
                      <a:pt x="2820" y="406"/>
                      <a:pt x="2819" y="410"/>
                    </a:cubicBezTo>
                    <a:cubicBezTo>
                      <a:pt x="2817" y="414"/>
                      <a:pt x="2828" y="428"/>
                      <a:pt x="2828" y="428"/>
                    </a:cubicBezTo>
                    <a:cubicBezTo>
                      <a:pt x="2804" y="424"/>
                      <a:pt x="2804" y="424"/>
                      <a:pt x="2804" y="424"/>
                    </a:cubicBezTo>
                    <a:cubicBezTo>
                      <a:pt x="2807" y="442"/>
                      <a:pt x="2807" y="442"/>
                      <a:pt x="2807" y="442"/>
                    </a:cubicBezTo>
                    <a:cubicBezTo>
                      <a:pt x="2793" y="425"/>
                      <a:pt x="2793" y="425"/>
                      <a:pt x="2793" y="425"/>
                    </a:cubicBezTo>
                    <a:cubicBezTo>
                      <a:pt x="2768" y="441"/>
                      <a:pt x="2768" y="441"/>
                      <a:pt x="2768" y="441"/>
                    </a:cubicBezTo>
                    <a:cubicBezTo>
                      <a:pt x="2768" y="441"/>
                      <a:pt x="2773" y="426"/>
                      <a:pt x="2768" y="422"/>
                    </a:cubicBezTo>
                    <a:cubicBezTo>
                      <a:pt x="2763" y="418"/>
                      <a:pt x="2715" y="438"/>
                      <a:pt x="2715" y="438"/>
                    </a:cubicBezTo>
                    <a:cubicBezTo>
                      <a:pt x="2727" y="413"/>
                      <a:pt x="2727" y="413"/>
                      <a:pt x="2727" y="413"/>
                    </a:cubicBezTo>
                    <a:cubicBezTo>
                      <a:pt x="2727" y="413"/>
                      <a:pt x="2767" y="412"/>
                      <a:pt x="2767" y="402"/>
                    </a:cubicBezTo>
                    <a:cubicBezTo>
                      <a:pt x="2767" y="393"/>
                      <a:pt x="2753" y="381"/>
                      <a:pt x="2753" y="381"/>
                    </a:cubicBezTo>
                    <a:cubicBezTo>
                      <a:pt x="2753" y="381"/>
                      <a:pt x="2777" y="364"/>
                      <a:pt x="2761" y="361"/>
                    </a:cubicBezTo>
                    <a:cubicBezTo>
                      <a:pt x="2745" y="358"/>
                      <a:pt x="2699" y="362"/>
                      <a:pt x="2699" y="362"/>
                    </a:cubicBezTo>
                    <a:cubicBezTo>
                      <a:pt x="2684" y="373"/>
                      <a:pt x="2684" y="373"/>
                      <a:pt x="2684" y="373"/>
                    </a:cubicBezTo>
                    <a:cubicBezTo>
                      <a:pt x="2625" y="374"/>
                      <a:pt x="2625" y="374"/>
                      <a:pt x="2625" y="374"/>
                    </a:cubicBezTo>
                    <a:cubicBezTo>
                      <a:pt x="2632" y="385"/>
                      <a:pt x="2632" y="385"/>
                      <a:pt x="2632" y="385"/>
                    </a:cubicBezTo>
                    <a:cubicBezTo>
                      <a:pt x="2652" y="393"/>
                      <a:pt x="2652" y="393"/>
                      <a:pt x="2652" y="393"/>
                    </a:cubicBezTo>
                    <a:cubicBezTo>
                      <a:pt x="2623" y="385"/>
                      <a:pt x="2623" y="385"/>
                      <a:pt x="2623" y="385"/>
                    </a:cubicBezTo>
                    <a:cubicBezTo>
                      <a:pt x="2629" y="401"/>
                      <a:pt x="2629" y="401"/>
                      <a:pt x="2629" y="401"/>
                    </a:cubicBezTo>
                    <a:cubicBezTo>
                      <a:pt x="2629" y="401"/>
                      <a:pt x="2597" y="388"/>
                      <a:pt x="2588" y="400"/>
                    </a:cubicBezTo>
                    <a:cubicBezTo>
                      <a:pt x="2579" y="412"/>
                      <a:pt x="2596" y="424"/>
                      <a:pt x="2596" y="424"/>
                    </a:cubicBezTo>
                    <a:cubicBezTo>
                      <a:pt x="2599" y="441"/>
                      <a:pt x="2599" y="441"/>
                      <a:pt x="2599" y="441"/>
                    </a:cubicBezTo>
                    <a:cubicBezTo>
                      <a:pt x="2599" y="441"/>
                      <a:pt x="2579" y="429"/>
                      <a:pt x="2568" y="432"/>
                    </a:cubicBezTo>
                    <a:cubicBezTo>
                      <a:pt x="2557" y="434"/>
                      <a:pt x="2543" y="453"/>
                      <a:pt x="2555" y="454"/>
                    </a:cubicBezTo>
                    <a:cubicBezTo>
                      <a:pt x="2567" y="456"/>
                      <a:pt x="2571" y="462"/>
                      <a:pt x="2571" y="462"/>
                    </a:cubicBezTo>
                    <a:cubicBezTo>
                      <a:pt x="2540" y="477"/>
                      <a:pt x="2540" y="477"/>
                      <a:pt x="2540" y="477"/>
                    </a:cubicBezTo>
                    <a:cubicBezTo>
                      <a:pt x="2500" y="481"/>
                      <a:pt x="2500" y="481"/>
                      <a:pt x="2500" y="481"/>
                    </a:cubicBezTo>
                    <a:cubicBezTo>
                      <a:pt x="2500" y="481"/>
                      <a:pt x="2539" y="473"/>
                      <a:pt x="2539" y="464"/>
                    </a:cubicBezTo>
                    <a:cubicBezTo>
                      <a:pt x="2539" y="454"/>
                      <a:pt x="2515" y="453"/>
                      <a:pt x="2525" y="440"/>
                    </a:cubicBezTo>
                    <a:cubicBezTo>
                      <a:pt x="2536" y="426"/>
                      <a:pt x="2549" y="425"/>
                      <a:pt x="2549" y="425"/>
                    </a:cubicBezTo>
                    <a:cubicBezTo>
                      <a:pt x="2549" y="406"/>
                      <a:pt x="2549" y="406"/>
                      <a:pt x="2549" y="406"/>
                    </a:cubicBezTo>
                    <a:cubicBezTo>
                      <a:pt x="2549" y="406"/>
                      <a:pt x="2584" y="384"/>
                      <a:pt x="2596" y="378"/>
                    </a:cubicBezTo>
                    <a:cubicBezTo>
                      <a:pt x="2608" y="373"/>
                      <a:pt x="2653" y="366"/>
                      <a:pt x="2645" y="362"/>
                    </a:cubicBezTo>
                    <a:cubicBezTo>
                      <a:pt x="2637" y="358"/>
                      <a:pt x="2591" y="357"/>
                      <a:pt x="2565" y="358"/>
                    </a:cubicBezTo>
                    <a:cubicBezTo>
                      <a:pt x="2540" y="360"/>
                      <a:pt x="2472" y="401"/>
                      <a:pt x="2472" y="401"/>
                    </a:cubicBezTo>
                    <a:cubicBezTo>
                      <a:pt x="2472" y="401"/>
                      <a:pt x="2443" y="414"/>
                      <a:pt x="2433" y="416"/>
                    </a:cubicBezTo>
                    <a:cubicBezTo>
                      <a:pt x="2424" y="417"/>
                      <a:pt x="2420" y="428"/>
                      <a:pt x="2420" y="428"/>
                    </a:cubicBezTo>
                    <a:cubicBezTo>
                      <a:pt x="2420" y="428"/>
                      <a:pt x="2373" y="454"/>
                      <a:pt x="2391" y="461"/>
                    </a:cubicBezTo>
                    <a:cubicBezTo>
                      <a:pt x="2408" y="468"/>
                      <a:pt x="2460" y="464"/>
                      <a:pt x="2453" y="473"/>
                    </a:cubicBezTo>
                    <a:cubicBezTo>
                      <a:pt x="2447" y="482"/>
                      <a:pt x="2360" y="481"/>
                      <a:pt x="2381" y="496"/>
                    </a:cubicBezTo>
                    <a:cubicBezTo>
                      <a:pt x="2403" y="510"/>
                      <a:pt x="2429" y="513"/>
                      <a:pt x="2429" y="513"/>
                    </a:cubicBezTo>
                    <a:cubicBezTo>
                      <a:pt x="2460" y="501"/>
                      <a:pt x="2460" y="501"/>
                      <a:pt x="2460" y="501"/>
                    </a:cubicBezTo>
                    <a:cubicBezTo>
                      <a:pt x="2460" y="501"/>
                      <a:pt x="2451" y="517"/>
                      <a:pt x="2473" y="517"/>
                    </a:cubicBezTo>
                    <a:cubicBezTo>
                      <a:pt x="2496" y="517"/>
                      <a:pt x="2584" y="536"/>
                      <a:pt x="2595" y="530"/>
                    </a:cubicBezTo>
                    <a:cubicBezTo>
                      <a:pt x="2605" y="525"/>
                      <a:pt x="2581" y="513"/>
                      <a:pt x="2581" y="513"/>
                    </a:cubicBezTo>
                    <a:cubicBezTo>
                      <a:pt x="2581" y="513"/>
                      <a:pt x="2648" y="520"/>
                      <a:pt x="2659" y="521"/>
                    </a:cubicBezTo>
                    <a:cubicBezTo>
                      <a:pt x="2669" y="522"/>
                      <a:pt x="2696" y="533"/>
                      <a:pt x="2705" y="528"/>
                    </a:cubicBezTo>
                    <a:cubicBezTo>
                      <a:pt x="2715" y="522"/>
                      <a:pt x="2696" y="502"/>
                      <a:pt x="2696" y="502"/>
                    </a:cubicBezTo>
                    <a:cubicBezTo>
                      <a:pt x="2727" y="496"/>
                      <a:pt x="2727" y="496"/>
                      <a:pt x="2727" y="496"/>
                    </a:cubicBezTo>
                    <a:cubicBezTo>
                      <a:pt x="2727" y="496"/>
                      <a:pt x="2735" y="518"/>
                      <a:pt x="2739" y="517"/>
                    </a:cubicBezTo>
                    <a:cubicBezTo>
                      <a:pt x="2743" y="516"/>
                      <a:pt x="2757" y="532"/>
                      <a:pt x="2757" y="532"/>
                    </a:cubicBezTo>
                    <a:cubicBezTo>
                      <a:pt x="2777" y="525"/>
                      <a:pt x="2777" y="525"/>
                      <a:pt x="2777" y="525"/>
                    </a:cubicBezTo>
                    <a:cubicBezTo>
                      <a:pt x="2777" y="525"/>
                      <a:pt x="2769" y="545"/>
                      <a:pt x="2773" y="546"/>
                    </a:cubicBezTo>
                    <a:cubicBezTo>
                      <a:pt x="2777" y="548"/>
                      <a:pt x="2807" y="554"/>
                      <a:pt x="2807" y="554"/>
                    </a:cubicBezTo>
                    <a:cubicBezTo>
                      <a:pt x="2807" y="554"/>
                      <a:pt x="2785" y="573"/>
                      <a:pt x="2793" y="573"/>
                    </a:cubicBezTo>
                    <a:cubicBezTo>
                      <a:pt x="2801" y="573"/>
                      <a:pt x="2820" y="573"/>
                      <a:pt x="2820" y="573"/>
                    </a:cubicBezTo>
                    <a:cubicBezTo>
                      <a:pt x="2816" y="590"/>
                      <a:pt x="2816" y="590"/>
                      <a:pt x="2816" y="590"/>
                    </a:cubicBezTo>
                    <a:cubicBezTo>
                      <a:pt x="2816" y="590"/>
                      <a:pt x="2849" y="594"/>
                      <a:pt x="2849" y="610"/>
                    </a:cubicBezTo>
                    <a:cubicBezTo>
                      <a:pt x="2849" y="626"/>
                      <a:pt x="2827" y="660"/>
                      <a:pt x="2821" y="661"/>
                    </a:cubicBezTo>
                    <a:cubicBezTo>
                      <a:pt x="2816" y="662"/>
                      <a:pt x="2728" y="701"/>
                      <a:pt x="2728" y="701"/>
                    </a:cubicBezTo>
                    <a:cubicBezTo>
                      <a:pt x="2728" y="701"/>
                      <a:pt x="2756" y="720"/>
                      <a:pt x="2741" y="726"/>
                    </a:cubicBezTo>
                    <a:cubicBezTo>
                      <a:pt x="2727" y="733"/>
                      <a:pt x="2707" y="734"/>
                      <a:pt x="2707" y="734"/>
                    </a:cubicBezTo>
                    <a:cubicBezTo>
                      <a:pt x="2655" y="741"/>
                      <a:pt x="2655" y="741"/>
                      <a:pt x="2655" y="741"/>
                    </a:cubicBezTo>
                    <a:cubicBezTo>
                      <a:pt x="2649" y="756"/>
                      <a:pt x="2649" y="756"/>
                      <a:pt x="2649" y="756"/>
                    </a:cubicBezTo>
                    <a:cubicBezTo>
                      <a:pt x="2640" y="742"/>
                      <a:pt x="2640" y="742"/>
                      <a:pt x="2640" y="742"/>
                    </a:cubicBezTo>
                    <a:cubicBezTo>
                      <a:pt x="2640" y="742"/>
                      <a:pt x="2613" y="733"/>
                      <a:pt x="2600" y="736"/>
                    </a:cubicBezTo>
                    <a:cubicBezTo>
                      <a:pt x="2587" y="738"/>
                      <a:pt x="2588" y="750"/>
                      <a:pt x="2588" y="750"/>
                    </a:cubicBezTo>
                    <a:cubicBezTo>
                      <a:pt x="2588" y="750"/>
                      <a:pt x="2543" y="760"/>
                      <a:pt x="2543" y="776"/>
                    </a:cubicBezTo>
                    <a:cubicBezTo>
                      <a:pt x="2543" y="800"/>
                      <a:pt x="2577" y="794"/>
                      <a:pt x="2604" y="785"/>
                    </a:cubicBezTo>
                    <a:cubicBezTo>
                      <a:pt x="2631" y="776"/>
                      <a:pt x="2637" y="777"/>
                      <a:pt x="2637" y="777"/>
                    </a:cubicBezTo>
                    <a:cubicBezTo>
                      <a:pt x="2637" y="777"/>
                      <a:pt x="2656" y="790"/>
                      <a:pt x="2663" y="785"/>
                    </a:cubicBezTo>
                    <a:cubicBezTo>
                      <a:pt x="2669" y="780"/>
                      <a:pt x="2665" y="769"/>
                      <a:pt x="2665" y="769"/>
                    </a:cubicBezTo>
                    <a:cubicBezTo>
                      <a:pt x="2681" y="754"/>
                      <a:pt x="2681" y="754"/>
                      <a:pt x="2681" y="754"/>
                    </a:cubicBezTo>
                    <a:cubicBezTo>
                      <a:pt x="2681" y="754"/>
                      <a:pt x="2668" y="766"/>
                      <a:pt x="2677" y="769"/>
                    </a:cubicBezTo>
                    <a:cubicBezTo>
                      <a:pt x="2687" y="772"/>
                      <a:pt x="2721" y="772"/>
                      <a:pt x="2721" y="772"/>
                    </a:cubicBezTo>
                    <a:cubicBezTo>
                      <a:pt x="2721" y="772"/>
                      <a:pt x="2707" y="778"/>
                      <a:pt x="2708" y="785"/>
                    </a:cubicBezTo>
                    <a:cubicBezTo>
                      <a:pt x="2709" y="792"/>
                      <a:pt x="2731" y="796"/>
                      <a:pt x="2731" y="796"/>
                    </a:cubicBezTo>
                    <a:cubicBezTo>
                      <a:pt x="2731" y="796"/>
                      <a:pt x="2717" y="805"/>
                      <a:pt x="2728" y="812"/>
                    </a:cubicBezTo>
                    <a:cubicBezTo>
                      <a:pt x="2739" y="818"/>
                      <a:pt x="2763" y="818"/>
                      <a:pt x="2763" y="818"/>
                    </a:cubicBezTo>
                    <a:cubicBezTo>
                      <a:pt x="2732" y="829"/>
                      <a:pt x="2732" y="829"/>
                      <a:pt x="2732" y="829"/>
                    </a:cubicBezTo>
                    <a:cubicBezTo>
                      <a:pt x="2732" y="829"/>
                      <a:pt x="2737" y="850"/>
                      <a:pt x="2743" y="849"/>
                    </a:cubicBezTo>
                    <a:cubicBezTo>
                      <a:pt x="2748" y="848"/>
                      <a:pt x="2759" y="841"/>
                      <a:pt x="2759" y="841"/>
                    </a:cubicBezTo>
                    <a:cubicBezTo>
                      <a:pt x="2759" y="841"/>
                      <a:pt x="2761" y="856"/>
                      <a:pt x="2771" y="857"/>
                    </a:cubicBezTo>
                    <a:cubicBezTo>
                      <a:pt x="2780" y="858"/>
                      <a:pt x="2801" y="861"/>
                      <a:pt x="2801" y="861"/>
                    </a:cubicBezTo>
                    <a:cubicBezTo>
                      <a:pt x="2801" y="861"/>
                      <a:pt x="2800" y="878"/>
                      <a:pt x="2816" y="882"/>
                    </a:cubicBezTo>
                    <a:cubicBezTo>
                      <a:pt x="2832" y="886"/>
                      <a:pt x="2843" y="878"/>
                      <a:pt x="2857" y="886"/>
                    </a:cubicBezTo>
                    <a:cubicBezTo>
                      <a:pt x="2872" y="894"/>
                      <a:pt x="2908" y="909"/>
                      <a:pt x="2908" y="909"/>
                    </a:cubicBezTo>
                    <a:cubicBezTo>
                      <a:pt x="2908" y="909"/>
                      <a:pt x="2919" y="889"/>
                      <a:pt x="2907" y="876"/>
                    </a:cubicBezTo>
                    <a:cubicBezTo>
                      <a:pt x="2895" y="862"/>
                      <a:pt x="2875" y="850"/>
                      <a:pt x="2875" y="850"/>
                    </a:cubicBezTo>
                    <a:cubicBezTo>
                      <a:pt x="2875" y="850"/>
                      <a:pt x="2855" y="825"/>
                      <a:pt x="2860" y="817"/>
                    </a:cubicBezTo>
                    <a:cubicBezTo>
                      <a:pt x="2865" y="809"/>
                      <a:pt x="2888" y="832"/>
                      <a:pt x="2888" y="832"/>
                    </a:cubicBezTo>
                    <a:cubicBezTo>
                      <a:pt x="2888" y="812"/>
                      <a:pt x="2888" y="812"/>
                      <a:pt x="2888" y="812"/>
                    </a:cubicBezTo>
                    <a:cubicBezTo>
                      <a:pt x="2888" y="812"/>
                      <a:pt x="2897" y="837"/>
                      <a:pt x="2907" y="837"/>
                    </a:cubicBezTo>
                    <a:cubicBezTo>
                      <a:pt x="2916" y="837"/>
                      <a:pt x="2931" y="833"/>
                      <a:pt x="2931" y="833"/>
                    </a:cubicBezTo>
                    <a:cubicBezTo>
                      <a:pt x="2931" y="833"/>
                      <a:pt x="2927" y="854"/>
                      <a:pt x="2937" y="853"/>
                    </a:cubicBezTo>
                    <a:cubicBezTo>
                      <a:pt x="2948" y="852"/>
                      <a:pt x="2952" y="864"/>
                      <a:pt x="2952" y="864"/>
                    </a:cubicBezTo>
                    <a:cubicBezTo>
                      <a:pt x="2965" y="849"/>
                      <a:pt x="2965" y="849"/>
                      <a:pt x="2965" y="849"/>
                    </a:cubicBezTo>
                    <a:cubicBezTo>
                      <a:pt x="2965" y="849"/>
                      <a:pt x="2975" y="861"/>
                      <a:pt x="2980" y="858"/>
                    </a:cubicBezTo>
                    <a:cubicBezTo>
                      <a:pt x="2985" y="856"/>
                      <a:pt x="2979" y="840"/>
                      <a:pt x="2979" y="840"/>
                    </a:cubicBezTo>
                    <a:cubicBezTo>
                      <a:pt x="2989" y="809"/>
                      <a:pt x="2989" y="809"/>
                      <a:pt x="2989" y="809"/>
                    </a:cubicBezTo>
                    <a:cubicBezTo>
                      <a:pt x="2989" y="809"/>
                      <a:pt x="2989" y="836"/>
                      <a:pt x="2997" y="836"/>
                    </a:cubicBezTo>
                    <a:cubicBezTo>
                      <a:pt x="3005" y="836"/>
                      <a:pt x="3009" y="808"/>
                      <a:pt x="3009" y="808"/>
                    </a:cubicBezTo>
                    <a:cubicBezTo>
                      <a:pt x="2995" y="792"/>
                      <a:pt x="2995" y="792"/>
                      <a:pt x="2995" y="792"/>
                    </a:cubicBezTo>
                    <a:cubicBezTo>
                      <a:pt x="3009" y="788"/>
                      <a:pt x="3009" y="788"/>
                      <a:pt x="3009" y="788"/>
                    </a:cubicBezTo>
                    <a:cubicBezTo>
                      <a:pt x="2997" y="778"/>
                      <a:pt x="2997" y="778"/>
                      <a:pt x="2997" y="778"/>
                    </a:cubicBezTo>
                    <a:cubicBezTo>
                      <a:pt x="2999" y="765"/>
                      <a:pt x="2999" y="765"/>
                      <a:pt x="2999" y="765"/>
                    </a:cubicBezTo>
                    <a:cubicBezTo>
                      <a:pt x="2979" y="768"/>
                      <a:pt x="2979" y="768"/>
                      <a:pt x="2979" y="768"/>
                    </a:cubicBezTo>
                    <a:cubicBezTo>
                      <a:pt x="2979" y="757"/>
                      <a:pt x="2979" y="757"/>
                      <a:pt x="2979" y="757"/>
                    </a:cubicBezTo>
                    <a:cubicBezTo>
                      <a:pt x="2964" y="757"/>
                      <a:pt x="2964" y="757"/>
                      <a:pt x="2964" y="757"/>
                    </a:cubicBezTo>
                    <a:cubicBezTo>
                      <a:pt x="2963" y="724"/>
                      <a:pt x="2963" y="724"/>
                      <a:pt x="2963" y="724"/>
                    </a:cubicBezTo>
                    <a:cubicBezTo>
                      <a:pt x="2941" y="725"/>
                      <a:pt x="2941" y="725"/>
                      <a:pt x="2941" y="725"/>
                    </a:cubicBezTo>
                    <a:cubicBezTo>
                      <a:pt x="2941" y="725"/>
                      <a:pt x="2929" y="705"/>
                      <a:pt x="2941" y="702"/>
                    </a:cubicBezTo>
                    <a:cubicBezTo>
                      <a:pt x="2953" y="700"/>
                      <a:pt x="2961" y="717"/>
                      <a:pt x="2969" y="714"/>
                    </a:cubicBezTo>
                    <a:cubicBezTo>
                      <a:pt x="2977" y="712"/>
                      <a:pt x="2976" y="686"/>
                      <a:pt x="2976" y="686"/>
                    </a:cubicBezTo>
                    <a:cubicBezTo>
                      <a:pt x="2991" y="690"/>
                      <a:pt x="2991" y="690"/>
                      <a:pt x="2991" y="690"/>
                    </a:cubicBezTo>
                    <a:cubicBezTo>
                      <a:pt x="3016" y="678"/>
                      <a:pt x="3016" y="678"/>
                      <a:pt x="3016" y="678"/>
                    </a:cubicBezTo>
                    <a:cubicBezTo>
                      <a:pt x="3016" y="678"/>
                      <a:pt x="3017" y="710"/>
                      <a:pt x="3024" y="704"/>
                    </a:cubicBezTo>
                    <a:cubicBezTo>
                      <a:pt x="3031" y="697"/>
                      <a:pt x="3044" y="697"/>
                      <a:pt x="3044" y="697"/>
                    </a:cubicBezTo>
                    <a:cubicBezTo>
                      <a:pt x="3036" y="709"/>
                      <a:pt x="3036" y="709"/>
                      <a:pt x="3036" y="709"/>
                    </a:cubicBezTo>
                    <a:cubicBezTo>
                      <a:pt x="3051" y="710"/>
                      <a:pt x="3051" y="710"/>
                      <a:pt x="3051" y="710"/>
                    </a:cubicBezTo>
                    <a:cubicBezTo>
                      <a:pt x="3044" y="729"/>
                      <a:pt x="3044" y="729"/>
                      <a:pt x="3044" y="729"/>
                    </a:cubicBezTo>
                    <a:cubicBezTo>
                      <a:pt x="3044" y="729"/>
                      <a:pt x="3067" y="770"/>
                      <a:pt x="3083" y="760"/>
                    </a:cubicBezTo>
                    <a:cubicBezTo>
                      <a:pt x="3099" y="749"/>
                      <a:pt x="3101" y="724"/>
                      <a:pt x="3101" y="724"/>
                    </a:cubicBezTo>
                    <a:cubicBezTo>
                      <a:pt x="3108" y="714"/>
                      <a:pt x="3108" y="714"/>
                      <a:pt x="3108" y="714"/>
                    </a:cubicBezTo>
                    <a:cubicBezTo>
                      <a:pt x="3108" y="714"/>
                      <a:pt x="3127" y="730"/>
                      <a:pt x="3140" y="721"/>
                    </a:cubicBezTo>
                    <a:cubicBezTo>
                      <a:pt x="3153" y="712"/>
                      <a:pt x="3152" y="694"/>
                      <a:pt x="3152" y="694"/>
                    </a:cubicBezTo>
                    <a:cubicBezTo>
                      <a:pt x="3152" y="694"/>
                      <a:pt x="3187" y="704"/>
                      <a:pt x="3201" y="688"/>
                    </a:cubicBezTo>
                    <a:cubicBezTo>
                      <a:pt x="3216" y="672"/>
                      <a:pt x="3177" y="661"/>
                      <a:pt x="3172" y="665"/>
                    </a:cubicBezTo>
                    <a:close/>
                    <a:moveTo>
                      <a:pt x="2983" y="872"/>
                    </a:moveTo>
                    <a:cubicBezTo>
                      <a:pt x="2963" y="876"/>
                      <a:pt x="2963" y="876"/>
                      <a:pt x="2963" y="876"/>
                    </a:cubicBezTo>
                    <a:cubicBezTo>
                      <a:pt x="2960" y="885"/>
                      <a:pt x="2960" y="885"/>
                      <a:pt x="2960" y="885"/>
                    </a:cubicBezTo>
                    <a:cubicBezTo>
                      <a:pt x="2983" y="882"/>
                      <a:pt x="2983" y="882"/>
                      <a:pt x="2983" y="882"/>
                    </a:cubicBezTo>
                    <a:lnTo>
                      <a:pt x="2983" y="872"/>
                    </a:lnTo>
                    <a:close/>
                    <a:moveTo>
                      <a:pt x="2758" y="861"/>
                    </a:moveTo>
                    <a:cubicBezTo>
                      <a:pt x="2746" y="862"/>
                      <a:pt x="2747" y="878"/>
                      <a:pt x="2761" y="878"/>
                    </a:cubicBezTo>
                    <a:cubicBezTo>
                      <a:pt x="2785" y="878"/>
                      <a:pt x="2771" y="859"/>
                      <a:pt x="2758" y="861"/>
                    </a:cubicBezTo>
                    <a:close/>
                    <a:moveTo>
                      <a:pt x="2555" y="832"/>
                    </a:moveTo>
                    <a:cubicBezTo>
                      <a:pt x="2565" y="822"/>
                      <a:pt x="2540" y="818"/>
                      <a:pt x="2540" y="818"/>
                    </a:cubicBezTo>
                    <a:cubicBezTo>
                      <a:pt x="2540" y="818"/>
                      <a:pt x="2540" y="847"/>
                      <a:pt x="2555" y="832"/>
                    </a:cubicBezTo>
                    <a:close/>
                    <a:moveTo>
                      <a:pt x="2800" y="969"/>
                    </a:moveTo>
                    <a:cubicBezTo>
                      <a:pt x="2777" y="971"/>
                      <a:pt x="2777" y="971"/>
                      <a:pt x="2777" y="971"/>
                    </a:cubicBezTo>
                    <a:cubicBezTo>
                      <a:pt x="2801" y="987"/>
                      <a:pt x="2801" y="987"/>
                      <a:pt x="2801" y="987"/>
                    </a:cubicBezTo>
                    <a:cubicBezTo>
                      <a:pt x="2820" y="978"/>
                      <a:pt x="2800" y="969"/>
                      <a:pt x="2800" y="969"/>
                    </a:cubicBezTo>
                    <a:close/>
                    <a:moveTo>
                      <a:pt x="2779" y="582"/>
                    </a:moveTo>
                    <a:cubicBezTo>
                      <a:pt x="2752" y="576"/>
                      <a:pt x="2779" y="594"/>
                      <a:pt x="2779" y="594"/>
                    </a:cubicBezTo>
                    <a:cubicBezTo>
                      <a:pt x="2795" y="592"/>
                      <a:pt x="2807" y="588"/>
                      <a:pt x="2779" y="582"/>
                    </a:cubicBezTo>
                    <a:close/>
                    <a:moveTo>
                      <a:pt x="2779" y="626"/>
                    </a:moveTo>
                    <a:cubicBezTo>
                      <a:pt x="2821" y="624"/>
                      <a:pt x="2821" y="624"/>
                      <a:pt x="2821" y="624"/>
                    </a:cubicBezTo>
                    <a:cubicBezTo>
                      <a:pt x="2821" y="613"/>
                      <a:pt x="2821" y="613"/>
                      <a:pt x="2821" y="613"/>
                    </a:cubicBezTo>
                    <a:cubicBezTo>
                      <a:pt x="2791" y="615"/>
                      <a:pt x="2791" y="615"/>
                      <a:pt x="2791" y="615"/>
                    </a:cubicBezTo>
                    <a:lnTo>
                      <a:pt x="2779" y="626"/>
                    </a:lnTo>
                    <a:close/>
                    <a:moveTo>
                      <a:pt x="3715" y="26"/>
                    </a:moveTo>
                    <a:cubicBezTo>
                      <a:pt x="3713" y="23"/>
                      <a:pt x="3658" y="28"/>
                      <a:pt x="3658" y="28"/>
                    </a:cubicBezTo>
                    <a:cubicBezTo>
                      <a:pt x="3660" y="18"/>
                      <a:pt x="3660" y="18"/>
                      <a:pt x="3660" y="18"/>
                    </a:cubicBezTo>
                    <a:cubicBezTo>
                      <a:pt x="3660" y="18"/>
                      <a:pt x="3625" y="10"/>
                      <a:pt x="3612" y="10"/>
                    </a:cubicBezTo>
                    <a:cubicBezTo>
                      <a:pt x="3599" y="10"/>
                      <a:pt x="3527" y="25"/>
                      <a:pt x="3527" y="25"/>
                    </a:cubicBezTo>
                    <a:cubicBezTo>
                      <a:pt x="3560" y="10"/>
                      <a:pt x="3560" y="10"/>
                      <a:pt x="3560" y="10"/>
                    </a:cubicBezTo>
                    <a:cubicBezTo>
                      <a:pt x="3515" y="12"/>
                      <a:pt x="3515" y="12"/>
                      <a:pt x="3515" y="12"/>
                    </a:cubicBezTo>
                    <a:cubicBezTo>
                      <a:pt x="3515" y="12"/>
                      <a:pt x="3479" y="0"/>
                      <a:pt x="3469" y="2"/>
                    </a:cubicBezTo>
                    <a:cubicBezTo>
                      <a:pt x="3458" y="4"/>
                      <a:pt x="3453" y="15"/>
                      <a:pt x="3453" y="15"/>
                    </a:cubicBezTo>
                    <a:cubicBezTo>
                      <a:pt x="3453" y="15"/>
                      <a:pt x="3427" y="3"/>
                      <a:pt x="3418" y="3"/>
                    </a:cubicBezTo>
                    <a:cubicBezTo>
                      <a:pt x="3409" y="3"/>
                      <a:pt x="3389" y="18"/>
                      <a:pt x="3389" y="18"/>
                    </a:cubicBezTo>
                    <a:cubicBezTo>
                      <a:pt x="3363" y="10"/>
                      <a:pt x="3363" y="10"/>
                      <a:pt x="3363" y="10"/>
                    </a:cubicBezTo>
                    <a:cubicBezTo>
                      <a:pt x="3290" y="7"/>
                      <a:pt x="3290" y="7"/>
                      <a:pt x="3290" y="7"/>
                    </a:cubicBezTo>
                    <a:cubicBezTo>
                      <a:pt x="3308" y="25"/>
                      <a:pt x="3308" y="25"/>
                      <a:pt x="3308" y="25"/>
                    </a:cubicBezTo>
                    <a:cubicBezTo>
                      <a:pt x="3266" y="11"/>
                      <a:pt x="3266" y="11"/>
                      <a:pt x="3266" y="11"/>
                    </a:cubicBezTo>
                    <a:cubicBezTo>
                      <a:pt x="3225" y="18"/>
                      <a:pt x="3225" y="18"/>
                      <a:pt x="3225" y="18"/>
                    </a:cubicBezTo>
                    <a:cubicBezTo>
                      <a:pt x="3225" y="18"/>
                      <a:pt x="3195" y="12"/>
                      <a:pt x="3179" y="12"/>
                    </a:cubicBezTo>
                    <a:cubicBezTo>
                      <a:pt x="3163" y="12"/>
                      <a:pt x="3114" y="24"/>
                      <a:pt x="3114" y="24"/>
                    </a:cubicBezTo>
                    <a:cubicBezTo>
                      <a:pt x="3172" y="42"/>
                      <a:pt x="3172" y="42"/>
                      <a:pt x="3172" y="42"/>
                    </a:cubicBezTo>
                    <a:cubicBezTo>
                      <a:pt x="3114" y="34"/>
                      <a:pt x="3114" y="34"/>
                      <a:pt x="3114" y="34"/>
                    </a:cubicBezTo>
                    <a:cubicBezTo>
                      <a:pt x="3114" y="34"/>
                      <a:pt x="3059" y="23"/>
                      <a:pt x="3034" y="25"/>
                    </a:cubicBezTo>
                    <a:cubicBezTo>
                      <a:pt x="3010" y="28"/>
                      <a:pt x="3018" y="42"/>
                      <a:pt x="3018" y="42"/>
                    </a:cubicBezTo>
                    <a:cubicBezTo>
                      <a:pt x="3018" y="42"/>
                      <a:pt x="2956" y="36"/>
                      <a:pt x="2943" y="36"/>
                    </a:cubicBezTo>
                    <a:cubicBezTo>
                      <a:pt x="2930" y="36"/>
                      <a:pt x="2830" y="46"/>
                      <a:pt x="2826" y="48"/>
                    </a:cubicBezTo>
                    <a:cubicBezTo>
                      <a:pt x="2823" y="50"/>
                      <a:pt x="2849" y="56"/>
                      <a:pt x="2849" y="56"/>
                    </a:cubicBezTo>
                    <a:cubicBezTo>
                      <a:pt x="2905" y="59"/>
                      <a:pt x="2905" y="59"/>
                      <a:pt x="2905" y="59"/>
                    </a:cubicBezTo>
                    <a:cubicBezTo>
                      <a:pt x="2850" y="67"/>
                      <a:pt x="2850" y="67"/>
                      <a:pt x="2850" y="67"/>
                    </a:cubicBezTo>
                    <a:cubicBezTo>
                      <a:pt x="2850" y="67"/>
                      <a:pt x="2870" y="76"/>
                      <a:pt x="2884" y="76"/>
                    </a:cubicBezTo>
                    <a:cubicBezTo>
                      <a:pt x="2898" y="76"/>
                      <a:pt x="2935" y="70"/>
                      <a:pt x="2935" y="70"/>
                    </a:cubicBezTo>
                    <a:cubicBezTo>
                      <a:pt x="2935" y="70"/>
                      <a:pt x="2960" y="62"/>
                      <a:pt x="2978" y="62"/>
                    </a:cubicBezTo>
                    <a:cubicBezTo>
                      <a:pt x="2997" y="62"/>
                      <a:pt x="3040" y="71"/>
                      <a:pt x="3040" y="71"/>
                    </a:cubicBezTo>
                    <a:cubicBezTo>
                      <a:pt x="3040" y="71"/>
                      <a:pt x="2989" y="72"/>
                      <a:pt x="2977" y="73"/>
                    </a:cubicBezTo>
                    <a:cubicBezTo>
                      <a:pt x="2965" y="74"/>
                      <a:pt x="2930" y="87"/>
                      <a:pt x="2930" y="87"/>
                    </a:cubicBezTo>
                    <a:cubicBezTo>
                      <a:pt x="2930" y="87"/>
                      <a:pt x="2958" y="87"/>
                      <a:pt x="2979" y="89"/>
                    </a:cubicBezTo>
                    <a:cubicBezTo>
                      <a:pt x="3001" y="91"/>
                      <a:pt x="3006" y="83"/>
                      <a:pt x="3006" y="83"/>
                    </a:cubicBezTo>
                    <a:cubicBezTo>
                      <a:pt x="3050" y="83"/>
                      <a:pt x="3050" y="83"/>
                      <a:pt x="3050" y="83"/>
                    </a:cubicBezTo>
                    <a:cubicBezTo>
                      <a:pt x="3050" y="83"/>
                      <a:pt x="3064" y="84"/>
                      <a:pt x="3081" y="84"/>
                    </a:cubicBezTo>
                    <a:cubicBezTo>
                      <a:pt x="3098" y="84"/>
                      <a:pt x="3138" y="73"/>
                      <a:pt x="3142" y="70"/>
                    </a:cubicBezTo>
                    <a:cubicBezTo>
                      <a:pt x="3147" y="66"/>
                      <a:pt x="3173" y="63"/>
                      <a:pt x="3186" y="59"/>
                    </a:cubicBezTo>
                    <a:cubicBezTo>
                      <a:pt x="3199" y="54"/>
                      <a:pt x="3220" y="59"/>
                      <a:pt x="3220" y="59"/>
                    </a:cubicBezTo>
                    <a:cubicBezTo>
                      <a:pt x="3162" y="76"/>
                      <a:pt x="3162" y="76"/>
                      <a:pt x="3162" y="76"/>
                    </a:cubicBezTo>
                    <a:cubicBezTo>
                      <a:pt x="3185" y="77"/>
                      <a:pt x="3185" y="77"/>
                      <a:pt x="3185" y="77"/>
                    </a:cubicBezTo>
                    <a:cubicBezTo>
                      <a:pt x="3153" y="87"/>
                      <a:pt x="3153" y="87"/>
                      <a:pt x="3153" y="87"/>
                    </a:cubicBezTo>
                    <a:cubicBezTo>
                      <a:pt x="3153" y="87"/>
                      <a:pt x="3040" y="92"/>
                      <a:pt x="3027" y="92"/>
                    </a:cubicBezTo>
                    <a:cubicBezTo>
                      <a:pt x="3014" y="92"/>
                      <a:pt x="3014" y="104"/>
                      <a:pt x="3014" y="104"/>
                    </a:cubicBezTo>
                    <a:cubicBezTo>
                      <a:pt x="3065" y="119"/>
                      <a:pt x="3065" y="119"/>
                      <a:pt x="3065" y="119"/>
                    </a:cubicBezTo>
                    <a:cubicBezTo>
                      <a:pt x="3065" y="119"/>
                      <a:pt x="3045" y="125"/>
                      <a:pt x="3033" y="125"/>
                    </a:cubicBezTo>
                    <a:cubicBezTo>
                      <a:pt x="3022" y="125"/>
                      <a:pt x="2974" y="99"/>
                      <a:pt x="2974" y="99"/>
                    </a:cubicBezTo>
                    <a:cubicBezTo>
                      <a:pt x="2974" y="99"/>
                      <a:pt x="2925" y="100"/>
                      <a:pt x="2912" y="100"/>
                    </a:cubicBezTo>
                    <a:cubicBezTo>
                      <a:pt x="2899" y="100"/>
                      <a:pt x="2891" y="115"/>
                      <a:pt x="2891" y="115"/>
                    </a:cubicBezTo>
                    <a:cubicBezTo>
                      <a:pt x="2912" y="126"/>
                      <a:pt x="2912" y="126"/>
                      <a:pt x="2912" y="126"/>
                    </a:cubicBezTo>
                    <a:cubicBezTo>
                      <a:pt x="2912" y="126"/>
                      <a:pt x="2923" y="142"/>
                      <a:pt x="2940" y="145"/>
                    </a:cubicBezTo>
                    <a:cubicBezTo>
                      <a:pt x="2956" y="148"/>
                      <a:pt x="2989" y="144"/>
                      <a:pt x="2989" y="144"/>
                    </a:cubicBezTo>
                    <a:cubicBezTo>
                      <a:pt x="2989" y="144"/>
                      <a:pt x="2981" y="153"/>
                      <a:pt x="2964" y="155"/>
                    </a:cubicBezTo>
                    <a:cubicBezTo>
                      <a:pt x="2948" y="157"/>
                      <a:pt x="2917" y="151"/>
                      <a:pt x="2909" y="149"/>
                    </a:cubicBezTo>
                    <a:cubicBezTo>
                      <a:pt x="2902" y="147"/>
                      <a:pt x="2846" y="157"/>
                      <a:pt x="2828" y="157"/>
                    </a:cubicBezTo>
                    <a:cubicBezTo>
                      <a:pt x="2809" y="157"/>
                      <a:pt x="2774" y="182"/>
                      <a:pt x="2774" y="182"/>
                    </a:cubicBezTo>
                    <a:cubicBezTo>
                      <a:pt x="2823" y="174"/>
                      <a:pt x="2823" y="174"/>
                      <a:pt x="2823" y="174"/>
                    </a:cubicBezTo>
                    <a:cubicBezTo>
                      <a:pt x="2821" y="186"/>
                      <a:pt x="2821" y="186"/>
                      <a:pt x="2821" y="186"/>
                    </a:cubicBezTo>
                    <a:cubicBezTo>
                      <a:pt x="2863" y="174"/>
                      <a:pt x="2863" y="174"/>
                      <a:pt x="2863" y="174"/>
                    </a:cubicBezTo>
                    <a:cubicBezTo>
                      <a:pt x="2816" y="192"/>
                      <a:pt x="2816" y="192"/>
                      <a:pt x="2816" y="192"/>
                    </a:cubicBezTo>
                    <a:cubicBezTo>
                      <a:pt x="2816" y="192"/>
                      <a:pt x="2824" y="203"/>
                      <a:pt x="2840" y="203"/>
                    </a:cubicBezTo>
                    <a:cubicBezTo>
                      <a:pt x="2857" y="203"/>
                      <a:pt x="2902" y="186"/>
                      <a:pt x="2902" y="186"/>
                    </a:cubicBezTo>
                    <a:cubicBezTo>
                      <a:pt x="2834" y="212"/>
                      <a:pt x="2834" y="212"/>
                      <a:pt x="2834" y="212"/>
                    </a:cubicBezTo>
                    <a:cubicBezTo>
                      <a:pt x="2789" y="209"/>
                      <a:pt x="2789" y="209"/>
                      <a:pt x="2789" y="209"/>
                    </a:cubicBezTo>
                    <a:cubicBezTo>
                      <a:pt x="2780" y="192"/>
                      <a:pt x="2780" y="192"/>
                      <a:pt x="2780" y="192"/>
                    </a:cubicBezTo>
                    <a:cubicBezTo>
                      <a:pt x="2780" y="192"/>
                      <a:pt x="2747" y="189"/>
                      <a:pt x="2737" y="191"/>
                    </a:cubicBezTo>
                    <a:cubicBezTo>
                      <a:pt x="2727" y="193"/>
                      <a:pt x="2741" y="218"/>
                      <a:pt x="2741" y="218"/>
                    </a:cubicBezTo>
                    <a:cubicBezTo>
                      <a:pt x="2741" y="218"/>
                      <a:pt x="2697" y="222"/>
                      <a:pt x="2691" y="222"/>
                    </a:cubicBezTo>
                    <a:cubicBezTo>
                      <a:pt x="2684" y="222"/>
                      <a:pt x="2654" y="237"/>
                      <a:pt x="2634" y="239"/>
                    </a:cubicBezTo>
                    <a:cubicBezTo>
                      <a:pt x="2622" y="240"/>
                      <a:pt x="2613" y="241"/>
                      <a:pt x="2610" y="241"/>
                    </a:cubicBezTo>
                    <a:cubicBezTo>
                      <a:pt x="2607" y="241"/>
                      <a:pt x="2626" y="247"/>
                      <a:pt x="2641" y="247"/>
                    </a:cubicBezTo>
                    <a:cubicBezTo>
                      <a:pt x="2656" y="247"/>
                      <a:pt x="2663" y="240"/>
                      <a:pt x="2663" y="240"/>
                    </a:cubicBezTo>
                    <a:cubicBezTo>
                      <a:pt x="2655" y="252"/>
                      <a:pt x="2655" y="252"/>
                      <a:pt x="2655" y="252"/>
                    </a:cubicBezTo>
                    <a:cubicBezTo>
                      <a:pt x="2680" y="247"/>
                      <a:pt x="2680" y="247"/>
                      <a:pt x="2680" y="247"/>
                    </a:cubicBezTo>
                    <a:cubicBezTo>
                      <a:pt x="2695" y="240"/>
                      <a:pt x="2695" y="240"/>
                      <a:pt x="2695" y="240"/>
                    </a:cubicBezTo>
                    <a:cubicBezTo>
                      <a:pt x="2695" y="248"/>
                      <a:pt x="2695" y="248"/>
                      <a:pt x="2695" y="248"/>
                    </a:cubicBezTo>
                    <a:cubicBezTo>
                      <a:pt x="2712" y="246"/>
                      <a:pt x="2712" y="246"/>
                      <a:pt x="2712" y="246"/>
                    </a:cubicBezTo>
                    <a:cubicBezTo>
                      <a:pt x="2728" y="244"/>
                      <a:pt x="2728" y="244"/>
                      <a:pt x="2728" y="244"/>
                    </a:cubicBezTo>
                    <a:cubicBezTo>
                      <a:pt x="2728" y="244"/>
                      <a:pt x="2729" y="253"/>
                      <a:pt x="2740" y="254"/>
                    </a:cubicBezTo>
                    <a:cubicBezTo>
                      <a:pt x="2751" y="255"/>
                      <a:pt x="2773" y="241"/>
                      <a:pt x="2773" y="241"/>
                    </a:cubicBezTo>
                    <a:cubicBezTo>
                      <a:pt x="2778" y="250"/>
                      <a:pt x="2778" y="250"/>
                      <a:pt x="2778" y="250"/>
                    </a:cubicBezTo>
                    <a:cubicBezTo>
                      <a:pt x="2796" y="240"/>
                      <a:pt x="2796" y="240"/>
                      <a:pt x="2796" y="240"/>
                    </a:cubicBezTo>
                    <a:cubicBezTo>
                      <a:pt x="2796" y="240"/>
                      <a:pt x="2802" y="248"/>
                      <a:pt x="2810" y="251"/>
                    </a:cubicBezTo>
                    <a:cubicBezTo>
                      <a:pt x="2819" y="253"/>
                      <a:pt x="2828" y="242"/>
                      <a:pt x="2828" y="242"/>
                    </a:cubicBezTo>
                    <a:cubicBezTo>
                      <a:pt x="2828" y="242"/>
                      <a:pt x="2837" y="250"/>
                      <a:pt x="2850" y="250"/>
                    </a:cubicBezTo>
                    <a:cubicBezTo>
                      <a:pt x="2863" y="250"/>
                      <a:pt x="2853" y="238"/>
                      <a:pt x="2853" y="238"/>
                    </a:cubicBezTo>
                    <a:cubicBezTo>
                      <a:pt x="2891" y="252"/>
                      <a:pt x="2891" y="252"/>
                      <a:pt x="2891" y="252"/>
                    </a:cubicBezTo>
                    <a:cubicBezTo>
                      <a:pt x="2891" y="252"/>
                      <a:pt x="2898" y="261"/>
                      <a:pt x="2902" y="261"/>
                    </a:cubicBezTo>
                    <a:cubicBezTo>
                      <a:pt x="2906" y="261"/>
                      <a:pt x="2964" y="248"/>
                      <a:pt x="2975" y="248"/>
                    </a:cubicBezTo>
                    <a:cubicBezTo>
                      <a:pt x="2986" y="248"/>
                      <a:pt x="3011" y="238"/>
                      <a:pt x="3015" y="231"/>
                    </a:cubicBezTo>
                    <a:cubicBezTo>
                      <a:pt x="3019" y="225"/>
                      <a:pt x="2973" y="230"/>
                      <a:pt x="2973" y="230"/>
                    </a:cubicBezTo>
                    <a:cubicBezTo>
                      <a:pt x="2973" y="230"/>
                      <a:pt x="2982" y="223"/>
                      <a:pt x="2975" y="220"/>
                    </a:cubicBezTo>
                    <a:cubicBezTo>
                      <a:pt x="2969" y="218"/>
                      <a:pt x="2943" y="220"/>
                      <a:pt x="2943" y="220"/>
                    </a:cubicBezTo>
                    <a:cubicBezTo>
                      <a:pt x="2905" y="214"/>
                      <a:pt x="2905" y="214"/>
                      <a:pt x="2905" y="214"/>
                    </a:cubicBezTo>
                    <a:cubicBezTo>
                      <a:pt x="2917" y="201"/>
                      <a:pt x="2917" y="201"/>
                      <a:pt x="2917" y="201"/>
                    </a:cubicBezTo>
                    <a:cubicBezTo>
                      <a:pt x="2959" y="215"/>
                      <a:pt x="2959" y="215"/>
                      <a:pt x="2959" y="215"/>
                    </a:cubicBezTo>
                    <a:cubicBezTo>
                      <a:pt x="2959" y="215"/>
                      <a:pt x="3014" y="212"/>
                      <a:pt x="3034" y="211"/>
                    </a:cubicBezTo>
                    <a:cubicBezTo>
                      <a:pt x="3055" y="210"/>
                      <a:pt x="3050" y="192"/>
                      <a:pt x="3050" y="192"/>
                    </a:cubicBezTo>
                    <a:cubicBezTo>
                      <a:pt x="3050" y="192"/>
                      <a:pt x="3075" y="187"/>
                      <a:pt x="3094" y="187"/>
                    </a:cubicBezTo>
                    <a:cubicBezTo>
                      <a:pt x="3112" y="187"/>
                      <a:pt x="3150" y="178"/>
                      <a:pt x="3150" y="178"/>
                    </a:cubicBezTo>
                    <a:cubicBezTo>
                      <a:pt x="3132" y="167"/>
                      <a:pt x="3132" y="167"/>
                      <a:pt x="3132" y="167"/>
                    </a:cubicBezTo>
                    <a:cubicBezTo>
                      <a:pt x="3132" y="167"/>
                      <a:pt x="3155" y="167"/>
                      <a:pt x="3180" y="161"/>
                    </a:cubicBezTo>
                    <a:cubicBezTo>
                      <a:pt x="3205" y="156"/>
                      <a:pt x="3147" y="146"/>
                      <a:pt x="3147" y="146"/>
                    </a:cubicBezTo>
                    <a:cubicBezTo>
                      <a:pt x="3147" y="146"/>
                      <a:pt x="3115" y="147"/>
                      <a:pt x="3104" y="143"/>
                    </a:cubicBezTo>
                    <a:cubicBezTo>
                      <a:pt x="3094" y="139"/>
                      <a:pt x="3152" y="125"/>
                      <a:pt x="3155" y="126"/>
                    </a:cubicBezTo>
                    <a:cubicBezTo>
                      <a:pt x="3158" y="127"/>
                      <a:pt x="3200" y="131"/>
                      <a:pt x="3200" y="131"/>
                    </a:cubicBezTo>
                    <a:cubicBezTo>
                      <a:pt x="3200" y="131"/>
                      <a:pt x="3248" y="129"/>
                      <a:pt x="3263" y="126"/>
                    </a:cubicBezTo>
                    <a:cubicBezTo>
                      <a:pt x="3278" y="122"/>
                      <a:pt x="3229" y="120"/>
                      <a:pt x="3247" y="113"/>
                    </a:cubicBezTo>
                    <a:cubicBezTo>
                      <a:pt x="3264" y="105"/>
                      <a:pt x="3296" y="119"/>
                      <a:pt x="3316" y="119"/>
                    </a:cubicBezTo>
                    <a:cubicBezTo>
                      <a:pt x="3335" y="119"/>
                      <a:pt x="3328" y="102"/>
                      <a:pt x="3328" y="102"/>
                    </a:cubicBezTo>
                    <a:cubicBezTo>
                      <a:pt x="3376" y="105"/>
                      <a:pt x="3376" y="105"/>
                      <a:pt x="3376" y="105"/>
                    </a:cubicBezTo>
                    <a:cubicBezTo>
                      <a:pt x="3379" y="91"/>
                      <a:pt x="3379" y="91"/>
                      <a:pt x="3379" y="91"/>
                    </a:cubicBezTo>
                    <a:cubicBezTo>
                      <a:pt x="3379" y="91"/>
                      <a:pt x="3392" y="95"/>
                      <a:pt x="3401" y="95"/>
                    </a:cubicBezTo>
                    <a:cubicBezTo>
                      <a:pt x="3409" y="95"/>
                      <a:pt x="3440" y="83"/>
                      <a:pt x="3440" y="83"/>
                    </a:cubicBezTo>
                    <a:cubicBezTo>
                      <a:pt x="3440" y="83"/>
                      <a:pt x="3499" y="73"/>
                      <a:pt x="3531" y="67"/>
                    </a:cubicBezTo>
                    <a:cubicBezTo>
                      <a:pt x="3564" y="62"/>
                      <a:pt x="3567" y="57"/>
                      <a:pt x="3562" y="57"/>
                    </a:cubicBezTo>
                    <a:cubicBezTo>
                      <a:pt x="3558" y="57"/>
                      <a:pt x="3491" y="60"/>
                      <a:pt x="3491" y="60"/>
                    </a:cubicBezTo>
                    <a:cubicBezTo>
                      <a:pt x="3474" y="67"/>
                      <a:pt x="3474" y="67"/>
                      <a:pt x="3474" y="67"/>
                    </a:cubicBezTo>
                    <a:cubicBezTo>
                      <a:pt x="3428" y="64"/>
                      <a:pt x="3428" y="64"/>
                      <a:pt x="3428" y="64"/>
                    </a:cubicBezTo>
                    <a:cubicBezTo>
                      <a:pt x="3481" y="61"/>
                      <a:pt x="3481" y="61"/>
                      <a:pt x="3481" y="61"/>
                    </a:cubicBezTo>
                    <a:cubicBezTo>
                      <a:pt x="3479" y="52"/>
                      <a:pt x="3479" y="52"/>
                      <a:pt x="3479" y="52"/>
                    </a:cubicBezTo>
                    <a:cubicBezTo>
                      <a:pt x="3512" y="57"/>
                      <a:pt x="3512" y="57"/>
                      <a:pt x="3512" y="57"/>
                    </a:cubicBezTo>
                    <a:cubicBezTo>
                      <a:pt x="3512" y="57"/>
                      <a:pt x="3517" y="49"/>
                      <a:pt x="3526" y="49"/>
                    </a:cubicBezTo>
                    <a:cubicBezTo>
                      <a:pt x="3534" y="49"/>
                      <a:pt x="3635" y="45"/>
                      <a:pt x="3653" y="44"/>
                    </a:cubicBezTo>
                    <a:cubicBezTo>
                      <a:pt x="3671" y="43"/>
                      <a:pt x="3718" y="30"/>
                      <a:pt x="3715" y="26"/>
                    </a:cubicBezTo>
                    <a:close/>
                    <a:moveTo>
                      <a:pt x="2687" y="644"/>
                    </a:moveTo>
                    <a:cubicBezTo>
                      <a:pt x="2722" y="650"/>
                      <a:pt x="2732" y="643"/>
                      <a:pt x="2747" y="633"/>
                    </a:cubicBezTo>
                    <a:cubicBezTo>
                      <a:pt x="2763" y="624"/>
                      <a:pt x="2759" y="608"/>
                      <a:pt x="2745" y="604"/>
                    </a:cubicBezTo>
                    <a:cubicBezTo>
                      <a:pt x="2731" y="601"/>
                      <a:pt x="2698" y="610"/>
                      <a:pt x="2698" y="610"/>
                    </a:cubicBezTo>
                    <a:cubicBezTo>
                      <a:pt x="2660" y="634"/>
                      <a:pt x="2652" y="639"/>
                      <a:pt x="2687" y="644"/>
                    </a:cubicBezTo>
                    <a:close/>
                    <a:moveTo>
                      <a:pt x="2674" y="560"/>
                    </a:moveTo>
                    <a:cubicBezTo>
                      <a:pt x="2658" y="565"/>
                      <a:pt x="2633" y="576"/>
                      <a:pt x="2657" y="571"/>
                    </a:cubicBezTo>
                    <a:cubicBezTo>
                      <a:pt x="2680" y="566"/>
                      <a:pt x="2700" y="558"/>
                      <a:pt x="2700" y="558"/>
                    </a:cubicBezTo>
                    <a:cubicBezTo>
                      <a:pt x="2724" y="540"/>
                      <a:pt x="2690" y="555"/>
                      <a:pt x="2674" y="560"/>
                    </a:cubicBezTo>
                    <a:close/>
                    <a:moveTo>
                      <a:pt x="2747" y="549"/>
                    </a:moveTo>
                    <a:cubicBezTo>
                      <a:pt x="2733" y="543"/>
                      <a:pt x="2722" y="562"/>
                      <a:pt x="2735" y="566"/>
                    </a:cubicBezTo>
                    <a:cubicBezTo>
                      <a:pt x="2735" y="566"/>
                      <a:pt x="2761" y="555"/>
                      <a:pt x="2747" y="549"/>
                    </a:cubicBezTo>
                    <a:close/>
                    <a:moveTo>
                      <a:pt x="2349" y="710"/>
                    </a:moveTo>
                    <a:cubicBezTo>
                      <a:pt x="2337" y="712"/>
                      <a:pt x="2327" y="729"/>
                      <a:pt x="2346" y="729"/>
                    </a:cubicBezTo>
                    <a:cubicBezTo>
                      <a:pt x="2357" y="729"/>
                      <a:pt x="2362" y="708"/>
                      <a:pt x="2349" y="710"/>
                    </a:cubicBezTo>
                    <a:close/>
                    <a:moveTo>
                      <a:pt x="2390" y="712"/>
                    </a:moveTo>
                    <a:cubicBezTo>
                      <a:pt x="2374" y="710"/>
                      <a:pt x="2385" y="727"/>
                      <a:pt x="2385" y="727"/>
                    </a:cubicBezTo>
                    <a:cubicBezTo>
                      <a:pt x="2396" y="726"/>
                      <a:pt x="2405" y="713"/>
                      <a:pt x="2390" y="712"/>
                    </a:cubicBezTo>
                    <a:close/>
                    <a:moveTo>
                      <a:pt x="2500" y="829"/>
                    </a:moveTo>
                    <a:cubicBezTo>
                      <a:pt x="2477" y="841"/>
                      <a:pt x="2509" y="849"/>
                      <a:pt x="2509" y="849"/>
                    </a:cubicBezTo>
                    <a:cubicBezTo>
                      <a:pt x="2532" y="836"/>
                      <a:pt x="2524" y="816"/>
                      <a:pt x="2500" y="829"/>
                    </a:cubicBezTo>
                    <a:close/>
                    <a:moveTo>
                      <a:pt x="2653" y="1691"/>
                    </a:moveTo>
                    <a:cubicBezTo>
                      <a:pt x="2633" y="1687"/>
                      <a:pt x="2622" y="1678"/>
                      <a:pt x="2622" y="1678"/>
                    </a:cubicBezTo>
                    <a:cubicBezTo>
                      <a:pt x="2612" y="1687"/>
                      <a:pt x="2612" y="1687"/>
                      <a:pt x="2612" y="1687"/>
                    </a:cubicBezTo>
                    <a:cubicBezTo>
                      <a:pt x="2612" y="1687"/>
                      <a:pt x="2629" y="1696"/>
                      <a:pt x="2633" y="1699"/>
                    </a:cubicBezTo>
                    <a:cubicBezTo>
                      <a:pt x="2637" y="1702"/>
                      <a:pt x="2656" y="1701"/>
                      <a:pt x="2656" y="1701"/>
                    </a:cubicBezTo>
                    <a:cubicBezTo>
                      <a:pt x="2656" y="1701"/>
                      <a:pt x="2666" y="1706"/>
                      <a:pt x="2676" y="1705"/>
                    </a:cubicBezTo>
                    <a:cubicBezTo>
                      <a:pt x="2687" y="1704"/>
                      <a:pt x="2691" y="1693"/>
                      <a:pt x="2691" y="1693"/>
                    </a:cubicBezTo>
                    <a:cubicBezTo>
                      <a:pt x="2691" y="1693"/>
                      <a:pt x="2674" y="1695"/>
                      <a:pt x="2653" y="1691"/>
                    </a:cubicBezTo>
                    <a:close/>
                    <a:moveTo>
                      <a:pt x="2731" y="1524"/>
                    </a:moveTo>
                    <a:cubicBezTo>
                      <a:pt x="2731" y="1524"/>
                      <a:pt x="2698" y="1516"/>
                      <a:pt x="2671" y="1515"/>
                    </a:cubicBezTo>
                    <a:cubicBezTo>
                      <a:pt x="2644" y="1514"/>
                      <a:pt x="2686" y="1526"/>
                      <a:pt x="2686" y="1526"/>
                    </a:cubicBezTo>
                    <a:cubicBezTo>
                      <a:pt x="2686" y="1536"/>
                      <a:pt x="2686" y="1536"/>
                      <a:pt x="2686" y="1536"/>
                    </a:cubicBezTo>
                    <a:cubicBezTo>
                      <a:pt x="2686" y="1536"/>
                      <a:pt x="2719" y="1541"/>
                      <a:pt x="2748" y="1546"/>
                    </a:cubicBezTo>
                    <a:cubicBezTo>
                      <a:pt x="2777" y="1551"/>
                      <a:pt x="2804" y="1540"/>
                      <a:pt x="2731" y="1524"/>
                    </a:cubicBezTo>
                    <a:close/>
                    <a:moveTo>
                      <a:pt x="2793" y="1702"/>
                    </a:moveTo>
                    <a:cubicBezTo>
                      <a:pt x="2780" y="1699"/>
                      <a:pt x="2766" y="1706"/>
                      <a:pt x="2761" y="1709"/>
                    </a:cubicBezTo>
                    <a:cubicBezTo>
                      <a:pt x="2765" y="1706"/>
                      <a:pt x="2774" y="1700"/>
                      <a:pt x="2783" y="1690"/>
                    </a:cubicBezTo>
                    <a:cubicBezTo>
                      <a:pt x="2795" y="1677"/>
                      <a:pt x="2764" y="1676"/>
                      <a:pt x="2750" y="1692"/>
                    </a:cubicBezTo>
                    <a:cubicBezTo>
                      <a:pt x="2744" y="1706"/>
                      <a:pt x="2744" y="1706"/>
                      <a:pt x="2744" y="1706"/>
                    </a:cubicBezTo>
                    <a:cubicBezTo>
                      <a:pt x="2736" y="1720"/>
                      <a:pt x="2736" y="1720"/>
                      <a:pt x="2736" y="1720"/>
                    </a:cubicBezTo>
                    <a:cubicBezTo>
                      <a:pt x="2773" y="1715"/>
                      <a:pt x="2773" y="1715"/>
                      <a:pt x="2773" y="1715"/>
                    </a:cubicBezTo>
                    <a:cubicBezTo>
                      <a:pt x="2773" y="1715"/>
                      <a:pt x="2810" y="1706"/>
                      <a:pt x="2793" y="1702"/>
                    </a:cubicBezTo>
                    <a:close/>
                    <a:moveTo>
                      <a:pt x="3058" y="1312"/>
                    </a:moveTo>
                    <a:cubicBezTo>
                      <a:pt x="3051" y="1320"/>
                      <a:pt x="3052" y="1335"/>
                      <a:pt x="3037" y="1324"/>
                    </a:cubicBezTo>
                    <a:cubicBezTo>
                      <a:pt x="3022" y="1313"/>
                      <a:pt x="3046" y="1306"/>
                      <a:pt x="3046" y="1306"/>
                    </a:cubicBezTo>
                    <a:cubicBezTo>
                      <a:pt x="3043" y="1289"/>
                      <a:pt x="3043" y="1289"/>
                      <a:pt x="3043" y="1289"/>
                    </a:cubicBezTo>
                    <a:cubicBezTo>
                      <a:pt x="3023" y="1288"/>
                      <a:pt x="3023" y="1288"/>
                      <a:pt x="3023" y="1288"/>
                    </a:cubicBezTo>
                    <a:cubicBezTo>
                      <a:pt x="3023" y="1288"/>
                      <a:pt x="2977" y="1308"/>
                      <a:pt x="2974" y="1312"/>
                    </a:cubicBezTo>
                    <a:cubicBezTo>
                      <a:pt x="2971" y="1316"/>
                      <a:pt x="2935" y="1320"/>
                      <a:pt x="2935" y="1320"/>
                    </a:cubicBezTo>
                    <a:cubicBezTo>
                      <a:pt x="2914" y="1334"/>
                      <a:pt x="2914" y="1334"/>
                      <a:pt x="2914" y="1334"/>
                    </a:cubicBezTo>
                    <a:cubicBezTo>
                      <a:pt x="2922" y="1319"/>
                      <a:pt x="2922" y="1319"/>
                      <a:pt x="2922" y="1319"/>
                    </a:cubicBezTo>
                    <a:cubicBezTo>
                      <a:pt x="2907" y="1308"/>
                      <a:pt x="2907" y="1308"/>
                      <a:pt x="2907" y="1308"/>
                    </a:cubicBezTo>
                    <a:cubicBezTo>
                      <a:pt x="2930" y="1313"/>
                      <a:pt x="2930" y="1313"/>
                      <a:pt x="2930" y="1313"/>
                    </a:cubicBezTo>
                    <a:cubicBezTo>
                      <a:pt x="2940" y="1305"/>
                      <a:pt x="2940" y="1305"/>
                      <a:pt x="2940" y="1305"/>
                    </a:cubicBezTo>
                    <a:cubicBezTo>
                      <a:pt x="2958" y="1304"/>
                      <a:pt x="2958" y="1304"/>
                      <a:pt x="2958" y="1304"/>
                    </a:cubicBezTo>
                    <a:cubicBezTo>
                      <a:pt x="2960" y="1291"/>
                      <a:pt x="2960" y="1291"/>
                      <a:pt x="2960" y="1291"/>
                    </a:cubicBezTo>
                    <a:cubicBezTo>
                      <a:pt x="2960" y="1291"/>
                      <a:pt x="2981" y="1294"/>
                      <a:pt x="2993" y="1289"/>
                    </a:cubicBezTo>
                    <a:cubicBezTo>
                      <a:pt x="3005" y="1284"/>
                      <a:pt x="3022" y="1275"/>
                      <a:pt x="3022" y="1275"/>
                    </a:cubicBezTo>
                    <a:cubicBezTo>
                      <a:pt x="3022" y="1275"/>
                      <a:pt x="3070" y="1280"/>
                      <a:pt x="3069" y="1275"/>
                    </a:cubicBezTo>
                    <a:cubicBezTo>
                      <a:pt x="3068" y="1270"/>
                      <a:pt x="3050" y="1262"/>
                      <a:pt x="3050" y="1262"/>
                    </a:cubicBezTo>
                    <a:cubicBezTo>
                      <a:pt x="3049" y="1246"/>
                      <a:pt x="3049" y="1246"/>
                      <a:pt x="3049" y="1246"/>
                    </a:cubicBezTo>
                    <a:cubicBezTo>
                      <a:pt x="3049" y="1246"/>
                      <a:pt x="3021" y="1255"/>
                      <a:pt x="3015" y="1254"/>
                    </a:cubicBezTo>
                    <a:cubicBezTo>
                      <a:pt x="3009" y="1253"/>
                      <a:pt x="3007" y="1241"/>
                      <a:pt x="3007" y="1241"/>
                    </a:cubicBezTo>
                    <a:cubicBezTo>
                      <a:pt x="2967" y="1253"/>
                      <a:pt x="2967" y="1253"/>
                      <a:pt x="2967" y="1253"/>
                    </a:cubicBezTo>
                    <a:cubicBezTo>
                      <a:pt x="2969" y="1233"/>
                      <a:pt x="2969" y="1233"/>
                      <a:pt x="2969" y="1233"/>
                    </a:cubicBezTo>
                    <a:cubicBezTo>
                      <a:pt x="2940" y="1243"/>
                      <a:pt x="2940" y="1243"/>
                      <a:pt x="2940" y="1243"/>
                    </a:cubicBezTo>
                    <a:cubicBezTo>
                      <a:pt x="2940" y="1243"/>
                      <a:pt x="2971" y="1208"/>
                      <a:pt x="2963" y="1204"/>
                    </a:cubicBezTo>
                    <a:cubicBezTo>
                      <a:pt x="2955" y="1200"/>
                      <a:pt x="2930" y="1200"/>
                      <a:pt x="2930" y="1200"/>
                    </a:cubicBezTo>
                    <a:cubicBezTo>
                      <a:pt x="2933" y="1184"/>
                      <a:pt x="2933" y="1184"/>
                      <a:pt x="2933" y="1184"/>
                    </a:cubicBezTo>
                    <a:cubicBezTo>
                      <a:pt x="2911" y="1184"/>
                      <a:pt x="2911" y="1184"/>
                      <a:pt x="2911" y="1184"/>
                    </a:cubicBezTo>
                    <a:cubicBezTo>
                      <a:pt x="2920" y="1170"/>
                      <a:pt x="2920" y="1170"/>
                      <a:pt x="2920" y="1170"/>
                    </a:cubicBezTo>
                    <a:cubicBezTo>
                      <a:pt x="2902" y="1154"/>
                      <a:pt x="2902" y="1154"/>
                      <a:pt x="2902" y="1154"/>
                    </a:cubicBezTo>
                    <a:cubicBezTo>
                      <a:pt x="2902" y="1154"/>
                      <a:pt x="2932" y="1161"/>
                      <a:pt x="2940" y="1155"/>
                    </a:cubicBezTo>
                    <a:cubicBezTo>
                      <a:pt x="2948" y="1149"/>
                      <a:pt x="2959" y="1144"/>
                      <a:pt x="2959" y="1144"/>
                    </a:cubicBezTo>
                    <a:cubicBezTo>
                      <a:pt x="2929" y="1126"/>
                      <a:pt x="2929" y="1126"/>
                      <a:pt x="2929" y="1126"/>
                    </a:cubicBezTo>
                    <a:cubicBezTo>
                      <a:pt x="2962" y="1107"/>
                      <a:pt x="2962" y="1107"/>
                      <a:pt x="2962" y="1107"/>
                    </a:cubicBezTo>
                    <a:cubicBezTo>
                      <a:pt x="2929" y="1092"/>
                      <a:pt x="2929" y="1092"/>
                      <a:pt x="2929" y="1092"/>
                    </a:cubicBezTo>
                    <a:cubicBezTo>
                      <a:pt x="2899" y="1093"/>
                      <a:pt x="2899" y="1093"/>
                      <a:pt x="2899" y="1093"/>
                    </a:cubicBezTo>
                    <a:cubicBezTo>
                      <a:pt x="2935" y="1080"/>
                      <a:pt x="2935" y="1080"/>
                      <a:pt x="2935" y="1080"/>
                    </a:cubicBezTo>
                    <a:cubicBezTo>
                      <a:pt x="2910" y="1074"/>
                      <a:pt x="2910" y="1074"/>
                      <a:pt x="2910" y="1074"/>
                    </a:cubicBezTo>
                    <a:cubicBezTo>
                      <a:pt x="2940" y="1060"/>
                      <a:pt x="2940" y="1060"/>
                      <a:pt x="2940" y="1060"/>
                    </a:cubicBezTo>
                    <a:cubicBezTo>
                      <a:pt x="2935" y="1044"/>
                      <a:pt x="2935" y="1044"/>
                      <a:pt x="2935" y="1044"/>
                    </a:cubicBezTo>
                    <a:cubicBezTo>
                      <a:pt x="2913" y="1042"/>
                      <a:pt x="2913" y="1042"/>
                      <a:pt x="2913" y="1042"/>
                    </a:cubicBezTo>
                    <a:cubicBezTo>
                      <a:pt x="2913" y="1042"/>
                      <a:pt x="2931" y="1032"/>
                      <a:pt x="2923" y="1013"/>
                    </a:cubicBezTo>
                    <a:cubicBezTo>
                      <a:pt x="2915" y="994"/>
                      <a:pt x="2907" y="997"/>
                      <a:pt x="2907" y="997"/>
                    </a:cubicBezTo>
                    <a:cubicBezTo>
                      <a:pt x="2916" y="983"/>
                      <a:pt x="2916" y="983"/>
                      <a:pt x="2916" y="983"/>
                    </a:cubicBezTo>
                    <a:cubicBezTo>
                      <a:pt x="2916" y="983"/>
                      <a:pt x="2892" y="994"/>
                      <a:pt x="2887" y="1001"/>
                    </a:cubicBezTo>
                    <a:cubicBezTo>
                      <a:pt x="2882" y="1008"/>
                      <a:pt x="2886" y="1014"/>
                      <a:pt x="2886" y="1014"/>
                    </a:cubicBezTo>
                    <a:cubicBezTo>
                      <a:pt x="2867" y="1008"/>
                      <a:pt x="2867" y="1008"/>
                      <a:pt x="2867" y="1008"/>
                    </a:cubicBezTo>
                    <a:cubicBezTo>
                      <a:pt x="2871" y="1030"/>
                      <a:pt x="2871" y="1030"/>
                      <a:pt x="2871" y="1030"/>
                    </a:cubicBezTo>
                    <a:cubicBezTo>
                      <a:pt x="2853" y="1029"/>
                      <a:pt x="2853" y="1029"/>
                      <a:pt x="2853" y="1029"/>
                    </a:cubicBezTo>
                    <a:cubicBezTo>
                      <a:pt x="2845" y="1043"/>
                      <a:pt x="2845" y="1043"/>
                      <a:pt x="2845" y="1043"/>
                    </a:cubicBezTo>
                    <a:cubicBezTo>
                      <a:pt x="2850" y="1049"/>
                      <a:pt x="2850" y="1049"/>
                      <a:pt x="2850" y="1049"/>
                    </a:cubicBezTo>
                    <a:cubicBezTo>
                      <a:pt x="2834" y="1050"/>
                      <a:pt x="2834" y="1050"/>
                      <a:pt x="2834" y="1050"/>
                    </a:cubicBezTo>
                    <a:cubicBezTo>
                      <a:pt x="2819" y="1080"/>
                      <a:pt x="2819" y="1080"/>
                      <a:pt x="2819" y="1080"/>
                    </a:cubicBezTo>
                    <a:cubicBezTo>
                      <a:pt x="2811" y="1080"/>
                      <a:pt x="2811" y="1080"/>
                      <a:pt x="2811" y="1080"/>
                    </a:cubicBezTo>
                    <a:cubicBezTo>
                      <a:pt x="2821" y="1055"/>
                      <a:pt x="2821" y="1055"/>
                      <a:pt x="2821" y="1055"/>
                    </a:cubicBezTo>
                    <a:cubicBezTo>
                      <a:pt x="2821" y="1055"/>
                      <a:pt x="2811" y="1040"/>
                      <a:pt x="2802" y="1049"/>
                    </a:cubicBezTo>
                    <a:cubicBezTo>
                      <a:pt x="2793" y="1058"/>
                      <a:pt x="2781" y="1071"/>
                      <a:pt x="2774" y="1072"/>
                    </a:cubicBezTo>
                    <a:cubicBezTo>
                      <a:pt x="2767" y="1073"/>
                      <a:pt x="2739" y="1094"/>
                      <a:pt x="2739" y="1094"/>
                    </a:cubicBezTo>
                    <a:cubicBezTo>
                      <a:pt x="2744" y="1079"/>
                      <a:pt x="2744" y="1079"/>
                      <a:pt x="2744" y="1079"/>
                    </a:cubicBezTo>
                    <a:cubicBezTo>
                      <a:pt x="2743" y="1068"/>
                      <a:pt x="2743" y="1068"/>
                      <a:pt x="2743" y="1068"/>
                    </a:cubicBezTo>
                    <a:cubicBezTo>
                      <a:pt x="2718" y="1089"/>
                      <a:pt x="2718" y="1089"/>
                      <a:pt x="2718" y="1089"/>
                    </a:cubicBezTo>
                    <a:cubicBezTo>
                      <a:pt x="2674" y="1099"/>
                      <a:pt x="2674" y="1099"/>
                      <a:pt x="2674" y="1099"/>
                    </a:cubicBezTo>
                    <a:cubicBezTo>
                      <a:pt x="2715" y="1085"/>
                      <a:pt x="2715" y="1085"/>
                      <a:pt x="2715" y="1085"/>
                    </a:cubicBezTo>
                    <a:cubicBezTo>
                      <a:pt x="2715" y="1085"/>
                      <a:pt x="2739" y="1058"/>
                      <a:pt x="2726" y="1052"/>
                    </a:cubicBezTo>
                    <a:cubicBezTo>
                      <a:pt x="2713" y="1046"/>
                      <a:pt x="2698" y="1052"/>
                      <a:pt x="2698" y="1052"/>
                    </a:cubicBezTo>
                    <a:cubicBezTo>
                      <a:pt x="2698" y="1052"/>
                      <a:pt x="2665" y="1067"/>
                      <a:pt x="2667" y="1056"/>
                    </a:cubicBezTo>
                    <a:cubicBezTo>
                      <a:pt x="2669" y="1045"/>
                      <a:pt x="2686" y="1042"/>
                      <a:pt x="2686" y="1042"/>
                    </a:cubicBezTo>
                    <a:cubicBezTo>
                      <a:pt x="2685" y="1049"/>
                      <a:pt x="2685" y="1049"/>
                      <a:pt x="2685" y="1049"/>
                    </a:cubicBezTo>
                    <a:cubicBezTo>
                      <a:pt x="2699" y="1044"/>
                      <a:pt x="2699" y="1044"/>
                      <a:pt x="2699" y="1044"/>
                    </a:cubicBezTo>
                    <a:cubicBezTo>
                      <a:pt x="2696" y="1025"/>
                      <a:pt x="2696" y="1025"/>
                      <a:pt x="2696" y="1025"/>
                    </a:cubicBezTo>
                    <a:cubicBezTo>
                      <a:pt x="2696" y="1025"/>
                      <a:pt x="2721" y="1011"/>
                      <a:pt x="2712" y="1004"/>
                    </a:cubicBezTo>
                    <a:cubicBezTo>
                      <a:pt x="2703" y="997"/>
                      <a:pt x="2676" y="993"/>
                      <a:pt x="2676" y="993"/>
                    </a:cubicBezTo>
                    <a:cubicBezTo>
                      <a:pt x="2676" y="993"/>
                      <a:pt x="2721" y="995"/>
                      <a:pt x="2724" y="983"/>
                    </a:cubicBezTo>
                    <a:cubicBezTo>
                      <a:pt x="2727" y="971"/>
                      <a:pt x="2730" y="968"/>
                      <a:pt x="2736" y="964"/>
                    </a:cubicBezTo>
                    <a:cubicBezTo>
                      <a:pt x="2742" y="960"/>
                      <a:pt x="2762" y="959"/>
                      <a:pt x="2752" y="950"/>
                    </a:cubicBezTo>
                    <a:cubicBezTo>
                      <a:pt x="2742" y="941"/>
                      <a:pt x="2732" y="957"/>
                      <a:pt x="2732" y="957"/>
                    </a:cubicBezTo>
                    <a:cubicBezTo>
                      <a:pt x="2726" y="940"/>
                      <a:pt x="2726" y="940"/>
                      <a:pt x="2726" y="940"/>
                    </a:cubicBezTo>
                    <a:cubicBezTo>
                      <a:pt x="2726" y="940"/>
                      <a:pt x="2695" y="941"/>
                      <a:pt x="2686" y="941"/>
                    </a:cubicBezTo>
                    <a:cubicBezTo>
                      <a:pt x="2677" y="941"/>
                      <a:pt x="2675" y="926"/>
                      <a:pt x="2683" y="923"/>
                    </a:cubicBezTo>
                    <a:cubicBezTo>
                      <a:pt x="2691" y="920"/>
                      <a:pt x="2692" y="913"/>
                      <a:pt x="2685" y="911"/>
                    </a:cubicBezTo>
                    <a:cubicBezTo>
                      <a:pt x="2678" y="909"/>
                      <a:pt x="2672" y="916"/>
                      <a:pt x="2672" y="916"/>
                    </a:cubicBezTo>
                    <a:cubicBezTo>
                      <a:pt x="2677" y="900"/>
                      <a:pt x="2677" y="900"/>
                      <a:pt x="2677" y="900"/>
                    </a:cubicBezTo>
                    <a:cubicBezTo>
                      <a:pt x="2653" y="904"/>
                      <a:pt x="2653" y="904"/>
                      <a:pt x="2653" y="904"/>
                    </a:cubicBezTo>
                    <a:cubicBezTo>
                      <a:pt x="2653" y="904"/>
                      <a:pt x="2657" y="875"/>
                      <a:pt x="2640" y="875"/>
                    </a:cubicBezTo>
                    <a:cubicBezTo>
                      <a:pt x="2623" y="875"/>
                      <a:pt x="2595" y="892"/>
                      <a:pt x="2595" y="892"/>
                    </a:cubicBezTo>
                    <a:cubicBezTo>
                      <a:pt x="2595" y="892"/>
                      <a:pt x="2587" y="881"/>
                      <a:pt x="2579" y="881"/>
                    </a:cubicBezTo>
                    <a:cubicBezTo>
                      <a:pt x="2571" y="881"/>
                      <a:pt x="2554" y="890"/>
                      <a:pt x="2554" y="890"/>
                    </a:cubicBezTo>
                    <a:cubicBezTo>
                      <a:pt x="2554" y="890"/>
                      <a:pt x="2508" y="868"/>
                      <a:pt x="2492" y="871"/>
                    </a:cubicBezTo>
                    <a:cubicBezTo>
                      <a:pt x="2476" y="874"/>
                      <a:pt x="2470" y="886"/>
                      <a:pt x="2470" y="886"/>
                    </a:cubicBezTo>
                    <a:cubicBezTo>
                      <a:pt x="2470" y="886"/>
                      <a:pt x="2449" y="896"/>
                      <a:pt x="2456" y="904"/>
                    </a:cubicBezTo>
                    <a:cubicBezTo>
                      <a:pt x="2463" y="912"/>
                      <a:pt x="2476" y="913"/>
                      <a:pt x="2470" y="921"/>
                    </a:cubicBezTo>
                    <a:cubicBezTo>
                      <a:pt x="2464" y="929"/>
                      <a:pt x="2439" y="945"/>
                      <a:pt x="2439" y="945"/>
                    </a:cubicBezTo>
                    <a:cubicBezTo>
                      <a:pt x="2421" y="952"/>
                      <a:pt x="2421" y="952"/>
                      <a:pt x="2421" y="952"/>
                    </a:cubicBezTo>
                    <a:cubicBezTo>
                      <a:pt x="2438" y="961"/>
                      <a:pt x="2438" y="961"/>
                      <a:pt x="2438" y="961"/>
                    </a:cubicBezTo>
                    <a:cubicBezTo>
                      <a:pt x="2438" y="961"/>
                      <a:pt x="2423" y="968"/>
                      <a:pt x="2422" y="977"/>
                    </a:cubicBezTo>
                    <a:cubicBezTo>
                      <a:pt x="2421" y="986"/>
                      <a:pt x="2429" y="993"/>
                      <a:pt x="2421" y="1003"/>
                    </a:cubicBezTo>
                    <a:cubicBezTo>
                      <a:pt x="2413" y="1013"/>
                      <a:pt x="2406" y="1005"/>
                      <a:pt x="2393" y="1013"/>
                    </a:cubicBezTo>
                    <a:cubicBezTo>
                      <a:pt x="2380" y="1021"/>
                      <a:pt x="2382" y="1034"/>
                      <a:pt x="2382" y="1034"/>
                    </a:cubicBezTo>
                    <a:cubicBezTo>
                      <a:pt x="2382" y="1034"/>
                      <a:pt x="2366" y="1037"/>
                      <a:pt x="2360" y="1043"/>
                    </a:cubicBezTo>
                    <a:cubicBezTo>
                      <a:pt x="2354" y="1049"/>
                      <a:pt x="2334" y="1054"/>
                      <a:pt x="2336" y="1062"/>
                    </a:cubicBezTo>
                    <a:cubicBezTo>
                      <a:pt x="2338" y="1070"/>
                      <a:pt x="2375" y="1084"/>
                      <a:pt x="2375" y="1093"/>
                    </a:cubicBezTo>
                    <a:cubicBezTo>
                      <a:pt x="2375" y="1102"/>
                      <a:pt x="2374" y="1167"/>
                      <a:pt x="2339" y="1187"/>
                    </a:cubicBezTo>
                    <a:cubicBezTo>
                      <a:pt x="2304" y="1207"/>
                      <a:pt x="2259" y="1242"/>
                      <a:pt x="2241" y="1243"/>
                    </a:cubicBezTo>
                    <a:cubicBezTo>
                      <a:pt x="2223" y="1244"/>
                      <a:pt x="2174" y="1247"/>
                      <a:pt x="2171" y="1256"/>
                    </a:cubicBezTo>
                    <a:cubicBezTo>
                      <a:pt x="2168" y="1265"/>
                      <a:pt x="2180" y="1293"/>
                      <a:pt x="2180" y="1298"/>
                    </a:cubicBezTo>
                    <a:cubicBezTo>
                      <a:pt x="2180" y="1303"/>
                      <a:pt x="2159" y="1324"/>
                      <a:pt x="2155" y="1339"/>
                    </a:cubicBezTo>
                    <a:cubicBezTo>
                      <a:pt x="2151" y="1354"/>
                      <a:pt x="2154" y="1387"/>
                      <a:pt x="2154" y="1387"/>
                    </a:cubicBezTo>
                    <a:cubicBezTo>
                      <a:pt x="2154" y="1387"/>
                      <a:pt x="2120" y="1404"/>
                      <a:pt x="2119" y="1409"/>
                    </a:cubicBezTo>
                    <a:cubicBezTo>
                      <a:pt x="2118" y="1414"/>
                      <a:pt x="2117" y="1431"/>
                      <a:pt x="2117" y="1431"/>
                    </a:cubicBezTo>
                    <a:cubicBezTo>
                      <a:pt x="2104" y="1447"/>
                      <a:pt x="2104" y="1447"/>
                      <a:pt x="2104" y="1447"/>
                    </a:cubicBezTo>
                    <a:cubicBezTo>
                      <a:pt x="2104" y="1447"/>
                      <a:pt x="2111" y="1423"/>
                      <a:pt x="2100" y="1422"/>
                    </a:cubicBezTo>
                    <a:cubicBezTo>
                      <a:pt x="2089" y="1421"/>
                      <a:pt x="2067" y="1435"/>
                      <a:pt x="2072" y="1446"/>
                    </a:cubicBezTo>
                    <a:cubicBezTo>
                      <a:pt x="2077" y="1457"/>
                      <a:pt x="2071" y="1466"/>
                      <a:pt x="2071" y="1466"/>
                    </a:cubicBezTo>
                    <a:cubicBezTo>
                      <a:pt x="2071" y="1466"/>
                      <a:pt x="2069" y="1446"/>
                      <a:pt x="2063" y="1441"/>
                    </a:cubicBezTo>
                    <a:cubicBezTo>
                      <a:pt x="2057" y="1436"/>
                      <a:pt x="2019" y="1447"/>
                      <a:pt x="2019" y="1447"/>
                    </a:cubicBezTo>
                    <a:cubicBezTo>
                      <a:pt x="2019" y="1447"/>
                      <a:pt x="2055" y="1426"/>
                      <a:pt x="2051" y="1413"/>
                    </a:cubicBezTo>
                    <a:cubicBezTo>
                      <a:pt x="2047" y="1400"/>
                      <a:pt x="2011" y="1389"/>
                      <a:pt x="2011" y="1389"/>
                    </a:cubicBezTo>
                    <a:cubicBezTo>
                      <a:pt x="2011" y="1389"/>
                      <a:pt x="2028" y="1386"/>
                      <a:pt x="2028" y="1379"/>
                    </a:cubicBezTo>
                    <a:cubicBezTo>
                      <a:pt x="2028" y="1372"/>
                      <a:pt x="2016" y="1346"/>
                      <a:pt x="2016" y="1346"/>
                    </a:cubicBezTo>
                    <a:cubicBezTo>
                      <a:pt x="2038" y="1331"/>
                      <a:pt x="2038" y="1331"/>
                      <a:pt x="2038" y="1331"/>
                    </a:cubicBezTo>
                    <a:cubicBezTo>
                      <a:pt x="2037" y="1316"/>
                      <a:pt x="2037" y="1316"/>
                      <a:pt x="2037" y="1316"/>
                    </a:cubicBezTo>
                    <a:cubicBezTo>
                      <a:pt x="2054" y="1305"/>
                      <a:pt x="2054" y="1305"/>
                      <a:pt x="2054" y="1305"/>
                    </a:cubicBezTo>
                    <a:cubicBezTo>
                      <a:pt x="2053" y="1280"/>
                      <a:pt x="2053" y="1280"/>
                      <a:pt x="2053" y="1280"/>
                    </a:cubicBezTo>
                    <a:cubicBezTo>
                      <a:pt x="2053" y="1280"/>
                      <a:pt x="2102" y="1253"/>
                      <a:pt x="2078" y="1241"/>
                    </a:cubicBezTo>
                    <a:cubicBezTo>
                      <a:pt x="2054" y="1229"/>
                      <a:pt x="1982" y="1233"/>
                      <a:pt x="1982" y="1233"/>
                    </a:cubicBezTo>
                    <a:cubicBezTo>
                      <a:pt x="1958" y="1241"/>
                      <a:pt x="1958" y="1241"/>
                      <a:pt x="1958" y="1241"/>
                    </a:cubicBezTo>
                    <a:cubicBezTo>
                      <a:pt x="1958" y="1241"/>
                      <a:pt x="1976" y="1220"/>
                      <a:pt x="1966" y="1215"/>
                    </a:cubicBezTo>
                    <a:cubicBezTo>
                      <a:pt x="1956" y="1210"/>
                      <a:pt x="1908" y="1200"/>
                      <a:pt x="1908" y="1200"/>
                    </a:cubicBezTo>
                    <a:cubicBezTo>
                      <a:pt x="1908" y="1200"/>
                      <a:pt x="1913" y="1178"/>
                      <a:pt x="1894" y="1164"/>
                    </a:cubicBezTo>
                    <a:cubicBezTo>
                      <a:pt x="1875" y="1150"/>
                      <a:pt x="1850" y="1149"/>
                      <a:pt x="1850" y="1149"/>
                    </a:cubicBezTo>
                    <a:cubicBezTo>
                      <a:pt x="1850" y="1149"/>
                      <a:pt x="1851" y="1137"/>
                      <a:pt x="1823" y="1136"/>
                    </a:cubicBezTo>
                    <a:cubicBezTo>
                      <a:pt x="1795" y="1135"/>
                      <a:pt x="1726" y="1147"/>
                      <a:pt x="1726" y="1147"/>
                    </a:cubicBezTo>
                    <a:cubicBezTo>
                      <a:pt x="1726" y="1147"/>
                      <a:pt x="1759" y="1137"/>
                      <a:pt x="1760" y="1125"/>
                    </a:cubicBezTo>
                    <a:cubicBezTo>
                      <a:pt x="1761" y="1113"/>
                      <a:pt x="1779" y="1061"/>
                      <a:pt x="1779" y="1061"/>
                    </a:cubicBezTo>
                    <a:cubicBezTo>
                      <a:pt x="1779" y="1061"/>
                      <a:pt x="1749" y="1055"/>
                      <a:pt x="1746" y="1057"/>
                    </a:cubicBezTo>
                    <a:cubicBezTo>
                      <a:pt x="1743" y="1059"/>
                      <a:pt x="1720" y="1075"/>
                      <a:pt x="1720" y="1075"/>
                    </a:cubicBezTo>
                    <a:cubicBezTo>
                      <a:pt x="1730" y="1056"/>
                      <a:pt x="1730" y="1056"/>
                      <a:pt x="1730" y="1056"/>
                    </a:cubicBezTo>
                    <a:cubicBezTo>
                      <a:pt x="1726" y="1041"/>
                      <a:pt x="1726" y="1041"/>
                      <a:pt x="1726" y="1041"/>
                    </a:cubicBezTo>
                    <a:cubicBezTo>
                      <a:pt x="1726" y="1041"/>
                      <a:pt x="1752" y="1019"/>
                      <a:pt x="1764" y="998"/>
                    </a:cubicBezTo>
                    <a:cubicBezTo>
                      <a:pt x="1776" y="977"/>
                      <a:pt x="1844" y="940"/>
                      <a:pt x="1844" y="940"/>
                    </a:cubicBezTo>
                    <a:cubicBezTo>
                      <a:pt x="1838" y="929"/>
                      <a:pt x="1838" y="929"/>
                      <a:pt x="1838" y="929"/>
                    </a:cubicBezTo>
                    <a:cubicBezTo>
                      <a:pt x="1881" y="915"/>
                      <a:pt x="1881" y="915"/>
                      <a:pt x="1881" y="915"/>
                    </a:cubicBezTo>
                    <a:cubicBezTo>
                      <a:pt x="1882" y="904"/>
                      <a:pt x="1882" y="904"/>
                      <a:pt x="1882" y="904"/>
                    </a:cubicBezTo>
                    <a:cubicBezTo>
                      <a:pt x="1909" y="900"/>
                      <a:pt x="1909" y="900"/>
                      <a:pt x="1909" y="900"/>
                    </a:cubicBezTo>
                    <a:cubicBezTo>
                      <a:pt x="1911" y="887"/>
                      <a:pt x="1911" y="887"/>
                      <a:pt x="1911" y="887"/>
                    </a:cubicBezTo>
                    <a:cubicBezTo>
                      <a:pt x="1932" y="884"/>
                      <a:pt x="1932" y="884"/>
                      <a:pt x="1932" y="884"/>
                    </a:cubicBezTo>
                    <a:cubicBezTo>
                      <a:pt x="1966" y="857"/>
                      <a:pt x="1966" y="857"/>
                      <a:pt x="1966" y="857"/>
                    </a:cubicBezTo>
                    <a:cubicBezTo>
                      <a:pt x="1966" y="857"/>
                      <a:pt x="2040" y="860"/>
                      <a:pt x="2040" y="847"/>
                    </a:cubicBezTo>
                    <a:cubicBezTo>
                      <a:pt x="2040" y="834"/>
                      <a:pt x="2020" y="819"/>
                      <a:pt x="2020" y="819"/>
                    </a:cubicBezTo>
                    <a:cubicBezTo>
                      <a:pt x="1980" y="824"/>
                      <a:pt x="1980" y="824"/>
                      <a:pt x="1980" y="824"/>
                    </a:cubicBezTo>
                    <a:cubicBezTo>
                      <a:pt x="1986" y="814"/>
                      <a:pt x="1986" y="814"/>
                      <a:pt x="1986" y="814"/>
                    </a:cubicBezTo>
                    <a:cubicBezTo>
                      <a:pt x="1950" y="800"/>
                      <a:pt x="1950" y="800"/>
                      <a:pt x="1950" y="800"/>
                    </a:cubicBezTo>
                    <a:cubicBezTo>
                      <a:pt x="1966" y="795"/>
                      <a:pt x="1966" y="795"/>
                      <a:pt x="1966" y="795"/>
                    </a:cubicBezTo>
                    <a:cubicBezTo>
                      <a:pt x="2021" y="811"/>
                      <a:pt x="2021" y="811"/>
                      <a:pt x="2021" y="811"/>
                    </a:cubicBezTo>
                    <a:cubicBezTo>
                      <a:pt x="2021" y="811"/>
                      <a:pt x="2042" y="833"/>
                      <a:pt x="2061" y="825"/>
                    </a:cubicBezTo>
                    <a:cubicBezTo>
                      <a:pt x="2080" y="817"/>
                      <a:pt x="2096" y="784"/>
                      <a:pt x="2103" y="789"/>
                    </a:cubicBezTo>
                    <a:cubicBezTo>
                      <a:pt x="2110" y="794"/>
                      <a:pt x="2131" y="804"/>
                      <a:pt x="2140" y="802"/>
                    </a:cubicBezTo>
                    <a:cubicBezTo>
                      <a:pt x="2140" y="802"/>
                      <a:pt x="2185" y="783"/>
                      <a:pt x="2203" y="776"/>
                    </a:cubicBezTo>
                    <a:cubicBezTo>
                      <a:pt x="2221" y="769"/>
                      <a:pt x="2255" y="750"/>
                      <a:pt x="2243" y="747"/>
                    </a:cubicBezTo>
                    <a:cubicBezTo>
                      <a:pt x="2231" y="744"/>
                      <a:pt x="2175" y="744"/>
                      <a:pt x="2175" y="744"/>
                    </a:cubicBezTo>
                    <a:cubicBezTo>
                      <a:pt x="2171" y="728"/>
                      <a:pt x="2171" y="728"/>
                      <a:pt x="2171" y="728"/>
                    </a:cubicBezTo>
                    <a:cubicBezTo>
                      <a:pt x="2115" y="708"/>
                      <a:pt x="2115" y="708"/>
                      <a:pt x="2115" y="708"/>
                    </a:cubicBezTo>
                    <a:cubicBezTo>
                      <a:pt x="2115" y="708"/>
                      <a:pt x="2171" y="700"/>
                      <a:pt x="2186" y="706"/>
                    </a:cubicBezTo>
                    <a:cubicBezTo>
                      <a:pt x="2201" y="712"/>
                      <a:pt x="2215" y="738"/>
                      <a:pt x="2230" y="738"/>
                    </a:cubicBezTo>
                    <a:cubicBezTo>
                      <a:pt x="2245" y="738"/>
                      <a:pt x="2324" y="700"/>
                      <a:pt x="2324" y="700"/>
                    </a:cubicBezTo>
                    <a:cubicBezTo>
                      <a:pt x="2305" y="692"/>
                      <a:pt x="2305" y="692"/>
                      <a:pt x="2305" y="692"/>
                    </a:cubicBezTo>
                    <a:cubicBezTo>
                      <a:pt x="2305" y="692"/>
                      <a:pt x="2319" y="680"/>
                      <a:pt x="2337" y="680"/>
                    </a:cubicBezTo>
                    <a:cubicBezTo>
                      <a:pt x="2355" y="680"/>
                      <a:pt x="2360" y="694"/>
                      <a:pt x="2360" y="694"/>
                    </a:cubicBezTo>
                    <a:cubicBezTo>
                      <a:pt x="2380" y="701"/>
                      <a:pt x="2380" y="701"/>
                      <a:pt x="2380" y="701"/>
                    </a:cubicBezTo>
                    <a:cubicBezTo>
                      <a:pt x="2381" y="688"/>
                      <a:pt x="2381" y="688"/>
                      <a:pt x="2381" y="688"/>
                    </a:cubicBezTo>
                    <a:cubicBezTo>
                      <a:pt x="2381" y="688"/>
                      <a:pt x="2395" y="705"/>
                      <a:pt x="2400" y="696"/>
                    </a:cubicBezTo>
                    <a:cubicBezTo>
                      <a:pt x="2405" y="687"/>
                      <a:pt x="2388" y="669"/>
                      <a:pt x="2388" y="669"/>
                    </a:cubicBezTo>
                    <a:cubicBezTo>
                      <a:pt x="2374" y="663"/>
                      <a:pt x="2374" y="663"/>
                      <a:pt x="2374" y="663"/>
                    </a:cubicBezTo>
                    <a:cubicBezTo>
                      <a:pt x="2401" y="658"/>
                      <a:pt x="2401" y="658"/>
                      <a:pt x="2401" y="658"/>
                    </a:cubicBezTo>
                    <a:cubicBezTo>
                      <a:pt x="2401" y="658"/>
                      <a:pt x="2415" y="697"/>
                      <a:pt x="2424" y="695"/>
                    </a:cubicBezTo>
                    <a:cubicBezTo>
                      <a:pt x="2433" y="693"/>
                      <a:pt x="2546" y="660"/>
                      <a:pt x="2532" y="641"/>
                    </a:cubicBezTo>
                    <a:cubicBezTo>
                      <a:pt x="2518" y="622"/>
                      <a:pt x="2507" y="607"/>
                      <a:pt x="2518" y="600"/>
                    </a:cubicBezTo>
                    <a:cubicBezTo>
                      <a:pt x="2529" y="593"/>
                      <a:pt x="2579" y="591"/>
                      <a:pt x="2580" y="585"/>
                    </a:cubicBezTo>
                    <a:cubicBezTo>
                      <a:pt x="2581" y="579"/>
                      <a:pt x="2570" y="553"/>
                      <a:pt x="2570" y="553"/>
                    </a:cubicBezTo>
                    <a:cubicBezTo>
                      <a:pt x="2558" y="538"/>
                      <a:pt x="2558" y="538"/>
                      <a:pt x="2558" y="538"/>
                    </a:cubicBezTo>
                    <a:cubicBezTo>
                      <a:pt x="2558" y="538"/>
                      <a:pt x="2496" y="520"/>
                      <a:pt x="2470" y="538"/>
                    </a:cubicBezTo>
                    <a:cubicBezTo>
                      <a:pt x="2444" y="556"/>
                      <a:pt x="2466" y="568"/>
                      <a:pt x="2466" y="568"/>
                    </a:cubicBezTo>
                    <a:cubicBezTo>
                      <a:pt x="2442" y="583"/>
                      <a:pt x="2442" y="583"/>
                      <a:pt x="2442" y="583"/>
                    </a:cubicBezTo>
                    <a:cubicBezTo>
                      <a:pt x="2428" y="583"/>
                      <a:pt x="2428" y="583"/>
                      <a:pt x="2428" y="583"/>
                    </a:cubicBezTo>
                    <a:cubicBezTo>
                      <a:pt x="2383" y="614"/>
                      <a:pt x="2383" y="614"/>
                      <a:pt x="2383" y="614"/>
                    </a:cubicBezTo>
                    <a:cubicBezTo>
                      <a:pt x="2366" y="621"/>
                      <a:pt x="2366" y="621"/>
                      <a:pt x="2366" y="621"/>
                    </a:cubicBezTo>
                    <a:cubicBezTo>
                      <a:pt x="2366" y="621"/>
                      <a:pt x="2354" y="639"/>
                      <a:pt x="2350" y="642"/>
                    </a:cubicBezTo>
                    <a:cubicBezTo>
                      <a:pt x="2346" y="645"/>
                      <a:pt x="2327" y="646"/>
                      <a:pt x="2327" y="646"/>
                    </a:cubicBezTo>
                    <a:cubicBezTo>
                      <a:pt x="2304" y="658"/>
                      <a:pt x="2304" y="658"/>
                      <a:pt x="2304" y="658"/>
                    </a:cubicBezTo>
                    <a:cubicBezTo>
                      <a:pt x="2304" y="658"/>
                      <a:pt x="2293" y="624"/>
                      <a:pt x="2299" y="613"/>
                    </a:cubicBezTo>
                    <a:cubicBezTo>
                      <a:pt x="2305" y="602"/>
                      <a:pt x="2336" y="607"/>
                      <a:pt x="2341" y="591"/>
                    </a:cubicBezTo>
                    <a:cubicBezTo>
                      <a:pt x="2346" y="575"/>
                      <a:pt x="2330" y="558"/>
                      <a:pt x="2327" y="558"/>
                    </a:cubicBezTo>
                    <a:cubicBezTo>
                      <a:pt x="2324" y="558"/>
                      <a:pt x="2271" y="582"/>
                      <a:pt x="2271" y="582"/>
                    </a:cubicBezTo>
                    <a:cubicBezTo>
                      <a:pt x="2252" y="603"/>
                      <a:pt x="2252" y="603"/>
                      <a:pt x="2252" y="603"/>
                    </a:cubicBezTo>
                    <a:cubicBezTo>
                      <a:pt x="2246" y="594"/>
                      <a:pt x="2246" y="594"/>
                      <a:pt x="2246" y="594"/>
                    </a:cubicBezTo>
                    <a:cubicBezTo>
                      <a:pt x="2264" y="576"/>
                      <a:pt x="2264" y="576"/>
                      <a:pt x="2264" y="576"/>
                    </a:cubicBezTo>
                    <a:cubicBezTo>
                      <a:pt x="2262" y="563"/>
                      <a:pt x="2262" y="563"/>
                      <a:pt x="2262" y="563"/>
                    </a:cubicBezTo>
                    <a:cubicBezTo>
                      <a:pt x="2292" y="552"/>
                      <a:pt x="2292" y="552"/>
                      <a:pt x="2292" y="552"/>
                    </a:cubicBezTo>
                    <a:cubicBezTo>
                      <a:pt x="2265" y="547"/>
                      <a:pt x="2265" y="547"/>
                      <a:pt x="2265" y="547"/>
                    </a:cubicBezTo>
                    <a:cubicBezTo>
                      <a:pt x="2270" y="537"/>
                      <a:pt x="2270" y="537"/>
                      <a:pt x="2270" y="537"/>
                    </a:cubicBezTo>
                    <a:cubicBezTo>
                      <a:pt x="2238" y="547"/>
                      <a:pt x="2238" y="547"/>
                      <a:pt x="2238" y="547"/>
                    </a:cubicBezTo>
                    <a:cubicBezTo>
                      <a:pt x="2224" y="539"/>
                      <a:pt x="2224" y="539"/>
                      <a:pt x="2224" y="539"/>
                    </a:cubicBezTo>
                    <a:cubicBezTo>
                      <a:pt x="2249" y="530"/>
                      <a:pt x="2249" y="530"/>
                      <a:pt x="2249" y="530"/>
                    </a:cubicBezTo>
                    <a:cubicBezTo>
                      <a:pt x="2250" y="520"/>
                      <a:pt x="2250" y="520"/>
                      <a:pt x="2250" y="520"/>
                    </a:cubicBezTo>
                    <a:cubicBezTo>
                      <a:pt x="2250" y="520"/>
                      <a:pt x="2286" y="528"/>
                      <a:pt x="2284" y="515"/>
                    </a:cubicBezTo>
                    <a:cubicBezTo>
                      <a:pt x="2282" y="502"/>
                      <a:pt x="2254" y="505"/>
                      <a:pt x="2266" y="488"/>
                    </a:cubicBezTo>
                    <a:cubicBezTo>
                      <a:pt x="2278" y="471"/>
                      <a:pt x="2289" y="446"/>
                      <a:pt x="2273" y="445"/>
                    </a:cubicBezTo>
                    <a:cubicBezTo>
                      <a:pt x="2248" y="435"/>
                      <a:pt x="2248" y="435"/>
                      <a:pt x="2248" y="435"/>
                    </a:cubicBezTo>
                    <a:cubicBezTo>
                      <a:pt x="2229" y="443"/>
                      <a:pt x="2229" y="443"/>
                      <a:pt x="2229" y="443"/>
                    </a:cubicBezTo>
                    <a:cubicBezTo>
                      <a:pt x="2229" y="443"/>
                      <a:pt x="2202" y="445"/>
                      <a:pt x="2201" y="449"/>
                    </a:cubicBezTo>
                    <a:cubicBezTo>
                      <a:pt x="2200" y="453"/>
                      <a:pt x="2208" y="462"/>
                      <a:pt x="2202" y="463"/>
                    </a:cubicBezTo>
                    <a:cubicBezTo>
                      <a:pt x="2196" y="464"/>
                      <a:pt x="2160" y="457"/>
                      <a:pt x="2152" y="466"/>
                    </a:cubicBezTo>
                    <a:cubicBezTo>
                      <a:pt x="2144" y="475"/>
                      <a:pt x="2127" y="484"/>
                      <a:pt x="2136" y="488"/>
                    </a:cubicBezTo>
                    <a:cubicBezTo>
                      <a:pt x="2145" y="492"/>
                      <a:pt x="2156" y="494"/>
                      <a:pt x="2156" y="494"/>
                    </a:cubicBezTo>
                    <a:cubicBezTo>
                      <a:pt x="2156" y="494"/>
                      <a:pt x="2107" y="507"/>
                      <a:pt x="2109" y="520"/>
                    </a:cubicBezTo>
                    <a:cubicBezTo>
                      <a:pt x="2111" y="533"/>
                      <a:pt x="2138" y="543"/>
                      <a:pt x="2138" y="543"/>
                    </a:cubicBezTo>
                    <a:cubicBezTo>
                      <a:pt x="2154" y="536"/>
                      <a:pt x="2154" y="536"/>
                      <a:pt x="2154" y="536"/>
                    </a:cubicBezTo>
                    <a:cubicBezTo>
                      <a:pt x="2154" y="536"/>
                      <a:pt x="2153" y="557"/>
                      <a:pt x="2159" y="554"/>
                    </a:cubicBezTo>
                    <a:cubicBezTo>
                      <a:pt x="2165" y="551"/>
                      <a:pt x="2194" y="546"/>
                      <a:pt x="2183" y="554"/>
                    </a:cubicBezTo>
                    <a:cubicBezTo>
                      <a:pt x="2172" y="562"/>
                      <a:pt x="2163" y="561"/>
                      <a:pt x="2163" y="561"/>
                    </a:cubicBezTo>
                    <a:cubicBezTo>
                      <a:pt x="2150" y="556"/>
                      <a:pt x="2150" y="556"/>
                      <a:pt x="2150" y="556"/>
                    </a:cubicBezTo>
                    <a:cubicBezTo>
                      <a:pt x="2148" y="565"/>
                      <a:pt x="2148" y="565"/>
                      <a:pt x="2148" y="565"/>
                    </a:cubicBezTo>
                    <a:cubicBezTo>
                      <a:pt x="2148" y="565"/>
                      <a:pt x="2112" y="571"/>
                      <a:pt x="2124" y="575"/>
                    </a:cubicBezTo>
                    <a:cubicBezTo>
                      <a:pt x="2136" y="579"/>
                      <a:pt x="2163" y="559"/>
                      <a:pt x="2157" y="572"/>
                    </a:cubicBezTo>
                    <a:cubicBezTo>
                      <a:pt x="2151" y="585"/>
                      <a:pt x="2132" y="594"/>
                      <a:pt x="2119" y="598"/>
                    </a:cubicBezTo>
                    <a:cubicBezTo>
                      <a:pt x="2106" y="602"/>
                      <a:pt x="2086" y="617"/>
                      <a:pt x="2086" y="617"/>
                    </a:cubicBezTo>
                    <a:cubicBezTo>
                      <a:pt x="2086" y="617"/>
                      <a:pt x="2064" y="605"/>
                      <a:pt x="2060" y="612"/>
                    </a:cubicBezTo>
                    <a:cubicBezTo>
                      <a:pt x="2056" y="619"/>
                      <a:pt x="2035" y="625"/>
                      <a:pt x="2036" y="635"/>
                    </a:cubicBezTo>
                    <a:cubicBezTo>
                      <a:pt x="2037" y="645"/>
                      <a:pt x="2030" y="654"/>
                      <a:pt x="2030" y="654"/>
                    </a:cubicBezTo>
                    <a:cubicBezTo>
                      <a:pt x="2026" y="645"/>
                      <a:pt x="2026" y="645"/>
                      <a:pt x="2026" y="645"/>
                    </a:cubicBezTo>
                    <a:cubicBezTo>
                      <a:pt x="2026" y="645"/>
                      <a:pt x="2001" y="644"/>
                      <a:pt x="2003" y="638"/>
                    </a:cubicBezTo>
                    <a:cubicBezTo>
                      <a:pt x="2005" y="632"/>
                      <a:pt x="2047" y="604"/>
                      <a:pt x="2047" y="604"/>
                    </a:cubicBezTo>
                    <a:cubicBezTo>
                      <a:pt x="2022" y="604"/>
                      <a:pt x="2022" y="604"/>
                      <a:pt x="2022" y="604"/>
                    </a:cubicBezTo>
                    <a:cubicBezTo>
                      <a:pt x="2022" y="604"/>
                      <a:pt x="2015" y="590"/>
                      <a:pt x="2008" y="590"/>
                    </a:cubicBezTo>
                    <a:cubicBezTo>
                      <a:pt x="2001" y="590"/>
                      <a:pt x="1985" y="596"/>
                      <a:pt x="1985" y="596"/>
                    </a:cubicBezTo>
                    <a:cubicBezTo>
                      <a:pt x="1985" y="596"/>
                      <a:pt x="1964" y="589"/>
                      <a:pt x="1961" y="597"/>
                    </a:cubicBezTo>
                    <a:cubicBezTo>
                      <a:pt x="1958" y="605"/>
                      <a:pt x="1956" y="612"/>
                      <a:pt x="1960" y="613"/>
                    </a:cubicBezTo>
                    <a:cubicBezTo>
                      <a:pt x="1964" y="614"/>
                      <a:pt x="1993" y="627"/>
                      <a:pt x="1983" y="630"/>
                    </a:cubicBezTo>
                    <a:cubicBezTo>
                      <a:pt x="1973" y="633"/>
                      <a:pt x="1955" y="618"/>
                      <a:pt x="1955" y="618"/>
                    </a:cubicBezTo>
                    <a:cubicBezTo>
                      <a:pt x="1941" y="609"/>
                      <a:pt x="1941" y="609"/>
                      <a:pt x="1941" y="609"/>
                    </a:cubicBezTo>
                    <a:cubicBezTo>
                      <a:pt x="1940" y="629"/>
                      <a:pt x="1940" y="629"/>
                      <a:pt x="1940" y="629"/>
                    </a:cubicBezTo>
                    <a:cubicBezTo>
                      <a:pt x="1940" y="629"/>
                      <a:pt x="1925" y="638"/>
                      <a:pt x="1916" y="636"/>
                    </a:cubicBezTo>
                    <a:cubicBezTo>
                      <a:pt x="1907" y="634"/>
                      <a:pt x="1874" y="625"/>
                      <a:pt x="1863" y="625"/>
                    </a:cubicBezTo>
                    <a:cubicBezTo>
                      <a:pt x="1852" y="625"/>
                      <a:pt x="1830" y="629"/>
                      <a:pt x="1819" y="628"/>
                    </a:cubicBezTo>
                    <a:cubicBezTo>
                      <a:pt x="1808" y="627"/>
                      <a:pt x="1791" y="610"/>
                      <a:pt x="1791" y="610"/>
                    </a:cubicBezTo>
                    <a:cubicBezTo>
                      <a:pt x="1752" y="613"/>
                      <a:pt x="1752" y="613"/>
                      <a:pt x="1752" y="613"/>
                    </a:cubicBezTo>
                    <a:cubicBezTo>
                      <a:pt x="1752" y="613"/>
                      <a:pt x="1737" y="599"/>
                      <a:pt x="1729" y="597"/>
                    </a:cubicBezTo>
                    <a:cubicBezTo>
                      <a:pt x="1721" y="595"/>
                      <a:pt x="1704" y="595"/>
                      <a:pt x="1692" y="601"/>
                    </a:cubicBezTo>
                    <a:cubicBezTo>
                      <a:pt x="1680" y="607"/>
                      <a:pt x="1685" y="609"/>
                      <a:pt x="1672" y="609"/>
                    </a:cubicBezTo>
                    <a:cubicBezTo>
                      <a:pt x="1659" y="609"/>
                      <a:pt x="1631" y="602"/>
                      <a:pt x="1624" y="611"/>
                    </a:cubicBezTo>
                    <a:cubicBezTo>
                      <a:pt x="1617" y="620"/>
                      <a:pt x="1605" y="646"/>
                      <a:pt x="1605" y="646"/>
                    </a:cubicBezTo>
                    <a:cubicBezTo>
                      <a:pt x="1597" y="666"/>
                      <a:pt x="1597" y="666"/>
                      <a:pt x="1597" y="666"/>
                    </a:cubicBezTo>
                    <a:cubicBezTo>
                      <a:pt x="1576" y="668"/>
                      <a:pt x="1576" y="668"/>
                      <a:pt x="1576" y="668"/>
                    </a:cubicBezTo>
                    <a:cubicBezTo>
                      <a:pt x="1571" y="687"/>
                      <a:pt x="1571" y="687"/>
                      <a:pt x="1571" y="687"/>
                    </a:cubicBezTo>
                    <a:cubicBezTo>
                      <a:pt x="1556" y="654"/>
                      <a:pt x="1556" y="654"/>
                      <a:pt x="1556" y="654"/>
                    </a:cubicBezTo>
                    <a:cubicBezTo>
                      <a:pt x="1556" y="654"/>
                      <a:pt x="1598" y="665"/>
                      <a:pt x="1587" y="646"/>
                    </a:cubicBezTo>
                    <a:cubicBezTo>
                      <a:pt x="1576" y="627"/>
                      <a:pt x="1544" y="625"/>
                      <a:pt x="1544" y="625"/>
                    </a:cubicBezTo>
                    <a:cubicBezTo>
                      <a:pt x="1546" y="616"/>
                      <a:pt x="1546" y="616"/>
                      <a:pt x="1546" y="616"/>
                    </a:cubicBezTo>
                    <a:cubicBezTo>
                      <a:pt x="1546" y="616"/>
                      <a:pt x="1477" y="629"/>
                      <a:pt x="1440" y="629"/>
                    </a:cubicBezTo>
                    <a:cubicBezTo>
                      <a:pt x="1403" y="629"/>
                      <a:pt x="1337" y="625"/>
                      <a:pt x="1350" y="619"/>
                    </a:cubicBezTo>
                    <a:cubicBezTo>
                      <a:pt x="1363" y="613"/>
                      <a:pt x="1447" y="616"/>
                      <a:pt x="1427" y="594"/>
                    </a:cubicBezTo>
                    <a:cubicBezTo>
                      <a:pt x="1407" y="572"/>
                      <a:pt x="1388" y="570"/>
                      <a:pt x="1364" y="572"/>
                    </a:cubicBezTo>
                    <a:cubicBezTo>
                      <a:pt x="1340" y="574"/>
                      <a:pt x="1301" y="560"/>
                      <a:pt x="1295" y="557"/>
                    </a:cubicBezTo>
                    <a:cubicBezTo>
                      <a:pt x="1289" y="554"/>
                      <a:pt x="1271" y="554"/>
                      <a:pt x="1271" y="554"/>
                    </a:cubicBezTo>
                    <a:cubicBezTo>
                      <a:pt x="1271" y="554"/>
                      <a:pt x="1223" y="527"/>
                      <a:pt x="1205" y="528"/>
                    </a:cubicBezTo>
                    <a:cubicBezTo>
                      <a:pt x="1187" y="529"/>
                      <a:pt x="1155" y="554"/>
                      <a:pt x="1155" y="554"/>
                    </a:cubicBezTo>
                    <a:cubicBezTo>
                      <a:pt x="1119" y="554"/>
                      <a:pt x="1119" y="554"/>
                      <a:pt x="1119" y="554"/>
                    </a:cubicBezTo>
                    <a:cubicBezTo>
                      <a:pt x="1139" y="542"/>
                      <a:pt x="1139" y="542"/>
                      <a:pt x="1139" y="542"/>
                    </a:cubicBezTo>
                    <a:cubicBezTo>
                      <a:pt x="1139" y="534"/>
                      <a:pt x="1139" y="534"/>
                      <a:pt x="1139" y="534"/>
                    </a:cubicBezTo>
                    <a:cubicBezTo>
                      <a:pt x="1156" y="514"/>
                      <a:pt x="1156" y="514"/>
                      <a:pt x="1156" y="514"/>
                    </a:cubicBezTo>
                    <a:cubicBezTo>
                      <a:pt x="1156" y="514"/>
                      <a:pt x="1117" y="532"/>
                      <a:pt x="1110" y="539"/>
                    </a:cubicBezTo>
                    <a:cubicBezTo>
                      <a:pt x="1103" y="546"/>
                      <a:pt x="1087" y="568"/>
                      <a:pt x="1072" y="553"/>
                    </a:cubicBezTo>
                    <a:cubicBezTo>
                      <a:pt x="1057" y="538"/>
                      <a:pt x="1078" y="522"/>
                      <a:pt x="1075" y="511"/>
                    </a:cubicBezTo>
                    <a:cubicBezTo>
                      <a:pt x="1072" y="500"/>
                      <a:pt x="1049" y="489"/>
                      <a:pt x="1046" y="498"/>
                    </a:cubicBezTo>
                    <a:cubicBezTo>
                      <a:pt x="1043" y="507"/>
                      <a:pt x="1056" y="513"/>
                      <a:pt x="1056" y="513"/>
                    </a:cubicBezTo>
                    <a:cubicBezTo>
                      <a:pt x="1056" y="513"/>
                      <a:pt x="1036" y="511"/>
                      <a:pt x="1025" y="515"/>
                    </a:cubicBezTo>
                    <a:cubicBezTo>
                      <a:pt x="1014" y="519"/>
                      <a:pt x="998" y="530"/>
                      <a:pt x="993" y="534"/>
                    </a:cubicBezTo>
                    <a:cubicBezTo>
                      <a:pt x="988" y="538"/>
                      <a:pt x="970" y="533"/>
                      <a:pt x="970" y="533"/>
                    </a:cubicBezTo>
                    <a:cubicBezTo>
                      <a:pt x="970" y="533"/>
                      <a:pt x="923" y="543"/>
                      <a:pt x="919" y="544"/>
                    </a:cubicBezTo>
                    <a:cubicBezTo>
                      <a:pt x="915" y="545"/>
                      <a:pt x="890" y="560"/>
                      <a:pt x="890" y="560"/>
                    </a:cubicBezTo>
                    <a:cubicBezTo>
                      <a:pt x="876" y="547"/>
                      <a:pt x="876" y="547"/>
                      <a:pt x="876" y="547"/>
                    </a:cubicBezTo>
                    <a:cubicBezTo>
                      <a:pt x="876" y="547"/>
                      <a:pt x="843" y="564"/>
                      <a:pt x="833" y="565"/>
                    </a:cubicBezTo>
                    <a:cubicBezTo>
                      <a:pt x="823" y="566"/>
                      <a:pt x="805" y="578"/>
                      <a:pt x="805" y="578"/>
                    </a:cubicBezTo>
                    <a:cubicBezTo>
                      <a:pt x="783" y="580"/>
                      <a:pt x="783" y="580"/>
                      <a:pt x="783" y="580"/>
                    </a:cubicBezTo>
                    <a:cubicBezTo>
                      <a:pt x="783" y="580"/>
                      <a:pt x="800" y="562"/>
                      <a:pt x="815" y="559"/>
                    </a:cubicBezTo>
                    <a:cubicBezTo>
                      <a:pt x="830" y="556"/>
                      <a:pt x="864" y="543"/>
                      <a:pt x="864" y="543"/>
                    </a:cubicBezTo>
                    <a:cubicBezTo>
                      <a:pt x="864" y="543"/>
                      <a:pt x="895" y="546"/>
                      <a:pt x="906" y="541"/>
                    </a:cubicBezTo>
                    <a:cubicBezTo>
                      <a:pt x="917" y="536"/>
                      <a:pt x="978" y="522"/>
                      <a:pt x="978" y="522"/>
                    </a:cubicBezTo>
                    <a:cubicBezTo>
                      <a:pt x="978" y="522"/>
                      <a:pt x="990" y="519"/>
                      <a:pt x="983" y="514"/>
                    </a:cubicBezTo>
                    <a:cubicBezTo>
                      <a:pt x="976" y="509"/>
                      <a:pt x="955" y="516"/>
                      <a:pt x="955" y="516"/>
                    </a:cubicBezTo>
                    <a:cubicBezTo>
                      <a:pt x="955" y="516"/>
                      <a:pt x="937" y="515"/>
                      <a:pt x="930" y="517"/>
                    </a:cubicBezTo>
                    <a:cubicBezTo>
                      <a:pt x="923" y="519"/>
                      <a:pt x="916" y="527"/>
                      <a:pt x="911" y="528"/>
                    </a:cubicBezTo>
                    <a:cubicBezTo>
                      <a:pt x="906" y="529"/>
                      <a:pt x="887" y="529"/>
                      <a:pt x="887" y="529"/>
                    </a:cubicBezTo>
                    <a:cubicBezTo>
                      <a:pt x="872" y="532"/>
                      <a:pt x="872" y="532"/>
                      <a:pt x="872" y="532"/>
                    </a:cubicBezTo>
                    <a:cubicBezTo>
                      <a:pt x="872" y="532"/>
                      <a:pt x="855" y="532"/>
                      <a:pt x="843" y="535"/>
                    </a:cubicBezTo>
                    <a:cubicBezTo>
                      <a:pt x="831" y="538"/>
                      <a:pt x="820" y="550"/>
                      <a:pt x="820" y="550"/>
                    </a:cubicBezTo>
                    <a:cubicBezTo>
                      <a:pt x="806" y="552"/>
                      <a:pt x="806" y="552"/>
                      <a:pt x="806" y="552"/>
                    </a:cubicBezTo>
                    <a:cubicBezTo>
                      <a:pt x="771" y="565"/>
                      <a:pt x="771" y="565"/>
                      <a:pt x="771" y="565"/>
                    </a:cubicBezTo>
                    <a:cubicBezTo>
                      <a:pt x="771" y="565"/>
                      <a:pt x="756" y="568"/>
                      <a:pt x="753" y="571"/>
                    </a:cubicBezTo>
                    <a:cubicBezTo>
                      <a:pt x="750" y="574"/>
                      <a:pt x="748" y="590"/>
                      <a:pt x="741" y="586"/>
                    </a:cubicBezTo>
                    <a:cubicBezTo>
                      <a:pt x="734" y="582"/>
                      <a:pt x="733" y="567"/>
                      <a:pt x="744" y="565"/>
                    </a:cubicBezTo>
                    <a:cubicBezTo>
                      <a:pt x="755" y="563"/>
                      <a:pt x="784" y="553"/>
                      <a:pt x="793" y="547"/>
                    </a:cubicBezTo>
                    <a:cubicBezTo>
                      <a:pt x="802" y="541"/>
                      <a:pt x="760" y="535"/>
                      <a:pt x="753" y="544"/>
                    </a:cubicBezTo>
                    <a:cubicBezTo>
                      <a:pt x="746" y="553"/>
                      <a:pt x="719" y="558"/>
                      <a:pt x="712" y="558"/>
                    </a:cubicBezTo>
                    <a:cubicBezTo>
                      <a:pt x="705" y="558"/>
                      <a:pt x="705" y="585"/>
                      <a:pt x="705" y="585"/>
                    </a:cubicBezTo>
                    <a:cubicBezTo>
                      <a:pt x="689" y="576"/>
                      <a:pt x="689" y="576"/>
                      <a:pt x="689" y="576"/>
                    </a:cubicBezTo>
                    <a:cubicBezTo>
                      <a:pt x="647" y="570"/>
                      <a:pt x="647" y="570"/>
                      <a:pt x="647" y="570"/>
                    </a:cubicBezTo>
                    <a:cubicBezTo>
                      <a:pt x="647" y="570"/>
                      <a:pt x="621" y="558"/>
                      <a:pt x="623" y="553"/>
                    </a:cubicBezTo>
                    <a:cubicBezTo>
                      <a:pt x="625" y="548"/>
                      <a:pt x="629" y="539"/>
                      <a:pt x="629" y="539"/>
                    </a:cubicBezTo>
                    <a:cubicBezTo>
                      <a:pt x="555" y="540"/>
                      <a:pt x="555" y="540"/>
                      <a:pt x="555" y="540"/>
                    </a:cubicBezTo>
                    <a:cubicBezTo>
                      <a:pt x="567" y="540"/>
                      <a:pt x="567" y="540"/>
                      <a:pt x="567" y="540"/>
                    </a:cubicBezTo>
                    <a:cubicBezTo>
                      <a:pt x="52" y="964"/>
                      <a:pt x="52" y="964"/>
                      <a:pt x="52" y="964"/>
                    </a:cubicBezTo>
                    <a:cubicBezTo>
                      <a:pt x="52" y="964"/>
                      <a:pt x="26" y="978"/>
                      <a:pt x="32" y="984"/>
                    </a:cubicBezTo>
                    <a:cubicBezTo>
                      <a:pt x="38" y="990"/>
                      <a:pt x="67" y="984"/>
                      <a:pt x="67" y="984"/>
                    </a:cubicBezTo>
                    <a:cubicBezTo>
                      <a:pt x="70" y="984"/>
                      <a:pt x="79" y="979"/>
                      <a:pt x="79" y="979"/>
                    </a:cubicBezTo>
                    <a:cubicBezTo>
                      <a:pt x="103" y="979"/>
                      <a:pt x="103" y="979"/>
                      <a:pt x="103" y="979"/>
                    </a:cubicBezTo>
                    <a:cubicBezTo>
                      <a:pt x="88" y="994"/>
                      <a:pt x="88" y="994"/>
                      <a:pt x="88" y="994"/>
                    </a:cubicBezTo>
                    <a:cubicBezTo>
                      <a:pt x="88" y="994"/>
                      <a:pt x="88" y="1003"/>
                      <a:pt x="88" y="1013"/>
                    </a:cubicBezTo>
                    <a:cubicBezTo>
                      <a:pt x="88" y="1024"/>
                      <a:pt x="107" y="1032"/>
                      <a:pt x="107" y="1032"/>
                    </a:cubicBezTo>
                    <a:cubicBezTo>
                      <a:pt x="107" y="1032"/>
                      <a:pt x="88" y="1051"/>
                      <a:pt x="93" y="1051"/>
                    </a:cubicBezTo>
                    <a:cubicBezTo>
                      <a:pt x="99" y="1051"/>
                      <a:pt x="115" y="1038"/>
                      <a:pt x="115" y="1038"/>
                    </a:cubicBezTo>
                    <a:cubicBezTo>
                      <a:pt x="115" y="1038"/>
                      <a:pt x="136" y="1031"/>
                      <a:pt x="143" y="1031"/>
                    </a:cubicBezTo>
                    <a:cubicBezTo>
                      <a:pt x="151" y="1031"/>
                      <a:pt x="157" y="1021"/>
                      <a:pt x="157" y="1021"/>
                    </a:cubicBezTo>
                    <a:cubicBezTo>
                      <a:pt x="169" y="1021"/>
                      <a:pt x="169" y="1021"/>
                      <a:pt x="169" y="1021"/>
                    </a:cubicBezTo>
                    <a:cubicBezTo>
                      <a:pt x="171" y="1013"/>
                      <a:pt x="171" y="1013"/>
                      <a:pt x="171" y="1013"/>
                    </a:cubicBezTo>
                    <a:cubicBezTo>
                      <a:pt x="171" y="1013"/>
                      <a:pt x="199" y="1003"/>
                      <a:pt x="217" y="1008"/>
                    </a:cubicBezTo>
                    <a:cubicBezTo>
                      <a:pt x="236" y="1014"/>
                      <a:pt x="209" y="1024"/>
                      <a:pt x="209" y="1024"/>
                    </a:cubicBezTo>
                    <a:cubicBezTo>
                      <a:pt x="209" y="1041"/>
                      <a:pt x="209" y="1041"/>
                      <a:pt x="209" y="1041"/>
                    </a:cubicBezTo>
                    <a:cubicBezTo>
                      <a:pt x="203" y="1052"/>
                      <a:pt x="203" y="1052"/>
                      <a:pt x="203" y="1052"/>
                    </a:cubicBezTo>
                    <a:cubicBezTo>
                      <a:pt x="203" y="1052"/>
                      <a:pt x="210" y="1054"/>
                      <a:pt x="216" y="1072"/>
                    </a:cubicBezTo>
                    <a:cubicBezTo>
                      <a:pt x="223" y="1089"/>
                      <a:pt x="206" y="1108"/>
                      <a:pt x="206" y="1108"/>
                    </a:cubicBezTo>
                    <a:cubicBezTo>
                      <a:pt x="206" y="1132"/>
                      <a:pt x="206" y="1132"/>
                      <a:pt x="206" y="1132"/>
                    </a:cubicBezTo>
                    <a:cubicBezTo>
                      <a:pt x="206" y="1132"/>
                      <a:pt x="200" y="1149"/>
                      <a:pt x="195" y="1162"/>
                    </a:cubicBezTo>
                    <a:cubicBezTo>
                      <a:pt x="190" y="1175"/>
                      <a:pt x="218" y="1176"/>
                      <a:pt x="218" y="1180"/>
                    </a:cubicBezTo>
                    <a:cubicBezTo>
                      <a:pt x="218" y="1185"/>
                      <a:pt x="225" y="1187"/>
                      <a:pt x="225" y="1187"/>
                    </a:cubicBezTo>
                    <a:cubicBezTo>
                      <a:pt x="225" y="1187"/>
                      <a:pt x="235" y="1186"/>
                      <a:pt x="235" y="1194"/>
                    </a:cubicBezTo>
                    <a:cubicBezTo>
                      <a:pt x="235" y="1202"/>
                      <a:pt x="208" y="1213"/>
                      <a:pt x="208" y="1213"/>
                    </a:cubicBezTo>
                    <a:cubicBezTo>
                      <a:pt x="208" y="1213"/>
                      <a:pt x="208" y="1229"/>
                      <a:pt x="198" y="1239"/>
                    </a:cubicBezTo>
                    <a:cubicBezTo>
                      <a:pt x="194" y="1243"/>
                      <a:pt x="173" y="1254"/>
                      <a:pt x="152" y="1264"/>
                    </a:cubicBezTo>
                    <a:cubicBezTo>
                      <a:pt x="150" y="1269"/>
                      <a:pt x="149" y="1274"/>
                      <a:pt x="148" y="1278"/>
                    </a:cubicBezTo>
                    <a:cubicBezTo>
                      <a:pt x="147" y="1285"/>
                      <a:pt x="142" y="1299"/>
                      <a:pt x="142" y="1299"/>
                    </a:cubicBezTo>
                    <a:cubicBezTo>
                      <a:pt x="133" y="1305"/>
                      <a:pt x="133" y="1305"/>
                      <a:pt x="133" y="1305"/>
                    </a:cubicBezTo>
                    <a:cubicBezTo>
                      <a:pt x="133" y="1305"/>
                      <a:pt x="142" y="1309"/>
                      <a:pt x="143" y="1316"/>
                    </a:cubicBezTo>
                    <a:cubicBezTo>
                      <a:pt x="144" y="1323"/>
                      <a:pt x="151" y="1326"/>
                      <a:pt x="151" y="1326"/>
                    </a:cubicBezTo>
                    <a:cubicBezTo>
                      <a:pt x="151" y="1326"/>
                      <a:pt x="201" y="1287"/>
                      <a:pt x="201" y="1296"/>
                    </a:cubicBezTo>
                    <a:cubicBezTo>
                      <a:pt x="201" y="1305"/>
                      <a:pt x="185" y="1306"/>
                      <a:pt x="183" y="1311"/>
                    </a:cubicBezTo>
                    <a:cubicBezTo>
                      <a:pt x="181" y="1316"/>
                      <a:pt x="185" y="1326"/>
                      <a:pt x="185" y="1326"/>
                    </a:cubicBezTo>
                    <a:cubicBezTo>
                      <a:pt x="194" y="1333"/>
                      <a:pt x="194" y="1333"/>
                      <a:pt x="194" y="1333"/>
                    </a:cubicBezTo>
                    <a:cubicBezTo>
                      <a:pt x="165" y="1332"/>
                      <a:pt x="165" y="1332"/>
                      <a:pt x="165" y="1332"/>
                    </a:cubicBezTo>
                    <a:cubicBezTo>
                      <a:pt x="165" y="1332"/>
                      <a:pt x="143" y="1359"/>
                      <a:pt x="153" y="1360"/>
                    </a:cubicBezTo>
                    <a:cubicBezTo>
                      <a:pt x="163" y="1361"/>
                      <a:pt x="169" y="1367"/>
                      <a:pt x="169" y="1367"/>
                    </a:cubicBezTo>
                    <a:cubicBezTo>
                      <a:pt x="169" y="1367"/>
                      <a:pt x="157" y="1388"/>
                      <a:pt x="164" y="1385"/>
                    </a:cubicBezTo>
                    <a:cubicBezTo>
                      <a:pt x="171" y="1382"/>
                      <a:pt x="212" y="1354"/>
                      <a:pt x="212" y="1354"/>
                    </a:cubicBezTo>
                    <a:cubicBezTo>
                      <a:pt x="211" y="1363"/>
                      <a:pt x="211" y="1363"/>
                      <a:pt x="211" y="1363"/>
                    </a:cubicBezTo>
                    <a:cubicBezTo>
                      <a:pt x="192" y="1374"/>
                      <a:pt x="192" y="1374"/>
                      <a:pt x="192" y="1374"/>
                    </a:cubicBezTo>
                    <a:cubicBezTo>
                      <a:pt x="207" y="1380"/>
                      <a:pt x="207" y="1380"/>
                      <a:pt x="207" y="1380"/>
                    </a:cubicBezTo>
                    <a:cubicBezTo>
                      <a:pt x="207" y="1380"/>
                      <a:pt x="202" y="1400"/>
                      <a:pt x="194" y="1398"/>
                    </a:cubicBezTo>
                    <a:cubicBezTo>
                      <a:pt x="186" y="1396"/>
                      <a:pt x="184" y="1387"/>
                      <a:pt x="184" y="1387"/>
                    </a:cubicBezTo>
                    <a:cubicBezTo>
                      <a:pt x="184" y="1387"/>
                      <a:pt x="151" y="1397"/>
                      <a:pt x="145" y="1403"/>
                    </a:cubicBezTo>
                    <a:cubicBezTo>
                      <a:pt x="139" y="1409"/>
                      <a:pt x="133" y="1417"/>
                      <a:pt x="133" y="1417"/>
                    </a:cubicBezTo>
                    <a:cubicBezTo>
                      <a:pt x="133" y="1417"/>
                      <a:pt x="151" y="1412"/>
                      <a:pt x="156" y="1412"/>
                    </a:cubicBezTo>
                    <a:cubicBezTo>
                      <a:pt x="161" y="1412"/>
                      <a:pt x="182" y="1412"/>
                      <a:pt x="182" y="1412"/>
                    </a:cubicBezTo>
                    <a:cubicBezTo>
                      <a:pt x="182" y="1412"/>
                      <a:pt x="146" y="1421"/>
                      <a:pt x="140" y="1424"/>
                    </a:cubicBezTo>
                    <a:cubicBezTo>
                      <a:pt x="134" y="1427"/>
                      <a:pt x="138" y="1435"/>
                      <a:pt x="138" y="1435"/>
                    </a:cubicBezTo>
                    <a:cubicBezTo>
                      <a:pt x="138" y="1435"/>
                      <a:pt x="105" y="1423"/>
                      <a:pt x="114" y="1437"/>
                    </a:cubicBezTo>
                    <a:cubicBezTo>
                      <a:pt x="123" y="1451"/>
                      <a:pt x="132" y="1455"/>
                      <a:pt x="132" y="1455"/>
                    </a:cubicBezTo>
                    <a:cubicBezTo>
                      <a:pt x="164" y="1444"/>
                      <a:pt x="164" y="1444"/>
                      <a:pt x="164" y="1444"/>
                    </a:cubicBezTo>
                    <a:cubicBezTo>
                      <a:pt x="173" y="1459"/>
                      <a:pt x="173" y="1459"/>
                      <a:pt x="173" y="1459"/>
                    </a:cubicBezTo>
                    <a:cubicBezTo>
                      <a:pt x="198" y="1445"/>
                      <a:pt x="198" y="1445"/>
                      <a:pt x="198" y="1445"/>
                    </a:cubicBezTo>
                    <a:cubicBezTo>
                      <a:pt x="198" y="1445"/>
                      <a:pt x="165" y="1479"/>
                      <a:pt x="176" y="1478"/>
                    </a:cubicBezTo>
                    <a:cubicBezTo>
                      <a:pt x="187" y="1477"/>
                      <a:pt x="217" y="1454"/>
                      <a:pt x="217" y="1454"/>
                    </a:cubicBezTo>
                    <a:cubicBezTo>
                      <a:pt x="217" y="1454"/>
                      <a:pt x="190" y="1484"/>
                      <a:pt x="194" y="1484"/>
                    </a:cubicBezTo>
                    <a:cubicBezTo>
                      <a:pt x="198" y="1484"/>
                      <a:pt x="216" y="1479"/>
                      <a:pt x="216" y="1479"/>
                    </a:cubicBezTo>
                    <a:cubicBezTo>
                      <a:pt x="216" y="1479"/>
                      <a:pt x="178" y="1508"/>
                      <a:pt x="190" y="1509"/>
                    </a:cubicBezTo>
                    <a:cubicBezTo>
                      <a:pt x="202" y="1510"/>
                      <a:pt x="229" y="1490"/>
                      <a:pt x="229" y="1490"/>
                    </a:cubicBezTo>
                    <a:cubicBezTo>
                      <a:pt x="229" y="1490"/>
                      <a:pt x="203" y="1518"/>
                      <a:pt x="210" y="1520"/>
                    </a:cubicBezTo>
                    <a:cubicBezTo>
                      <a:pt x="217" y="1522"/>
                      <a:pt x="233" y="1526"/>
                      <a:pt x="233" y="1529"/>
                    </a:cubicBezTo>
                    <a:cubicBezTo>
                      <a:pt x="233" y="1531"/>
                      <a:pt x="231" y="1548"/>
                      <a:pt x="228" y="1561"/>
                    </a:cubicBezTo>
                    <a:cubicBezTo>
                      <a:pt x="228" y="1561"/>
                      <a:pt x="228" y="1561"/>
                      <a:pt x="228" y="1561"/>
                    </a:cubicBezTo>
                    <a:cubicBezTo>
                      <a:pt x="1370" y="1561"/>
                      <a:pt x="1370" y="1561"/>
                      <a:pt x="1370" y="1561"/>
                    </a:cubicBezTo>
                    <a:cubicBezTo>
                      <a:pt x="1370" y="1561"/>
                      <a:pt x="1384" y="1526"/>
                      <a:pt x="1394" y="1537"/>
                    </a:cubicBezTo>
                    <a:cubicBezTo>
                      <a:pt x="1404" y="1547"/>
                      <a:pt x="1379" y="1557"/>
                      <a:pt x="1388" y="1566"/>
                    </a:cubicBezTo>
                    <a:cubicBezTo>
                      <a:pt x="1396" y="1574"/>
                      <a:pt x="1415" y="1575"/>
                      <a:pt x="1415" y="1575"/>
                    </a:cubicBezTo>
                    <a:cubicBezTo>
                      <a:pt x="1415" y="1575"/>
                      <a:pt x="1422" y="1585"/>
                      <a:pt x="1430" y="1585"/>
                    </a:cubicBezTo>
                    <a:cubicBezTo>
                      <a:pt x="1438" y="1585"/>
                      <a:pt x="1436" y="1573"/>
                      <a:pt x="1449" y="1573"/>
                    </a:cubicBezTo>
                    <a:cubicBezTo>
                      <a:pt x="1462" y="1573"/>
                      <a:pt x="1465" y="1593"/>
                      <a:pt x="1471" y="1593"/>
                    </a:cubicBezTo>
                    <a:cubicBezTo>
                      <a:pt x="1477" y="1593"/>
                      <a:pt x="1484" y="1596"/>
                      <a:pt x="1487" y="1593"/>
                    </a:cubicBezTo>
                    <a:cubicBezTo>
                      <a:pt x="1490" y="1590"/>
                      <a:pt x="1503" y="1614"/>
                      <a:pt x="1509" y="1608"/>
                    </a:cubicBezTo>
                    <a:cubicBezTo>
                      <a:pt x="1515" y="1602"/>
                      <a:pt x="1531" y="1591"/>
                      <a:pt x="1531" y="1591"/>
                    </a:cubicBezTo>
                    <a:cubicBezTo>
                      <a:pt x="1531" y="1601"/>
                      <a:pt x="1531" y="1601"/>
                      <a:pt x="1531" y="1601"/>
                    </a:cubicBezTo>
                    <a:cubicBezTo>
                      <a:pt x="1561" y="1600"/>
                      <a:pt x="1561" y="1600"/>
                      <a:pt x="1561" y="1600"/>
                    </a:cubicBezTo>
                    <a:cubicBezTo>
                      <a:pt x="1561" y="1600"/>
                      <a:pt x="1558" y="1606"/>
                      <a:pt x="1586" y="1606"/>
                    </a:cubicBezTo>
                    <a:cubicBezTo>
                      <a:pt x="1598" y="1598"/>
                      <a:pt x="1605" y="1585"/>
                      <a:pt x="1606" y="1582"/>
                    </a:cubicBezTo>
                    <a:cubicBezTo>
                      <a:pt x="1607" y="1578"/>
                      <a:pt x="1626" y="1586"/>
                      <a:pt x="1626" y="1586"/>
                    </a:cubicBezTo>
                    <a:cubicBezTo>
                      <a:pt x="1634" y="1580"/>
                      <a:pt x="1634" y="1580"/>
                      <a:pt x="1634" y="1580"/>
                    </a:cubicBezTo>
                    <a:cubicBezTo>
                      <a:pt x="1634" y="1580"/>
                      <a:pt x="1641" y="1568"/>
                      <a:pt x="1642" y="1565"/>
                    </a:cubicBezTo>
                    <a:cubicBezTo>
                      <a:pt x="1643" y="1562"/>
                      <a:pt x="1651" y="1575"/>
                      <a:pt x="1651" y="1575"/>
                    </a:cubicBezTo>
                    <a:cubicBezTo>
                      <a:pt x="1668" y="1572"/>
                      <a:pt x="1668" y="1572"/>
                      <a:pt x="1668" y="1572"/>
                    </a:cubicBezTo>
                    <a:cubicBezTo>
                      <a:pt x="1668" y="1572"/>
                      <a:pt x="1659" y="1562"/>
                      <a:pt x="1668" y="1555"/>
                    </a:cubicBezTo>
                    <a:cubicBezTo>
                      <a:pt x="1677" y="1548"/>
                      <a:pt x="1686" y="1563"/>
                      <a:pt x="1686" y="1563"/>
                    </a:cubicBezTo>
                    <a:cubicBezTo>
                      <a:pt x="1704" y="1563"/>
                      <a:pt x="1704" y="1563"/>
                      <a:pt x="1704" y="1563"/>
                    </a:cubicBezTo>
                    <a:cubicBezTo>
                      <a:pt x="1708" y="1567"/>
                      <a:pt x="1708" y="1567"/>
                      <a:pt x="1708" y="1567"/>
                    </a:cubicBezTo>
                    <a:cubicBezTo>
                      <a:pt x="1708" y="1567"/>
                      <a:pt x="1728" y="1568"/>
                      <a:pt x="1733" y="1573"/>
                    </a:cubicBezTo>
                    <a:cubicBezTo>
                      <a:pt x="1738" y="1578"/>
                      <a:pt x="1727" y="1604"/>
                      <a:pt x="1727" y="1604"/>
                    </a:cubicBezTo>
                    <a:cubicBezTo>
                      <a:pt x="1733" y="1611"/>
                      <a:pt x="1733" y="1611"/>
                      <a:pt x="1733" y="1611"/>
                    </a:cubicBezTo>
                    <a:cubicBezTo>
                      <a:pt x="1727" y="1626"/>
                      <a:pt x="1727" y="1626"/>
                      <a:pt x="1727" y="1626"/>
                    </a:cubicBezTo>
                    <a:cubicBezTo>
                      <a:pt x="1727" y="1626"/>
                      <a:pt x="1766" y="1603"/>
                      <a:pt x="1777" y="1610"/>
                    </a:cubicBezTo>
                    <a:cubicBezTo>
                      <a:pt x="1788" y="1617"/>
                      <a:pt x="1760" y="1627"/>
                      <a:pt x="1759" y="1631"/>
                    </a:cubicBezTo>
                    <a:cubicBezTo>
                      <a:pt x="1758" y="1635"/>
                      <a:pt x="1773" y="1638"/>
                      <a:pt x="1773" y="1643"/>
                    </a:cubicBezTo>
                    <a:cubicBezTo>
                      <a:pt x="1773" y="1648"/>
                      <a:pt x="1757" y="1654"/>
                      <a:pt x="1757" y="1659"/>
                    </a:cubicBezTo>
                    <a:cubicBezTo>
                      <a:pt x="1757" y="1664"/>
                      <a:pt x="1770" y="1664"/>
                      <a:pt x="1767" y="1671"/>
                    </a:cubicBezTo>
                    <a:cubicBezTo>
                      <a:pt x="1764" y="1678"/>
                      <a:pt x="1758" y="1679"/>
                      <a:pt x="1758" y="1679"/>
                    </a:cubicBezTo>
                    <a:cubicBezTo>
                      <a:pt x="1756" y="1685"/>
                      <a:pt x="1756" y="1685"/>
                      <a:pt x="1756" y="1685"/>
                    </a:cubicBezTo>
                    <a:cubicBezTo>
                      <a:pt x="1769" y="1685"/>
                      <a:pt x="1769" y="1685"/>
                      <a:pt x="1769" y="1685"/>
                    </a:cubicBezTo>
                    <a:cubicBezTo>
                      <a:pt x="1765" y="1700"/>
                      <a:pt x="1765" y="1700"/>
                      <a:pt x="1765" y="1700"/>
                    </a:cubicBezTo>
                    <a:cubicBezTo>
                      <a:pt x="1771" y="1700"/>
                      <a:pt x="1778" y="1701"/>
                      <a:pt x="1781" y="1701"/>
                    </a:cubicBezTo>
                    <a:cubicBezTo>
                      <a:pt x="1786" y="1700"/>
                      <a:pt x="1794" y="1703"/>
                      <a:pt x="1806" y="1704"/>
                    </a:cubicBezTo>
                    <a:cubicBezTo>
                      <a:pt x="1818" y="1705"/>
                      <a:pt x="1825" y="1703"/>
                      <a:pt x="1825" y="1703"/>
                    </a:cubicBezTo>
                    <a:cubicBezTo>
                      <a:pt x="1837" y="1703"/>
                      <a:pt x="1852" y="1715"/>
                      <a:pt x="1863" y="1715"/>
                    </a:cubicBezTo>
                    <a:cubicBezTo>
                      <a:pt x="1874" y="1715"/>
                      <a:pt x="1884" y="1715"/>
                      <a:pt x="1884" y="1715"/>
                    </a:cubicBezTo>
                    <a:cubicBezTo>
                      <a:pt x="1906" y="1715"/>
                      <a:pt x="1904" y="1729"/>
                      <a:pt x="1904" y="1738"/>
                    </a:cubicBezTo>
                    <a:cubicBezTo>
                      <a:pt x="1904" y="1747"/>
                      <a:pt x="1914" y="1736"/>
                      <a:pt x="1914" y="1746"/>
                    </a:cubicBezTo>
                    <a:cubicBezTo>
                      <a:pt x="1914" y="1756"/>
                      <a:pt x="1910" y="1759"/>
                      <a:pt x="1905" y="1764"/>
                    </a:cubicBezTo>
                    <a:cubicBezTo>
                      <a:pt x="1900" y="1769"/>
                      <a:pt x="1918" y="1777"/>
                      <a:pt x="1918" y="1777"/>
                    </a:cubicBezTo>
                    <a:cubicBezTo>
                      <a:pt x="1903" y="1776"/>
                      <a:pt x="1903" y="1776"/>
                      <a:pt x="1903" y="1776"/>
                    </a:cubicBezTo>
                    <a:cubicBezTo>
                      <a:pt x="1903" y="1776"/>
                      <a:pt x="1903" y="1785"/>
                      <a:pt x="1896" y="1793"/>
                    </a:cubicBezTo>
                    <a:cubicBezTo>
                      <a:pt x="1888" y="1800"/>
                      <a:pt x="1887" y="1793"/>
                      <a:pt x="1868" y="1783"/>
                    </a:cubicBezTo>
                    <a:cubicBezTo>
                      <a:pt x="1849" y="1773"/>
                      <a:pt x="1855" y="1754"/>
                      <a:pt x="1855" y="1754"/>
                    </a:cubicBezTo>
                    <a:cubicBezTo>
                      <a:pt x="1844" y="1749"/>
                      <a:pt x="1844" y="1749"/>
                      <a:pt x="1844" y="1749"/>
                    </a:cubicBezTo>
                    <a:cubicBezTo>
                      <a:pt x="1846" y="1761"/>
                      <a:pt x="1846" y="1761"/>
                      <a:pt x="1846" y="1761"/>
                    </a:cubicBezTo>
                    <a:cubicBezTo>
                      <a:pt x="1846" y="1761"/>
                      <a:pt x="1854" y="1774"/>
                      <a:pt x="1846" y="1788"/>
                    </a:cubicBezTo>
                    <a:cubicBezTo>
                      <a:pt x="1838" y="1802"/>
                      <a:pt x="1820" y="1806"/>
                      <a:pt x="1812" y="1819"/>
                    </a:cubicBezTo>
                    <a:cubicBezTo>
                      <a:pt x="1804" y="1832"/>
                      <a:pt x="1801" y="1844"/>
                      <a:pt x="1793" y="1853"/>
                    </a:cubicBezTo>
                    <a:cubicBezTo>
                      <a:pt x="1785" y="1861"/>
                      <a:pt x="1769" y="1868"/>
                      <a:pt x="1762" y="1864"/>
                    </a:cubicBezTo>
                    <a:cubicBezTo>
                      <a:pt x="1758" y="1869"/>
                      <a:pt x="1755" y="1873"/>
                      <a:pt x="1755" y="1873"/>
                    </a:cubicBezTo>
                    <a:cubicBezTo>
                      <a:pt x="1755" y="1873"/>
                      <a:pt x="1757" y="1894"/>
                      <a:pt x="1749" y="1894"/>
                    </a:cubicBezTo>
                    <a:cubicBezTo>
                      <a:pt x="1741" y="1894"/>
                      <a:pt x="1696" y="1916"/>
                      <a:pt x="1706" y="1926"/>
                    </a:cubicBezTo>
                    <a:cubicBezTo>
                      <a:pt x="1707" y="1926"/>
                      <a:pt x="1707" y="1927"/>
                      <a:pt x="1708" y="1928"/>
                    </a:cubicBezTo>
                    <a:cubicBezTo>
                      <a:pt x="1716" y="1924"/>
                      <a:pt x="1723" y="1921"/>
                      <a:pt x="1724" y="1921"/>
                    </a:cubicBezTo>
                    <a:cubicBezTo>
                      <a:pt x="1727" y="1921"/>
                      <a:pt x="1731" y="1926"/>
                      <a:pt x="1731" y="1926"/>
                    </a:cubicBezTo>
                    <a:cubicBezTo>
                      <a:pt x="1731" y="1926"/>
                      <a:pt x="1746" y="1912"/>
                      <a:pt x="1754" y="1910"/>
                    </a:cubicBezTo>
                    <a:cubicBezTo>
                      <a:pt x="1762" y="1908"/>
                      <a:pt x="1770" y="1911"/>
                      <a:pt x="1770" y="1911"/>
                    </a:cubicBezTo>
                    <a:cubicBezTo>
                      <a:pt x="1770" y="1911"/>
                      <a:pt x="1775" y="1890"/>
                      <a:pt x="1800" y="1889"/>
                    </a:cubicBezTo>
                    <a:cubicBezTo>
                      <a:pt x="1825" y="1888"/>
                      <a:pt x="1842" y="1895"/>
                      <a:pt x="1842" y="1895"/>
                    </a:cubicBezTo>
                    <a:cubicBezTo>
                      <a:pt x="1858" y="1881"/>
                      <a:pt x="1858" y="1881"/>
                      <a:pt x="1858" y="1881"/>
                    </a:cubicBezTo>
                    <a:cubicBezTo>
                      <a:pt x="1900" y="1883"/>
                      <a:pt x="1900" y="1883"/>
                      <a:pt x="1900" y="1883"/>
                    </a:cubicBezTo>
                    <a:cubicBezTo>
                      <a:pt x="1903" y="1880"/>
                      <a:pt x="1905" y="1878"/>
                      <a:pt x="1906" y="1876"/>
                    </a:cubicBezTo>
                    <a:cubicBezTo>
                      <a:pt x="1908" y="1870"/>
                      <a:pt x="1908" y="1866"/>
                      <a:pt x="1907" y="1862"/>
                    </a:cubicBezTo>
                    <a:cubicBezTo>
                      <a:pt x="1889" y="1866"/>
                      <a:pt x="1883" y="1865"/>
                      <a:pt x="1882" y="1858"/>
                    </a:cubicBezTo>
                    <a:cubicBezTo>
                      <a:pt x="1881" y="1848"/>
                      <a:pt x="1915" y="1826"/>
                      <a:pt x="1928" y="1826"/>
                    </a:cubicBezTo>
                    <a:cubicBezTo>
                      <a:pt x="1941" y="1826"/>
                      <a:pt x="1960" y="1821"/>
                      <a:pt x="1964" y="1821"/>
                    </a:cubicBezTo>
                    <a:cubicBezTo>
                      <a:pt x="1968" y="1821"/>
                      <a:pt x="1985" y="1815"/>
                      <a:pt x="1985" y="1815"/>
                    </a:cubicBezTo>
                    <a:cubicBezTo>
                      <a:pt x="1985" y="1815"/>
                      <a:pt x="2012" y="1825"/>
                      <a:pt x="2016" y="1825"/>
                    </a:cubicBezTo>
                    <a:cubicBezTo>
                      <a:pt x="2020" y="1825"/>
                      <a:pt x="2020" y="1809"/>
                      <a:pt x="2020" y="1809"/>
                    </a:cubicBezTo>
                    <a:cubicBezTo>
                      <a:pt x="2020" y="1809"/>
                      <a:pt x="2027" y="1800"/>
                      <a:pt x="2037" y="1803"/>
                    </a:cubicBezTo>
                    <a:cubicBezTo>
                      <a:pt x="2040" y="1804"/>
                      <a:pt x="2042" y="1805"/>
                      <a:pt x="2043" y="1806"/>
                    </a:cubicBezTo>
                    <a:cubicBezTo>
                      <a:pt x="2045" y="1805"/>
                      <a:pt x="2047" y="1804"/>
                      <a:pt x="2048" y="1804"/>
                    </a:cubicBezTo>
                    <a:cubicBezTo>
                      <a:pt x="2054" y="1804"/>
                      <a:pt x="2056" y="1802"/>
                      <a:pt x="2064" y="1802"/>
                    </a:cubicBezTo>
                    <a:cubicBezTo>
                      <a:pt x="2072" y="1802"/>
                      <a:pt x="2106" y="1764"/>
                      <a:pt x="2123" y="1764"/>
                    </a:cubicBezTo>
                    <a:cubicBezTo>
                      <a:pt x="2140" y="1764"/>
                      <a:pt x="2271" y="1764"/>
                      <a:pt x="2271" y="1764"/>
                    </a:cubicBezTo>
                    <a:cubicBezTo>
                      <a:pt x="2271" y="1764"/>
                      <a:pt x="2271" y="1749"/>
                      <a:pt x="2283" y="1749"/>
                    </a:cubicBezTo>
                    <a:cubicBezTo>
                      <a:pt x="2295" y="1749"/>
                      <a:pt x="2303" y="1748"/>
                      <a:pt x="2303" y="1748"/>
                    </a:cubicBezTo>
                    <a:cubicBezTo>
                      <a:pt x="2303" y="1748"/>
                      <a:pt x="2314" y="1727"/>
                      <a:pt x="2323" y="1727"/>
                    </a:cubicBezTo>
                    <a:cubicBezTo>
                      <a:pt x="2333" y="1727"/>
                      <a:pt x="2340" y="1734"/>
                      <a:pt x="2340" y="1727"/>
                    </a:cubicBezTo>
                    <a:cubicBezTo>
                      <a:pt x="2340" y="1720"/>
                      <a:pt x="2343" y="1698"/>
                      <a:pt x="2349" y="1698"/>
                    </a:cubicBezTo>
                    <a:cubicBezTo>
                      <a:pt x="2355" y="1698"/>
                      <a:pt x="2363" y="1690"/>
                      <a:pt x="2363" y="1690"/>
                    </a:cubicBezTo>
                    <a:cubicBezTo>
                      <a:pt x="2363" y="1676"/>
                      <a:pt x="2363" y="1676"/>
                      <a:pt x="2363" y="1676"/>
                    </a:cubicBezTo>
                    <a:cubicBezTo>
                      <a:pt x="2390" y="1657"/>
                      <a:pt x="2390" y="1657"/>
                      <a:pt x="2390" y="1657"/>
                    </a:cubicBezTo>
                    <a:cubicBezTo>
                      <a:pt x="2390" y="1657"/>
                      <a:pt x="2401" y="1636"/>
                      <a:pt x="2414" y="1636"/>
                    </a:cubicBezTo>
                    <a:cubicBezTo>
                      <a:pt x="2427" y="1636"/>
                      <a:pt x="2418" y="1645"/>
                      <a:pt x="2430" y="1645"/>
                    </a:cubicBezTo>
                    <a:cubicBezTo>
                      <a:pt x="2442" y="1645"/>
                      <a:pt x="2469" y="1634"/>
                      <a:pt x="2469" y="1651"/>
                    </a:cubicBezTo>
                    <a:cubicBezTo>
                      <a:pt x="2469" y="1668"/>
                      <a:pt x="2439" y="1725"/>
                      <a:pt x="2442" y="1728"/>
                    </a:cubicBezTo>
                    <a:cubicBezTo>
                      <a:pt x="2445" y="1731"/>
                      <a:pt x="2453" y="1735"/>
                      <a:pt x="2453" y="1735"/>
                    </a:cubicBezTo>
                    <a:cubicBezTo>
                      <a:pt x="2453" y="1735"/>
                      <a:pt x="2439" y="1748"/>
                      <a:pt x="2444" y="1753"/>
                    </a:cubicBezTo>
                    <a:cubicBezTo>
                      <a:pt x="2449" y="1758"/>
                      <a:pt x="2457" y="1755"/>
                      <a:pt x="2457" y="1755"/>
                    </a:cubicBezTo>
                    <a:cubicBezTo>
                      <a:pt x="2458" y="1759"/>
                      <a:pt x="2458" y="1759"/>
                      <a:pt x="2458" y="1759"/>
                    </a:cubicBezTo>
                    <a:cubicBezTo>
                      <a:pt x="2462" y="1761"/>
                      <a:pt x="2472" y="1765"/>
                      <a:pt x="2484" y="1760"/>
                    </a:cubicBezTo>
                    <a:cubicBezTo>
                      <a:pt x="2499" y="1754"/>
                      <a:pt x="2511" y="1738"/>
                      <a:pt x="2511" y="1738"/>
                    </a:cubicBezTo>
                    <a:cubicBezTo>
                      <a:pt x="2517" y="1752"/>
                      <a:pt x="2517" y="1752"/>
                      <a:pt x="2517" y="1752"/>
                    </a:cubicBezTo>
                    <a:cubicBezTo>
                      <a:pt x="2517" y="1752"/>
                      <a:pt x="2549" y="1738"/>
                      <a:pt x="2554" y="1734"/>
                    </a:cubicBezTo>
                    <a:cubicBezTo>
                      <a:pt x="2559" y="1730"/>
                      <a:pt x="2580" y="1724"/>
                      <a:pt x="2580" y="1724"/>
                    </a:cubicBezTo>
                    <a:cubicBezTo>
                      <a:pt x="2590" y="1725"/>
                      <a:pt x="2590" y="1725"/>
                      <a:pt x="2590" y="1725"/>
                    </a:cubicBezTo>
                    <a:cubicBezTo>
                      <a:pt x="2561" y="1748"/>
                      <a:pt x="2561" y="1748"/>
                      <a:pt x="2561" y="1748"/>
                    </a:cubicBezTo>
                    <a:cubicBezTo>
                      <a:pt x="2622" y="1742"/>
                      <a:pt x="2622" y="1742"/>
                      <a:pt x="2622" y="1742"/>
                    </a:cubicBezTo>
                    <a:cubicBezTo>
                      <a:pt x="2622" y="1742"/>
                      <a:pt x="2593" y="1745"/>
                      <a:pt x="2592" y="1751"/>
                    </a:cubicBezTo>
                    <a:cubicBezTo>
                      <a:pt x="2591" y="1757"/>
                      <a:pt x="2587" y="1764"/>
                      <a:pt x="2587" y="1764"/>
                    </a:cubicBezTo>
                    <a:cubicBezTo>
                      <a:pt x="2587" y="1764"/>
                      <a:pt x="2568" y="1753"/>
                      <a:pt x="2561" y="1756"/>
                    </a:cubicBezTo>
                    <a:cubicBezTo>
                      <a:pt x="2554" y="1759"/>
                      <a:pt x="2486" y="1793"/>
                      <a:pt x="2483" y="1801"/>
                    </a:cubicBezTo>
                    <a:cubicBezTo>
                      <a:pt x="2480" y="1809"/>
                      <a:pt x="2474" y="1833"/>
                      <a:pt x="2479" y="1834"/>
                    </a:cubicBezTo>
                    <a:cubicBezTo>
                      <a:pt x="2484" y="1835"/>
                      <a:pt x="2491" y="1829"/>
                      <a:pt x="2491" y="1829"/>
                    </a:cubicBezTo>
                    <a:cubicBezTo>
                      <a:pt x="2491" y="1829"/>
                      <a:pt x="2489" y="1845"/>
                      <a:pt x="2498" y="1843"/>
                    </a:cubicBezTo>
                    <a:cubicBezTo>
                      <a:pt x="2507" y="1841"/>
                      <a:pt x="2513" y="1828"/>
                      <a:pt x="2513" y="1828"/>
                    </a:cubicBezTo>
                    <a:cubicBezTo>
                      <a:pt x="2513" y="1828"/>
                      <a:pt x="2539" y="1825"/>
                      <a:pt x="2553" y="1813"/>
                    </a:cubicBezTo>
                    <a:cubicBezTo>
                      <a:pt x="2567" y="1801"/>
                      <a:pt x="2582" y="1780"/>
                      <a:pt x="2582" y="1780"/>
                    </a:cubicBezTo>
                    <a:cubicBezTo>
                      <a:pt x="2582" y="1780"/>
                      <a:pt x="2582" y="1796"/>
                      <a:pt x="2596" y="1793"/>
                    </a:cubicBezTo>
                    <a:cubicBezTo>
                      <a:pt x="2610" y="1790"/>
                      <a:pt x="2644" y="1775"/>
                      <a:pt x="2655" y="1772"/>
                    </a:cubicBezTo>
                    <a:cubicBezTo>
                      <a:pt x="2666" y="1769"/>
                      <a:pt x="2718" y="1756"/>
                      <a:pt x="2718" y="1756"/>
                    </a:cubicBezTo>
                    <a:cubicBezTo>
                      <a:pt x="2709" y="1746"/>
                      <a:pt x="2709" y="1746"/>
                      <a:pt x="2709" y="1746"/>
                    </a:cubicBezTo>
                    <a:cubicBezTo>
                      <a:pt x="2713" y="1733"/>
                      <a:pt x="2713" y="1733"/>
                      <a:pt x="2713" y="1733"/>
                    </a:cubicBezTo>
                    <a:cubicBezTo>
                      <a:pt x="2692" y="1737"/>
                      <a:pt x="2692" y="1737"/>
                      <a:pt x="2692" y="1737"/>
                    </a:cubicBezTo>
                    <a:cubicBezTo>
                      <a:pt x="2691" y="1721"/>
                      <a:pt x="2691" y="1721"/>
                      <a:pt x="2691" y="1721"/>
                    </a:cubicBezTo>
                    <a:cubicBezTo>
                      <a:pt x="2691" y="1721"/>
                      <a:pt x="2667" y="1735"/>
                      <a:pt x="2661" y="1734"/>
                    </a:cubicBezTo>
                    <a:cubicBezTo>
                      <a:pt x="2655" y="1733"/>
                      <a:pt x="2657" y="1724"/>
                      <a:pt x="2657" y="1724"/>
                    </a:cubicBezTo>
                    <a:cubicBezTo>
                      <a:pt x="2657" y="1724"/>
                      <a:pt x="2625" y="1727"/>
                      <a:pt x="2619" y="1722"/>
                    </a:cubicBezTo>
                    <a:cubicBezTo>
                      <a:pt x="2613" y="1717"/>
                      <a:pt x="2605" y="1707"/>
                      <a:pt x="2614" y="1707"/>
                    </a:cubicBezTo>
                    <a:cubicBezTo>
                      <a:pt x="2623" y="1707"/>
                      <a:pt x="2610" y="1694"/>
                      <a:pt x="2599" y="1697"/>
                    </a:cubicBezTo>
                    <a:cubicBezTo>
                      <a:pt x="2588" y="1700"/>
                      <a:pt x="2584" y="1681"/>
                      <a:pt x="2584" y="1676"/>
                    </a:cubicBezTo>
                    <a:cubicBezTo>
                      <a:pt x="2584" y="1671"/>
                      <a:pt x="2596" y="1658"/>
                      <a:pt x="2596" y="1658"/>
                    </a:cubicBezTo>
                    <a:cubicBezTo>
                      <a:pt x="2580" y="1657"/>
                      <a:pt x="2580" y="1657"/>
                      <a:pt x="2580" y="1657"/>
                    </a:cubicBezTo>
                    <a:cubicBezTo>
                      <a:pt x="2580" y="1657"/>
                      <a:pt x="2599" y="1642"/>
                      <a:pt x="2606" y="1634"/>
                    </a:cubicBezTo>
                    <a:cubicBezTo>
                      <a:pt x="2613" y="1626"/>
                      <a:pt x="2632" y="1607"/>
                      <a:pt x="2632" y="1607"/>
                    </a:cubicBezTo>
                    <a:cubicBezTo>
                      <a:pt x="2622" y="1604"/>
                      <a:pt x="2622" y="1604"/>
                      <a:pt x="2622" y="1604"/>
                    </a:cubicBezTo>
                    <a:cubicBezTo>
                      <a:pt x="2608" y="1622"/>
                      <a:pt x="2608" y="1622"/>
                      <a:pt x="2608" y="1622"/>
                    </a:cubicBezTo>
                    <a:cubicBezTo>
                      <a:pt x="2593" y="1614"/>
                      <a:pt x="2593" y="1614"/>
                      <a:pt x="2593" y="1614"/>
                    </a:cubicBezTo>
                    <a:cubicBezTo>
                      <a:pt x="2574" y="1628"/>
                      <a:pt x="2574" y="1628"/>
                      <a:pt x="2574" y="1628"/>
                    </a:cubicBezTo>
                    <a:cubicBezTo>
                      <a:pt x="2571" y="1615"/>
                      <a:pt x="2571" y="1615"/>
                      <a:pt x="2571" y="1615"/>
                    </a:cubicBezTo>
                    <a:cubicBezTo>
                      <a:pt x="2552" y="1608"/>
                      <a:pt x="2552" y="1608"/>
                      <a:pt x="2552" y="1608"/>
                    </a:cubicBezTo>
                    <a:cubicBezTo>
                      <a:pt x="2537" y="1610"/>
                      <a:pt x="2537" y="1610"/>
                      <a:pt x="2537" y="1610"/>
                    </a:cubicBezTo>
                    <a:cubicBezTo>
                      <a:pt x="2574" y="1597"/>
                      <a:pt x="2574" y="1597"/>
                      <a:pt x="2574" y="1597"/>
                    </a:cubicBezTo>
                    <a:cubicBezTo>
                      <a:pt x="2574" y="1597"/>
                      <a:pt x="2581" y="1607"/>
                      <a:pt x="2591" y="1606"/>
                    </a:cubicBezTo>
                    <a:cubicBezTo>
                      <a:pt x="2601" y="1605"/>
                      <a:pt x="2624" y="1587"/>
                      <a:pt x="2624" y="1587"/>
                    </a:cubicBezTo>
                    <a:cubicBezTo>
                      <a:pt x="2624" y="1587"/>
                      <a:pt x="2650" y="1592"/>
                      <a:pt x="2651" y="1585"/>
                    </a:cubicBezTo>
                    <a:cubicBezTo>
                      <a:pt x="2652" y="1578"/>
                      <a:pt x="2644" y="1567"/>
                      <a:pt x="2644" y="1567"/>
                    </a:cubicBezTo>
                    <a:cubicBezTo>
                      <a:pt x="2660" y="1566"/>
                      <a:pt x="2660" y="1566"/>
                      <a:pt x="2660" y="1566"/>
                    </a:cubicBezTo>
                    <a:cubicBezTo>
                      <a:pt x="2660" y="1566"/>
                      <a:pt x="2651" y="1543"/>
                      <a:pt x="2609" y="1543"/>
                    </a:cubicBezTo>
                    <a:cubicBezTo>
                      <a:pt x="2567" y="1543"/>
                      <a:pt x="2517" y="1564"/>
                      <a:pt x="2494" y="1569"/>
                    </a:cubicBezTo>
                    <a:cubicBezTo>
                      <a:pt x="2471" y="1574"/>
                      <a:pt x="2434" y="1597"/>
                      <a:pt x="2427" y="1603"/>
                    </a:cubicBezTo>
                    <a:cubicBezTo>
                      <a:pt x="2420" y="1609"/>
                      <a:pt x="2378" y="1642"/>
                      <a:pt x="2368" y="1650"/>
                    </a:cubicBezTo>
                    <a:cubicBezTo>
                      <a:pt x="2358" y="1658"/>
                      <a:pt x="2322" y="1663"/>
                      <a:pt x="2322" y="1663"/>
                    </a:cubicBezTo>
                    <a:cubicBezTo>
                      <a:pt x="2322" y="1663"/>
                      <a:pt x="2372" y="1635"/>
                      <a:pt x="2381" y="1626"/>
                    </a:cubicBezTo>
                    <a:cubicBezTo>
                      <a:pt x="2390" y="1617"/>
                      <a:pt x="2403" y="1603"/>
                      <a:pt x="2403" y="1603"/>
                    </a:cubicBezTo>
                    <a:cubicBezTo>
                      <a:pt x="2388" y="1594"/>
                      <a:pt x="2388" y="1594"/>
                      <a:pt x="2388" y="1594"/>
                    </a:cubicBezTo>
                    <a:cubicBezTo>
                      <a:pt x="2388" y="1594"/>
                      <a:pt x="2409" y="1602"/>
                      <a:pt x="2414" y="1597"/>
                    </a:cubicBezTo>
                    <a:cubicBezTo>
                      <a:pt x="2419" y="1592"/>
                      <a:pt x="2469" y="1559"/>
                      <a:pt x="2481" y="1550"/>
                    </a:cubicBezTo>
                    <a:cubicBezTo>
                      <a:pt x="2493" y="1541"/>
                      <a:pt x="2531" y="1535"/>
                      <a:pt x="2535" y="1537"/>
                    </a:cubicBezTo>
                    <a:cubicBezTo>
                      <a:pt x="2539" y="1539"/>
                      <a:pt x="2561" y="1501"/>
                      <a:pt x="2591" y="1496"/>
                    </a:cubicBezTo>
                    <a:cubicBezTo>
                      <a:pt x="2621" y="1491"/>
                      <a:pt x="2697" y="1487"/>
                      <a:pt x="2713" y="1487"/>
                    </a:cubicBezTo>
                    <a:cubicBezTo>
                      <a:pt x="2729" y="1487"/>
                      <a:pt x="2788" y="1504"/>
                      <a:pt x="2798" y="1502"/>
                    </a:cubicBezTo>
                    <a:cubicBezTo>
                      <a:pt x="2808" y="1500"/>
                      <a:pt x="2829" y="1489"/>
                      <a:pt x="2839" y="1488"/>
                    </a:cubicBezTo>
                    <a:cubicBezTo>
                      <a:pt x="2849" y="1487"/>
                      <a:pt x="2880" y="1482"/>
                      <a:pt x="2892" y="1473"/>
                    </a:cubicBezTo>
                    <a:cubicBezTo>
                      <a:pt x="2904" y="1464"/>
                      <a:pt x="2930" y="1439"/>
                      <a:pt x="2940" y="1437"/>
                    </a:cubicBezTo>
                    <a:cubicBezTo>
                      <a:pt x="2950" y="1435"/>
                      <a:pt x="2967" y="1436"/>
                      <a:pt x="2967" y="1436"/>
                    </a:cubicBezTo>
                    <a:cubicBezTo>
                      <a:pt x="2967" y="1436"/>
                      <a:pt x="2980" y="1424"/>
                      <a:pt x="2990" y="1424"/>
                    </a:cubicBezTo>
                    <a:cubicBezTo>
                      <a:pt x="3000" y="1424"/>
                      <a:pt x="3001" y="1429"/>
                      <a:pt x="3018" y="1421"/>
                    </a:cubicBezTo>
                    <a:cubicBezTo>
                      <a:pt x="3018" y="1421"/>
                      <a:pt x="3083" y="1404"/>
                      <a:pt x="3077" y="1394"/>
                    </a:cubicBezTo>
                    <a:cubicBezTo>
                      <a:pt x="3071" y="1384"/>
                      <a:pt x="3052" y="1371"/>
                      <a:pt x="3052" y="1371"/>
                    </a:cubicBezTo>
                    <a:cubicBezTo>
                      <a:pt x="3052" y="1371"/>
                      <a:pt x="3076" y="1373"/>
                      <a:pt x="3076" y="1364"/>
                    </a:cubicBezTo>
                    <a:cubicBezTo>
                      <a:pt x="3076" y="1355"/>
                      <a:pt x="3072" y="1343"/>
                      <a:pt x="3072" y="1343"/>
                    </a:cubicBezTo>
                    <a:cubicBezTo>
                      <a:pt x="3072" y="1343"/>
                      <a:pt x="3100" y="1347"/>
                      <a:pt x="3094" y="1331"/>
                    </a:cubicBezTo>
                    <a:cubicBezTo>
                      <a:pt x="3088" y="1315"/>
                      <a:pt x="3065" y="1304"/>
                      <a:pt x="3058" y="1312"/>
                    </a:cubicBezTo>
                    <a:close/>
                    <a:moveTo>
                      <a:pt x="969" y="735"/>
                    </a:moveTo>
                    <a:cubicBezTo>
                      <a:pt x="976" y="730"/>
                      <a:pt x="1004" y="720"/>
                      <a:pt x="1004" y="720"/>
                    </a:cubicBezTo>
                    <a:cubicBezTo>
                      <a:pt x="1004" y="720"/>
                      <a:pt x="999" y="712"/>
                      <a:pt x="1005" y="709"/>
                    </a:cubicBezTo>
                    <a:cubicBezTo>
                      <a:pt x="1011" y="706"/>
                      <a:pt x="1029" y="715"/>
                      <a:pt x="1051" y="709"/>
                    </a:cubicBezTo>
                    <a:cubicBezTo>
                      <a:pt x="1073" y="703"/>
                      <a:pt x="1053" y="691"/>
                      <a:pt x="1034" y="691"/>
                    </a:cubicBezTo>
                    <a:cubicBezTo>
                      <a:pt x="1015" y="691"/>
                      <a:pt x="1010" y="698"/>
                      <a:pt x="999" y="703"/>
                    </a:cubicBezTo>
                    <a:cubicBezTo>
                      <a:pt x="988" y="708"/>
                      <a:pt x="989" y="698"/>
                      <a:pt x="989" y="698"/>
                    </a:cubicBezTo>
                    <a:cubicBezTo>
                      <a:pt x="977" y="703"/>
                      <a:pt x="977" y="703"/>
                      <a:pt x="977" y="703"/>
                    </a:cubicBezTo>
                    <a:cubicBezTo>
                      <a:pt x="954" y="700"/>
                      <a:pt x="954" y="700"/>
                      <a:pt x="954" y="700"/>
                    </a:cubicBezTo>
                    <a:cubicBezTo>
                      <a:pt x="954" y="700"/>
                      <a:pt x="933" y="710"/>
                      <a:pt x="924" y="707"/>
                    </a:cubicBezTo>
                    <a:cubicBezTo>
                      <a:pt x="915" y="704"/>
                      <a:pt x="950" y="694"/>
                      <a:pt x="960" y="689"/>
                    </a:cubicBezTo>
                    <a:cubicBezTo>
                      <a:pt x="970" y="684"/>
                      <a:pt x="979" y="690"/>
                      <a:pt x="992" y="690"/>
                    </a:cubicBezTo>
                    <a:cubicBezTo>
                      <a:pt x="1005" y="690"/>
                      <a:pt x="1001" y="681"/>
                      <a:pt x="1001" y="681"/>
                    </a:cubicBezTo>
                    <a:cubicBezTo>
                      <a:pt x="1071" y="676"/>
                      <a:pt x="1071" y="676"/>
                      <a:pt x="1071" y="676"/>
                    </a:cubicBezTo>
                    <a:cubicBezTo>
                      <a:pt x="1071" y="676"/>
                      <a:pt x="1106" y="666"/>
                      <a:pt x="1119" y="664"/>
                    </a:cubicBezTo>
                    <a:cubicBezTo>
                      <a:pt x="1132" y="662"/>
                      <a:pt x="1140" y="669"/>
                      <a:pt x="1140" y="669"/>
                    </a:cubicBezTo>
                    <a:cubicBezTo>
                      <a:pt x="1140" y="669"/>
                      <a:pt x="1143" y="663"/>
                      <a:pt x="1150" y="660"/>
                    </a:cubicBezTo>
                    <a:cubicBezTo>
                      <a:pt x="1157" y="657"/>
                      <a:pt x="1179" y="667"/>
                      <a:pt x="1179" y="667"/>
                    </a:cubicBezTo>
                    <a:cubicBezTo>
                      <a:pt x="1179" y="667"/>
                      <a:pt x="1157" y="673"/>
                      <a:pt x="1149" y="677"/>
                    </a:cubicBezTo>
                    <a:cubicBezTo>
                      <a:pt x="1141" y="681"/>
                      <a:pt x="1107" y="683"/>
                      <a:pt x="1107" y="683"/>
                    </a:cubicBezTo>
                    <a:cubicBezTo>
                      <a:pt x="1105" y="691"/>
                      <a:pt x="1105" y="691"/>
                      <a:pt x="1105" y="691"/>
                    </a:cubicBezTo>
                    <a:cubicBezTo>
                      <a:pt x="1123" y="691"/>
                      <a:pt x="1123" y="691"/>
                      <a:pt x="1123" y="691"/>
                    </a:cubicBezTo>
                    <a:cubicBezTo>
                      <a:pt x="1123" y="691"/>
                      <a:pt x="1134" y="694"/>
                      <a:pt x="1138" y="694"/>
                    </a:cubicBezTo>
                    <a:cubicBezTo>
                      <a:pt x="1142" y="694"/>
                      <a:pt x="1168" y="691"/>
                      <a:pt x="1182" y="690"/>
                    </a:cubicBezTo>
                    <a:cubicBezTo>
                      <a:pt x="1196" y="689"/>
                      <a:pt x="1176" y="680"/>
                      <a:pt x="1176" y="680"/>
                    </a:cubicBezTo>
                    <a:cubicBezTo>
                      <a:pt x="1213" y="679"/>
                      <a:pt x="1213" y="679"/>
                      <a:pt x="1213" y="679"/>
                    </a:cubicBezTo>
                    <a:cubicBezTo>
                      <a:pt x="1213" y="679"/>
                      <a:pt x="1208" y="692"/>
                      <a:pt x="1189" y="698"/>
                    </a:cubicBezTo>
                    <a:cubicBezTo>
                      <a:pt x="1170" y="704"/>
                      <a:pt x="1158" y="711"/>
                      <a:pt x="1158" y="711"/>
                    </a:cubicBezTo>
                    <a:cubicBezTo>
                      <a:pt x="1158" y="711"/>
                      <a:pt x="1157" y="723"/>
                      <a:pt x="1149" y="725"/>
                    </a:cubicBezTo>
                    <a:cubicBezTo>
                      <a:pt x="1141" y="727"/>
                      <a:pt x="1119" y="716"/>
                      <a:pt x="1119" y="716"/>
                    </a:cubicBezTo>
                    <a:cubicBezTo>
                      <a:pt x="1114" y="723"/>
                      <a:pt x="1114" y="723"/>
                      <a:pt x="1114" y="723"/>
                    </a:cubicBezTo>
                    <a:cubicBezTo>
                      <a:pt x="1104" y="714"/>
                      <a:pt x="1104" y="714"/>
                      <a:pt x="1104" y="714"/>
                    </a:cubicBezTo>
                    <a:cubicBezTo>
                      <a:pt x="1094" y="724"/>
                      <a:pt x="1094" y="724"/>
                      <a:pt x="1094" y="724"/>
                    </a:cubicBezTo>
                    <a:cubicBezTo>
                      <a:pt x="1094" y="724"/>
                      <a:pt x="1086" y="718"/>
                      <a:pt x="1080" y="725"/>
                    </a:cubicBezTo>
                    <a:cubicBezTo>
                      <a:pt x="1074" y="732"/>
                      <a:pt x="1086" y="738"/>
                      <a:pt x="1086" y="738"/>
                    </a:cubicBezTo>
                    <a:cubicBezTo>
                      <a:pt x="1065" y="741"/>
                      <a:pt x="1065" y="741"/>
                      <a:pt x="1065" y="741"/>
                    </a:cubicBezTo>
                    <a:cubicBezTo>
                      <a:pt x="1065" y="741"/>
                      <a:pt x="1050" y="751"/>
                      <a:pt x="1047" y="751"/>
                    </a:cubicBezTo>
                    <a:cubicBezTo>
                      <a:pt x="1044" y="751"/>
                      <a:pt x="1001" y="764"/>
                      <a:pt x="990" y="760"/>
                    </a:cubicBezTo>
                    <a:cubicBezTo>
                      <a:pt x="979" y="756"/>
                      <a:pt x="1018" y="749"/>
                      <a:pt x="1033" y="746"/>
                    </a:cubicBezTo>
                    <a:cubicBezTo>
                      <a:pt x="1048" y="743"/>
                      <a:pt x="1070" y="726"/>
                      <a:pt x="1057" y="724"/>
                    </a:cubicBezTo>
                    <a:cubicBezTo>
                      <a:pt x="1044" y="722"/>
                      <a:pt x="992" y="751"/>
                      <a:pt x="979" y="753"/>
                    </a:cubicBezTo>
                    <a:cubicBezTo>
                      <a:pt x="966" y="755"/>
                      <a:pt x="940" y="751"/>
                      <a:pt x="931" y="746"/>
                    </a:cubicBezTo>
                    <a:cubicBezTo>
                      <a:pt x="922" y="741"/>
                      <a:pt x="962" y="740"/>
                      <a:pt x="969" y="735"/>
                    </a:cubicBezTo>
                    <a:close/>
                    <a:moveTo>
                      <a:pt x="1324" y="872"/>
                    </a:moveTo>
                    <a:cubicBezTo>
                      <a:pt x="1324" y="869"/>
                      <a:pt x="1312" y="855"/>
                      <a:pt x="1308" y="862"/>
                    </a:cubicBezTo>
                    <a:cubicBezTo>
                      <a:pt x="1304" y="869"/>
                      <a:pt x="1305" y="876"/>
                      <a:pt x="1305" y="876"/>
                    </a:cubicBezTo>
                    <a:cubicBezTo>
                      <a:pt x="1305" y="876"/>
                      <a:pt x="1291" y="868"/>
                      <a:pt x="1285" y="870"/>
                    </a:cubicBezTo>
                    <a:cubicBezTo>
                      <a:pt x="1279" y="872"/>
                      <a:pt x="1283" y="879"/>
                      <a:pt x="1283" y="879"/>
                    </a:cubicBezTo>
                    <a:cubicBezTo>
                      <a:pt x="1266" y="881"/>
                      <a:pt x="1266" y="881"/>
                      <a:pt x="1266" y="881"/>
                    </a:cubicBezTo>
                    <a:cubicBezTo>
                      <a:pt x="1266" y="881"/>
                      <a:pt x="1254" y="877"/>
                      <a:pt x="1239" y="887"/>
                    </a:cubicBezTo>
                    <a:cubicBezTo>
                      <a:pt x="1224" y="897"/>
                      <a:pt x="1195" y="916"/>
                      <a:pt x="1181" y="919"/>
                    </a:cubicBezTo>
                    <a:cubicBezTo>
                      <a:pt x="1167" y="922"/>
                      <a:pt x="1147" y="928"/>
                      <a:pt x="1147" y="928"/>
                    </a:cubicBezTo>
                    <a:cubicBezTo>
                      <a:pt x="1147" y="928"/>
                      <a:pt x="1116" y="920"/>
                      <a:pt x="1108" y="928"/>
                    </a:cubicBezTo>
                    <a:cubicBezTo>
                      <a:pt x="1100" y="936"/>
                      <a:pt x="1094" y="947"/>
                      <a:pt x="1094" y="947"/>
                    </a:cubicBezTo>
                    <a:cubicBezTo>
                      <a:pt x="1065" y="947"/>
                      <a:pt x="1065" y="947"/>
                      <a:pt x="1065" y="947"/>
                    </a:cubicBezTo>
                    <a:cubicBezTo>
                      <a:pt x="1059" y="953"/>
                      <a:pt x="1059" y="953"/>
                      <a:pt x="1059" y="953"/>
                    </a:cubicBezTo>
                    <a:cubicBezTo>
                      <a:pt x="1059" y="953"/>
                      <a:pt x="1045" y="950"/>
                      <a:pt x="1038" y="952"/>
                    </a:cubicBezTo>
                    <a:cubicBezTo>
                      <a:pt x="1031" y="954"/>
                      <a:pt x="1012" y="957"/>
                      <a:pt x="1005" y="956"/>
                    </a:cubicBezTo>
                    <a:cubicBezTo>
                      <a:pt x="998" y="955"/>
                      <a:pt x="987" y="947"/>
                      <a:pt x="984" y="948"/>
                    </a:cubicBezTo>
                    <a:cubicBezTo>
                      <a:pt x="981" y="949"/>
                      <a:pt x="963" y="946"/>
                      <a:pt x="963" y="942"/>
                    </a:cubicBezTo>
                    <a:cubicBezTo>
                      <a:pt x="963" y="938"/>
                      <a:pt x="985" y="939"/>
                      <a:pt x="985" y="939"/>
                    </a:cubicBezTo>
                    <a:cubicBezTo>
                      <a:pt x="985" y="939"/>
                      <a:pt x="994" y="929"/>
                      <a:pt x="997" y="929"/>
                    </a:cubicBezTo>
                    <a:cubicBezTo>
                      <a:pt x="1000" y="929"/>
                      <a:pt x="1008" y="937"/>
                      <a:pt x="1018" y="937"/>
                    </a:cubicBezTo>
                    <a:cubicBezTo>
                      <a:pt x="1028" y="937"/>
                      <a:pt x="1028" y="929"/>
                      <a:pt x="1028" y="929"/>
                    </a:cubicBezTo>
                    <a:cubicBezTo>
                      <a:pt x="1039" y="929"/>
                      <a:pt x="1039" y="929"/>
                      <a:pt x="1039" y="929"/>
                    </a:cubicBezTo>
                    <a:cubicBezTo>
                      <a:pt x="1039" y="929"/>
                      <a:pt x="1049" y="911"/>
                      <a:pt x="1059" y="910"/>
                    </a:cubicBezTo>
                    <a:cubicBezTo>
                      <a:pt x="1069" y="909"/>
                      <a:pt x="1072" y="918"/>
                      <a:pt x="1090" y="911"/>
                    </a:cubicBezTo>
                    <a:cubicBezTo>
                      <a:pt x="1108" y="904"/>
                      <a:pt x="1093" y="882"/>
                      <a:pt x="1093" y="882"/>
                    </a:cubicBezTo>
                    <a:cubicBezTo>
                      <a:pt x="1093" y="882"/>
                      <a:pt x="1071" y="868"/>
                      <a:pt x="1085" y="862"/>
                    </a:cubicBezTo>
                    <a:cubicBezTo>
                      <a:pt x="1091" y="859"/>
                      <a:pt x="1099" y="872"/>
                      <a:pt x="1099" y="872"/>
                    </a:cubicBezTo>
                    <a:cubicBezTo>
                      <a:pt x="1107" y="871"/>
                      <a:pt x="1107" y="871"/>
                      <a:pt x="1107" y="871"/>
                    </a:cubicBezTo>
                    <a:cubicBezTo>
                      <a:pt x="1119" y="882"/>
                      <a:pt x="1119" y="882"/>
                      <a:pt x="1119" y="882"/>
                    </a:cubicBezTo>
                    <a:cubicBezTo>
                      <a:pt x="1119" y="882"/>
                      <a:pt x="1133" y="881"/>
                      <a:pt x="1137" y="884"/>
                    </a:cubicBezTo>
                    <a:cubicBezTo>
                      <a:pt x="1141" y="887"/>
                      <a:pt x="1130" y="902"/>
                      <a:pt x="1153" y="901"/>
                    </a:cubicBezTo>
                    <a:cubicBezTo>
                      <a:pt x="1176" y="900"/>
                      <a:pt x="1176" y="895"/>
                      <a:pt x="1176" y="895"/>
                    </a:cubicBezTo>
                    <a:cubicBezTo>
                      <a:pt x="1187" y="896"/>
                      <a:pt x="1187" y="896"/>
                      <a:pt x="1187" y="896"/>
                    </a:cubicBezTo>
                    <a:cubicBezTo>
                      <a:pt x="1187" y="896"/>
                      <a:pt x="1227" y="880"/>
                      <a:pt x="1241" y="871"/>
                    </a:cubicBezTo>
                    <a:cubicBezTo>
                      <a:pt x="1255" y="862"/>
                      <a:pt x="1277" y="855"/>
                      <a:pt x="1295" y="854"/>
                    </a:cubicBezTo>
                    <a:cubicBezTo>
                      <a:pt x="1313" y="853"/>
                      <a:pt x="1351" y="857"/>
                      <a:pt x="1348" y="861"/>
                    </a:cubicBezTo>
                    <a:cubicBezTo>
                      <a:pt x="1345" y="865"/>
                      <a:pt x="1324" y="875"/>
                      <a:pt x="1324" y="872"/>
                    </a:cubicBezTo>
                    <a:close/>
                    <a:moveTo>
                      <a:pt x="1405" y="1355"/>
                    </a:moveTo>
                    <a:cubicBezTo>
                      <a:pt x="1405" y="1355"/>
                      <a:pt x="1402" y="1384"/>
                      <a:pt x="1403" y="1393"/>
                    </a:cubicBezTo>
                    <a:cubicBezTo>
                      <a:pt x="1404" y="1402"/>
                      <a:pt x="1399" y="1411"/>
                      <a:pt x="1396" y="1416"/>
                    </a:cubicBezTo>
                    <a:cubicBezTo>
                      <a:pt x="1393" y="1421"/>
                      <a:pt x="1400" y="1422"/>
                      <a:pt x="1403" y="1433"/>
                    </a:cubicBezTo>
                    <a:cubicBezTo>
                      <a:pt x="1406" y="1444"/>
                      <a:pt x="1382" y="1471"/>
                      <a:pt x="1382" y="1471"/>
                    </a:cubicBezTo>
                    <a:cubicBezTo>
                      <a:pt x="1368" y="1466"/>
                      <a:pt x="1368" y="1466"/>
                      <a:pt x="1368" y="1466"/>
                    </a:cubicBezTo>
                    <a:cubicBezTo>
                      <a:pt x="1368" y="1466"/>
                      <a:pt x="1365" y="1485"/>
                      <a:pt x="1348" y="1482"/>
                    </a:cubicBezTo>
                    <a:cubicBezTo>
                      <a:pt x="1331" y="1479"/>
                      <a:pt x="1387" y="1431"/>
                      <a:pt x="1387" y="1419"/>
                    </a:cubicBezTo>
                    <a:cubicBezTo>
                      <a:pt x="1387" y="1407"/>
                      <a:pt x="1366" y="1427"/>
                      <a:pt x="1366" y="1427"/>
                    </a:cubicBezTo>
                    <a:cubicBezTo>
                      <a:pt x="1379" y="1406"/>
                      <a:pt x="1379" y="1406"/>
                      <a:pt x="1379" y="1406"/>
                    </a:cubicBezTo>
                    <a:cubicBezTo>
                      <a:pt x="1379" y="1406"/>
                      <a:pt x="1383" y="1393"/>
                      <a:pt x="1372" y="1390"/>
                    </a:cubicBezTo>
                    <a:cubicBezTo>
                      <a:pt x="1361" y="1387"/>
                      <a:pt x="1367" y="1407"/>
                      <a:pt x="1354" y="1407"/>
                    </a:cubicBezTo>
                    <a:cubicBezTo>
                      <a:pt x="1341" y="1407"/>
                      <a:pt x="1351" y="1376"/>
                      <a:pt x="1351" y="1376"/>
                    </a:cubicBezTo>
                    <a:cubicBezTo>
                      <a:pt x="1351" y="1376"/>
                      <a:pt x="1345" y="1370"/>
                      <a:pt x="1343" y="1361"/>
                    </a:cubicBezTo>
                    <a:cubicBezTo>
                      <a:pt x="1341" y="1352"/>
                      <a:pt x="1365" y="1352"/>
                      <a:pt x="1367" y="1346"/>
                    </a:cubicBezTo>
                    <a:cubicBezTo>
                      <a:pt x="1369" y="1340"/>
                      <a:pt x="1347" y="1349"/>
                      <a:pt x="1343" y="1340"/>
                    </a:cubicBezTo>
                    <a:cubicBezTo>
                      <a:pt x="1342" y="1338"/>
                      <a:pt x="1372" y="1307"/>
                      <a:pt x="1382" y="1303"/>
                    </a:cubicBezTo>
                    <a:cubicBezTo>
                      <a:pt x="1392" y="1299"/>
                      <a:pt x="1391" y="1306"/>
                      <a:pt x="1395" y="1307"/>
                    </a:cubicBezTo>
                    <a:cubicBezTo>
                      <a:pt x="1399" y="1308"/>
                      <a:pt x="1410" y="1305"/>
                      <a:pt x="1418" y="1322"/>
                    </a:cubicBezTo>
                    <a:cubicBezTo>
                      <a:pt x="1426" y="1339"/>
                      <a:pt x="1405" y="1355"/>
                      <a:pt x="1405" y="1355"/>
                    </a:cubicBezTo>
                    <a:close/>
                    <a:moveTo>
                      <a:pt x="156" y="1459"/>
                    </a:moveTo>
                    <a:cubicBezTo>
                      <a:pt x="146" y="1456"/>
                      <a:pt x="147" y="1473"/>
                      <a:pt x="147" y="1473"/>
                    </a:cubicBezTo>
                    <a:cubicBezTo>
                      <a:pt x="155" y="1473"/>
                      <a:pt x="166" y="1462"/>
                      <a:pt x="156" y="1459"/>
                    </a:cubicBezTo>
                    <a:close/>
                    <a:moveTo>
                      <a:pt x="2216" y="1197"/>
                    </a:moveTo>
                    <a:cubicBezTo>
                      <a:pt x="2248" y="1196"/>
                      <a:pt x="2259" y="1170"/>
                      <a:pt x="2228" y="1170"/>
                    </a:cubicBezTo>
                    <a:cubicBezTo>
                      <a:pt x="2196" y="1171"/>
                      <a:pt x="2216" y="1197"/>
                      <a:pt x="2216" y="1197"/>
                    </a:cubicBezTo>
                    <a:close/>
                    <a:moveTo>
                      <a:pt x="2456" y="825"/>
                    </a:moveTo>
                    <a:cubicBezTo>
                      <a:pt x="2456" y="825"/>
                      <a:pt x="2433" y="822"/>
                      <a:pt x="2423" y="814"/>
                    </a:cubicBezTo>
                    <a:cubicBezTo>
                      <a:pt x="2413" y="806"/>
                      <a:pt x="2418" y="785"/>
                      <a:pt x="2418" y="785"/>
                    </a:cubicBezTo>
                    <a:cubicBezTo>
                      <a:pt x="2397" y="769"/>
                      <a:pt x="2397" y="769"/>
                      <a:pt x="2397" y="769"/>
                    </a:cubicBezTo>
                    <a:cubicBezTo>
                      <a:pt x="2370" y="772"/>
                      <a:pt x="2370" y="772"/>
                      <a:pt x="2370" y="772"/>
                    </a:cubicBezTo>
                    <a:cubicBezTo>
                      <a:pt x="2366" y="763"/>
                      <a:pt x="2366" y="763"/>
                      <a:pt x="2366" y="763"/>
                    </a:cubicBezTo>
                    <a:cubicBezTo>
                      <a:pt x="2353" y="741"/>
                      <a:pt x="2353" y="741"/>
                      <a:pt x="2353" y="741"/>
                    </a:cubicBezTo>
                    <a:cubicBezTo>
                      <a:pt x="2330" y="745"/>
                      <a:pt x="2330" y="745"/>
                      <a:pt x="2330" y="745"/>
                    </a:cubicBezTo>
                    <a:cubicBezTo>
                      <a:pt x="2317" y="738"/>
                      <a:pt x="2317" y="738"/>
                      <a:pt x="2317" y="738"/>
                    </a:cubicBezTo>
                    <a:cubicBezTo>
                      <a:pt x="2329" y="727"/>
                      <a:pt x="2329" y="727"/>
                      <a:pt x="2329" y="727"/>
                    </a:cubicBezTo>
                    <a:cubicBezTo>
                      <a:pt x="2327" y="710"/>
                      <a:pt x="2327" y="710"/>
                      <a:pt x="2327" y="710"/>
                    </a:cubicBezTo>
                    <a:cubicBezTo>
                      <a:pt x="2293" y="728"/>
                      <a:pt x="2293" y="728"/>
                      <a:pt x="2293" y="728"/>
                    </a:cubicBezTo>
                    <a:cubicBezTo>
                      <a:pt x="2276" y="736"/>
                      <a:pt x="2276" y="736"/>
                      <a:pt x="2276" y="736"/>
                    </a:cubicBezTo>
                    <a:cubicBezTo>
                      <a:pt x="2257" y="764"/>
                      <a:pt x="2257" y="764"/>
                      <a:pt x="2257" y="764"/>
                    </a:cubicBezTo>
                    <a:cubicBezTo>
                      <a:pt x="2257" y="764"/>
                      <a:pt x="2226" y="771"/>
                      <a:pt x="2224" y="777"/>
                    </a:cubicBezTo>
                    <a:cubicBezTo>
                      <a:pt x="2222" y="783"/>
                      <a:pt x="2234" y="790"/>
                      <a:pt x="2224" y="793"/>
                    </a:cubicBezTo>
                    <a:cubicBezTo>
                      <a:pt x="2215" y="797"/>
                      <a:pt x="2186" y="807"/>
                      <a:pt x="2186" y="807"/>
                    </a:cubicBezTo>
                    <a:cubicBezTo>
                      <a:pt x="2203" y="815"/>
                      <a:pt x="2203" y="815"/>
                      <a:pt x="2203" y="815"/>
                    </a:cubicBezTo>
                    <a:cubicBezTo>
                      <a:pt x="2203" y="815"/>
                      <a:pt x="2230" y="811"/>
                      <a:pt x="2231" y="814"/>
                    </a:cubicBezTo>
                    <a:cubicBezTo>
                      <a:pt x="2231" y="817"/>
                      <a:pt x="2225" y="822"/>
                      <a:pt x="2225" y="833"/>
                    </a:cubicBezTo>
                    <a:cubicBezTo>
                      <a:pt x="2225" y="844"/>
                      <a:pt x="2268" y="845"/>
                      <a:pt x="2287" y="835"/>
                    </a:cubicBezTo>
                    <a:cubicBezTo>
                      <a:pt x="2306" y="826"/>
                      <a:pt x="2296" y="808"/>
                      <a:pt x="2324" y="809"/>
                    </a:cubicBezTo>
                    <a:cubicBezTo>
                      <a:pt x="2351" y="809"/>
                      <a:pt x="2355" y="818"/>
                      <a:pt x="2355" y="818"/>
                    </a:cubicBezTo>
                    <a:cubicBezTo>
                      <a:pt x="2386" y="823"/>
                      <a:pt x="2386" y="823"/>
                      <a:pt x="2386" y="823"/>
                    </a:cubicBezTo>
                    <a:cubicBezTo>
                      <a:pt x="2390" y="834"/>
                      <a:pt x="2390" y="834"/>
                      <a:pt x="2390" y="834"/>
                    </a:cubicBezTo>
                    <a:cubicBezTo>
                      <a:pt x="2452" y="838"/>
                      <a:pt x="2452" y="838"/>
                      <a:pt x="2452" y="838"/>
                    </a:cubicBezTo>
                    <a:lnTo>
                      <a:pt x="2456" y="825"/>
                    </a:lnTo>
                    <a:close/>
                    <a:moveTo>
                      <a:pt x="2393" y="886"/>
                    </a:moveTo>
                    <a:cubicBezTo>
                      <a:pt x="2352" y="899"/>
                      <a:pt x="2393" y="913"/>
                      <a:pt x="2393" y="913"/>
                    </a:cubicBezTo>
                    <a:cubicBezTo>
                      <a:pt x="2415" y="897"/>
                      <a:pt x="2434" y="872"/>
                      <a:pt x="2393" y="886"/>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64" name="Freeform 86">
                <a:extLst>
                  <a:ext uri="{FF2B5EF4-FFF2-40B4-BE49-F238E27FC236}">
                    <a16:creationId xmlns:a16="http://schemas.microsoft.com/office/drawing/2014/main" id="{5362FA5A-53BC-444E-8E49-8F2F949047BB}"/>
                  </a:ext>
                </a:extLst>
              </p:cNvPr>
              <p:cNvSpPr>
                <a:spLocks noEditPoints="1"/>
              </p:cNvSpPr>
              <p:nvPr>
                <p:custDataLst>
                  <p:tags r:id="rId45"/>
                </p:custDataLst>
              </p:nvPr>
            </p:nvSpPr>
            <p:spPr bwMode="gray">
              <a:xfrm>
                <a:off x="2003414" y="3940189"/>
                <a:ext cx="133349" cy="123825"/>
              </a:xfrm>
              <a:custGeom>
                <a:avLst/>
                <a:gdLst>
                  <a:gd name="T0" fmla="*/ 128 w 220"/>
                  <a:gd name="T1" fmla="*/ 204 h 223"/>
                  <a:gd name="T2" fmla="*/ 128 w 220"/>
                  <a:gd name="T3" fmla="*/ 204 h 223"/>
                  <a:gd name="T4" fmla="*/ 128 w 220"/>
                  <a:gd name="T5" fmla="*/ 204 h 223"/>
                  <a:gd name="T6" fmla="*/ 128 w 220"/>
                  <a:gd name="T7" fmla="*/ 204 h 223"/>
                  <a:gd name="T8" fmla="*/ 218 w 220"/>
                  <a:gd name="T9" fmla="*/ 15 h 223"/>
                  <a:gd name="T10" fmla="*/ 211 w 220"/>
                  <a:gd name="T11" fmla="*/ 1 h 223"/>
                  <a:gd name="T12" fmla="*/ 192 w 220"/>
                  <a:gd name="T13" fmla="*/ 2 h 223"/>
                  <a:gd name="T14" fmla="*/ 181 w 220"/>
                  <a:gd name="T15" fmla="*/ 2 h 223"/>
                  <a:gd name="T16" fmla="*/ 168 w 220"/>
                  <a:gd name="T17" fmla="*/ 12 h 223"/>
                  <a:gd name="T18" fmla="*/ 143 w 220"/>
                  <a:gd name="T19" fmla="*/ 1 h 223"/>
                  <a:gd name="T20" fmla="*/ 133 w 220"/>
                  <a:gd name="T21" fmla="*/ 20 h 223"/>
                  <a:gd name="T22" fmla="*/ 120 w 220"/>
                  <a:gd name="T23" fmla="*/ 21 h 223"/>
                  <a:gd name="T24" fmla="*/ 119 w 220"/>
                  <a:gd name="T25" fmla="*/ 31 h 223"/>
                  <a:gd name="T26" fmla="*/ 92 w 220"/>
                  <a:gd name="T27" fmla="*/ 54 h 223"/>
                  <a:gd name="T28" fmla="*/ 78 w 220"/>
                  <a:gd name="T29" fmla="*/ 45 h 223"/>
                  <a:gd name="T30" fmla="*/ 65 w 220"/>
                  <a:gd name="T31" fmla="*/ 59 h 223"/>
                  <a:gd name="T32" fmla="*/ 45 w 220"/>
                  <a:gd name="T33" fmla="*/ 58 h 223"/>
                  <a:gd name="T34" fmla="*/ 44 w 220"/>
                  <a:gd name="T35" fmla="*/ 85 h 223"/>
                  <a:gd name="T36" fmla="*/ 35 w 220"/>
                  <a:gd name="T37" fmla="*/ 87 h 223"/>
                  <a:gd name="T38" fmla="*/ 33 w 220"/>
                  <a:gd name="T39" fmla="*/ 98 h 223"/>
                  <a:gd name="T40" fmla="*/ 19 w 220"/>
                  <a:gd name="T41" fmla="*/ 102 h 223"/>
                  <a:gd name="T42" fmla="*/ 0 w 220"/>
                  <a:gd name="T43" fmla="*/ 102 h 223"/>
                  <a:gd name="T44" fmla="*/ 32 w 220"/>
                  <a:gd name="T45" fmla="*/ 136 h 223"/>
                  <a:gd name="T46" fmla="*/ 50 w 220"/>
                  <a:gd name="T47" fmla="*/ 175 h 223"/>
                  <a:gd name="T48" fmla="*/ 80 w 220"/>
                  <a:gd name="T49" fmla="*/ 199 h 223"/>
                  <a:gd name="T50" fmla="*/ 92 w 220"/>
                  <a:gd name="T51" fmla="*/ 198 h 223"/>
                  <a:gd name="T52" fmla="*/ 92 w 220"/>
                  <a:gd name="T53" fmla="*/ 197 h 223"/>
                  <a:gd name="T54" fmla="*/ 81 w 220"/>
                  <a:gd name="T55" fmla="*/ 187 h 223"/>
                  <a:gd name="T56" fmla="*/ 95 w 220"/>
                  <a:gd name="T57" fmla="*/ 181 h 223"/>
                  <a:gd name="T58" fmla="*/ 90 w 220"/>
                  <a:gd name="T59" fmla="*/ 175 h 223"/>
                  <a:gd name="T60" fmla="*/ 79 w 220"/>
                  <a:gd name="T61" fmla="*/ 177 h 223"/>
                  <a:gd name="T62" fmla="*/ 79 w 220"/>
                  <a:gd name="T63" fmla="*/ 149 h 223"/>
                  <a:gd name="T64" fmla="*/ 123 w 220"/>
                  <a:gd name="T65" fmla="*/ 185 h 223"/>
                  <a:gd name="T66" fmla="*/ 128 w 220"/>
                  <a:gd name="T67" fmla="*/ 204 h 223"/>
                  <a:gd name="T68" fmla="*/ 132 w 220"/>
                  <a:gd name="T69" fmla="*/ 204 h 223"/>
                  <a:gd name="T70" fmla="*/ 150 w 220"/>
                  <a:gd name="T71" fmla="*/ 211 h 223"/>
                  <a:gd name="T72" fmla="*/ 162 w 220"/>
                  <a:gd name="T73" fmla="*/ 223 h 223"/>
                  <a:gd name="T74" fmla="*/ 183 w 220"/>
                  <a:gd name="T75" fmla="*/ 220 h 223"/>
                  <a:gd name="T76" fmla="*/ 170 w 220"/>
                  <a:gd name="T77" fmla="*/ 192 h 223"/>
                  <a:gd name="T78" fmla="*/ 182 w 220"/>
                  <a:gd name="T79" fmla="*/ 172 h 223"/>
                  <a:gd name="T80" fmla="*/ 177 w 220"/>
                  <a:gd name="T81" fmla="*/ 151 h 223"/>
                  <a:gd name="T82" fmla="*/ 181 w 220"/>
                  <a:gd name="T83" fmla="*/ 119 h 223"/>
                  <a:gd name="T84" fmla="*/ 191 w 220"/>
                  <a:gd name="T85" fmla="*/ 131 h 223"/>
                  <a:gd name="T86" fmla="*/ 194 w 220"/>
                  <a:gd name="T87" fmla="*/ 74 h 223"/>
                  <a:gd name="T88" fmla="*/ 209 w 220"/>
                  <a:gd name="T89" fmla="*/ 44 h 223"/>
                  <a:gd name="T90" fmla="*/ 218 w 220"/>
                  <a:gd name="T91" fmla="*/ 15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0" h="223">
                    <a:moveTo>
                      <a:pt x="128" y="204"/>
                    </a:moveTo>
                    <a:cubicBezTo>
                      <a:pt x="128" y="204"/>
                      <a:pt x="128" y="204"/>
                      <a:pt x="128" y="204"/>
                    </a:cubicBezTo>
                    <a:cubicBezTo>
                      <a:pt x="128" y="204"/>
                      <a:pt x="128" y="204"/>
                      <a:pt x="128" y="204"/>
                    </a:cubicBezTo>
                    <a:cubicBezTo>
                      <a:pt x="128" y="204"/>
                      <a:pt x="128" y="204"/>
                      <a:pt x="128" y="204"/>
                    </a:cubicBezTo>
                    <a:close/>
                    <a:moveTo>
                      <a:pt x="218" y="15"/>
                    </a:moveTo>
                    <a:cubicBezTo>
                      <a:pt x="216" y="10"/>
                      <a:pt x="210" y="5"/>
                      <a:pt x="211" y="1"/>
                    </a:cubicBezTo>
                    <a:cubicBezTo>
                      <a:pt x="192" y="2"/>
                      <a:pt x="192" y="2"/>
                      <a:pt x="192" y="2"/>
                    </a:cubicBezTo>
                    <a:cubicBezTo>
                      <a:pt x="192" y="2"/>
                      <a:pt x="185" y="2"/>
                      <a:pt x="181" y="2"/>
                    </a:cubicBezTo>
                    <a:cubicBezTo>
                      <a:pt x="177" y="2"/>
                      <a:pt x="178" y="11"/>
                      <a:pt x="168" y="12"/>
                    </a:cubicBezTo>
                    <a:cubicBezTo>
                      <a:pt x="158" y="13"/>
                      <a:pt x="152" y="2"/>
                      <a:pt x="143" y="1"/>
                    </a:cubicBezTo>
                    <a:cubicBezTo>
                      <a:pt x="134" y="0"/>
                      <a:pt x="133" y="20"/>
                      <a:pt x="133" y="20"/>
                    </a:cubicBezTo>
                    <a:cubicBezTo>
                      <a:pt x="120" y="21"/>
                      <a:pt x="120" y="21"/>
                      <a:pt x="120" y="21"/>
                    </a:cubicBezTo>
                    <a:cubicBezTo>
                      <a:pt x="119" y="31"/>
                      <a:pt x="119" y="31"/>
                      <a:pt x="119" y="31"/>
                    </a:cubicBezTo>
                    <a:cubicBezTo>
                      <a:pt x="119" y="31"/>
                      <a:pt x="107" y="54"/>
                      <a:pt x="92" y="54"/>
                    </a:cubicBezTo>
                    <a:cubicBezTo>
                      <a:pt x="77" y="54"/>
                      <a:pt x="86" y="46"/>
                      <a:pt x="78" y="45"/>
                    </a:cubicBezTo>
                    <a:cubicBezTo>
                      <a:pt x="70" y="44"/>
                      <a:pt x="65" y="59"/>
                      <a:pt x="65" y="59"/>
                    </a:cubicBezTo>
                    <a:cubicBezTo>
                      <a:pt x="65" y="59"/>
                      <a:pt x="60" y="58"/>
                      <a:pt x="45" y="58"/>
                    </a:cubicBezTo>
                    <a:cubicBezTo>
                      <a:pt x="30" y="58"/>
                      <a:pt x="44" y="85"/>
                      <a:pt x="44" y="85"/>
                    </a:cubicBezTo>
                    <a:cubicBezTo>
                      <a:pt x="35" y="87"/>
                      <a:pt x="35" y="87"/>
                      <a:pt x="35" y="87"/>
                    </a:cubicBezTo>
                    <a:cubicBezTo>
                      <a:pt x="35" y="87"/>
                      <a:pt x="39" y="96"/>
                      <a:pt x="33" y="98"/>
                    </a:cubicBezTo>
                    <a:cubicBezTo>
                      <a:pt x="27" y="100"/>
                      <a:pt x="19" y="102"/>
                      <a:pt x="19" y="102"/>
                    </a:cubicBezTo>
                    <a:cubicBezTo>
                      <a:pt x="0" y="102"/>
                      <a:pt x="0" y="102"/>
                      <a:pt x="0" y="102"/>
                    </a:cubicBezTo>
                    <a:cubicBezTo>
                      <a:pt x="32" y="136"/>
                      <a:pt x="32" y="136"/>
                      <a:pt x="32" y="136"/>
                    </a:cubicBezTo>
                    <a:cubicBezTo>
                      <a:pt x="32" y="136"/>
                      <a:pt x="40" y="167"/>
                      <a:pt x="50" y="175"/>
                    </a:cubicBezTo>
                    <a:cubicBezTo>
                      <a:pt x="59" y="182"/>
                      <a:pt x="77" y="196"/>
                      <a:pt x="80" y="199"/>
                    </a:cubicBezTo>
                    <a:cubicBezTo>
                      <a:pt x="83" y="198"/>
                      <a:pt x="89" y="197"/>
                      <a:pt x="92" y="198"/>
                    </a:cubicBezTo>
                    <a:cubicBezTo>
                      <a:pt x="92" y="197"/>
                      <a:pt x="92" y="197"/>
                      <a:pt x="92" y="197"/>
                    </a:cubicBezTo>
                    <a:cubicBezTo>
                      <a:pt x="89" y="195"/>
                      <a:pt x="78" y="191"/>
                      <a:pt x="81" y="187"/>
                    </a:cubicBezTo>
                    <a:cubicBezTo>
                      <a:pt x="84" y="183"/>
                      <a:pt x="99" y="188"/>
                      <a:pt x="95" y="181"/>
                    </a:cubicBezTo>
                    <a:cubicBezTo>
                      <a:pt x="91" y="175"/>
                      <a:pt x="90" y="175"/>
                      <a:pt x="90" y="175"/>
                    </a:cubicBezTo>
                    <a:cubicBezTo>
                      <a:pt x="90" y="175"/>
                      <a:pt x="79" y="179"/>
                      <a:pt x="79" y="177"/>
                    </a:cubicBezTo>
                    <a:cubicBezTo>
                      <a:pt x="78" y="175"/>
                      <a:pt x="72" y="147"/>
                      <a:pt x="79" y="149"/>
                    </a:cubicBezTo>
                    <a:cubicBezTo>
                      <a:pt x="86" y="151"/>
                      <a:pt x="119" y="177"/>
                      <a:pt x="123" y="185"/>
                    </a:cubicBezTo>
                    <a:cubicBezTo>
                      <a:pt x="126" y="189"/>
                      <a:pt x="127" y="197"/>
                      <a:pt x="128" y="204"/>
                    </a:cubicBezTo>
                    <a:cubicBezTo>
                      <a:pt x="129" y="204"/>
                      <a:pt x="131" y="204"/>
                      <a:pt x="132" y="204"/>
                    </a:cubicBezTo>
                    <a:cubicBezTo>
                      <a:pt x="145" y="205"/>
                      <a:pt x="150" y="211"/>
                      <a:pt x="150" y="211"/>
                    </a:cubicBezTo>
                    <a:cubicBezTo>
                      <a:pt x="150" y="211"/>
                      <a:pt x="150" y="223"/>
                      <a:pt x="162" y="223"/>
                    </a:cubicBezTo>
                    <a:cubicBezTo>
                      <a:pt x="168" y="223"/>
                      <a:pt x="176" y="222"/>
                      <a:pt x="183" y="220"/>
                    </a:cubicBezTo>
                    <a:cubicBezTo>
                      <a:pt x="180" y="218"/>
                      <a:pt x="170" y="205"/>
                      <a:pt x="170" y="192"/>
                    </a:cubicBezTo>
                    <a:cubicBezTo>
                      <a:pt x="170" y="177"/>
                      <a:pt x="182" y="181"/>
                      <a:pt x="182" y="172"/>
                    </a:cubicBezTo>
                    <a:cubicBezTo>
                      <a:pt x="182" y="163"/>
                      <a:pt x="177" y="151"/>
                      <a:pt x="177" y="151"/>
                    </a:cubicBezTo>
                    <a:cubicBezTo>
                      <a:pt x="181" y="119"/>
                      <a:pt x="181" y="119"/>
                      <a:pt x="181" y="119"/>
                    </a:cubicBezTo>
                    <a:cubicBezTo>
                      <a:pt x="191" y="131"/>
                      <a:pt x="191" y="131"/>
                      <a:pt x="191" y="131"/>
                    </a:cubicBezTo>
                    <a:cubicBezTo>
                      <a:pt x="194" y="74"/>
                      <a:pt x="194" y="74"/>
                      <a:pt x="194" y="74"/>
                    </a:cubicBezTo>
                    <a:cubicBezTo>
                      <a:pt x="194" y="74"/>
                      <a:pt x="200" y="53"/>
                      <a:pt x="209" y="44"/>
                    </a:cubicBezTo>
                    <a:cubicBezTo>
                      <a:pt x="218" y="35"/>
                      <a:pt x="220" y="20"/>
                      <a:pt x="218" y="15"/>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65" name="Freeform 87">
                <a:extLst>
                  <a:ext uri="{FF2B5EF4-FFF2-40B4-BE49-F238E27FC236}">
                    <a16:creationId xmlns:a16="http://schemas.microsoft.com/office/drawing/2014/main" id="{6330154E-3499-4187-9AF0-09E8FA5B9DBE}"/>
                  </a:ext>
                </a:extLst>
              </p:cNvPr>
              <p:cNvSpPr>
                <a:spLocks/>
              </p:cNvSpPr>
              <p:nvPr>
                <p:custDataLst>
                  <p:tags r:id="rId46"/>
                </p:custDataLst>
              </p:nvPr>
            </p:nvSpPr>
            <p:spPr bwMode="gray">
              <a:xfrm>
                <a:off x="2039926" y="4048140"/>
                <a:ext cx="98424" cy="87313"/>
              </a:xfrm>
              <a:custGeom>
                <a:avLst/>
                <a:gdLst>
                  <a:gd name="T0" fmla="*/ 146 w 162"/>
                  <a:gd name="T1" fmla="*/ 133 h 152"/>
                  <a:gd name="T2" fmla="*/ 159 w 162"/>
                  <a:gd name="T3" fmla="*/ 122 h 152"/>
                  <a:gd name="T4" fmla="*/ 145 w 162"/>
                  <a:gd name="T5" fmla="*/ 115 h 152"/>
                  <a:gd name="T6" fmla="*/ 145 w 162"/>
                  <a:gd name="T7" fmla="*/ 93 h 152"/>
                  <a:gd name="T8" fmla="*/ 162 w 162"/>
                  <a:gd name="T9" fmla="*/ 87 h 152"/>
                  <a:gd name="T10" fmla="*/ 140 w 162"/>
                  <a:gd name="T11" fmla="*/ 66 h 152"/>
                  <a:gd name="T12" fmla="*/ 124 w 162"/>
                  <a:gd name="T13" fmla="*/ 39 h 152"/>
                  <a:gd name="T14" fmla="*/ 122 w 162"/>
                  <a:gd name="T15" fmla="*/ 24 h 152"/>
                  <a:gd name="T16" fmla="*/ 122 w 162"/>
                  <a:gd name="T17" fmla="*/ 23 h 152"/>
                  <a:gd name="T18" fmla="*/ 122 w 162"/>
                  <a:gd name="T19" fmla="*/ 23 h 152"/>
                  <a:gd name="T20" fmla="*/ 101 w 162"/>
                  <a:gd name="T21" fmla="*/ 26 h 152"/>
                  <a:gd name="T22" fmla="*/ 89 w 162"/>
                  <a:gd name="T23" fmla="*/ 14 h 152"/>
                  <a:gd name="T24" fmla="*/ 71 w 162"/>
                  <a:gd name="T25" fmla="*/ 7 h 152"/>
                  <a:gd name="T26" fmla="*/ 59 w 162"/>
                  <a:gd name="T27" fmla="*/ 12 h 152"/>
                  <a:gd name="T28" fmla="*/ 33 w 162"/>
                  <a:gd name="T29" fmla="*/ 1 h 152"/>
                  <a:gd name="T30" fmla="*/ 19 w 162"/>
                  <a:gd name="T31" fmla="*/ 2 h 152"/>
                  <a:gd name="T32" fmla="*/ 19 w 162"/>
                  <a:gd name="T33" fmla="*/ 2 h 152"/>
                  <a:gd name="T34" fmla="*/ 10 w 162"/>
                  <a:gd name="T35" fmla="*/ 19 h 152"/>
                  <a:gd name="T36" fmla="*/ 20 w 162"/>
                  <a:gd name="T37" fmla="*/ 32 h 152"/>
                  <a:gd name="T38" fmla="*/ 9 w 162"/>
                  <a:gd name="T39" fmla="*/ 60 h 152"/>
                  <a:gd name="T40" fmla="*/ 33 w 162"/>
                  <a:gd name="T41" fmla="*/ 72 h 152"/>
                  <a:gd name="T42" fmla="*/ 53 w 162"/>
                  <a:gd name="T43" fmla="*/ 85 h 152"/>
                  <a:gd name="T44" fmla="*/ 51 w 162"/>
                  <a:gd name="T45" fmla="*/ 67 h 152"/>
                  <a:gd name="T46" fmla="*/ 33 w 162"/>
                  <a:gd name="T47" fmla="*/ 49 h 152"/>
                  <a:gd name="T48" fmla="*/ 67 w 162"/>
                  <a:gd name="T49" fmla="*/ 70 h 152"/>
                  <a:gd name="T50" fmla="*/ 68 w 162"/>
                  <a:gd name="T51" fmla="*/ 89 h 152"/>
                  <a:gd name="T52" fmla="*/ 95 w 162"/>
                  <a:gd name="T53" fmla="*/ 94 h 152"/>
                  <a:gd name="T54" fmla="*/ 108 w 162"/>
                  <a:gd name="T55" fmla="*/ 121 h 152"/>
                  <a:gd name="T56" fmla="*/ 108 w 162"/>
                  <a:gd name="T57" fmla="*/ 138 h 152"/>
                  <a:gd name="T58" fmla="*/ 131 w 162"/>
                  <a:gd name="T59" fmla="*/ 150 h 152"/>
                  <a:gd name="T60" fmla="*/ 122 w 162"/>
                  <a:gd name="T61" fmla="*/ 133 h 152"/>
                  <a:gd name="T62" fmla="*/ 141 w 162"/>
                  <a:gd name="T63" fmla="*/ 152 h 152"/>
                  <a:gd name="T64" fmla="*/ 145 w 162"/>
                  <a:gd name="T65" fmla="*/ 147 h 152"/>
                  <a:gd name="T66" fmla="*/ 146 w 162"/>
                  <a:gd name="T67" fmla="*/ 13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2" h="152">
                    <a:moveTo>
                      <a:pt x="146" y="133"/>
                    </a:moveTo>
                    <a:cubicBezTo>
                      <a:pt x="146" y="133"/>
                      <a:pt x="159" y="127"/>
                      <a:pt x="159" y="122"/>
                    </a:cubicBezTo>
                    <a:cubicBezTo>
                      <a:pt x="159" y="117"/>
                      <a:pt x="145" y="115"/>
                      <a:pt x="145" y="115"/>
                    </a:cubicBezTo>
                    <a:cubicBezTo>
                      <a:pt x="145" y="115"/>
                      <a:pt x="135" y="96"/>
                      <a:pt x="145" y="93"/>
                    </a:cubicBezTo>
                    <a:cubicBezTo>
                      <a:pt x="151" y="91"/>
                      <a:pt x="158" y="88"/>
                      <a:pt x="162" y="87"/>
                    </a:cubicBezTo>
                    <a:cubicBezTo>
                      <a:pt x="154" y="82"/>
                      <a:pt x="143" y="75"/>
                      <a:pt x="140" y="66"/>
                    </a:cubicBezTo>
                    <a:cubicBezTo>
                      <a:pt x="136" y="53"/>
                      <a:pt x="124" y="39"/>
                      <a:pt x="124" y="39"/>
                    </a:cubicBezTo>
                    <a:cubicBezTo>
                      <a:pt x="122" y="24"/>
                      <a:pt x="122" y="24"/>
                      <a:pt x="122" y="24"/>
                    </a:cubicBezTo>
                    <a:cubicBezTo>
                      <a:pt x="122" y="24"/>
                      <a:pt x="122" y="24"/>
                      <a:pt x="122" y="23"/>
                    </a:cubicBezTo>
                    <a:cubicBezTo>
                      <a:pt x="122" y="23"/>
                      <a:pt x="122" y="23"/>
                      <a:pt x="122" y="23"/>
                    </a:cubicBezTo>
                    <a:cubicBezTo>
                      <a:pt x="115" y="25"/>
                      <a:pt x="107" y="26"/>
                      <a:pt x="101" y="26"/>
                    </a:cubicBezTo>
                    <a:cubicBezTo>
                      <a:pt x="89" y="26"/>
                      <a:pt x="89" y="14"/>
                      <a:pt x="89" y="14"/>
                    </a:cubicBezTo>
                    <a:cubicBezTo>
                      <a:pt x="89" y="14"/>
                      <a:pt x="84" y="8"/>
                      <a:pt x="71" y="7"/>
                    </a:cubicBezTo>
                    <a:cubicBezTo>
                      <a:pt x="58" y="6"/>
                      <a:pt x="59" y="12"/>
                      <a:pt x="59" y="12"/>
                    </a:cubicBezTo>
                    <a:cubicBezTo>
                      <a:pt x="59" y="12"/>
                      <a:pt x="39" y="3"/>
                      <a:pt x="33" y="1"/>
                    </a:cubicBezTo>
                    <a:cubicBezTo>
                      <a:pt x="29" y="0"/>
                      <a:pt x="23" y="1"/>
                      <a:pt x="19" y="2"/>
                    </a:cubicBezTo>
                    <a:cubicBezTo>
                      <a:pt x="19" y="2"/>
                      <a:pt x="19" y="2"/>
                      <a:pt x="19" y="2"/>
                    </a:cubicBezTo>
                    <a:cubicBezTo>
                      <a:pt x="10" y="19"/>
                      <a:pt x="10" y="19"/>
                      <a:pt x="10" y="19"/>
                    </a:cubicBezTo>
                    <a:cubicBezTo>
                      <a:pt x="10" y="19"/>
                      <a:pt x="26" y="28"/>
                      <a:pt x="20" y="32"/>
                    </a:cubicBezTo>
                    <a:cubicBezTo>
                      <a:pt x="14" y="36"/>
                      <a:pt x="0" y="46"/>
                      <a:pt x="9" y="60"/>
                    </a:cubicBezTo>
                    <a:cubicBezTo>
                      <a:pt x="18" y="74"/>
                      <a:pt x="33" y="72"/>
                      <a:pt x="33" y="72"/>
                    </a:cubicBezTo>
                    <a:cubicBezTo>
                      <a:pt x="33" y="72"/>
                      <a:pt x="50" y="92"/>
                      <a:pt x="53" y="85"/>
                    </a:cubicBezTo>
                    <a:cubicBezTo>
                      <a:pt x="56" y="78"/>
                      <a:pt x="51" y="67"/>
                      <a:pt x="51" y="67"/>
                    </a:cubicBezTo>
                    <a:cubicBezTo>
                      <a:pt x="51" y="67"/>
                      <a:pt x="24" y="49"/>
                      <a:pt x="33" y="49"/>
                    </a:cubicBezTo>
                    <a:cubicBezTo>
                      <a:pt x="42" y="49"/>
                      <a:pt x="67" y="70"/>
                      <a:pt x="67" y="70"/>
                    </a:cubicBezTo>
                    <a:cubicBezTo>
                      <a:pt x="67" y="70"/>
                      <a:pt x="64" y="89"/>
                      <a:pt x="68" y="89"/>
                    </a:cubicBezTo>
                    <a:cubicBezTo>
                      <a:pt x="72" y="89"/>
                      <a:pt x="95" y="94"/>
                      <a:pt x="95" y="94"/>
                    </a:cubicBezTo>
                    <a:cubicBezTo>
                      <a:pt x="108" y="121"/>
                      <a:pt x="108" y="121"/>
                      <a:pt x="108" y="121"/>
                    </a:cubicBezTo>
                    <a:cubicBezTo>
                      <a:pt x="108" y="121"/>
                      <a:pt x="99" y="129"/>
                      <a:pt x="108" y="138"/>
                    </a:cubicBezTo>
                    <a:cubicBezTo>
                      <a:pt x="117" y="147"/>
                      <a:pt x="131" y="150"/>
                      <a:pt x="131" y="150"/>
                    </a:cubicBezTo>
                    <a:cubicBezTo>
                      <a:pt x="122" y="133"/>
                      <a:pt x="122" y="133"/>
                      <a:pt x="122" y="133"/>
                    </a:cubicBezTo>
                    <a:cubicBezTo>
                      <a:pt x="141" y="152"/>
                      <a:pt x="141" y="152"/>
                      <a:pt x="141" y="152"/>
                    </a:cubicBezTo>
                    <a:cubicBezTo>
                      <a:pt x="145" y="147"/>
                      <a:pt x="145" y="147"/>
                      <a:pt x="145" y="147"/>
                    </a:cubicBezTo>
                    <a:lnTo>
                      <a:pt x="146" y="133"/>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66" name="Freeform 88">
                <a:extLst>
                  <a:ext uri="{FF2B5EF4-FFF2-40B4-BE49-F238E27FC236}">
                    <a16:creationId xmlns:a16="http://schemas.microsoft.com/office/drawing/2014/main" id="{DF7C6240-55A0-4627-99C6-42526FD92EA6}"/>
                  </a:ext>
                </a:extLst>
              </p:cNvPr>
              <p:cNvSpPr>
                <a:spLocks noEditPoints="1"/>
              </p:cNvSpPr>
              <p:nvPr>
                <p:custDataLst>
                  <p:tags r:id="rId47"/>
                </p:custDataLst>
              </p:nvPr>
            </p:nvSpPr>
            <p:spPr bwMode="gray">
              <a:xfrm>
                <a:off x="1235068" y="2911486"/>
                <a:ext cx="1568442" cy="722316"/>
              </a:xfrm>
              <a:custGeom>
                <a:avLst/>
                <a:gdLst>
                  <a:gd name="T0" fmla="*/ 2480 w 2609"/>
                  <a:gd name="T1" fmla="*/ 201 h 1304"/>
                  <a:gd name="T2" fmla="*/ 2188 w 2609"/>
                  <a:gd name="T3" fmla="*/ 278 h 1304"/>
                  <a:gd name="T4" fmla="*/ 2132 w 2609"/>
                  <a:gd name="T5" fmla="*/ 324 h 1304"/>
                  <a:gd name="T6" fmla="*/ 2049 w 2609"/>
                  <a:gd name="T7" fmla="*/ 357 h 1304"/>
                  <a:gd name="T8" fmla="*/ 1824 w 2609"/>
                  <a:gd name="T9" fmla="*/ 413 h 1304"/>
                  <a:gd name="T10" fmla="*/ 1906 w 2609"/>
                  <a:gd name="T11" fmla="*/ 294 h 1304"/>
                  <a:gd name="T12" fmla="*/ 1888 w 2609"/>
                  <a:gd name="T13" fmla="*/ 211 h 1304"/>
                  <a:gd name="T14" fmla="*/ 1909 w 2609"/>
                  <a:gd name="T15" fmla="*/ 159 h 1304"/>
                  <a:gd name="T16" fmla="*/ 1821 w 2609"/>
                  <a:gd name="T17" fmla="*/ 151 h 1304"/>
                  <a:gd name="T18" fmla="*/ 1700 w 2609"/>
                  <a:gd name="T19" fmla="*/ 142 h 1304"/>
                  <a:gd name="T20" fmla="*/ 1667 w 2609"/>
                  <a:gd name="T21" fmla="*/ 101 h 1304"/>
                  <a:gd name="T22" fmla="*/ 1627 w 2609"/>
                  <a:gd name="T23" fmla="*/ 67 h 1304"/>
                  <a:gd name="T24" fmla="*/ 1510 w 2609"/>
                  <a:gd name="T25" fmla="*/ 35 h 1304"/>
                  <a:gd name="T26" fmla="*/ 292 w 2609"/>
                  <a:gd name="T27" fmla="*/ 130 h 1304"/>
                  <a:gd name="T28" fmla="*/ 255 w 2609"/>
                  <a:gd name="T29" fmla="*/ 78 h 1304"/>
                  <a:gd name="T30" fmla="*/ 250 w 2609"/>
                  <a:gd name="T31" fmla="*/ 177 h 1304"/>
                  <a:gd name="T32" fmla="*/ 66 w 2609"/>
                  <a:gd name="T33" fmla="*/ 387 h 1304"/>
                  <a:gd name="T34" fmla="*/ 29 w 2609"/>
                  <a:gd name="T35" fmla="*/ 605 h 1304"/>
                  <a:gd name="T36" fmla="*/ 20 w 2609"/>
                  <a:gd name="T37" fmla="*/ 688 h 1304"/>
                  <a:gd name="T38" fmla="*/ 108 w 2609"/>
                  <a:gd name="T39" fmla="*/ 822 h 1304"/>
                  <a:gd name="T40" fmla="*/ 380 w 2609"/>
                  <a:gd name="T41" fmla="*/ 973 h 1304"/>
                  <a:gd name="T42" fmla="*/ 625 w 2609"/>
                  <a:gd name="T43" fmla="*/ 975 h 1304"/>
                  <a:gd name="T44" fmla="*/ 756 w 2609"/>
                  <a:gd name="T45" fmla="*/ 1047 h 1304"/>
                  <a:gd name="T46" fmla="*/ 851 w 2609"/>
                  <a:gd name="T47" fmla="*/ 1169 h 1304"/>
                  <a:gd name="T48" fmla="*/ 914 w 2609"/>
                  <a:gd name="T49" fmla="*/ 1254 h 1304"/>
                  <a:gd name="T50" fmla="*/ 950 w 2609"/>
                  <a:gd name="T51" fmla="*/ 1180 h 1304"/>
                  <a:gd name="T52" fmla="*/ 999 w 2609"/>
                  <a:gd name="T53" fmla="*/ 1128 h 1304"/>
                  <a:gd name="T54" fmla="*/ 1143 w 2609"/>
                  <a:gd name="T55" fmla="*/ 1040 h 1304"/>
                  <a:gd name="T56" fmla="*/ 1288 w 2609"/>
                  <a:gd name="T57" fmla="*/ 1079 h 1304"/>
                  <a:gd name="T58" fmla="*/ 1354 w 2609"/>
                  <a:gd name="T59" fmla="*/ 1087 h 1304"/>
                  <a:gd name="T60" fmla="*/ 1365 w 2609"/>
                  <a:gd name="T61" fmla="*/ 1024 h 1304"/>
                  <a:gd name="T62" fmla="*/ 1487 w 2609"/>
                  <a:gd name="T63" fmla="*/ 1024 h 1304"/>
                  <a:gd name="T64" fmla="*/ 1616 w 2609"/>
                  <a:gd name="T65" fmla="*/ 1079 h 1304"/>
                  <a:gd name="T66" fmla="*/ 1634 w 2609"/>
                  <a:gd name="T67" fmla="*/ 1212 h 1304"/>
                  <a:gd name="T68" fmla="*/ 1681 w 2609"/>
                  <a:gd name="T69" fmla="*/ 1304 h 1304"/>
                  <a:gd name="T70" fmla="*/ 1730 w 2609"/>
                  <a:gd name="T71" fmla="*/ 1112 h 1304"/>
                  <a:gd name="T72" fmla="*/ 1780 w 2609"/>
                  <a:gd name="T73" fmla="*/ 919 h 1304"/>
                  <a:gd name="T74" fmla="*/ 1864 w 2609"/>
                  <a:gd name="T75" fmla="*/ 859 h 1304"/>
                  <a:gd name="T76" fmla="*/ 2013 w 2609"/>
                  <a:gd name="T77" fmla="*/ 773 h 1304"/>
                  <a:gd name="T78" fmla="*/ 2015 w 2609"/>
                  <a:gd name="T79" fmla="*/ 726 h 1304"/>
                  <a:gd name="T80" fmla="*/ 2016 w 2609"/>
                  <a:gd name="T81" fmla="*/ 647 h 1304"/>
                  <a:gd name="T82" fmla="*/ 2025 w 2609"/>
                  <a:gd name="T83" fmla="*/ 586 h 1304"/>
                  <a:gd name="T84" fmla="*/ 2077 w 2609"/>
                  <a:gd name="T85" fmla="*/ 596 h 1304"/>
                  <a:gd name="T86" fmla="*/ 2136 w 2609"/>
                  <a:gd name="T87" fmla="*/ 513 h 1304"/>
                  <a:gd name="T88" fmla="*/ 2240 w 2609"/>
                  <a:gd name="T89" fmla="*/ 475 h 1304"/>
                  <a:gd name="T90" fmla="*/ 2355 w 2609"/>
                  <a:gd name="T91" fmla="*/ 411 h 1304"/>
                  <a:gd name="T92" fmla="*/ 2409 w 2609"/>
                  <a:gd name="T93" fmla="*/ 388 h 1304"/>
                  <a:gd name="T94" fmla="*/ 2423 w 2609"/>
                  <a:gd name="T95" fmla="*/ 324 h 1304"/>
                  <a:gd name="T96" fmla="*/ 2556 w 2609"/>
                  <a:gd name="T97" fmla="*/ 260 h 1304"/>
                  <a:gd name="T98" fmla="*/ 2582 w 2609"/>
                  <a:gd name="T99" fmla="*/ 202 h 1304"/>
                  <a:gd name="T100" fmla="*/ 1784 w 2609"/>
                  <a:gd name="T101" fmla="*/ 255 h 1304"/>
                  <a:gd name="T102" fmla="*/ 1734 w 2609"/>
                  <a:gd name="T103" fmla="*/ 342 h 1304"/>
                  <a:gd name="T104" fmla="*/ 1687 w 2609"/>
                  <a:gd name="T105" fmla="*/ 307 h 1304"/>
                  <a:gd name="T106" fmla="*/ 1772 w 2609"/>
                  <a:gd name="T107" fmla="*/ 194 h 1304"/>
                  <a:gd name="T108" fmla="*/ 1862 w 2609"/>
                  <a:gd name="T109" fmla="*/ 199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09" h="1304">
                    <a:moveTo>
                      <a:pt x="2570" y="119"/>
                    </a:moveTo>
                    <a:cubicBezTo>
                      <a:pt x="2558" y="119"/>
                      <a:pt x="2567" y="110"/>
                      <a:pt x="2554" y="110"/>
                    </a:cubicBezTo>
                    <a:cubicBezTo>
                      <a:pt x="2541" y="110"/>
                      <a:pt x="2530" y="131"/>
                      <a:pt x="2530" y="131"/>
                    </a:cubicBezTo>
                    <a:cubicBezTo>
                      <a:pt x="2503" y="150"/>
                      <a:pt x="2503" y="150"/>
                      <a:pt x="2503" y="150"/>
                    </a:cubicBezTo>
                    <a:cubicBezTo>
                      <a:pt x="2503" y="164"/>
                      <a:pt x="2503" y="164"/>
                      <a:pt x="2503" y="164"/>
                    </a:cubicBezTo>
                    <a:cubicBezTo>
                      <a:pt x="2503" y="164"/>
                      <a:pt x="2495" y="172"/>
                      <a:pt x="2489" y="172"/>
                    </a:cubicBezTo>
                    <a:cubicBezTo>
                      <a:pt x="2483" y="172"/>
                      <a:pt x="2480" y="194"/>
                      <a:pt x="2480" y="201"/>
                    </a:cubicBezTo>
                    <a:cubicBezTo>
                      <a:pt x="2480" y="208"/>
                      <a:pt x="2473" y="201"/>
                      <a:pt x="2463" y="201"/>
                    </a:cubicBezTo>
                    <a:cubicBezTo>
                      <a:pt x="2454" y="201"/>
                      <a:pt x="2443" y="222"/>
                      <a:pt x="2443" y="222"/>
                    </a:cubicBezTo>
                    <a:cubicBezTo>
                      <a:pt x="2443" y="222"/>
                      <a:pt x="2435" y="223"/>
                      <a:pt x="2423" y="223"/>
                    </a:cubicBezTo>
                    <a:cubicBezTo>
                      <a:pt x="2411" y="223"/>
                      <a:pt x="2411" y="238"/>
                      <a:pt x="2411" y="238"/>
                    </a:cubicBezTo>
                    <a:cubicBezTo>
                      <a:pt x="2411" y="238"/>
                      <a:pt x="2280" y="238"/>
                      <a:pt x="2263" y="238"/>
                    </a:cubicBezTo>
                    <a:cubicBezTo>
                      <a:pt x="2246" y="238"/>
                      <a:pt x="2212" y="276"/>
                      <a:pt x="2204" y="276"/>
                    </a:cubicBezTo>
                    <a:cubicBezTo>
                      <a:pt x="2196" y="276"/>
                      <a:pt x="2194" y="278"/>
                      <a:pt x="2188" y="278"/>
                    </a:cubicBezTo>
                    <a:cubicBezTo>
                      <a:pt x="2187" y="278"/>
                      <a:pt x="2185" y="279"/>
                      <a:pt x="2183" y="280"/>
                    </a:cubicBezTo>
                    <a:cubicBezTo>
                      <a:pt x="2188" y="285"/>
                      <a:pt x="2189" y="291"/>
                      <a:pt x="2189" y="291"/>
                    </a:cubicBezTo>
                    <a:cubicBezTo>
                      <a:pt x="2189" y="291"/>
                      <a:pt x="2188" y="299"/>
                      <a:pt x="2181" y="305"/>
                    </a:cubicBezTo>
                    <a:cubicBezTo>
                      <a:pt x="2174" y="311"/>
                      <a:pt x="2174" y="321"/>
                      <a:pt x="2174" y="321"/>
                    </a:cubicBezTo>
                    <a:cubicBezTo>
                      <a:pt x="2162" y="320"/>
                      <a:pt x="2162" y="320"/>
                      <a:pt x="2162" y="320"/>
                    </a:cubicBezTo>
                    <a:cubicBezTo>
                      <a:pt x="2162" y="320"/>
                      <a:pt x="2162" y="324"/>
                      <a:pt x="2150" y="329"/>
                    </a:cubicBezTo>
                    <a:cubicBezTo>
                      <a:pt x="2138" y="334"/>
                      <a:pt x="2132" y="324"/>
                      <a:pt x="2132" y="324"/>
                    </a:cubicBezTo>
                    <a:cubicBezTo>
                      <a:pt x="2132" y="324"/>
                      <a:pt x="2127" y="332"/>
                      <a:pt x="2114" y="333"/>
                    </a:cubicBezTo>
                    <a:cubicBezTo>
                      <a:pt x="2101" y="334"/>
                      <a:pt x="2097" y="324"/>
                      <a:pt x="2088" y="323"/>
                    </a:cubicBezTo>
                    <a:cubicBezTo>
                      <a:pt x="2079" y="322"/>
                      <a:pt x="2072" y="330"/>
                      <a:pt x="2051" y="335"/>
                    </a:cubicBezTo>
                    <a:cubicBezTo>
                      <a:pt x="2050" y="335"/>
                      <a:pt x="2048" y="336"/>
                      <a:pt x="2047" y="336"/>
                    </a:cubicBezTo>
                    <a:cubicBezTo>
                      <a:pt x="2048" y="340"/>
                      <a:pt x="2048" y="344"/>
                      <a:pt x="2046" y="350"/>
                    </a:cubicBezTo>
                    <a:cubicBezTo>
                      <a:pt x="2045" y="352"/>
                      <a:pt x="2043" y="354"/>
                      <a:pt x="2040" y="357"/>
                    </a:cubicBezTo>
                    <a:cubicBezTo>
                      <a:pt x="2049" y="357"/>
                      <a:pt x="2049" y="357"/>
                      <a:pt x="2049" y="357"/>
                    </a:cubicBezTo>
                    <a:cubicBezTo>
                      <a:pt x="2049" y="357"/>
                      <a:pt x="1969" y="398"/>
                      <a:pt x="1961" y="401"/>
                    </a:cubicBezTo>
                    <a:cubicBezTo>
                      <a:pt x="1953" y="404"/>
                      <a:pt x="1945" y="407"/>
                      <a:pt x="1925" y="412"/>
                    </a:cubicBezTo>
                    <a:cubicBezTo>
                      <a:pt x="1905" y="417"/>
                      <a:pt x="1897" y="423"/>
                      <a:pt x="1890" y="426"/>
                    </a:cubicBezTo>
                    <a:cubicBezTo>
                      <a:pt x="1883" y="429"/>
                      <a:pt x="1871" y="427"/>
                      <a:pt x="1871" y="427"/>
                    </a:cubicBezTo>
                    <a:cubicBezTo>
                      <a:pt x="1871" y="427"/>
                      <a:pt x="1871" y="432"/>
                      <a:pt x="1859" y="433"/>
                    </a:cubicBezTo>
                    <a:cubicBezTo>
                      <a:pt x="1847" y="434"/>
                      <a:pt x="1846" y="423"/>
                      <a:pt x="1846" y="423"/>
                    </a:cubicBezTo>
                    <a:cubicBezTo>
                      <a:pt x="1846" y="423"/>
                      <a:pt x="1824" y="420"/>
                      <a:pt x="1824" y="413"/>
                    </a:cubicBezTo>
                    <a:cubicBezTo>
                      <a:pt x="1824" y="413"/>
                      <a:pt x="1837" y="407"/>
                      <a:pt x="1848" y="402"/>
                    </a:cubicBezTo>
                    <a:cubicBezTo>
                      <a:pt x="1847" y="401"/>
                      <a:pt x="1847" y="400"/>
                      <a:pt x="1846" y="400"/>
                    </a:cubicBezTo>
                    <a:cubicBezTo>
                      <a:pt x="1836" y="390"/>
                      <a:pt x="1881" y="368"/>
                      <a:pt x="1889" y="368"/>
                    </a:cubicBezTo>
                    <a:cubicBezTo>
                      <a:pt x="1897" y="368"/>
                      <a:pt x="1895" y="347"/>
                      <a:pt x="1895" y="347"/>
                    </a:cubicBezTo>
                    <a:cubicBezTo>
                      <a:pt x="1895" y="347"/>
                      <a:pt x="1898" y="343"/>
                      <a:pt x="1902" y="338"/>
                    </a:cubicBezTo>
                    <a:cubicBezTo>
                      <a:pt x="1902" y="337"/>
                      <a:pt x="1901" y="337"/>
                      <a:pt x="1901" y="337"/>
                    </a:cubicBezTo>
                    <a:cubicBezTo>
                      <a:pt x="1895" y="331"/>
                      <a:pt x="1908" y="302"/>
                      <a:pt x="1906" y="294"/>
                    </a:cubicBezTo>
                    <a:cubicBezTo>
                      <a:pt x="1904" y="286"/>
                      <a:pt x="1890" y="293"/>
                      <a:pt x="1884" y="298"/>
                    </a:cubicBezTo>
                    <a:cubicBezTo>
                      <a:pt x="1878" y="303"/>
                      <a:pt x="1850" y="321"/>
                      <a:pt x="1848" y="308"/>
                    </a:cubicBezTo>
                    <a:cubicBezTo>
                      <a:pt x="1847" y="302"/>
                      <a:pt x="1871" y="288"/>
                      <a:pt x="1874" y="283"/>
                    </a:cubicBezTo>
                    <a:cubicBezTo>
                      <a:pt x="1877" y="278"/>
                      <a:pt x="1888" y="275"/>
                      <a:pt x="1897" y="269"/>
                    </a:cubicBezTo>
                    <a:cubicBezTo>
                      <a:pt x="1906" y="263"/>
                      <a:pt x="1898" y="240"/>
                      <a:pt x="1898" y="240"/>
                    </a:cubicBezTo>
                    <a:cubicBezTo>
                      <a:pt x="1898" y="240"/>
                      <a:pt x="1901" y="245"/>
                      <a:pt x="1909" y="228"/>
                    </a:cubicBezTo>
                    <a:cubicBezTo>
                      <a:pt x="1917" y="211"/>
                      <a:pt x="1897" y="218"/>
                      <a:pt x="1888" y="211"/>
                    </a:cubicBezTo>
                    <a:cubicBezTo>
                      <a:pt x="1879" y="204"/>
                      <a:pt x="1879" y="198"/>
                      <a:pt x="1879" y="198"/>
                    </a:cubicBezTo>
                    <a:cubicBezTo>
                      <a:pt x="1879" y="198"/>
                      <a:pt x="1876" y="205"/>
                      <a:pt x="1871" y="200"/>
                    </a:cubicBezTo>
                    <a:cubicBezTo>
                      <a:pt x="1866" y="195"/>
                      <a:pt x="1872" y="185"/>
                      <a:pt x="1872" y="185"/>
                    </a:cubicBezTo>
                    <a:cubicBezTo>
                      <a:pt x="1896" y="189"/>
                      <a:pt x="1896" y="189"/>
                      <a:pt x="1896" y="189"/>
                    </a:cubicBezTo>
                    <a:cubicBezTo>
                      <a:pt x="1896" y="189"/>
                      <a:pt x="1900" y="186"/>
                      <a:pt x="1897" y="178"/>
                    </a:cubicBezTo>
                    <a:cubicBezTo>
                      <a:pt x="1896" y="174"/>
                      <a:pt x="1900" y="174"/>
                      <a:pt x="1905" y="174"/>
                    </a:cubicBezTo>
                    <a:cubicBezTo>
                      <a:pt x="1909" y="159"/>
                      <a:pt x="1909" y="159"/>
                      <a:pt x="1909" y="159"/>
                    </a:cubicBezTo>
                    <a:cubicBezTo>
                      <a:pt x="1896" y="159"/>
                      <a:pt x="1896" y="159"/>
                      <a:pt x="1896" y="159"/>
                    </a:cubicBezTo>
                    <a:cubicBezTo>
                      <a:pt x="1894" y="167"/>
                      <a:pt x="1894" y="167"/>
                      <a:pt x="1894" y="167"/>
                    </a:cubicBezTo>
                    <a:cubicBezTo>
                      <a:pt x="1878" y="161"/>
                      <a:pt x="1878" y="161"/>
                      <a:pt x="1878" y="161"/>
                    </a:cubicBezTo>
                    <a:cubicBezTo>
                      <a:pt x="1877" y="147"/>
                      <a:pt x="1877" y="147"/>
                      <a:pt x="1877" y="147"/>
                    </a:cubicBezTo>
                    <a:cubicBezTo>
                      <a:pt x="1868" y="149"/>
                      <a:pt x="1868" y="149"/>
                      <a:pt x="1868" y="149"/>
                    </a:cubicBezTo>
                    <a:cubicBezTo>
                      <a:pt x="1857" y="154"/>
                      <a:pt x="1857" y="154"/>
                      <a:pt x="1857" y="154"/>
                    </a:cubicBezTo>
                    <a:cubicBezTo>
                      <a:pt x="1821" y="151"/>
                      <a:pt x="1821" y="151"/>
                      <a:pt x="1821" y="151"/>
                    </a:cubicBezTo>
                    <a:cubicBezTo>
                      <a:pt x="1821" y="151"/>
                      <a:pt x="1808" y="162"/>
                      <a:pt x="1787" y="160"/>
                    </a:cubicBezTo>
                    <a:cubicBezTo>
                      <a:pt x="1766" y="158"/>
                      <a:pt x="1771" y="144"/>
                      <a:pt x="1767" y="139"/>
                    </a:cubicBezTo>
                    <a:cubicBezTo>
                      <a:pt x="1763" y="134"/>
                      <a:pt x="1743" y="145"/>
                      <a:pt x="1740" y="136"/>
                    </a:cubicBezTo>
                    <a:cubicBezTo>
                      <a:pt x="1777" y="115"/>
                      <a:pt x="1777" y="115"/>
                      <a:pt x="1777" y="115"/>
                    </a:cubicBezTo>
                    <a:cubicBezTo>
                      <a:pt x="1777" y="115"/>
                      <a:pt x="1772" y="110"/>
                      <a:pt x="1765" y="110"/>
                    </a:cubicBezTo>
                    <a:cubicBezTo>
                      <a:pt x="1758" y="110"/>
                      <a:pt x="1744" y="122"/>
                      <a:pt x="1740" y="123"/>
                    </a:cubicBezTo>
                    <a:cubicBezTo>
                      <a:pt x="1736" y="124"/>
                      <a:pt x="1714" y="137"/>
                      <a:pt x="1700" y="142"/>
                    </a:cubicBezTo>
                    <a:cubicBezTo>
                      <a:pt x="1686" y="147"/>
                      <a:pt x="1670" y="144"/>
                      <a:pt x="1670" y="144"/>
                    </a:cubicBezTo>
                    <a:cubicBezTo>
                      <a:pt x="1664" y="153"/>
                      <a:pt x="1664" y="153"/>
                      <a:pt x="1664" y="153"/>
                    </a:cubicBezTo>
                    <a:cubicBezTo>
                      <a:pt x="1664" y="153"/>
                      <a:pt x="1640" y="155"/>
                      <a:pt x="1631" y="154"/>
                    </a:cubicBezTo>
                    <a:cubicBezTo>
                      <a:pt x="1622" y="153"/>
                      <a:pt x="1646" y="136"/>
                      <a:pt x="1646" y="136"/>
                    </a:cubicBezTo>
                    <a:cubicBezTo>
                      <a:pt x="1646" y="136"/>
                      <a:pt x="1636" y="140"/>
                      <a:pt x="1617" y="141"/>
                    </a:cubicBezTo>
                    <a:cubicBezTo>
                      <a:pt x="1598" y="142"/>
                      <a:pt x="1596" y="154"/>
                      <a:pt x="1579" y="148"/>
                    </a:cubicBezTo>
                    <a:cubicBezTo>
                      <a:pt x="1562" y="142"/>
                      <a:pt x="1655" y="109"/>
                      <a:pt x="1667" y="101"/>
                    </a:cubicBezTo>
                    <a:cubicBezTo>
                      <a:pt x="1679" y="93"/>
                      <a:pt x="1694" y="90"/>
                      <a:pt x="1713" y="86"/>
                    </a:cubicBezTo>
                    <a:cubicBezTo>
                      <a:pt x="1718" y="85"/>
                      <a:pt x="1722" y="83"/>
                      <a:pt x="1726" y="80"/>
                    </a:cubicBezTo>
                    <a:cubicBezTo>
                      <a:pt x="1698" y="80"/>
                      <a:pt x="1701" y="74"/>
                      <a:pt x="1701" y="74"/>
                    </a:cubicBezTo>
                    <a:cubicBezTo>
                      <a:pt x="1671" y="75"/>
                      <a:pt x="1671" y="75"/>
                      <a:pt x="1671" y="75"/>
                    </a:cubicBezTo>
                    <a:cubicBezTo>
                      <a:pt x="1671" y="65"/>
                      <a:pt x="1671" y="65"/>
                      <a:pt x="1671" y="65"/>
                    </a:cubicBezTo>
                    <a:cubicBezTo>
                      <a:pt x="1671" y="65"/>
                      <a:pt x="1655" y="76"/>
                      <a:pt x="1649" y="82"/>
                    </a:cubicBezTo>
                    <a:cubicBezTo>
                      <a:pt x="1643" y="88"/>
                      <a:pt x="1630" y="64"/>
                      <a:pt x="1627" y="67"/>
                    </a:cubicBezTo>
                    <a:cubicBezTo>
                      <a:pt x="1624" y="70"/>
                      <a:pt x="1617" y="67"/>
                      <a:pt x="1611" y="67"/>
                    </a:cubicBezTo>
                    <a:cubicBezTo>
                      <a:pt x="1605" y="67"/>
                      <a:pt x="1602" y="47"/>
                      <a:pt x="1589" y="47"/>
                    </a:cubicBezTo>
                    <a:cubicBezTo>
                      <a:pt x="1576" y="47"/>
                      <a:pt x="1578" y="59"/>
                      <a:pt x="1570" y="59"/>
                    </a:cubicBezTo>
                    <a:cubicBezTo>
                      <a:pt x="1562" y="59"/>
                      <a:pt x="1555" y="49"/>
                      <a:pt x="1555" y="49"/>
                    </a:cubicBezTo>
                    <a:cubicBezTo>
                      <a:pt x="1555" y="49"/>
                      <a:pt x="1536" y="48"/>
                      <a:pt x="1528" y="40"/>
                    </a:cubicBezTo>
                    <a:cubicBezTo>
                      <a:pt x="1519" y="31"/>
                      <a:pt x="1544" y="21"/>
                      <a:pt x="1534" y="11"/>
                    </a:cubicBezTo>
                    <a:cubicBezTo>
                      <a:pt x="1524" y="0"/>
                      <a:pt x="1510" y="35"/>
                      <a:pt x="1510" y="35"/>
                    </a:cubicBezTo>
                    <a:cubicBezTo>
                      <a:pt x="368" y="35"/>
                      <a:pt x="368" y="35"/>
                      <a:pt x="368" y="35"/>
                    </a:cubicBezTo>
                    <a:cubicBezTo>
                      <a:pt x="367" y="42"/>
                      <a:pt x="365" y="48"/>
                      <a:pt x="364" y="50"/>
                    </a:cubicBezTo>
                    <a:cubicBezTo>
                      <a:pt x="360" y="56"/>
                      <a:pt x="359" y="80"/>
                      <a:pt x="359" y="80"/>
                    </a:cubicBezTo>
                    <a:cubicBezTo>
                      <a:pt x="337" y="92"/>
                      <a:pt x="337" y="92"/>
                      <a:pt x="337" y="92"/>
                    </a:cubicBezTo>
                    <a:cubicBezTo>
                      <a:pt x="335" y="104"/>
                      <a:pt x="335" y="104"/>
                      <a:pt x="335" y="104"/>
                    </a:cubicBezTo>
                    <a:cubicBezTo>
                      <a:pt x="324" y="119"/>
                      <a:pt x="324" y="119"/>
                      <a:pt x="324" y="119"/>
                    </a:cubicBezTo>
                    <a:cubicBezTo>
                      <a:pt x="292" y="130"/>
                      <a:pt x="292" y="130"/>
                      <a:pt x="292" y="130"/>
                    </a:cubicBezTo>
                    <a:cubicBezTo>
                      <a:pt x="315" y="117"/>
                      <a:pt x="315" y="117"/>
                      <a:pt x="315" y="117"/>
                    </a:cubicBezTo>
                    <a:cubicBezTo>
                      <a:pt x="300" y="115"/>
                      <a:pt x="300" y="115"/>
                      <a:pt x="300" y="115"/>
                    </a:cubicBezTo>
                    <a:cubicBezTo>
                      <a:pt x="300" y="115"/>
                      <a:pt x="314" y="95"/>
                      <a:pt x="318" y="92"/>
                    </a:cubicBezTo>
                    <a:cubicBezTo>
                      <a:pt x="322" y="89"/>
                      <a:pt x="342" y="75"/>
                      <a:pt x="332" y="75"/>
                    </a:cubicBezTo>
                    <a:cubicBezTo>
                      <a:pt x="322" y="75"/>
                      <a:pt x="313" y="77"/>
                      <a:pt x="303" y="76"/>
                    </a:cubicBezTo>
                    <a:cubicBezTo>
                      <a:pt x="293" y="75"/>
                      <a:pt x="284" y="57"/>
                      <a:pt x="275" y="61"/>
                    </a:cubicBezTo>
                    <a:cubicBezTo>
                      <a:pt x="266" y="65"/>
                      <a:pt x="257" y="57"/>
                      <a:pt x="255" y="78"/>
                    </a:cubicBezTo>
                    <a:cubicBezTo>
                      <a:pt x="253" y="99"/>
                      <a:pt x="255" y="111"/>
                      <a:pt x="252" y="113"/>
                    </a:cubicBezTo>
                    <a:cubicBezTo>
                      <a:pt x="249" y="115"/>
                      <a:pt x="239" y="130"/>
                      <a:pt x="239" y="130"/>
                    </a:cubicBezTo>
                    <a:cubicBezTo>
                      <a:pt x="257" y="134"/>
                      <a:pt x="257" y="134"/>
                      <a:pt x="257" y="134"/>
                    </a:cubicBezTo>
                    <a:cubicBezTo>
                      <a:pt x="238" y="137"/>
                      <a:pt x="238" y="137"/>
                      <a:pt x="238" y="137"/>
                    </a:cubicBezTo>
                    <a:cubicBezTo>
                      <a:pt x="241" y="148"/>
                      <a:pt x="241" y="148"/>
                      <a:pt x="241" y="148"/>
                    </a:cubicBezTo>
                    <a:cubicBezTo>
                      <a:pt x="230" y="165"/>
                      <a:pt x="230" y="165"/>
                      <a:pt x="230" y="165"/>
                    </a:cubicBezTo>
                    <a:cubicBezTo>
                      <a:pt x="230" y="165"/>
                      <a:pt x="251" y="173"/>
                      <a:pt x="250" y="177"/>
                    </a:cubicBezTo>
                    <a:cubicBezTo>
                      <a:pt x="249" y="181"/>
                      <a:pt x="218" y="175"/>
                      <a:pt x="218" y="175"/>
                    </a:cubicBezTo>
                    <a:cubicBezTo>
                      <a:pt x="218" y="175"/>
                      <a:pt x="179" y="235"/>
                      <a:pt x="169" y="247"/>
                    </a:cubicBezTo>
                    <a:cubicBezTo>
                      <a:pt x="159" y="259"/>
                      <a:pt x="112" y="315"/>
                      <a:pt x="112" y="315"/>
                    </a:cubicBezTo>
                    <a:cubicBezTo>
                      <a:pt x="114" y="330"/>
                      <a:pt x="114" y="330"/>
                      <a:pt x="114" y="330"/>
                    </a:cubicBezTo>
                    <a:cubicBezTo>
                      <a:pt x="114" y="330"/>
                      <a:pt x="101" y="332"/>
                      <a:pt x="90" y="344"/>
                    </a:cubicBezTo>
                    <a:cubicBezTo>
                      <a:pt x="79" y="356"/>
                      <a:pt x="79" y="374"/>
                      <a:pt x="79" y="374"/>
                    </a:cubicBezTo>
                    <a:cubicBezTo>
                      <a:pt x="66" y="387"/>
                      <a:pt x="66" y="387"/>
                      <a:pt x="66" y="387"/>
                    </a:cubicBezTo>
                    <a:cubicBezTo>
                      <a:pt x="63" y="421"/>
                      <a:pt x="63" y="421"/>
                      <a:pt x="63" y="421"/>
                    </a:cubicBezTo>
                    <a:cubicBezTo>
                      <a:pt x="63" y="421"/>
                      <a:pt x="39" y="453"/>
                      <a:pt x="33" y="459"/>
                    </a:cubicBezTo>
                    <a:cubicBezTo>
                      <a:pt x="27" y="465"/>
                      <a:pt x="6" y="477"/>
                      <a:pt x="8" y="488"/>
                    </a:cubicBezTo>
                    <a:cubicBezTo>
                      <a:pt x="10" y="499"/>
                      <a:pt x="26" y="506"/>
                      <a:pt x="23" y="516"/>
                    </a:cubicBezTo>
                    <a:cubicBezTo>
                      <a:pt x="20" y="526"/>
                      <a:pt x="0" y="550"/>
                      <a:pt x="0" y="562"/>
                    </a:cubicBezTo>
                    <a:cubicBezTo>
                      <a:pt x="0" y="574"/>
                      <a:pt x="13" y="615"/>
                      <a:pt x="13" y="615"/>
                    </a:cubicBezTo>
                    <a:cubicBezTo>
                      <a:pt x="29" y="605"/>
                      <a:pt x="29" y="605"/>
                      <a:pt x="29" y="605"/>
                    </a:cubicBezTo>
                    <a:cubicBezTo>
                      <a:pt x="74" y="609"/>
                      <a:pt x="74" y="609"/>
                      <a:pt x="74" y="609"/>
                    </a:cubicBezTo>
                    <a:cubicBezTo>
                      <a:pt x="74" y="609"/>
                      <a:pt x="36" y="609"/>
                      <a:pt x="33" y="615"/>
                    </a:cubicBezTo>
                    <a:cubicBezTo>
                      <a:pt x="30" y="621"/>
                      <a:pt x="31" y="635"/>
                      <a:pt x="31" y="635"/>
                    </a:cubicBezTo>
                    <a:cubicBezTo>
                      <a:pt x="31" y="635"/>
                      <a:pt x="20" y="620"/>
                      <a:pt x="16" y="626"/>
                    </a:cubicBezTo>
                    <a:cubicBezTo>
                      <a:pt x="12" y="632"/>
                      <a:pt x="2" y="651"/>
                      <a:pt x="7" y="659"/>
                    </a:cubicBezTo>
                    <a:cubicBezTo>
                      <a:pt x="12" y="667"/>
                      <a:pt x="25" y="667"/>
                      <a:pt x="25" y="667"/>
                    </a:cubicBezTo>
                    <a:cubicBezTo>
                      <a:pt x="25" y="667"/>
                      <a:pt x="23" y="688"/>
                      <a:pt x="20" y="688"/>
                    </a:cubicBezTo>
                    <a:cubicBezTo>
                      <a:pt x="17" y="688"/>
                      <a:pt x="7" y="700"/>
                      <a:pt x="7" y="709"/>
                    </a:cubicBezTo>
                    <a:cubicBezTo>
                      <a:pt x="7" y="718"/>
                      <a:pt x="20" y="733"/>
                      <a:pt x="20" y="733"/>
                    </a:cubicBezTo>
                    <a:cubicBezTo>
                      <a:pt x="20" y="733"/>
                      <a:pt x="40" y="763"/>
                      <a:pt x="39" y="770"/>
                    </a:cubicBezTo>
                    <a:cubicBezTo>
                      <a:pt x="38" y="777"/>
                      <a:pt x="16" y="799"/>
                      <a:pt x="28" y="803"/>
                    </a:cubicBezTo>
                    <a:cubicBezTo>
                      <a:pt x="40" y="807"/>
                      <a:pt x="65" y="807"/>
                      <a:pt x="65" y="807"/>
                    </a:cubicBezTo>
                    <a:cubicBezTo>
                      <a:pt x="65" y="807"/>
                      <a:pt x="67" y="828"/>
                      <a:pt x="79" y="828"/>
                    </a:cubicBezTo>
                    <a:cubicBezTo>
                      <a:pt x="91" y="828"/>
                      <a:pt x="108" y="822"/>
                      <a:pt x="108" y="822"/>
                    </a:cubicBezTo>
                    <a:cubicBezTo>
                      <a:pt x="111" y="841"/>
                      <a:pt x="111" y="841"/>
                      <a:pt x="111" y="841"/>
                    </a:cubicBezTo>
                    <a:cubicBezTo>
                      <a:pt x="111" y="841"/>
                      <a:pt x="143" y="852"/>
                      <a:pt x="143" y="867"/>
                    </a:cubicBezTo>
                    <a:cubicBezTo>
                      <a:pt x="143" y="875"/>
                      <a:pt x="140" y="889"/>
                      <a:pt x="138" y="901"/>
                    </a:cubicBezTo>
                    <a:cubicBezTo>
                      <a:pt x="141" y="903"/>
                      <a:pt x="141" y="903"/>
                      <a:pt x="141" y="903"/>
                    </a:cubicBezTo>
                    <a:cubicBezTo>
                      <a:pt x="240" y="899"/>
                      <a:pt x="240" y="899"/>
                      <a:pt x="240" y="899"/>
                    </a:cubicBezTo>
                    <a:cubicBezTo>
                      <a:pt x="230" y="909"/>
                      <a:pt x="240" y="909"/>
                      <a:pt x="240" y="909"/>
                    </a:cubicBezTo>
                    <a:cubicBezTo>
                      <a:pt x="380" y="973"/>
                      <a:pt x="380" y="973"/>
                      <a:pt x="380" y="973"/>
                    </a:cubicBezTo>
                    <a:cubicBezTo>
                      <a:pt x="512" y="971"/>
                      <a:pt x="512" y="971"/>
                      <a:pt x="512" y="971"/>
                    </a:cubicBezTo>
                    <a:cubicBezTo>
                      <a:pt x="512" y="971"/>
                      <a:pt x="512" y="971"/>
                      <a:pt x="516" y="968"/>
                    </a:cubicBezTo>
                    <a:cubicBezTo>
                      <a:pt x="519" y="964"/>
                      <a:pt x="517" y="960"/>
                      <a:pt x="517" y="954"/>
                    </a:cubicBezTo>
                    <a:cubicBezTo>
                      <a:pt x="517" y="948"/>
                      <a:pt x="524" y="944"/>
                      <a:pt x="524" y="944"/>
                    </a:cubicBezTo>
                    <a:cubicBezTo>
                      <a:pt x="597" y="944"/>
                      <a:pt x="597" y="944"/>
                      <a:pt x="597" y="944"/>
                    </a:cubicBezTo>
                    <a:cubicBezTo>
                      <a:pt x="612" y="959"/>
                      <a:pt x="607" y="967"/>
                      <a:pt x="607" y="967"/>
                    </a:cubicBezTo>
                    <a:cubicBezTo>
                      <a:pt x="625" y="975"/>
                      <a:pt x="625" y="975"/>
                      <a:pt x="625" y="975"/>
                    </a:cubicBezTo>
                    <a:cubicBezTo>
                      <a:pt x="631" y="996"/>
                      <a:pt x="631" y="996"/>
                      <a:pt x="631" y="996"/>
                    </a:cubicBezTo>
                    <a:cubicBezTo>
                      <a:pt x="631" y="996"/>
                      <a:pt x="642" y="997"/>
                      <a:pt x="653" y="1008"/>
                    </a:cubicBezTo>
                    <a:cubicBezTo>
                      <a:pt x="663" y="1018"/>
                      <a:pt x="653" y="1060"/>
                      <a:pt x="653" y="1060"/>
                    </a:cubicBezTo>
                    <a:cubicBezTo>
                      <a:pt x="653" y="1060"/>
                      <a:pt x="684" y="1094"/>
                      <a:pt x="703" y="1094"/>
                    </a:cubicBezTo>
                    <a:cubicBezTo>
                      <a:pt x="722" y="1094"/>
                      <a:pt x="735" y="1060"/>
                      <a:pt x="739" y="1056"/>
                    </a:cubicBezTo>
                    <a:cubicBezTo>
                      <a:pt x="743" y="1052"/>
                      <a:pt x="755" y="1053"/>
                      <a:pt x="755" y="1053"/>
                    </a:cubicBezTo>
                    <a:cubicBezTo>
                      <a:pt x="756" y="1047"/>
                      <a:pt x="756" y="1047"/>
                      <a:pt x="756" y="1047"/>
                    </a:cubicBezTo>
                    <a:cubicBezTo>
                      <a:pt x="766" y="1052"/>
                      <a:pt x="766" y="1052"/>
                      <a:pt x="766" y="1052"/>
                    </a:cubicBezTo>
                    <a:cubicBezTo>
                      <a:pt x="795" y="1053"/>
                      <a:pt x="795" y="1053"/>
                      <a:pt x="795" y="1053"/>
                    </a:cubicBezTo>
                    <a:cubicBezTo>
                      <a:pt x="795" y="1053"/>
                      <a:pt x="815" y="1084"/>
                      <a:pt x="823" y="1092"/>
                    </a:cubicBezTo>
                    <a:cubicBezTo>
                      <a:pt x="831" y="1100"/>
                      <a:pt x="823" y="1115"/>
                      <a:pt x="823" y="1124"/>
                    </a:cubicBezTo>
                    <a:cubicBezTo>
                      <a:pt x="823" y="1133"/>
                      <a:pt x="834" y="1140"/>
                      <a:pt x="834" y="1140"/>
                    </a:cubicBezTo>
                    <a:cubicBezTo>
                      <a:pt x="834" y="1140"/>
                      <a:pt x="835" y="1146"/>
                      <a:pt x="835" y="1153"/>
                    </a:cubicBezTo>
                    <a:cubicBezTo>
                      <a:pt x="835" y="1161"/>
                      <a:pt x="844" y="1162"/>
                      <a:pt x="851" y="1169"/>
                    </a:cubicBezTo>
                    <a:cubicBezTo>
                      <a:pt x="858" y="1176"/>
                      <a:pt x="848" y="1179"/>
                      <a:pt x="848" y="1179"/>
                    </a:cubicBezTo>
                    <a:cubicBezTo>
                      <a:pt x="848" y="1206"/>
                      <a:pt x="848" y="1206"/>
                      <a:pt x="848" y="1206"/>
                    </a:cubicBezTo>
                    <a:cubicBezTo>
                      <a:pt x="856" y="1212"/>
                      <a:pt x="856" y="1212"/>
                      <a:pt x="856" y="1212"/>
                    </a:cubicBezTo>
                    <a:cubicBezTo>
                      <a:pt x="856" y="1212"/>
                      <a:pt x="854" y="1220"/>
                      <a:pt x="854" y="1231"/>
                    </a:cubicBezTo>
                    <a:cubicBezTo>
                      <a:pt x="854" y="1242"/>
                      <a:pt x="884" y="1243"/>
                      <a:pt x="884" y="1243"/>
                    </a:cubicBezTo>
                    <a:cubicBezTo>
                      <a:pt x="890" y="1254"/>
                      <a:pt x="890" y="1254"/>
                      <a:pt x="890" y="1254"/>
                    </a:cubicBezTo>
                    <a:cubicBezTo>
                      <a:pt x="890" y="1254"/>
                      <a:pt x="909" y="1254"/>
                      <a:pt x="914" y="1254"/>
                    </a:cubicBezTo>
                    <a:cubicBezTo>
                      <a:pt x="919" y="1254"/>
                      <a:pt x="917" y="1264"/>
                      <a:pt x="928" y="1264"/>
                    </a:cubicBezTo>
                    <a:cubicBezTo>
                      <a:pt x="933" y="1264"/>
                      <a:pt x="937" y="1263"/>
                      <a:pt x="940" y="1262"/>
                    </a:cubicBezTo>
                    <a:cubicBezTo>
                      <a:pt x="930" y="1213"/>
                      <a:pt x="930" y="1213"/>
                      <a:pt x="930" y="1213"/>
                    </a:cubicBezTo>
                    <a:cubicBezTo>
                      <a:pt x="942" y="1202"/>
                      <a:pt x="942" y="1202"/>
                      <a:pt x="942" y="1202"/>
                    </a:cubicBezTo>
                    <a:cubicBezTo>
                      <a:pt x="929" y="1193"/>
                      <a:pt x="929" y="1193"/>
                      <a:pt x="929" y="1193"/>
                    </a:cubicBezTo>
                    <a:cubicBezTo>
                      <a:pt x="929" y="1180"/>
                      <a:pt x="929" y="1180"/>
                      <a:pt x="929" y="1180"/>
                    </a:cubicBezTo>
                    <a:cubicBezTo>
                      <a:pt x="929" y="1180"/>
                      <a:pt x="947" y="1192"/>
                      <a:pt x="950" y="1180"/>
                    </a:cubicBezTo>
                    <a:cubicBezTo>
                      <a:pt x="953" y="1168"/>
                      <a:pt x="950" y="1159"/>
                      <a:pt x="950" y="1159"/>
                    </a:cubicBezTo>
                    <a:cubicBezTo>
                      <a:pt x="966" y="1157"/>
                      <a:pt x="966" y="1157"/>
                      <a:pt x="966" y="1157"/>
                    </a:cubicBezTo>
                    <a:cubicBezTo>
                      <a:pt x="971" y="1139"/>
                      <a:pt x="971" y="1139"/>
                      <a:pt x="971" y="1139"/>
                    </a:cubicBezTo>
                    <a:cubicBezTo>
                      <a:pt x="981" y="1144"/>
                      <a:pt x="981" y="1144"/>
                      <a:pt x="981" y="1144"/>
                    </a:cubicBezTo>
                    <a:cubicBezTo>
                      <a:pt x="994" y="1137"/>
                      <a:pt x="994" y="1137"/>
                      <a:pt x="994" y="1137"/>
                    </a:cubicBezTo>
                    <a:cubicBezTo>
                      <a:pt x="989" y="1121"/>
                      <a:pt x="989" y="1121"/>
                      <a:pt x="989" y="1121"/>
                    </a:cubicBezTo>
                    <a:cubicBezTo>
                      <a:pt x="999" y="1128"/>
                      <a:pt x="999" y="1128"/>
                      <a:pt x="999" y="1128"/>
                    </a:cubicBezTo>
                    <a:cubicBezTo>
                      <a:pt x="999" y="1128"/>
                      <a:pt x="1003" y="1106"/>
                      <a:pt x="1009" y="1110"/>
                    </a:cubicBezTo>
                    <a:cubicBezTo>
                      <a:pt x="1015" y="1114"/>
                      <a:pt x="1016" y="1125"/>
                      <a:pt x="1022" y="1122"/>
                    </a:cubicBezTo>
                    <a:cubicBezTo>
                      <a:pt x="1028" y="1119"/>
                      <a:pt x="1056" y="1111"/>
                      <a:pt x="1064" y="1103"/>
                    </a:cubicBezTo>
                    <a:cubicBezTo>
                      <a:pt x="1072" y="1095"/>
                      <a:pt x="1086" y="1076"/>
                      <a:pt x="1086" y="1076"/>
                    </a:cubicBezTo>
                    <a:cubicBezTo>
                      <a:pt x="1086" y="1076"/>
                      <a:pt x="1078" y="1053"/>
                      <a:pt x="1088" y="1052"/>
                    </a:cubicBezTo>
                    <a:cubicBezTo>
                      <a:pt x="1098" y="1051"/>
                      <a:pt x="1109" y="1075"/>
                      <a:pt x="1121" y="1068"/>
                    </a:cubicBezTo>
                    <a:cubicBezTo>
                      <a:pt x="1133" y="1061"/>
                      <a:pt x="1137" y="1033"/>
                      <a:pt x="1143" y="1040"/>
                    </a:cubicBezTo>
                    <a:cubicBezTo>
                      <a:pt x="1149" y="1047"/>
                      <a:pt x="1152" y="1053"/>
                      <a:pt x="1157" y="1053"/>
                    </a:cubicBezTo>
                    <a:cubicBezTo>
                      <a:pt x="1162" y="1053"/>
                      <a:pt x="1173" y="1037"/>
                      <a:pt x="1173" y="1037"/>
                    </a:cubicBezTo>
                    <a:cubicBezTo>
                      <a:pt x="1173" y="1037"/>
                      <a:pt x="1192" y="1068"/>
                      <a:pt x="1206" y="1066"/>
                    </a:cubicBezTo>
                    <a:cubicBezTo>
                      <a:pt x="1220" y="1064"/>
                      <a:pt x="1222" y="1033"/>
                      <a:pt x="1238" y="1049"/>
                    </a:cubicBezTo>
                    <a:cubicBezTo>
                      <a:pt x="1254" y="1065"/>
                      <a:pt x="1246" y="1083"/>
                      <a:pt x="1256" y="1083"/>
                    </a:cubicBezTo>
                    <a:cubicBezTo>
                      <a:pt x="1266" y="1083"/>
                      <a:pt x="1282" y="1090"/>
                      <a:pt x="1282" y="1090"/>
                    </a:cubicBezTo>
                    <a:cubicBezTo>
                      <a:pt x="1282" y="1090"/>
                      <a:pt x="1281" y="1074"/>
                      <a:pt x="1288" y="1079"/>
                    </a:cubicBezTo>
                    <a:cubicBezTo>
                      <a:pt x="1295" y="1084"/>
                      <a:pt x="1303" y="1103"/>
                      <a:pt x="1308" y="1091"/>
                    </a:cubicBezTo>
                    <a:cubicBezTo>
                      <a:pt x="1313" y="1079"/>
                      <a:pt x="1306" y="1064"/>
                      <a:pt x="1306" y="1064"/>
                    </a:cubicBezTo>
                    <a:cubicBezTo>
                      <a:pt x="1320" y="1069"/>
                      <a:pt x="1320" y="1069"/>
                      <a:pt x="1320" y="1069"/>
                    </a:cubicBezTo>
                    <a:cubicBezTo>
                      <a:pt x="1325" y="1080"/>
                      <a:pt x="1325" y="1080"/>
                      <a:pt x="1325" y="1080"/>
                    </a:cubicBezTo>
                    <a:cubicBezTo>
                      <a:pt x="1335" y="1083"/>
                      <a:pt x="1335" y="1083"/>
                      <a:pt x="1335" y="1083"/>
                    </a:cubicBezTo>
                    <a:cubicBezTo>
                      <a:pt x="1335" y="1092"/>
                      <a:pt x="1335" y="1092"/>
                      <a:pt x="1335" y="1092"/>
                    </a:cubicBezTo>
                    <a:cubicBezTo>
                      <a:pt x="1335" y="1092"/>
                      <a:pt x="1359" y="1099"/>
                      <a:pt x="1354" y="1087"/>
                    </a:cubicBezTo>
                    <a:cubicBezTo>
                      <a:pt x="1349" y="1075"/>
                      <a:pt x="1335" y="1070"/>
                      <a:pt x="1335" y="1070"/>
                    </a:cubicBezTo>
                    <a:cubicBezTo>
                      <a:pt x="1329" y="1060"/>
                      <a:pt x="1329" y="1060"/>
                      <a:pt x="1329" y="1060"/>
                    </a:cubicBezTo>
                    <a:cubicBezTo>
                      <a:pt x="1329" y="1060"/>
                      <a:pt x="1349" y="1057"/>
                      <a:pt x="1347" y="1049"/>
                    </a:cubicBezTo>
                    <a:cubicBezTo>
                      <a:pt x="1345" y="1041"/>
                      <a:pt x="1343" y="1039"/>
                      <a:pt x="1334" y="1040"/>
                    </a:cubicBezTo>
                    <a:cubicBezTo>
                      <a:pt x="1325" y="1041"/>
                      <a:pt x="1298" y="1044"/>
                      <a:pt x="1307" y="1030"/>
                    </a:cubicBezTo>
                    <a:cubicBezTo>
                      <a:pt x="1316" y="1016"/>
                      <a:pt x="1325" y="1027"/>
                      <a:pt x="1336" y="1030"/>
                    </a:cubicBezTo>
                    <a:cubicBezTo>
                      <a:pt x="1347" y="1033"/>
                      <a:pt x="1355" y="1031"/>
                      <a:pt x="1365" y="1024"/>
                    </a:cubicBezTo>
                    <a:cubicBezTo>
                      <a:pt x="1375" y="1017"/>
                      <a:pt x="1386" y="1017"/>
                      <a:pt x="1386" y="1017"/>
                    </a:cubicBezTo>
                    <a:cubicBezTo>
                      <a:pt x="1387" y="1021"/>
                      <a:pt x="1387" y="1021"/>
                      <a:pt x="1387" y="1021"/>
                    </a:cubicBezTo>
                    <a:cubicBezTo>
                      <a:pt x="1387" y="1021"/>
                      <a:pt x="1417" y="1021"/>
                      <a:pt x="1417" y="1014"/>
                    </a:cubicBezTo>
                    <a:cubicBezTo>
                      <a:pt x="1417" y="1007"/>
                      <a:pt x="1423" y="992"/>
                      <a:pt x="1426" y="997"/>
                    </a:cubicBezTo>
                    <a:cubicBezTo>
                      <a:pt x="1429" y="1002"/>
                      <a:pt x="1429" y="1024"/>
                      <a:pt x="1429" y="1024"/>
                    </a:cubicBezTo>
                    <a:cubicBezTo>
                      <a:pt x="1429" y="1024"/>
                      <a:pt x="1462" y="1012"/>
                      <a:pt x="1471" y="1013"/>
                    </a:cubicBezTo>
                    <a:cubicBezTo>
                      <a:pt x="1480" y="1014"/>
                      <a:pt x="1487" y="1024"/>
                      <a:pt x="1487" y="1024"/>
                    </a:cubicBezTo>
                    <a:cubicBezTo>
                      <a:pt x="1487" y="1024"/>
                      <a:pt x="1484" y="1008"/>
                      <a:pt x="1494" y="1012"/>
                    </a:cubicBezTo>
                    <a:cubicBezTo>
                      <a:pt x="1504" y="1016"/>
                      <a:pt x="1504" y="1030"/>
                      <a:pt x="1504" y="1030"/>
                    </a:cubicBezTo>
                    <a:cubicBezTo>
                      <a:pt x="1524" y="1025"/>
                      <a:pt x="1524" y="1025"/>
                      <a:pt x="1524" y="1025"/>
                    </a:cubicBezTo>
                    <a:cubicBezTo>
                      <a:pt x="1520" y="1033"/>
                      <a:pt x="1520" y="1033"/>
                      <a:pt x="1520" y="1033"/>
                    </a:cubicBezTo>
                    <a:cubicBezTo>
                      <a:pt x="1520" y="1033"/>
                      <a:pt x="1521" y="1065"/>
                      <a:pt x="1539" y="1061"/>
                    </a:cubicBezTo>
                    <a:cubicBezTo>
                      <a:pt x="1557" y="1057"/>
                      <a:pt x="1570" y="1031"/>
                      <a:pt x="1588" y="1035"/>
                    </a:cubicBezTo>
                    <a:cubicBezTo>
                      <a:pt x="1606" y="1039"/>
                      <a:pt x="1607" y="1073"/>
                      <a:pt x="1616" y="1079"/>
                    </a:cubicBezTo>
                    <a:cubicBezTo>
                      <a:pt x="1625" y="1085"/>
                      <a:pt x="1643" y="1085"/>
                      <a:pt x="1643" y="1085"/>
                    </a:cubicBezTo>
                    <a:cubicBezTo>
                      <a:pt x="1640" y="1111"/>
                      <a:pt x="1640" y="1111"/>
                      <a:pt x="1640" y="1111"/>
                    </a:cubicBezTo>
                    <a:cubicBezTo>
                      <a:pt x="1640" y="1111"/>
                      <a:pt x="1621" y="1139"/>
                      <a:pt x="1623" y="1147"/>
                    </a:cubicBezTo>
                    <a:cubicBezTo>
                      <a:pt x="1625" y="1155"/>
                      <a:pt x="1635" y="1156"/>
                      <a:pt x="1635" y="1156"/>
                    </a:cubicBezTo>
                    <a:cubicBezTo>
                      <a:pt x="1640" y="1166"/>
                      <a:pt x="1640" y="1166"/>
                      <a:pt x="1640" y="1166"/>
                    </a:cubicBezTo>
                    <a:cubicBezTo>
                      <a:pt x="1621" y="1179"/>
                      <a:pt x="1621" y="1179"/>
                      <a:pt x="1621" y="1179"/>
                    </a:cubicBezTo>
                    <a:cubicBezTo>
                      <a:pt x="1634" y="1212"/>
                      <a:pt x="1634" y="1212"/>
                      <a:pt x="1634" y="1212"/>
                    </a:cubicBezTo>
                    <a:cubicBezTo>
                      <a:pt x="1634" y="1212"/>
                      <a:pt x="1649" y="1193"/>
                      <a:pt x="1650" y="1199"/>
                    </a:cubicBezTo>
                    <a:cubicBezTo>
                      <a:pt x="1651" y="1205"/>
                      <a:pt x="1639" y="1230"/>
                      <a:pt x="1639" y="1230"/>
                    </a:cubicBezTo>
                    <a:cubicBezTo>
                      <a:pt x="1649" y="1227"/>
                      <a:pt x="1649" y="1227"/>
                      <a:pt x="1649" y="1227"/>
                    </a:cubicBezTo>
                    <a:cubicBezTo>
                      <a:pt x="1652" y="1259"/>
                      <a:pt x="1652" y="1259"/>
                      <a:pt x="1652" y="1259"/>
                    </a:cubicBezTo>
                    <a:cubicBezTo>
                      <a:pt x="1652" y="1259"/>
                      <a:pt x="1669" y="1259"/>
                      <a:pt x="1669" y="1265"/>
                    </a:cubicBezTo>
                    <a:cubicBezTo>
                      <a:pt x="1669" y="1271"/>
                      <a:pt x="1666" y="1287"/>
                      <a:pt x="1666" y="1287"/>
                    </a:cubicBezTo>
                    <a:cubicBezTo>
                      <a:pt x="1681" y="1304"/>
                      <a:pt x="1681" y="1304"/>
                      <a:pt x="1681" y="1304"/>
                    </a:cubicBezTo>
                    <a:cubicBezTo>
                      <a:pt x="1681" y="1304"/>
                      <a:pt x="1705" y="1298"/>
                      <a:pt x="1707" y="1291"/>
                    </a:cubicBezTo>
                    <a:cubicBezTo>
                      <a:pt x="1709" y="1284"/>
                      <a:pt x="1711" y="1271"/>
                      <a:pt x="1711" y="1271"/>
                    </a:cubicBezTo>
                    <a:cubicBezTo>
                      <a:pt x="1723" y="1271"/>
                      <a:pt x="1723" y="1271"/>
                      <a:pt x="1723" y="1271"/>
                    </a:cubicBezTo>
                    <a:cubicBezTo>
                      <a:pt x="1723" y="1271"/>
                      <a:pt x="1722" y="1250"/>
                      <a:pt x="1729" y="1240"/>
                    </a:cubicBezTo>
                    <a:cubicBezTo>
                      <a:pt x="1736" y="1230"/>
                      <a:pt x="1740" y="1213"/>
                      <a:pt x="1737" y="1203"/>
                    </a:cubicBezTo>
                    <a:cubicBezTo>
                      <a:pt x="1734" y="1193"/>
                      <a:pt x="1724" y="1160"/>
                      <a:pt x="1724" y="1151"/>
                    </a:cubicBezTo>
                    <a:cubicBezTo>
                      <a:pt x="1724" y="1142"/>
                      <a:pt x="1730" y="1128"/>
                      <a:pt x="1730" y="1112"/>
                    </a:cubicBezTo>
                    <a:cubicBezTo>
                      <a:pt x="1730" y="1096"/>
                      <a:pt x="1710" y="1070"/>
                      <a:pt x="1714" y="1056"/>
                    </a:cubicBezTo>
                    <a:cubicBezTo>
                      <a:pt x="1718" y="1042"/>
                      <a:pt x="1710" y="1002"/>
                      <a:pt x="1722" y="987"/>
                    </a:cubicBezTo>
                    <a:cubicBezTo>
                      <a:pt x="1734" y="972"/>
                      <a:pt x="1742" y="948"/>
                      <a:pt x="1742" y="948"/>
                    </a:cubicBezTo>
                    <a:cubicBezTo>
                      <a:pt x="1752" y="942"/>
                      <a:pt x="1752" y="942"/>
                      <a:pt x="1752" y="942"/>
                    </a:cubicBezTo>
                    <a:cubicBezTo>
                      <a:pt x="1765" y="929"/>
                      <a:pt x="1765" y="929"/>
                      <a:pt x="1765" y="929"/>
                    </a:cubicBezTo>
                    <a:cubicBezTo>
                      <a:pt x="1771" y="913"/>
                      <a:pt x="1771" y="913"/>
                      <a:pt x="1771" y="913"/>
                    </a:cubicBezTo>
                    <a:cubicBezTo>
                      <a:pt x="1780" y="919"/>
                      <a:pt x="1780" y="919"/>
                      <a:pt x="1780" y="919"/>
                    </a:cubicBezTo>
                    <a:cubicBezTo>
                      <a:pt x="1783" y="905"/>
                      <a:pt x="1783" y="905"/>
                      <a:pt x="1783" y="905"/>
                    </a:cubicBezTo>
                    <a:cubicBezTo>
                      <a:pt x="1783" y="905"/>
                      <a:pt x="1813" y="909"/>
                      <a:pt x="1818" y="903"/>
                    </a:cubicBezTo>
                    <a:cubicBezTo>
                      <a:pt x="1823" y="897"/>
                      <a:pt x="1819" y="886"/>
                      <a:pt x="1819" y="886"/>
                    </a:cubicBezTo>
                    <a:cubicBezTo>
                      <a:pt x="1832" y="887"/>
                      <a:pt x="1832" y="887"/>
                      <a:pt x="1832" y="887"/>
                    </a:cubicBezTo>
                    <a:cubicBezTo>
                      <a:pt x="1836" y="881"/>
                      <a:pt x="1836" y="881"/>
                      <a:pt x="1836" y="881"/>
                    </a:cubicBezTo>
                    <a:cubicBezTo>
                      <a:pt x="1847" y="880"/>
                      <a:pt x="1847" y="880"/>
                      <a:pt x="1847" y="880"/>
                    </a:cubicBezTo>
                    <a:cubicBezTo>
                      <a:pt x="1864" y="859"/>
                      <a:pt x="1864" y="859"/>
                      <a:pt x="1864" y="859"/>
                    </a:cubicBezTo>
                    <a:cubicBezTo>
                      <a:pt x="1864" y="859"/>
                      <a:pt x="1868" y="839"/>
                      <a:pt x="1887" y="834"/>
                    </a:cubicBezTo>
                    <a:cubicBezTo>
                      <a:pt x="1906" y="829"/>
                      <a:pt x="1917" y="840"/>
                      <a:pt x="1926" y="831"/>
                    </a:cubicBezTo>
                    <a:cubicBezTo>
                      <a:pt x="1935" y="822"/>
                      <a:pt x="1941" y="805"/>
                      <a:pt x="1941" y="805"/>
                    </a:cubicBezTo>
                    <a:cubicBezTo>
                      <a:pt x="1951" y="807"/>
                      <a:pt x="1951" y="807"/>
                      <a:pt x="1951" y="807"/>
                    </a:cubicBezTo>
                    <a:cubicBezTo>
                      <a:pt x="1956" y="792"/>
                      <a:pt x="1956" y="792"/>
                      <a:pt x="1956" y="792"/>
                    </a:cubicBezTo>
                    <a:cubicBezTo>
                      <a:pt x="2010" y="789"/>
                      <a:pt x="2010" y="789"/>
                      <a:pt x="2010" y="789"/>
                    </a:cubicBezTo>
                    <a:cubicBezTo>
                      <a:pt x="2013" y="773"/>
                      <a:pt x="2013" y="773"/>
                      <a:pt x="2013" y="773"/>
                    </a:cubicBezTo>
                    <a:cubicBezTo>
                      <a:pt x="1988" y="775"/>
                      <a:pt x="1988" y="775"/>
                      <a:pt x="1988" y="775"/>
                    </a:cubicBezTo>
                    <a:cubicBezTo>
                      <a:pt x="1988" y="775"/>
                      <a:pt x="2002" y="770"/>
                      <a:pt x="2001" y="763"/>
                    </a:cubicBezTo>
                    <a:cubicBezTo>
                      <a:pt x="2000" y="756"/>
                      <a:pt x="1990" y="749"/>
                      <a:pt x="1990" y="749"/>
                    </a:cubicBezTo>
                    <a:cubicBezTo>
                      <a:pt x="2013" y="745"/>
                      <a:pt x="2013" y="745"/>
                      <a:pt x="2013" y="745"/>
                    </a:cubicBezTo>
                    <a:cubicBezTo>
                      <a:pt x="2029" y="751"/>
                      <a:pt x="2029" y="751"/>
                      <a:pt x="2029" y="751"/>
                    </a:cubicBezTo>
                    <a:cubicBezTo>
                      <a:pt x="2052" y="727"/>
                      <a:pt x="2052" y="727"/>
                      <a:pt x="2052" y="727"/>
                    </a:cubicBezTo>
                    <a:cubicBezTo>
                      <a:pt x="2015" y="726"/>
                      <a:pt x="2015" y="726"/>
                      <a:pt x="2015" y="726"/>
                    </a:cubicBezTo>
                    <a:cubicBezTo>
                      <a:pt x="2013" y="709"/>
                      <a:pt x="2013" y="709"/>
                      <a:pt x="2013" y="709"/>
                    </a:cubicBezTo>
                    <a:cubicBezTo>
                      <a:pt x="2022" y="718"/>
                      <a:pt x="2022" y="718"/>
                      <a:pt x="2022" y="718"/>
                    </a:cubicBezTo>
                    <a:cubicBezTo>
                      <a:pt x="2052" y="707"/>
                      <a:pt x="2052" y="707"/>
                      <a:pt x="2052" y="707"/>
                    </a:cubicBezTo>
                    <a:cubicBezTo>
                      <a:pt x="2055" y="668"/>
                      <a:pt x="2055" y="668"/>
                      <a:pt x="2055" y="668"/>
                    </a:cubicBezTo>
                    <a:cubicBezTo>
                      <a:pt x="2036" y="676"/>
                      <a:pt x="2036" y="676"/>
                      <a:pt x="2036" y="676"/>
                    </a:cubicBezTo>
                    <a:cubicBezTo>
                      <a:pt x="2032" y="658"/>
                      <a:pt x="2032" y="658"/>
                      <a:pt x="2032" y="658"/>
                    </a:cubicBezTo>
                    <a:cubicBezTo>
                      <a:pt x="2016" y="647"/>
                      <a:pt x="2016" y="647"/>
                      <a:pt x="2016" y="647"/>
                    </a:cubicBezTo>
                    <a:cubicBezTo>
                      <a:pt x="2045" y="662"/>
                      <a:pt x="2045" y="662"/>
                      <a:pt x="2045" y="662"/>
                    </a:cubicBezTo>
                    <a:cubicBezTo>
                      <a:pt x="2052" y="656"/>
                      <a:pt x="2052" y="656"/>
                      <a:pt x="2052" y="656"/>
                    </a:cubicBezTo>
                    <a:cubicBezTo>
                      <a:pt x="2039" y="646"/>
                      <a:pt x="2039" y="646"/>
                      <a:pt x="2039" y="646"/>
                    </a:cubicBezTo>
                    <a:cubicBezTo>
                      <a:pt x="2057" y="646"/>
                      <a:pt x="2057" y="646"/>
                      <a:pt x="2057" y="646"/>
                    </a:cubicBezTo>
                    <a:cubicBezTo>
                      <a:pt x="2057" y="646"/>
                      <a:pt x="2035" y="617"/>
                      <a:pt x="2035" y="610"/>
                    </a:cubicBezTo>
                    <a:cubicBezTo>
                      <a:pt x="2035" y="603"/>
                      <a:pt x="2040" y="600"/>
                      <a:pt x="2040" y="600"/>
                    </a:cubicBezTo>
                    <a:cubicBezTo>
                      <a:pt x="2040" y="600"/>
                      <a:pt x="2023" y="589"/>
                      <a:pt x="2025" y="586"/>
                    </a:cubicBezTo>
                    <a:cubicBezTo>
                      <a:pt x="2027" y="583"/>
                      <a:pt x="2046" y="571"/>
                      <a:pt x="2046" y="571"/>
                    </a:cubicBezTo>
                    <a:cubicBezTo>
                      <a:pt x="2041" y="589"/>
                      <a:pt x="2041" y="589"/>
                      <a:pt x="2041" y="589"/>
                    </a:cubicBezTo>
                    <a:cubicBezTo>
                      <a:pt x="2062" y="606"/>
                      <a:pt x="2062" y="606"/>
                      <a:pt x="2062" y="606"/>
                    </a:cubicBezTo>
                    <a:cubicBezTo>
                      <a:pt x="2062" y="606"/>
                      <a:pt x="2070" y="582"/>
                      <a:pt x="2070" y="569"/>
                    </a:cubicBezTo>
                    <a:cubicBezTo>
                      <a:pt x="2070" y="556"/>
                      <a:pt x="2108" y="525"/>
                      <a:pt x="2107" y="533"/>
                    </a:cubicBezTo>
                    <a:cubicBezTo>
                      <a:pt x="2106" y="541"/>
                      <a:pt x="2083" y="574"/>
                      <a:pt x="2083" y="574"/>
                    </a:cubicBezTo>
                    <a:cubicBezTo>
                      <a:pt x="2077" y="596"/>
                      <a:pt x="2077" y="596"/>
                      <a:pt x="2077" y="596"/>
                    </a:cubicBezTo>
                    <a:cubicBezTo>
                      <a:pt x="2090" y="597"/>
                      <a:pt x="2090" y="597"/>
                      <a:pt x="2090" y="597"/>
                    </a:cubicBezTo>
                    <a:cubicBezTo>
                      <a:pt x="2090" y="597"/>
                      <a:pt x="2087" y="619"/>
                      <a:pt x="2082" y="623"/>
                    </a:cubicBezTo>
                    <a:cubicBezTo>
                      <a:pt x="2077" y="627"/>
                      <a:pt x="2059" y="661"/>
                      <a:pt x="2066" y="661"/>
                    </a:cubicBezTo>
                    <a:cubicBezTo>
                      <a:pt x="2073" y="661"/>
                      <a:pt x="2083" y="637"/>
                      <a:pt x="2089" y="632"/>
                    </a:cubicBezTo>
                    <a:cubicBezTo>
                      <a:pt x="2095" y="627"/>
                      <a:pt x="2125" y="611"/>
                      <a:pt x="2127" y="598"/>
                    </a:cubicBezTo>
                    <a:cubicBezTo>
                      <a:pt x="2129" y="585"/>
                      <a:pt x="2125" y="564"/>
                      <a:pt x="2125" y="553"/>
                    </a:cubicBezTo>
                    <a:cubicBezTo>
                      <a:pt x="2125" y="542"/>
                      <a:pt x="2129" y="516"/>
                      <a:pt x="2136" y="513"/>
                    </a:cubicBezTo>
                    <a:cubicBezTo>
                      <a:pt x="2143" y="510"/>
                      <a:pt x="2138" y="515"/>
                      <a:pt x="2135" y="528"/>
                    </a:cubicBezTo>
                    <a:cubicBezTo>
                      <a:pt x="2132" y="541"/>
                      <a:pt x="2144" y="545"/>
                      <a:pt x="2144" y="545"/>
                    </a:cubicBezTo>
                    <a:cubicBezTo>
                      <a:pt x="2144" y="545"/>
                      <a:pt x="2138" y="570"/>
                      <a:pt x="2141" y="570"/>
                    </a:cubicBezTo>
                    <a:cubicBezTo>
                      <a:pt x="2144" y="570"/>
                      <a:pt x="2175" y="531"/>
                      <a:pt x="2185" y="521"/>
                    </a:cubicBezTo>
                    <a:cubicBezTo>
                      <a:pt x="2195" y="511"/>
                      <a:pt x="2217" y="495"/>
                      <a:pt x="2214" y="491"/>
                    </a:cubicBezTo>
                    <a:cubicBezTo>
                      <a:pt x="2211" y="487"/>
                      <a:pt x="2202" y="490"/>
                      <a:pt x="2202" y="480"/>
                    </a:cubicBezTo>
                    <a:cubicBezTo>
                      <a:pt x="2202" y="470"/>
                      <a:pt x="2220" y="475"/>
                      <a:pt x="2240" y="475"/>
                    </a:cubicBezTo>
                    <a:cubicBezTo>
                      <a:pt x="2260" y="475"/>
                      <a:pt x="2306" y="453"/>
                      <a:pt x="2306" y="453"/>
                    </a:cubicBezTo>
                    <a:cubicBezTo>
                      <a:pt x="2293" y="447"/>
                      <a:pt x="2293" y="447"/>
                      <a:pt x="2293" y="447"/>
                    </a:cubicBezTo>
                    <a:cubicBezTo>
                      <a:pt x="2293" y="447"/>
                      <a:pt x="2269" y="458"/>
                      <a:pt x="2257" y="459"/>
                    </a:cubicBezTo>
                    <a:cubicBezTo>
                      <a:pt x="2245" y="460"/>
                      <a:pt x="2225" y="468"/>
                      <a:pt x="2228" y="455"/>
                    </a:cubicBezTo>
                    <a:cubicBezTo>
                      <a:pt x="2231" y="442"/>
                      <a:pt x="2266" y="439"/>
                      <a:pt x="2266" y="439"/>
                    </a:cubicBezTo>
                    <a:cubicBezTo>
                      <a:pt x="2326" y="438"/>
                      <a:pt x="2326" y="438"/>
                      <a:pt x="2326" y="438"/>
                    </a:cubicBezTo>
                    <a:cubicBezTo>
                      <a:pt x="2355" y="411"/>
                      <a:pt x="2355" y="411"/>
                      <a:pt x="2355" y="411"/>
                    </a:cubicBezTo>
                    <a:cubicBezTo>
                      <a:pt x="2361" y="421"/>
                      <a:pt x="2361" y="421"/>
                      <a:pt x="2361" y="421"/>
                    </a:cubicBezTo>
                    <a:cubicBezTo>
                      <a:pt x="2379" y="412"/>
                      <a:pt x="2379" y="412"/>
                      <a:pt x="2379" y="412"/>
                    </a:cubicBezTo>
                    <a:cubicBezTo>
                      <a:pt x="2377" y="435"/>
                      <a:pt x="2377" y="435"/>
                      <a:pt x="2377" y="435"/>
                    </a:cubicBezTo>
                    <a:cubicBezTo>
                      <a:pt x="2397" y="422"/>
                      <a:pt x="2397" y="422"/>
                      <a:pt x="2397" y="422"/>
                    </a:cubicBezTo>
                    <a:cubicBezTo>
                      <a:pt x="2413" y="418"/>
                      <a:pt x="2413" y="418"/>
                      <a:pt x="2413" y="418"/>
                    </a:cubicBezTo>
                    <a:cubicBezTo>
                      <a:pt x="2418" y="396"/>
                      <a:pt x="2418" y="396"/>
                      <a:pt x="2418" y="396"/>
                    </a:cubicBezTo>
                    <a:cubicBezTo>
                      <a:pt x="2409" y="388"/>
                      <a:pt x="2409" y="388"/>
                      <a:pt x="2409" y="388"/>
                    </a:cubicBezTo>
                    <a:cubicBezTo>
                      <a:pt x="2407" y="407"/>
                      <a:pt x="2407" y="407"/>
                      <a:pt x="2407" y="407"/>
                    </a:cubicBezTo>
                    <a:cubicBezTo>
                      <a:pt x="2391" y="410"/>
                      <a:pt x="2391" y="410"/>
                      <a:pt x="2391" y="410"/>
                    </a:cubicBezTo>
                    <a:cubicBezTo>
                      <a:pt x="2391" y="391"/>
                      <a:pt x="2391" y="391"/>
                      <a:pt x="2391" y="391"/>
                    </a:cubicBezTo>
                    <a:cubicBezTo>
                      <a:pt x="2378" y="377"/>
                      <a:pt x="2378" y="377"/>
                      <a:pt x="2378" y="377"/>
                    </a:cubicBezTo>
                    <a:cubicBezTo>
                      <a:pt x="2394" y="369"/>
                      <a:pt x="2394" y="369"/>
                      <a:pt x="2394" y="369"/>
                    </a:cubicBezTo>
                    <a:cubicBezTo>
                      <a:pt x="2398" y="346"/>
                      <a:pt x="2398" y="346"/>
                      <a:pt x="2398" y="346"/>
                    </a:cubicBezTo>
                    <a:cubicBezTo>
                      <a:pt x="2398" y="346"/>
                      <a:pt x="2413" y="329"/>
                      <a:pt x="2423" y="324"/>
                    </a:cubicBezTo>
                    <a:cubicBezTo>
                      <a:pt x="2433" y="319"/>
                      <a:pt x="2438" y="301"/>
                      <a:pt x="2438" y="301"/>
                    </a:cubicBezTo>
                    <a:cubicBezTo>
                      <a:pt x="2457" y="306"/>
                      <a:pt x="2457" y="306"/>
                      <a:pt x="2457" y="306"/>
                    </a:cubicBezTo>
                    <a:cubicBezTo>
                      <a:pt x="2467" y="291"/>
                      <a:pt x="2467" y="291"/>
                      <a:pt x="2467" y="291"/>
                    </a:cubicBezTo>
                    <a:cubicBezTo>
                      <a:pt x="2467" y="291"/>
                      <a:pt x="2470" y="302"/>
                      <a:pt x="2479" y="296"/>
                    </a:cubicBezTo>
                    <a:cubicBezTo>
                      <a:pt x="2488" y="290"/>
                      <a:pt x="2515" y="266"/>
                      <a:pt x="2515" y="266"/>
                    </a:cubicBezTo>
                    <a:cubicBezTo>
                      <a:pt x="2516" y="284"/>
                      <a:pt x="2516" y="284"/>
                      <a:pt x="2516" y="284"/>
                    </a:cubicBezTo>
                    <a:cubicBezTo>
                      <a:pt x="2516" y="284"/>
                      <a:pt x="2547" y="265"/>
                      <a:pt x="2556" y="260"/>
                    </a:cubicBezTo>
                    <a:cubicBezTo>
                      <a:pt x="2565" y="255"/>
                      <a:pt x="2597" y="254"/>
                      <a:pt x="2597" y="254"/>
                    </a:cubicBezTo>
                    <a:cubicBezTo>
                      <a:pt x="2597" y="232"/>
                      <a:pt x="2597" y="232"/>
                      <a:pt x="2597" y="232"/>
                    </a:cubicBezTo>
                    <a:cubicBezTo>
                      <a:pt x="2597" y="232"/>
                      <a:pt x="2598" y="232"/>
                      <a:pt x="2598" y="233"/>
                    </a:cubicBezTo>
                    <a:cubicBezTo>
                      <a:pt x="2597" y="229"/>
                      <a:pt x="2597" y="229"/>
                      <a:pt x="2597" y="229"/>
                    </a:cubicBezTo>
                    <a:cubicBezTo>
                      <a:pt x="2597" y="229"/>
                      <a:pt x="2589" y="232"/>
                      <a:pt x="2584" y="227"/>
                    </a:cubicBezTo>
                    <a:cubicBezTo>
                      <a:pt x="2579" y="222"/>
                      <a:pt x="2593" y="209"/>
                      <a:pt x="2593" y="209"/>
                    </a:cubicBezTo>
                    <a:cubicBezTo>
                      <a:pt x="2593" y="209"/>
                      <a:pt x="2585" y="205"/>
                      <a:pt x="2582" y="202"/>
                    </a:cubicBezTo>
                    <a:cubicBezTo>
                      <a:pt x="2579" y="199"/>
                      <a:pt x="2609" y="142"/>
                      <a:pt x="2609" y="125"/>
                    </a:cubicBezTo>
                    <a:cubicBezTo>
                      <a:pt x="2609" y="108"/>
                      <a:pt x="2582" y="119"/>
                      <a:pt x="2570" y="119"/>
                    </a:cubicBezTo>
                    <a:close/>
                    <a:moveTo>
                      <a:pt x="1811" y="252"/>
                    </a:moveTo>
                    <a:cubicBezTo>
                      <a:pt x="1797" y="252"/>
                      <a:pt x="1817" y="235"/>
                      <a:pt x="1810" y="232"/>
                    </a:cubicBezTo>
                    <a:cubicBezTo>
                      <a:pt x="1803" y="229"/>
                      <a:pt x="1793" y="242"/>
                      <a:pt x="1793" y="242"/>
                    </a:cubicBezTo>
                    <a:cubicBezTo>
                      <a:pt x="1788" y="244"/>
                      <a:pt x="1788" y="244"/>
                      <a:pt x="1788" y="244"/>
                    </a:cubicBezTo>
                    <a:cubicBezTo>
                      <a:pt x="1784" y="255"/>
                      <a:pt x="1784" y="255"/>
                      <a:pt x="1784" y="255"/>
                    </a:cubicBezTo>
                    <a:cubicBezTo>
                      <a:pt x="1773" y="251"/>
                      <a:pt x="1773" y="251"/>
                      <a:pt x="1773" y="251"/>
                    </a:cubicBezTo>
                    <a:cubicBezTo>
                      <a:pt x="1773" y="251"/>
                      <a:pt x="1773" y="262"/>
                      <a:pt x="1770" y="269"/>
                    </a:cubicBezTo>
                    <a:cubicBezTo>
                      <a:pt x="1767" y="276"/>
                      <a:pt x="1757" y="279"/>
                      <a:pt x="1752" y="284"/>
                    </a:cubicBezTo>
                    <a:cubicBezTo>
                      <a:pt x="1747" y="289"/>
                      <a:pt x="1753" y="297"/>
                      <a:pt x="1753" y="297"/>
                    </a:cubicBezTo>
                    <a:cubicBezTo>
                      <a:pt x="1753" y="297"/>
                      <a:pt x="1749" y="297"/>
                      <a:pt x="1736" y="311"/>
                    </a:cubicBezTo>
                    <a:cubicBezTo>
                      <a:pt x="1723" y="325"/>
                      <a:pt x="1741" y="325"/>
                      <a:pt x="1741" y="333"/>
                    </a:cubicBezTo>
                    <a:cubicBezTo>
                      <a:pt x="1741" y="341"/>
                      <a:pt x="1734" y="342"/>
                      <a:pt x="1734" y="342"/>
                    </a:cubicBezTo>
                    <a:cubicBezTo>
                      <a:pt x="1734" y="342"/>
                      <a:pt x="1742" y="346"/>
                      <a:pt x="1719" y="378"/>
                    </a:cubicBezTo>
                    <a:cubicBezTo>
                      <a:pt x="1696" y="410"/>
                      <a:pt x="1651" y="420"/>
                      <a:pt x="1651" y="420"/>
                    </a:cubicBezTo>
                    <a:cubicBezTo>
                      <a:pt x="1654" y="400"/>
                      <a:pt x="1654" y="400"/>
                      <a:pt x="1654" y="400"/>
                    </a:cubicBezTo>
                    <a:cubicBezTo>
                      <a:pt x="1654" y="400"/>
                      <a:pt x="1650" y="393"/>
                      <a:pt x="1648" y="389"/>
                    </a:cubicBezTo>
                    <a:cubicBezTo>
                      <a:pt x="1646" y="385"/>
                      <a:pt x="1663" y="365"/>
                      <a:pt x="1665" y="358"/>
                    </a:cubicBezTo>
                    <a:cubicBezTo>
                      <a:pt x="1667" y="351"/>
                      <a:pt x="1661" y="350"/>
                      <a:pt x="1663" y="338"/>
                    </a:cubicBezTo>
                    <a:cubicBezTo>
                      <a:pt x="1665" y="326"/>
                      <a:pt x="1687" y="307"/>
                      <a:pt x="1687" y="307"/>
                    </a:cubicBezTo>
                    <a:cubicBezTo>
                      <a:pt x="1687" y="298"/>
                      <a:pt x="1687" y="298"/>
                      <a:pt x="1687" y="298"/>
                    </a:cubicBezTo>
                    <a:cubicBezTo>
                      <a:pt x="1687" y="298"/>
                      <a:pt x="1708" y="283"/>
                      <a:pt x="1711" y="277"/>
                    </a:cubicBezTo>
                    <a:cubicBezTo>
                      <a:pt x="1714" y="271"/>
                      <a:pt x="1746" y="240"/>
                      <a:pt x="1746" y="240"/>
                    </a:cubicBezTo>
                    <a:cubicBezTo>
                      <a:pt x="1725" y="246"/>
                      <a:pt x="1725" y="246"/>
                      <a:pt x="1725" y="246"/>
                    </a:cubicBezTo>
                    <a:cubicBezTo>
                      <a:pt x="1725" y="246"/>
                      <a:pt x="1702" y="265"/>
                      <a:pt x="1698" y="260"/>
                    </a:cubicBezTo>
                    <a:cubicBezTo>
                      <a:pt x="1694" y="255"/>
                      <a:pt x="1734" y="231"/>
                      <a:pt x="1739" y="223"/>
                    </a:cubicBezTo>
                    <a:cubicBezTo>
                      <a:pt x="1744" y="215"/>
                      <a:pt x="1772" y="194"/>
                      <a:pt x="1772" y="194"/>
                    </a:cubicBezTo>
                    <a:cubicBezTo>
                      <a:pt x="1777" y="200"/>
                      <a:pt x="1777" y="200"/>
                      <a:pt x="1777" y="200"/>
                    </a:cubicBezTo>
                    <a:cubicBezTo>
                      <a:pt x="1787" y="194"/>
                      <a:pt x="1787" y="194"/>
                      <a:pt x="1787" y="194"/>
                    </a:cubicBezTo>
                    <a:cubicBezTo>
                      <a:pt x="1787" y="194"/>
                      <a:pt x="1782" y="203"/>
                      <a:pt x="1792" y="202"/>
                    </a:cubicBezTo>
                    <a:cubicBezTo>
                      <a:pt x="1802" y="201"/>
                      <a:pt x="1799" y="187"/>
                      <a:pt x="1799" y="187"/>
                    </a:cubicBezTo>
                    <a:cubicBezTo>
                      <a:pt x="1815" y="192"/>
                      <a:pt x="1815" y="192"/>
                      <a:pt x="1815" y="192"/>
                    </a:cubicBezTo>
                    <a:cubicBezTo>
                      <a:pt x="1815" y="192"/>
                      <a:pt x="1837" y="181"/>
                      <a:pt x="1847" y="184"/>
                    </a:cubicBezTo>
                    <a:cubicBezTo>
                      <a:pt x="1857" y="187"/>
                      <a:pt x="1862" y="199"/>
                      <a:pt x="1862" y="199"/>
                    </a:cubicBezTo>
                    <a:cubicBezTo>
                      <a:pt x="1845" y="205"/>
                      <a:pt x="1845" y="205"/>
                      <a:pt x="1845" y="205"/>
                    </a:cubicBezTo>
                    <a:cubicBezTo>
                      <a:pt x="1847" y="222"/>
                      <a:pt x="1847" y="222"/>
                      <a:pt x="1847" y="222"/>
                    </a:cubicBezTo>
                    <a:cubicBezTo>
                      <a:pt x="1847" y="222"/>
                      <a:pt x="1835" y="220"/>
                      <a:pt x="1828" y="220"/>
                    </a:cubicBezTo>
                    <a:cubicBezTo>
                      <a:pt x="1821" y="220"/>
                      <a:pt x="1824" y="237"/>
                      <a:pt x="1824" y="237"/>
                    </a:cubicBezTo>
                    <a:cubicBezTo>
                      <a:pt x="1824" y="237"/>
                      <a:pt x="1825" y="252"/>
                      <a:pt x="1811" y="252"/>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67" name="Freeform 89">
                <a:extLst>
                  <a:ext uri="{FF2B5EF4-FFF2-40B4-BE49-F238E27FC236}">
                    <a16:creationId xmlns:a16="http://schemas.microsoft.com/office/drawing/2014/main" id="{2FF22B51-B384-4096-95D9-4B14F61A066A}"/>
                  </a:ext>
                </a:extLst>
              </p:cNvPr>
              <p:cNvSpPr>
                <a:spLocks noEditPoints="1"/>
              </p:cNvSpPr>
              <p:nvPr>
                <p:custDataLst>
                  <p:tags r:id="rId48"/>
                </p:custDataLst>
              </p:nvPr>
            </p:nvSpPr>
            <p:spPr bwMode="gray">
              <a:xfrm>
                <a:off x="2925745" y="2865449"/>
                <a:ext cx="1835140" cy="1455742"/>
              </a:xfrm>
              <a:custGeom>
                <a:avLst/>
                <a:gdLst>
                  <a:gd name="T0" fmla="*/ 3045 w 3050"/>
                  <a:gd name="T1" fmla="*/ 429 h 2623"/>
                  <a:gd name="T2" fmla="*/ 3017 w 3050"/>
                  <a:gd name="T3" fmla="*/ 487 h 2623"/>
                  <a:gd name="T4" fmla="*/ 3043 w 3050"/>
                  <a:gd name="T5" fmla="*/ 495 h 2623"/>
                  <a:gd name="T6" fmla="*/ 3048 w 3050"/>
                  <a:gd name="T7" fmla="*/ 446 h 2623"/>
                  <a:gd name="T8" fmla="*/ 2944 w 3050"/>
                  <a:gd name="T9" fmla="*/ 106 h 2623"/>
                  <a:gd name="T10" fmla="*/ 2924 w 3050"/>
                  <a:gd name="T11" fmla="*/ 87 h 2623"/>
                  <a:gd name="T12" fmla="*/ 2899 w 3050"/>
                  <a:gd name="T13" fmla="*/ 85 h 2623"/>
                  <a:gd name="T14" fmla="*/ 2877 w 3050"/>
                  <a:gd name="T15" fmla="*/ 77 h 2623"/>
                  <a:gd name="T16" fmla="*/ 2843 w 3050"/>
                  <a:gd name="T17" fmla="*/ 61 h 2623"/>
                  <a:gd name="T18" fmla="*/ 2800 w 3050"/>
                  <a:gd name="T19" fmla="*/ 37 h 2623"/>
                  <a:gd name="T20" fmla="*/ 2771 w 3050"/>
                  <a:gd name="T21" fmla="*/ 12 h 2623"/>
                  <a:gd name="T22" fmla="*/ 2715 w 3050"/>
                  <a:gd name="T23" fmla="*/ 12 h 2623"/>
                  <a:gd name="T24" fmla="*/ 2686 w 3050"/>
                  <a:gd name="T25" fmla="*/ 60 h 2623"/>
                  <a:gd name="T26" fmla="*/ 2635 w 3050"/>
                  <a:gd name="T27" fmla="*/ 97 h 2623"/>
                  <a:gd name="T28" fmla="*/ 2580 w 3050"/>
                  <a:gd name="T29" fmla="*/ 75 h 2623"/>
                  <a:gd name="T30" fmla="*/ 2550 w 3050"/>
                  <a:gd name="T31" fmla="*/ 125 h 2623"/>
                  <a:gd name="T32" fmla="*/ 2495 w 3050"/>
                  <a:gd name="T33" fmla="*/ 124 h 2623"/>
                  <a:gd name="T34" fmla="*/ 2450 w 3050"/>
                  <a:gd name="T35" fmla="*/ 161 h 2623"/>
                  <a:gd name="T36" fmla="*/ 2514 w 3050"/>
                  <a:gd name="T37" fmla="*/ 184 h 2623"/>
                  <a:gd name="T38" fmla="*/ 2572 w 3050"/>
                  <a:gd name="T39" fmla="*/ 199 h 2623"/>
                  <a:gd name="T40" fmla="*/ 2597 w 3050"/>
                  <a:gd name="T41" fmla="*/ 248 h 2623"/>
                  <a:gd name="T42" fmla="*/ 2617 w 3050"/>
                  <a:gd name="T43" fmla="*/ 320 h 2623"/>
                  <a:gd name="T44" fmla="*/ 2576 w 3050"/>
                  <a:gd name="T45" fmla="*/ 391 h 2623"/>
                  <a:gd name="T46" fmla="*/ 2578 w 3050"/>
                  <a:gd name="T47" fmla="*/ 414 h 2623"/>
                  <a:gd name="T48" fmla="*/ 2612 w 3050"/>
                  <a:gd name="T49" fmla="*/ 437 h 2623"/>
                  <a:gd name="T50" fmla="*/ 2651 w 3050"/>
                  <a:gd name="T51" fmla="*/ 441 h 2623"/>
                  <a:gd name="T52" fmla="*/ 2673 w 3050"/>
                  <a:gd name="T53" fmla="*/ 434 h 2623"/>
                  <a:gd name="T54" fmla="*/ 2697 w 3050"/>
                  <a:gd name="T55" fmla="*/ 446 h 2623"/>
                  <a:gd name="T56" fmla="*/ 2717 w 3050"/>
                  <a:gd name="T57" fmla="*/ 454 h 2623"/>
                  <a:gd name="T58" fmla="*/ 2742 w 3050"/>
                  <a:gd name="T59" fmla="*/ 463 h 2623"/>
                  <a:gd name="T60" fmla="*/ 2763 w 3050"/>
                  <a:gd name="T61" fmla="*/ 453 h 2623"/>
                  <a:gd name="T62" fmla="*/ 2822 w 3050"/>
                  <a:gd name="T63" fmla="*/ 397 h 2623"/>
                  <a:gd name="T64" fmla="*/ 2882 w 3050"/>
                  <a:gd name="T65" fmla="*/ 421 h 2623"/>
                  <a:gd name="T66" fmla="*/ 2957 w 3050"/>
                  <a:gd name="T67" fmla="*/ 388 h 2623"/>
                  <a:gd name="T68" fmla="*/ 2950 w 3050"/>
                  <a:gd name="T69" fmla="*/ 367 h 2623"/>
                  <a:gd name="T70" fmla="*/ 2940 w 3050"/>
                  <a:gd name="T71" fmla="*/ 335 h 2623"/>
                  <a:gd name="T72" fmla="*/ 2922 w 3050"/>
                  <a:gd name="T73" fmla="*/ 314 h 2623"/>
                  <a:gd name="T74" fmla="*/ 2939 w 3050"/>
                  <a:gd name="T75" fmla="*/ 289 h 2623"/>
                  <a:gd name="T76" fmla="*/ 2934 w 3050"/>
                  <a:gd name="T77" fmla="*/ 263 h 2623"/>
                  <a:gd name="T78" fmla="*/ 2902 w 3050"/>
                  <a:gd name="T79" fmla="*/ 259 h 2623"/>
                  <a:gd name="T80" fmla="*/ 2918 w 3050"/>
                  <a:gd name="T81" fmla="*/ 226 h 2623"/>
                  <a:gd name="T82" fmla="*/ 2943 w 3050"/>
                  <a:gd name="T83" fmla="*/ 198 h 2623"/>
                  <a:gd name="T84" fmla="*/ 2966 w 3050"/>
                  <a:gd name="T85" fmla="*/ 186 h 2623"/>
                  <a:gd name="T86" fmla="*/ 2976 w 3050"/>
                  <a:gd name="T87" fmla="*/ 128 h 2623"/>
                  <a:gd name="T88" fmla="*/ 2982 w 3050"/>
                  <a:gd name="T89" fmla="*/ 106 h 2623"/>
                  <a:gd name="T90" fmla="*/ 90 w 3050"/>
                  <a:gd name="T91" fmla="*/ 2439 h 2623"/>
                  <a:gd name="T92" fmla="*/ 32 w 3050"/>
                  <a:gd name="T93" fmla="*/ 2444 h 2623"/>
                  <a:gd name="T94" fmla="*/ 32 w 3050"/>
                  <a:gd name="T95" fmla="*/ 2544 h 2623"/>
                  <a:gd name="T96" fmla="*/ 11 w 3050"/>
                  <a:gd name="T97" fmla="*/ 2594 h 2623"/>
                  <a:gd name="T98" fmla="*/ 38 w 3050"/>
                  <a:gd name="T99" fmla="*/ 2611 h 2623"/>
                  <a:gd name="T100" fmla="*/ 62 w 3050"/>
                  <a:gd name="T101" fmla="*/ 2610 h 2623"/>
                  <a:gd name="T102" fmla="*/ 108 w 3050"/>
                  <a:gd name="T103" fmla="*/ 2570 h 2623"/>
                  <a:gd name="T104" fmla="*/ 125 w 3050"/>
                  <a:gd name="T105" fmla="*/ 2479 h 2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50" h="2623">
                    <a:moveTo>
                      <a:pt x="3048" y="446"/>
                    </a:moveTo>
                    <a:cubicBezTo>
                      <a:pt x="3043" y="444"/>
                      <a:pt x="3043" y="444"/>
                      <a:pt x="3043" y="444"/>
                    </a:cubicBezTo>
                    <a:cubicBezTo>
                      <a:pt x="3043" y="444"/>
                      <a:pt x="3049" y="436"/>
                      <a:pt x="3045" y="429"/>
                    </a:cubicBezTo>
                    <a:cubicBezTo>
                      <a:pt x="3041" y="422"/>
                      <a:pt x="3033" y="440"/>
                      <a:pt x="3033" y="440"/>
                    </a:cubicBezTo>
                    <a:cubicBezTo>
                      <a:pt x="3033" y="440"/>
                      <a:pt x="3004" y="453"/>
                      <a:pt x="3007" y="467"/>
                    </a:cubicBezTo>
                    <a:cubicBezTo>
                      <a:pt x="3010" y="481"/>
                      <a:pt x="3017" y="487"/>
                      <a:pt x="3017" y="487"/>
                    </a:cubicBezTo>
                    <a:cubicBezTo>
                      <a:pt x="3017" y="487"/>
                      <a:pt x="3008" y="498"/>
                      <a:pt x="3016" y="505"/>
                    </a:cubicBezTo>
                    <a:cubicBezTo>
                      <a:pt x="3024" y="512"/>
                      <a:pt x="3033" y="513"/>
                      <a:pt x="3033" y="513"/>
                    </a:cubicBezTo>
                    <a:cubicBezTo>
                      <a:pt x="3033" y="513"/>
                      <a:pt x="3043" y="506"/>
                      <a:pt x="3043" y="495"/>
                    </a:cubicBezTo>
                    <a:cubicBezTo>
                      <a:pt x="3043" y="484"/>
                      <a:pt x="3042" y="481"/>
                      <a:pt x="3042" y="481"/>
                    </a:cubicBezTo>
                    <a:cubicBezTo>
                      <a:pt x="3050" y="477"/>
                      <a:pt x="3050" y="477"/>
                      <a:pt x="3050" y="477"/>
                    </a:cubicBezTo>
                    <a:lnTo>
                      <a:pt x="3048" y="446"/>
                    </a:lnTo>
                    <a:close/>
                    <a:moveTo>
                      <a:pt x="2964" y="107"/>
                    </a:moveTo>
                    <a:cubicBezTo>
                      <a:pt x="2964" y="103"/>
                      <a:pt x="2964" y="103"/>
                      <a:pt x="2964" y="103"/>
                    </a:cubicBezTo>
                    <a:cubicBezTo>
                      <a:pt x="2964" y="103"/>
                      <a:pt x="2950" y="107"/>
                      <a:pt x="2944" y="106"/>
                    </a:cubicBezTo>
                    <a:cubicBezTo>
                      <a:pt x="2938" y="105"/>
                      <a:pt x="2940" y="100"/>
                      <a:pt x="2940" y="100"/>
                    </a:cubicBezTo>
                    <a:cubicBezTo>
                      <a:pt x="2923" y="100"/>
                      <a:pt x="2923" y="100"/>
                      <a:pt x="2923" y="100"/>
                    </a:cubicBezTo>
                    <a:cubicBezTo>
                      <a:pt x="2923" y="100"/>
                      <a:pt x="2927" y="90"/>
                      <a:pt x="2924" y="87"/>
                    </a:cubicBezTo>
                    <a:cubicBezTo>
                      <a:pt x="2921" y="84"/>
                      <a:pt x="2919" y="80"/>
                      <a:pt x="2919" y="80"/>
                    </a:cubicBezTo>
                    <a:cubicBezTo>
                      <a:pt x="2908" y="78"/>
                      <a:pt x="2908" y="78"/>
                      <a:pt x="2908" y="78"/>
                    </a:cubicBezTo>
                    <a:cubicBezTo>
                      <a:pt x="2899" y="85"/>
                      <a:pt x="2899" y="85"/>
                      <a:pt x="2899" y="85"/>
                    </a:cubicBezTo>
                    <a:cubicBezTo>
                      <a:pt x="2894" y="81"/>
                      <a:pt x="2894" y="81"/>
                      <a:pt x="2894" y="81"/>
                    </a:cubicBezTo>
                    <a:cubicBezTo>
                      <a:pt x="2880" y="81"/>
                      <a:pt x="2880" y="81"/>
                      <a:pt x="2880" y="81"/>
                    </a:cubicBezTo>
                    <a:cubicBezTo>
                      <a:pt x="2880" y="81"/>
                      <a:pt x="2879" y="80"/>
                      <a:pt x="2877" y="77"/>
                    </a:cubicBezTo>
                    <a:cubicBezTo>
                      <a:pt x="2875" y="74"/>
                      <a:pt x="2853" y="70"/>
                      <a:pt x="2853" y="70"/>
                    </a:cubicBezTo>
                    <a:cubicBezTo>
                      <a:pt x="2853" y="54"/>
                      <a:pt x="2853" y="54"/>
                      <a:pt x="2853" y="54"/>
                    </a:cubicBezTo>
                    <a:cubicBezTo>
                      <a:pt x="2843" y="61"/>
                      <a:pt x="2843" y="61"/>
                      <a:pt x="2843" y="61"/>
                    </a:cubicBezTo>
                    <a:cubicBezTo>
                      <a:pt x="2828" y="61"/>
                      <a:pt x="2828" y="61"/>
                      <a:pt x="2828" y="61"/>
                    </a:cubicBezTo>
                    <a:cubicBezTo>
                      <a:pt x="2828" y="61"/>
                      <a:pt x="2828" y="45"/>
                      <a:pt x="2823" y="42"/>
                    </a:cubicBezTo>
                    <a:cubicBezTo>
                      <a:pt x="2818" y="39"/>
                      <a:pt x="2800" y="37"/>
                      <a:pt x="2800" y="37"/>
                    </a:cubicBezTo>
                    <a:cubicBezTo>
                      <a:pt x="2793" y="30"/>
                      <a:pt x="2793" y="30"/>
                      <a:pt x="2793" y="30"/>
                    </a:cubicBezTo>
                    <a:cubicBezTo>
                      <a:pt x="2777" y="26"/>
                      <a:pt x="2777" y="26"/>
                      <a:pt x="2777" y="26"/>
                    </a:cubicBezTo>
                    <a:cubicBezTo>
                      <a:pt x="2771" y="12"/>
                      <a:pt x="2771" y="12"/>
                      <a:pt x="2771" y="12"/>
                    </a:cubicBezTo>
                    <a:cubicBezTo>
                      <a:pt x="2772" y="3"/>
                      <a:pt x="2772" y="3"/>
                      <a:pt x="2772" y="3"/>
                    </a:cubicBezTo>
                    <a:cubicBezTo>
                      <a:pt x="2772" y="3"/>
                      <a:pt x="2756" y="0"/>
                      <a:pt x="2746" y="4"/>
                    </a:cubicBezTo>
                    <a:cubicBezTo>
                      <a:pt x="2736" y="8"/>
                      <a:pt x="2711" y="4"/>
                      <a:pt x="2715" y="12"/>
                    </a:cubicBezTo>
                    <a:cubicBezTo>
                      <a:pt x="2719" y="20"/>
                      <a:pt x="2722" y="27"/>
                      <a:pt x="2722" y="27"/>
                    </a:cubicBezTo>
                    <a:cubicBezTo>
                      <a:pt x="2722" y="27"/>
                      <a:pt x="2730" y="44"/>
                      <a:pt x="2719" y="52"/>
                    </a:cubicBezTo>
                    <a:cubicBezTo>
                      <a:pt x="2708" y="60"/>
                      <a:pt x="2686" y="60"/>
                      <a:pt x="2686" y="60"/>
                    </a:cubicBezTo>
                    <a:cubicBezTo>
                      <a:pt x="2661" y="80"/>
                      <a:pt x="2661" y="80"/>
                      <a:pt x="2661" y="80"/>
                    </a:cubicBezTo>
                    <a:cubicBezTo>
                      <a:pt x="2670" y="86"/>
                      <a:pt x="2670" y="86"/>
                      <a:pt x="2670" y="86"/>
                    </a:cubicBezTo>
                    <a:cubicBezTo>
                      <a:pt x="2670" y="86"/>
                      <a:pt x="2650" y="98"/>
                      <a:pt x="2635" y="97"/>
                    </a:cubicBezTo>
                    <a:cubicBezTo>
                      <a:pt x="2620" y="96"/>
                      <a:pt x="2611" y="91"/>
                      <a:pt x="2611" y="91"/>
                    </a:cubicBezTo>
                    <a:cubicBezTo>
                      <a:pt x="2600" y="76"/>
                      <a:pt x="2600" y="76"/>
                      <a:pt x="2600" y="76"/>
                    </a:cubicBezTo>
                    <a:cubicBezTo>
                      <a:pt x="2600" y="76"/>
                      <a:pt x="2579" y="68"/>
                      <a:pt x="2580" y="75"/>
                    </a:cubicBezTo>
                    <a:cubicBezTo>
                      <a:pt x="2581" y="82"/>
                      <a:pt x="2592" y="96"/>
                      <a:pt x="2592" y="96"/>
                    </a:cubicBezTo>
                    <a:cubicBezTo>
                      <a:pt x="2592" y="96"/>
                      <a:pt x="2605" y="120"/>
                      <a:pt x="2587" y="123"/>
                    </a:cubicBezTo>
                    <a:cubicBezTo>
                      <a:pt x="2569" y="126"/>
                      <a:pt x="2550" y="125"/>
                      <a:pt x="2550" y="125"/>
                    </a:cubicBezTo>
                    <a:cubicBezTo>
                      <a:pt x="2543" y="136"/>
                      <a:pt x="2543" y="136"/>
                      <a:pt x="2543" y="136"/>
                    </a:cubicBezTo>
                    <a:cubicBezTo>
                      <a:pt x="2543" y="136"/>
                      <a:pt x="2527" y="116"/>
                      <a:pt x="2521" y="117"/>
                    </a:cubicBezTo>
                    <a:cubicBezTo>
                      <a:pt x="2515" y="118"/>
                      <a:pt x="2495" y="124"/>
                      <a:pt x="2495" y="124"/>
                    </a:cubicBezTo>
                    <a:cubicBezTo>
                      <a:pt x="2495" y="124"/>
                      <a:pt x="2459" y="129"/>
                      <a:pt x="2456" y="136"/>
                    </a:cubicBezTo>
                    <a:cubicBezTo>
                      <a:pt x="2453" y="143"/>
                      <a:pt x="2475" y="149"/>
                      <a:pt x="2474" y="152"/>
                    </a:cubicBezTo>
                    <a:cubicBezTo>
                      <a:pt x="2473" y="155"/>
                      <a:pt x="2444" y="153"/>
                      <a:pt x="2450" y="161"/>
                    </a:cubicBezTo>
                    <a:cubicBezTo>
                      <a:pt x="2456" y="169"/>
                      <a:pt x="2475" y="170"/>
                      <a:pt x="2475" y="170"/>
                    </a:cubicBezTo>
                    <a:cubicBezTo>
                      <a:pt x="2482" y="166"/>
                      <a:pt x="2482" y="166"/>
                      <a:pt x="2482" y="166"/>
                    </a:cubicBezTo>
                    <a:cubicBezTo>
                      <a:pt x="2514" y="184"/>
                      <a:pt x="2514" y="184"/>
                      <a:pt x="2514" y="184"/>
                    </a:cubicBezTo>
                    <a:cubicBezTo>
                      <a:pt x="2534" y="184"/>
                      <a:pt x="2534" y="184"/>
                      <a:pt x="2534" y="184"/>
                    </a:cubicBezTo>
                    <a:cubicBezTo>
                      <a:pt x="2546" y="196"/>
                      <a:pt x="2546" y="196"/>
                      <a:pt x="2546" y="196"/>
                    </a:cubicBezTo>
                    <a:cubicBezTo>
                      <a:pt x="2572" y="199"/>
                      <a:pt x="2572" y="199"/>
                      <a:pt x="2572" y="199"/>
                    </a:cubicBezTo>
                    <a:cubicBezTo>
                      <a:pt x="2553" y="209"/>
                      <a:pt x="2553" y="209"/>
                      <a:pt x="2553" y="209"/>
                    </a:cubicBezTo>
                    <a:cubicBezTo>
                      <a:pt x="2553" y="209"/>
                      <a:pt x="2572" y="240"/>
                      <a:pt x="2576" y="244"/>
                    </a:cubicBezTo>
                    <a:cubicBezTo>
                      <a:pt x="2580" y="248"/>
                      <a:pt x="2597" y="248"/>
                      <a:pt x="2597" y="248"/>
                    </a:cubicBezTo>
                    <a:cubicBezTo>
                      <a:pt x="2595" y="277"/>
                      <a:pt x="2595" y="277"/>
                      <a:pt x="2595" y="277"/>
                    </a:cubicBezTo>
                    <a:cubicBezTo>
                      <a:pt x="2608" y="297"/>
                      <a:pt x="2608" y="297"/>
                      <a:pt x="2608" y="297"/>
                    </a:cubicBezTo>
                    <a:cubicBezTo>
                      <a:pt x="2617" y="320"/>
                      <a:pt x="2617" y="320"/>
                      <a:pt x="2617" y="320"/>
                    </a:cubicBezTo>
                    <a:cubicBezTo>
                      <a:pt x="2596" y="294"/>
                      <a:pt x="2596" y="294"/>
                      <a:pt x="2596" y="294"/>
                    </a:cubicBezTo>
                    <a:cubicBezTo>
                      <a:pt x="2596" y="294"/>
                      <a:pt x="2594" y="323"/>
                      <a:pt x="2593" y="333"/>
                    </a:cubicBezTo>
                    <a:cubicBezTo>
                      <a:pt x="2592" y="343"/>
                      <a:pt x="2581" y="383"/>
                      <a:pt x="2576" y="391"/>
                    </a:cubicBezTo>
                    <a:cubicBezTo>
                      <a:pt x="2572" y="398"/>
                      <a:pt x="2574" y="407"/>
                      <a:pt x="2562" y="409"/>
                    </a:cubicBezTo>
                    <a:cubicBezTo>
                      <a:pt x="2563" y="415"/>
                      <a:pt x="2563" y="415"/>
                      <a:pt x="2563" y="415"/>
                    </a:cubicBezTo>
                    <a:cubicBezTo>
                      <a:pt x="2563" y="415"/>
                      <a:pt x="2572" y="407"/>
                      <a:pt x="2578" y="414"/>
                    </a:cubicBezTo>
                    <a:cubicBezTo>
                      <a:pt x="2584" y="421"/>
                      <a:pt x="2578" y="424"/>
                      <a:pt x="2578" y="424"/>
                    </a:cubicBezTo>
                    <a:cubicBezTo>
                      <a:pt x="2578" y="424"/>
                      <a:pt x="2592" y="426"/>
                      <a:pt x="2599" y="427"/>
                    </a:cubicBezTo>
                    <a:cubicBezTo>
                      <a:pt x="2606" y="428"/>
                      <a:pt x="2612" y="437"/>
                      <a:pt x="2612" y="437"/>
                    </a:cubicBezTo>
                    <a:cubicBezTo>
                      <a:pt x="2612" y="437"/>
                      <a:pt x="2622" y="433"/>
                      <a:pt x="2626" y="435"/>
                    </a:cubicBezTo>
                    <a:cubicBezTo>
                      <a:pt x="2630" y="437"/>
                      <a:pt x="2631" y="440"/>
                      <a:pt x="2631" y="440"/>
                    </a:cubicBezTo>
                    <a:cubicBezTo>
                      <a:pt x="2651" y="441"/>
                      <a:pt x="2651" y="441"/>
                      <a:pt x="2651" y="441"/>
                    </a:cubicBezTo>
                    <a:cubicBezTo>
                      <a:pt x="2653" y="449"/>
                      <a:pt x="2653" y="449"/>
                      <a:pt x="2653" y="449"/>
                    </a:cubicBezTo>
                    <a:cubicBezTo>
                      <a:pt x="2666" y="446"/>
                      <a:pt x="2666" y="446"/>
                      <a:pt x="2666" y="446"/>
                    </a:cubicBezTo>
                    <a:cubicBezTo>
                      <a:pt x="2666" y="446"/>
                      <a:pt x="2660" y="434"/>
                      <a:pt x="2673" y="434"/>
                    </a:cubicBezTo>
                    <a:cubicBezTo>
                      <a:pt x="2686" y="434"/>
                      <a:pt x="2686" y="441"/>
                      <a:pt x="2686" y="441"/>
                    </a:cubicBezTo>
                    <a:cubicBezTo>
                      <a:pt x="2695" y="442"/>
                      <a:pt x="2695" y="442"/>
                      <a:pt x="2695" y="442"/>
                    </a:cubicBezTo>
                    <a:cubicBezTo>
                      <a:pt x="2697" y="446"/>
                      <a:pt x="2697" y="446"/>
                      <a:pt x="2697" y="446"/>
                    </a:cubicBezTo>
                    <a:cubicBezTo>
                      <a:pt x="2698" y="445"/>
                      <a:pt x="2700" y="445"/>
                      <a:pt x="2702" y="445"/>
                    </a:cubicBezTo>
                    <a:cubicBezTo>
                      <a:pt x="2712" y="444"/>
                      <a:pt x="2716" y="445"/>
                      <a:pt x="2716" y="445"/>
                    </a:cubicBezTo>
                    <a:cubicBezTo>
                      <a:pt x="2717" y="454"/>
                      <a:pt x="2717" y="454"/>
                      <a:pt x="2717" y="454"/>
                    </a:cubicBezTo>
                    <a:cubicBezTo>
                      <a:pt x="2720" y="455"/>
                      <a:pt x="2722" y="459"/>
                      <a:pt x="2722" y="459"/>
                    </a:cubicBezTo>
                    <a:cubicBezTo>
                      <a:pt x="2722" y="459"/>
                      <a:pt x="2729" y="457"/>
                      <a:pt x="2732" y="456"/>
                    </a:cubicBezTo>
                    <a:cubicBezTo>
                      <a:pt x="2735" y="455"/>
                      <a:pt x="2742" y="463"/>
                      <a:pt x="2742" y="463"/>
                    </a:cubicBezTo>
                    <a:cubicBezTo>
                      <a:pt x="2742" y="463"/>
                      <a:pt x="2743" y="463"/>
                      <a:pt x="2750" y="463"/>
                    </a:cubicBezTo>
                    <a:cubicBezTo>
                      <a:pt x="2757" y="463"/>
                      <a:pt x="2757" y="453"/>
                      <a:pt x="2757" y="453"/>
                    </a:cubicBezTo>
                    <a:cubicBezTo>
                      <a:pt x="2763" y="453"/>
                      <a:pt x="2763" y="453"/>
                      <a:pt x="2763" y="453"/>
                    </a:cubicBezTo>
                    <a:cubicBezTo>
                      <a:pt x="2763" y="452"/>
                      <a:pt x="2763" y="451"/>
                      <a:pt x="2763" y="450"/>
                    </a:cubicBezTo>
                    <a:cubicBezTo>
                      <a:pt x="2763" y="440"/>
                      <a:pt x="2778" y="417"/>
                      <a:pt x="2785" y="413"/>
                    </a:cubicBezTo>
                    <a:cubicBezTo>
                      <a:pt x="2792" y="409"/>
                      <a:pt x="2813" y="392"/>
                      <a:pt x="2822" y="397"/>
                    </a:cubicBezTo>
                    <a:cubicBezTo>
                      <a:pt x="2831" y="402"/>
                      <a:pt x="2839" y="407"/>
                      <a:pt x="2839" y="407"/>
                    </a:cubicBezTo>
                    <a:cubicBezTo>
                      <a:pt x="2839" y="407"/>
                      <a:pt x="2862" y="401"/>
                      <a:pt x="2867" y="406"/>
                    </a:cubicBezTo>
                    <a:cubicBezTo>
                      <a:pt x="2872" y="411"/>
                      <a:pt x="2879" y="419"/>
                      <a:pt x="2882" y="421"/>
                    </a:cubicBezTo>
                    <a:cubicBezTo>
                      <a:pt x="2882" y="421"/>
                      <a:pt x="2907" y="431"/>
                      <a:pt x="2920" y="421"/>
                    </a:cubicBezTo>
                    <a:cubicBezTo>
                      <a:pt x="2933" y="411"/>
                      <a:pt x="2937" y="392"/>
                      <a:pt x="2943" y="390"/>
                    </a:cubicBezTo>
                    <a:cubicBezTo>
                      <a:pt x="2945" y="389"/>
                      <a:pt x="2951" y="389"/>
                      <a:pt x="2957" y="388"/>
                    </a:cubicBezTo>
                    <a:cubicBezTo>
                      <a:pt x="2957" y="385"/>
                      <a:pt x="2958" y="383"/>
                      <a:pt x="2960" y="383"/>
                    </a:cubicBezTo>
                    <a:cubicBezTo>
                      <a:pt x="2964" y="383"/>
                      <a:pt x="2970" y="373"/>
                      <a:pt x="2967" y="369"/>
                    </a:cubicBezTo>
                    <a:cubicBezTo>
                      <a:pt x="2964" y="365"/>
                      <a:pt x="2950" y="367"/>
                      <a:pt x="2950" y="367"/>
                    </a:cubicBezTo>
                    <a:cubicBezTo>
                      <a:pt x="2947" y="361"/>
                      <a:pt x="2947" y="361"/>
                      <a:pt x="2947" y="361"/>
                    </a:cubicBezTo>
                    <a:cubicBezTo>
                      <a:pt x="2947" y="361"/>
                      <a:pt x="2933" y="360"/>
                      <a:pt x="2934" y="350"/>
                    </a:cubicBezTo>
                    <a:cubicBezTo>
                      <a:pt x="2935" y="340"/>
                      <a:pt x="2941" y="340"/>
                      <a:pt x="2940" y="335"/>
                    </a:cubicBezTo>
                    <a:cubicBezTo>
                      <a:pt x="2939" y="330"/>
                      <a:pt x="2935" y="327"/>
                      <a:pt x="2935" y="327"/>
                    </a:cubicBezTo>
                    <a:cubicBezTo>
                      <a:pt x="2928" y="327"/>
                      <a:pt x="2928" y="327"/>
                      <a:pt x="2928" y="327"/>
                    </a:cubicBezTo>
                    <a:cubicBezTo>
                      <a:pt x="2922" y="314"/>
                      <a:pt x="2922" y="314"/>
                      <a:pt x="2922" y="314"/>
                    </a:cubicBezTo>
                    <a:cubicBezTo>
                      <a:pt x="2931" y="312"/>
                      <a:pt x="2931" y="312"/>
                      <a:pt x="2931" y="312"/>
                    </a:cubicBezTo>
                    <a:cubicBezTo>
                      <a:pt x="2931" y="312"/>
                      <a:pt x="2950" y="311"/>
                      <a:pt x="2950" y="302"/>
                    </a:cubicBezTo>
                    <a:cubicBezTo>
                      <a:pt x="2950" y="293"/>
                      <a:pt x="2939" y="289"/>
                      <a:pt x="2939" y="289"/>
                    </a:cubicBezTo>
                    <a:cubicBezTo>
                      <a:pt x="2931" y="281"/>
                      <a:pt x="2931" y="281"/>
                      <a:pt x="2931" y="281"/>
                    </a:cubicBezTo>
                    <a:cubicBezTo>
                      <a:pt x="2931" y="281"/>
                      <a:pt x="2941" y="277"/>
                      <a:pt x="2941" y="273"/>
                    </a:cubicBezTo>
                    <a:cubicBezTo>
                      <a:pt x="2941" y="269"/>
                      <a:pt x="2934" y="263"/>
                      <a:pt x="2934" y="263"/>
                    </a:cubicBezTo>
                    <a:cubicBezTo>
                      <a:pt x="2935" y="245"/>
                      <a:pt x="2935" y="245"/>
                      <a:pt x="2935" y="245"/>
                    </a:cubicBezTo>
                    <a:cubicBezTo>
                      <a:pt x="2935" y="245"/>
                      <a:pt x="2927" y="239"/>
                      <a:pt x="2920" y="243"/>
                    </a:cubicBezTo>
                    <a:cubicBezTo>
                      <a:pt x="2913" y="247"/>
                      <a:pt x="2908" y="260"/>
                      <a:pt x="2902" y="259"/>
                    </a:cubicBezTo>
                    <a:cubicBezTo>
                      <a:pt x="2896" y="258"/>
                      <a:pt x="2906" y="250"/>
                      <a:pt x="2906" y="250"/>
                    </a:cubicBezTo>
                    <a:cubicBezTo>
                      <a:pt x="2900" y="242"/>
                      <a:pt x="2900" y="242"/>
                      <a:pt x="2900" y="242"/>
                    </a:cubicBezTo>
                    <a:cubicBezTo>
                      <a:pt x="2900" y="242"/>
                      <a:pt x="2912" y="233"/>
                      <a:pt x="2918" y="226"/>
                    </a:cubicBezTo>
                    <a:cubicBezTo>
                      <a:pt x="2924" y="219"/>
                      <a:pt x="2921" y="213"/>
                      <a:pt x="2921" y="213"/>
                    </a:cubicBezTo>
                    <a:cubicBezTo>
                      <a:pt x="2921" y="213"/>
                      <a:pt x="2927" y="219"/>
                      <a:pt x="2932" y="213"/>
                    </a:cubicBezTo>
                    <a:cubicBezTo>
                      <a:pt x="2937" y="207"/>
                      <a:pt x="2943" y="198"/>
                      <a:pt x="2943" y="198"/>
                    </a:cubicBezTo>
                    <a:cubicBezTo>
                      <a:pt x="2948" y="189"/>
                      <a:pt x="2948" y="189"/>
                      <a:pt x="2948" y="189"/>
                    </a:cubicBezTo>
                    <a:cubicBezTo>
                      <a:pt x="2961" y="196"/>
                      <a:pt x="2961" y="196"/>
                      <a:pt x="2961" y="196"/>
                    </a:cubicBezTo>
                    <a:cubicBezTo>
                      <a:pt x="2966" y="186"/>
                      <a:pt x="2966" y="186"/>
                      <a:pt x="2966" y="186"/>
                    </a:cubicBezTo>
                    <a:cubicBezTo>
                      <a:pt x="2966" y="186"/>
                      <a:pt x="2962" y="177"/>
                      <a:pt x="2964" y="166"/>
                    </a:cubicBezTo>
                    <a:cubicBezTo>
                      <a:pt x="2966" y="155"/>
                      <a:pt x="2976" y="136"/>
                      <a:pt x="2976" y="136"/>
                    </a:cubicBezTo>
                    <a:cubicBezTo>
                      <a:pt x="2976" y="128"/>
                      <a:pt x="2976" y="128"/>
                      <a:pt x="2976" y="128"/>
                    </a:cubicBezTo>
                    <a:cubicBezTo>
                      <a:pt x="2990" y="117"/>
                      <a:pt x="2990" y="117"/>
                      <a:pt x="2990" y="117"/>
                    </a:cubicBezTo>
                    <a:cubicBezTo>
                      <a:pt x="2992" y="111"/>
                      <a:pt x="2992" y="111"/>
                      <a:pt x="2992" y="111"/>
                    </a:cubicBezTo>
                    <a:cubicBezTo>
                      <a:pt x="2982" y="106"/>
                      <a:pt x="2982" y="106"/>
                      <a:pt x="2982" y="106"/>
                    </a:cubicBezTo>
                    <a:lnTo>
                      <a:pt x="2964" y="107"/>
                    </a:lnTo>
                    <a:close/>
                    <a:moveTo>
                      <a:pt x="106" y="2472"/>
                    </a:moveTo>
                    <a:cubicBezTo>
                      <a:pt x="90" y="2439"/>
                      <a:pt x="90" y="2439"/>
                      <a:pt x="90" y="2439"/>
                    </a:cubicBezTo>
                    <a:cubicBezTo>
                      <a:pt x="67" y="2439"/>
                      <a:pt x="67" y="2439"/>
                      <a:pt x="67" y="2439"/>
                    </a:cubicBezTo>
                    <a:cubicBezTo>
                      <a:pt x="67" y="2439"/>
                      <a:pt x="44" y="2431"/>
                      <a:pt x="36" y="2423"/>
                    </a:cubicBezTo>
                    <a:cubicBezTo>
                      <a:pt x="32" y="2430"/>
                      <a:pt x="32" y="2439"/>
                      <a:pt x="32" y="2444"/>
                    </a:cubicBezTo>
                    <a:cubicBezTo>
                      <a:pt x="32" y="2451"/>
                      <a:pt x="21" y="2450"/>
                      <a:pt x="10" y="2467"/>
                    </a:cubicBezTo>
                    <a:cubicBezTo>
                      <a:pt x="0" y="2483"/>
                      <a:pt x="10" y="2504"/>
                      <a:pt x="11" y="2517"/>
                    </a:cubicBezTo>
                    <a:cubicBezTo>
                      <a:pt x="12" y="2529"/>
                      <a:pt x="31" y="2534"/>
                      <a:pt x="32" y="2544"/>
                    </a:cubicBezTo>
                    <a:cubicBezTo>
                      <a:pt x="33" y="2554"/>
                      <a:pt x="21" y="2559"/>
                      <a:pt x="21" y="2559"/>
                    </a:cubicBezTo>
                    <a:cubicBezTo>
                      <a:pt x="23" y="2587"/>
                      <a:pt x="23" y="2587"/>
                      <a:pt x="23" y="2587"/>
                    </a:cubicBezTo>
                    <a:cubicBezTo>
                      <a:pt x="23" y="2587"/>
                      <a:pt x="12" y="2591"/>
                      <a:pt x="11" y="2594"/>
                    </a:cubicBezTo>
                    <a:cubicBezTo>
                      <a:pt x="10" y="2597"/>
                      <a:pt x="4" y="2611"/>
                      <a:pt x="4" y="2611"/>
                    </a:cubicBezTo>
                    <a:cubicBezTo>
                      <a:pt x="4" y="2611"/>
                      <a:pt x="6" y="2621"/>
                      <a:pt x="20" y="2622"/>
                    </a:cubicBezTo>
                    <a:cubicBezTo>
                      <a:pt x="34" y="2623"/>
                      <a:pt x="32" y="2617"/>
                      <a:pt x="38" y="2611"/>
                    </a:cubicBezTo>
                    <a:cubicBezTo>
                      <a:pt x="44" y="2605"/>
                      <a:pt x="48" y="2613"/>
                      <a:pt x="48" y="2613"/>
                    </a:cubicBezTo>
                    <a:cubicBezTo>
                      <a:pt x="58" y="2615"/>
                      <a:pt x="58" y="2615"/>
                      <a:pt x="58" y="2615"/>
                    </a:cubicBezTo>
                    <a:cubicBezTo>
                      <a:pt x="62" y="2610"/>
                      <a:pt x="62" y="2610"/>
                      <a:pt x="62" y="2610"/>
                    </a:cubicBezTo>
                    <a:cubicBezTo>
                      <a:pt x="62" y="2610"/>
                      <a:pt x="66" y="2618"/>
                      <a:pt x="66" y="2619"/>
                    </a:cubicBezTo>
                    <a:cubicBezTo>
                      <a:pt x="72" y="2619"/>
                      <a:pt x="87" y="2613"/>
                      <a:pt x="87" y="2613"/>
                    </a:cubicBezTo>
                    <a:cubicBezTo>
                      <a:pt x="104" y="2599"/>
                      <a:pt x="105" y="2580"/>
                      <a:pt x="108" y="2570"/>
                    </a:cubicBezTo>
                    <a:cubicBezTo>
                      <a:pt x="111" y="2560"/>
                      <a:pt x="120" y="2545"/>
                      <a:pt x="127" y="2539"/>
                    </a:cubicBezTo>
                    <a:cubicBezTo>
                      <a:pt x="134" y="2533"/>
                      <a:pt x="139" y="2516"/>
                      <a:pt x="139" y="2516"/>
                    </a:cubicBezTo>
                    <a:cubicBezTo>
                      <a:pt x="137" y="2511"/>
                      <a:pt x="125" y="2479"/>
                      <a:pt x="125" y="2479"/>
                    </a:cubicBezTo>
                    <a:lnTo>
                      <a:pt x="106" y="2472"/>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68" name="Freeform 90">
                <a:extLst>
                  <a:ext uri="{FF2B5EF4-FFF2-40B4-BE49-F238E27FC236}">
                    <a16:creationId xmlns:a16="http://schemas.microsoft.com/office/drawing/2014/main" id="{B402EEE6-DF65-42A2-950C-17FC63B47C4E}"/>
                  </a:ext>
                </a:extLst>
              </p:cNvPr>
              <p:cNvSpPr>
                <a:spLocks/>
              </p:cNvSpPr>
              <p:nvPr>
                <p:custDataLst>
                  <p:tags r:id="rId49"/>
                </p:custDataLst>
              </p:nvPr>
            </p:nvSpPr>
            <p:spPr bwMode="gray">
              <a:xfrm>
                <a:off x="4878359" y="3298837"/>
                <a:ext cx="19049" cy="17463"/>
              </a:xfrm>
              <a:custGeom>
                <a:avLst/>
                <a:gdLst>
                  <a:gd name="T0" fmla="*/ 23 w 34"/>
                  <a:gd name="T1" fmla="*/ 33 h 33"/>
                  <a:gd name="T2" fmla="*/ 8 w 34"/>
                  <a:gd name="T3" fmla="*/ 14 h 33"/>
                  <a:gd name="T4" fmla="*/ 23 w 34"/>
                  <a:gd name="T5" fmla="*/ 33 h 33"/>
                </a:gdLst>
                <a:ahLst/>
                <a:cxnLst>
                  <a:cxn ang="0">
                    <a:pos x="T0" y="T1"/>
                  </a:cxn>
                  <a:cxn ang="0">
                    <a:pos x="T2" y="T3"/>
                  </a:cxn>
                  <a:cxn ang="0">
                    <a:pos x="T4" y="T5"/>
                  </a:cxn>
                </a:cxnLst>
                <a:rect l="0" t="0" r="r" b="b"/>
                <a:pathLst>
                  <a:path w="34" h="33">
                    <a:moveTo>
                      <a:pt x="23" y="33"/>
                    </a:moveTo>
                    <a:cubicBezTo>
                      <a:pt x="34" y="20"/>
                      <a:pt x="16" y="0"/>
                      <a:pt x="8" y="14"/>
                    </a:cubicBezTo>
                    <a:cubicBezTo>
                      <a:pt x="0" y="28"/>
                      <a:pt x="23" y="33"/>
                      <a:pt x="23" y="33"/>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69" name="Freeform 91">
                <a:extLst>
                  <a:ext uri="{FF2B5EF4-FFF2-40B4-BE49-F238E27FC236}">
                    <a16:creationId xmlns:a16="http://schemas.microsoft.com/office/drawing/2014/main" id="{1D4F9DE1-E54F-4498-805E-1EDD67456040}"/>
                  </a:ext>
                </a:extLst>
              </p:cNvPr>
              <p:cNvSpPr>
                <a:spLocks/>
              </p:cNvSpPr>
              <p:nvPr>
                <p:custDataLst>
                  <p:tags r:id="rId50"/>
                </p:custDataLst>
              </p:nvPr>
            </p:nvSpPr>
            <p:spPr bwMode="gray">
              <a:xfrm>
                <a:off x="4030639" y="2443172"/>
                <a:ext cx="236535" cy="84137"/>
              </a:xfrm>
              <a:custGeom>
                <a:avLst/>
                <a:gdLst>
                  <a:gd name="T0" fmla="*/ 207 w 396"/>
                  <a:gd name="T1" fmla="*/ 144 h 152"/>
                  <a:gd name="T2" fmla="*/ 238 w 396"/>
                  <a:gd name="T3" fmla="*/ 136 h 152"/>
                  <a:gd name="T4" fmla="*/ 262 w 396"/>
                  <a:gd name="T5" fmla="*/ 130 h 152"/>
                  <a:gd name="T6" fmla="*/ 339 w 396"/>
                  <a:gd name="T7" fmla="*/ 105 h 152"/>
                  <a:gd name="T8" fmla="*/ 363 w 396"/>
                  <a:gd name="T9" fmla="*/ 83 h 152"/>
                  <a:gd name="T10" fmla="*/ 373 w 396"/>
                  <a:gd name="T11" fmla="*/ 68 h 152"/>
                  <a:gd name="T12" fmla="*/ 356 w 396"/>
                  <a:gd name="T13" fmla="*/ 50 h 152"/>
                  <a:gd name="T14" fmla="*/ 341 w 396"/>
                  <a:gd name="T15" fmla="*/ 41 h 152"/>
                  <a:gd name="T16" fmla="*/ 342 w 396"/>
                  <a:gd name="T17" fmla="*/ 24 h 152"/>
                  <a:gd name="T18" fmla="*/ 325 w 396"/>
                  <a:gd name="T19" fmla="*/ 17 h 152"/>
                  <a:gd name="T20" fmla="*/ 294 w 396"/>
                  <a:gd name="T21" fmla="*/ 16 h 152"/>
                  <a:gd name="T22" fmla="*/ 262 w 396"/>
                  <a:gd name="T23" fmla="*/ 19 h 152"/>
                  <a:gd name="T24" fmla="*/ 227 w 396"/>
                  <a:gd name="T25" fmla="*/ 19 h 152"/>
                  <a:gd name="T26" fmla="*/ 201 w 396"/>
                  <a:gd name="T27" fmla="*/ 16 h 152"/>
                  <a:gd name="T28" fmla="*/ 182 w 396"/>
                  <a:gd name="T29" fmla="*/ 26 h 152"/>
                  <a:gd name="T30" fmla="*/ 171 w 396"/>
                  <a:gd name="T31" fmla="*/ 39 h 152"/>
                  <a:gd name="T32" fmla="*/ 145 w 396"/>
                  <a:gd name="T33" fmla="*/ 50 h 152"/>
                  <a:gd name="T34" fmla="*/ 112 w 396"/>
                  <a:gd name="T35" fmla="*/ 63 h 152"/>
                  <a:gd name="T36" fmla="*/ 102 w 396"/>
                  <a:gd name="T37" fmla="*/ 40 h 152"/>
                  <a:gd name="T38" fmla="*/ 68 w 396"/>
                  <a:gd name="T39" fmla="*/ 7 h 152"/>
                  <a:gd name="T40" fmla="*/ 43 w 396"/>
                  <a:gd name="T41" fmla="*/ 19 h 152"/>
                  <a:gd name="T42" fmla="*/ 35 w 396"/>
                  <a:gd name="T43" fmla="*/ 37 h 152"/>
                  <a:gd name="T44" fmla="*/ 4 w 396"/>
                  <a:gd name="T45" fmla="*/ 47 h 152"/>
                  <a:gd name="T46" fmla="*/ 55 w 396"/>
                  <a:gd name="T47" fmla="*/ 43 h 152"/>
                  <a:gd name="T48" fmla="*/ 64 w 396"/>
                  <a:gd name="T49" fmla="*/ 61 h 152"/>
                  <a:gd name="T50" fmla="*/ 35 w 396"/>
                  <a:gd name="T51" fmla="*/ 73 h 152"/>
                  <a:gd name="T52" fmla="*/ 38 w 396"/>
                  <a:gd name="T53" fmla="*/ 82 h 152"/>
                  <a:gd name="T54" fmla="*/ 88 w 396"/>
                  <a:gd name="T55" fmla="*/ 91 h 152"/>
                  <a:gd name="T56" fmla="*/ 85 w 396"/>
                  <a:gd name="T57" fmla="*/ 105 h 152"/>
                  <a:gd name="T58" fmla="*/ 41 w 396"/>
                  <a:gd name="T59" fmla="*/ 125 h 152"/>
                  <a:gd name="T60" fmla="*/ 98 w 396"/>
                  <a:gd name="T61" fmla="*/ 123 h 152"/>
                  <a:gd name="T62" fmla="*/ 124 w 396"/>
                  <a:gd name="T63" fmla="*/ 127 h 152"/>
                  <a:gd name="T64" fmla="*/ 172 w 396"/>
                  <a:gd name="T65" fmla="*/ 15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96" h="152">
                    <a:moveTo>
                      <a:pt x="172" y="150"/>
                    </a:moveTo>
                    <a:cubicBezTo>
                      <a:pt x="200" y="143"/>
                      <a:pt x="200" y="149"/>
                      <a:pt x="207" y="144"/>
                    </a:cubicBezTo>
                    <a:cubicBezTo>
                      <a:pt x="214" y="139"/>
                      <a:pt x="211" y="131"/>
                      <a:pt x="211" y="131"/>
                    </a:cubicBezTo>
                    <a:cubicBezTo>
                      <a:pt x="211" y="131"/>
                      <a:pt x="230" y="139"/>
                      <a:pt x="238" y="136"/>
                    </a:cubicBezTo>
                    <a:cubicBezTo>
                      <a:pt x="246" y="133"/>
                      <a:pt x="246" y="126"/>
                      <a:pt x="246" y="126"/>
                    </a:cubicBezTo>
                    <a:cubicBezTo>
                      <a:pt x="246" y="126"/>
                      <a:pt x="257" y="130"/>
                      <a:pt x="262" y="130"/>
                    </a:cubicBezTo>
                    <a:cubicBezTo>
                      <a:pt x="267" y="130"/>
                      <a:pt x="305" y="107"/>
                      <a:pt x="313" y="106"/>
                    </a:cubicBezTo>
                    <a:cubicBezTo>
                      <a:pt x="321" y="105"/>
                      <a:pt x="332" y="112"/>
                      <a:pt x="339" y="105"/>
                    </a:cubicBezTo>
                    <a:cubicBezTo>
                      <a:pt x="346" y="98"/>
                      <a:pt x="347" y="87"/>
                      <a:pt x="347" y="87"/>
                    </a:cubicBezTo>
                    <a:cubicBezTo>
                      <a:pt x="347" y="87"/>
                      <a:pt x="354" y="87"/>
                      <a:pt x="363" y="83"/>
                    </a:cubicBezTo>
                    <a:cubicBezTo>
                      <a:pt x="372" y="79"/>
                      <a:pt x="383" y="69"/>
                      <a:pt x="383" y="69"/>
                    </a:cubicBezTo>
                    <a:cubicBezTo>
                      <a:pt x="373" y="68"/>
                      <a:pt x="373" y="68"/>
                      <a:pt x="373" y="68"/>
                    </a:cubicBezTo>
                    <a:cubicBezTo>
                      <a:pt x="373" y="68"/>
                      <a:pt x="396" y="57"/>
                      <a:pt x="382" y="50"/>
                    </a:cubicBezTo>
                    <a:cubicBezTo>
                      <a:pt x="368" y="43"/>
                      <a:pt x="356" y="50"/>
                      <a:pt x="356" y="50"/>
                    </a:cubicBezTo>
                    <a:cubicBezTo>
                      <a:pt x="359" y="40"/>
                      <a:pt x="359" y="40"/>
                      <a:pt x="359" y="40"/>
                    </a:cubicBezTo>
                    <a:cubicBezTo>
                      <a:pt x="341" y="41"/>
                      <a:pt x="341" y="41"/>
                      <a:pt x="341" y="41"/>
                    </a:cubicBezTo>
                    <a:cubicBezTo>
                      <a:pt x="351" y="26"/>
                      <a:pt x="351" y="26"/>
                      <a:pt x="351" y="26"/>
                    </a:cubicBezTo>
                    <a:cubicBezTo>
                      <a:pt x="342" y="24"/>
                      <a:pt x="342" y="24"/>
                      <a:pt x="342" y="24"/>
                    </a:cubicBezTo>
                    <a:cubicBezTo>
                      <a:pt x="346" y="12"/>
                      <a:pt x="346" y="12"/>
                      <a:pt x="346" y="12"/>
                    </a:cubicBezTo>
                    <a:cubicBezTo>
                      <a:pt x="325" y="17"/>
                      <a:pt x="325" y="17"/>
                      <a:pt x="325" y="17"/>
                    </a:cubicBezTo>
                    <a:cubicBezTo>
                      <a:pt x="325" y="17"/>
                      <a:pt x="304" y="0"/>
                      <a:pt x="297" y="0"/>
                    </a:cubicBezTo>
                    <a:cubicBezTo>
                      <a:pt x="290" y="0"/>
                      <a:pt x="294" y="16"/>
                      <a:pt x="294" y="16"/>
                    </a:cubicBezTo>
                    <a:cubicBezTo>
                      <a:pt x="280" y="22"/>
                      <a:pt x="280" y="22"/>
                      <a:pt x="280" y="22"/>
                    </a:cubicBezTo>
                    <a:cubicBezTo>
                      <a:pt x="280" y="22"/>
                      <a:pt x="268" y="19"/>
                      <a:pt x="262" y="19"/>
                    </a:cubicBezTo>
                    <a:cubicBezTo>
                      <a:pt x="256" y="19"/>
                      <a:pt x="249" y="29"/>
                      <a:pt x="249" y="29"/>
                    </a:cubicBezTo>
                    <a:cubicBezTo>
                      <a:pt x="249" y="29"/>
                      <a:pt x="233" y="17"/>
                      <a:pt x="227" y="19"/>
                    </a:cubicBezTo>
                    <a:cubicBezTo>
                      <a:pt x="221" y="21"/>
                      <a:pt x="226" y="41"/>
                      <a:pt x="226" y="41"/>
                    </a:cubicBezTo>
                    <a:cubicBezTo>
                      <a:pt x="226" y="41"/>
                      <a:pt x="208" y="16"/>
                      <a:pt x="201" y="16"/>
                    </a:cubicBezTo>
                    <a:cubicBezTo>
                      <a:pt x="194" y="16"/>
                      <a:pt x="198" y="23"/>
                      <a:pt x="198" y="23"/>
                    </a:cubicBezTo>
                    <a:cubicBezTo>
                      <a:pt x="198" y="23"/>
                      <a:pt x="183" y="23"/>
                      <a:pt x="182" y="26"/>
                    </a:cubicBezTo>
                    <a:cubicBezTo>
                      <a:pt x="181" y="29"/>
                      <a:pt x="181" y="38"/>
                      <a:pt x="181" y="38"/>
                    </a:cubicBezTo>
                    <a:cubicBezTo>
                      <a:pt x="171" y="39"/>
                      <a:pt x="171" y="39"/>
                      <a:pt x="171" y="39"/>
                    </a:cubicBezTo>
                    <a:cubicBezTo>
                      <a:pt x="171" y="39"/>
                      <a:pt x="155" y="18"/>
                      <a:pt x="150" y="22"/>
                    </a:cubicBezTo>
                    <a:cubicBezTo>
                      <a:pt x="145" y="26"/>
                      <a:pt x="150" y="49"/>
                      <a:pt x="145" y="50"/>
                    </a:cubicBezTo>
                    <a:cubicBezTo>
                      <a:pt x="140" y="51"/>
                      <a:pt x="133" y="42"/>
                      <a:pt x="129" y="42"/>
                    </a:cubicBezTo>
                    <a:cubicBezTo>
                      <a:pt x="125" y="42"/>
                      <a:pt x="112" y="63"/>
                      <a:pt x="112" y="63"/>
                    </a:cubicBezTo>
                    <a:cubicBezTo>
                      <a:pt x="110" y="56"/>
                      <a:pt x="110" y="56"/>
                      <a:pt x="110" y="56"/>
                    </a:cubicBezTo>
                    <a:cubicBezTo>
                      <a:pt x="102" y="40"/>
                      <a:pt x="102" y="40"/>
                      <a:pt x="102" y="40"/>
                    </a:cubicBezTo>
                    <a:cubicBezTo>
                      <a:pt x="102" y="40"/>
                      <a:pt x="118" y="35"/>
                      <a:pt x="112" y="26"/>
                    </a:cubicBezTo>
                    <a:cubicBezTo>
                      <a:pt x="106" y="17"/>
                      <a:pt x="73" y="3"/>
                      <a:pt x="68" y="7"/>
                    </a:cubicBezTo>
                    <a:cubicBezTo>
                      <a:pt x="63" y="11"/>
                      <a:pt x="69" y="26"/>
                      <a:pt x="69" y="26"/>
                    </a:cubicBezTo>
                    <a:cubicBezTo>
                      <a:pt x="69" y="26"/>
                      <a:pt x="49" y="19"/>
                      <a:pt x="43" y="19"/>
                    </a:cubicBezTo>
                    <a:cubicBezTo>
                      <a:pt x="37" y="19"/>
                      <a:pt x="25" y="31"/>
                      <a:pt x="25" y="31"/>
                    </a:cubicBezTo>
                    <a:cubicBezTo>
                      <a:pt x="35" y="37"/>
                      <a:pt x="35" y="37"/>
                      <a:pt x="35" y="37"/>
                    </a:cubicBezTo>
                    <a:cubicBezTo>
                      <a:pt x="35" y="37"/>
                      <a:pt x="23" y="35"/>
                      <a:pt x="17" y="41"/>
                    </a:cubicBezTo>
                    <a:cubicBezTo>
                      <a:pt x="11" y="47"/>
                      <a:pt x="4" y="47"/>
                      <a:pt x="4" y="47"/>
                    </a:cubicBezTo>
                    <a:cubicBezTo>
                      <a:pt x="4" y="47"/>
                      <a:pt x="12" y="54"/>
                      <a:pt x="20" y="54"/>
                    </a:cubicBezTo>
                    <a:cubicBezTo>
                      <a:pt x="28" y="54"/>
                      <a:pt x="55" y="43"/>
                      <a:pt x="55" y="43"/>
                    </a:cubicBezTo>
                    <a:cubicBezTo>
                      <a:pt x="90" y="49"/>
                      <a:pt x="90" y="49"/>
                      <a:pt x="90" y="49"/>
                    </a:cubicBezTo>
                    <a:cubicBezTo>
                      <a:pt x="64" y="61"/>
                      <a:pt x="64" y="61"/>
                      <a:pt x="64" y="61"/>
                    </a:cubicBezTo>
                    <a:cubicBezTo>
                      <a:pt x="64" y="61"/>
                      <a:pt x="84" y="64"/>
                      <a:pt x="84" y="68"/>
                    </a:cubicBezTo>
                    <a:cubicBezTo>
                      <a:pt x="84" y="72"/>
                      <a:pt x="39" y="72"/>
                      <a:pt x="35" y="73"/>
                    </a:cubicBezTo>
                    <a:cubicBezTo>
                      <a:pt x="31" y="74"/>
                      <a:pt x="0" y="72"/>
                      <a:pt x="6" y="79"/>
                    </a:cubicBezTo>
                    <a:cubicBezTo>
                      <a:pt x="12" y="86"/>
                      <a:pt x="25" y="81"/>
                      <a:pt x="38" y="82"/>
                    </a:cubicBezTo>
                    <a:cubicBezTo>
                      <a:pt x="51" y="83"/>
                      <a:pt x="65" y="95"/>
                      <a:pt x="65" y="95"/>
                    </a:cubicBezTo>
                    <a:cubicBezTo>
                      <a:pt x="88" y="91"/>
                      <a:pt x="88" y="91"/>
                      <a:pt x="88" y="91"/>
                    </a:cubicBezTo>
                    <a:cubicBezTo>
                      <a:pt x="75" y="101"/>
                      <a:pt x="75" y="101"/>
                      <a:pt x="75" y="101"/>
                    </a:cubicBezTo>
                    <a:cubicBezTo>
                      <a:pt x="85" y="105"/>
                      <a:pt x="85" y="105"/>
                      <a:pt x="85" y="105"/>
                    </a:cubicBezTo>
                    <a:cubicBezTo>
                      <a:pt x="85" y="105"/>
                      <a:pt x="82" y="114"/>
                      <a:pt x="75" y="118"/>
                    </a:cubicBezTo>
                    <a:cubicBezTo>
                      <a:pt x="68" y="122"/>
                      <a:pt x="35" y="116"/>
                      <a:pt x="41" y="125"/>
                    </a:cubicBezTo>
                    <a:cubicBezTo>
                      <a:pt x="47" y="134"/>
                      <a:pt x="75" y="130"/>
                      <a:pt x="82" y="130"/>
                    </a:cubicBezTo>
                    <a:cubicBezTo>
                      <a:pt x="89" y="130"/>
                      <a:pt x="98" y="123"/>
                      <a:pt x="98" y="123"/>
                    </a:cubicBezTo>
                    <a:cubicBezTo>
                      <a:pt x="116" y="134"/>
                      <a:pt x="116" y="134"/>
                      <a:pt x="116" y="134"/>
                    </a:cubicBezTo>
                    <a:cubicBezTo>
                      <a:pt x="124" y="127"/>
                      <a:pt x="124" y="127"/>
                      <a:pt x="124" y="127"/>
                    </a:cubicBezTo>
                    <a:cubicBezTo>
                      <a:pt x="124" y="127"/>
                      <a:pt x="121" y="133"/>
                      <a:pt x="131" y="138"/>
                    </a:cubicBezTo>
                    <a:cubicBezTo>
                      <a:pt x="141" y="143"/>
                      <a:pt x="164" y="152"/>
                      <a:pt x="172" y="150"/>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70" name="Freeform 92">
                <a:extLst>
                  <a:ext uri="{FF2B5EF4-FFF2-40B4-BE49-F238E27FC236}">
                    <a16:creationId xmlns:a16="http://schemas.microsoft.com/office/drawing/2014/main" id="{93612B36-73DA-4323-9F7F-CE8CEBE659EA}"/>
                  </a:ext>
                </a:extLst>
              </p:cNvPr>
              <p:cNvSpPr>
                <a:spLocks noEditPoints="1"/>
              </p:cNvSpPr>
              <p:nvPr>
                <p:custDataLst>
                  <p:tags r:id="rId51"/>
                </p:custDataLst>
              </p:nvPr>
            </p:nvSpPr>
            <p:spPr bwMode="gray">
              <a:xfrm>
                <a:off x="5040283" y="3140087"/>
                <a:ext cx="219074" cy="203201"/>
              </a:xfrm>
              <a:custGeom>
                <a:avLst/>
                <a:gdLst>
                  <a:gd name="T0" fmla="*/ 190 w 365"/>
                  <a:gd name="T1" fmla="*/ 78 h 367"/>
                  <a:gd name="T2" fmla="*/ 5 w 365"/>
                  <a:gd name="T3" fmla="*/ 188 h 367"/>
                  <a:gd name="T4" fmla="*/ 212 w 365"/>
                  <a:gd name="T5" fmla="*/ 277 h 367"/>
                  <a:gd name="T6" fmla="*/ 210 w 365"/>
                  <a:gd name="T7" fmla="*/ 258 h 367"/>
                  <a:gd name="T8" fmla="*/ 210 w 365"/>
                  <a:gd name="T9" fmla="*/ 258 h 367"/>
                  <a:gd name="T10" fmla="*/ 223 w 365"/>
                  <a:gd name="T11" fmla="*/ 213 h 367"/>
                  <a:gd name="T12" fmla="*/ 97 w 365"/>
                  <a:gd name="T13" fmla="*/ 176 h 367"/>
                  <a:gd name="T14" fmla="*/ 166 w 365"/>
                  <a:gd name="T15" fmla="*/ 188 h 367"/>
                  <a:gd name="T16" fmla="*/ 128 w 365"/>
                  <a:gd name="T17" fmla="*/ 152 h 367"/>
                  <a:gd name="T18" fmla="*/ 153 w 365"/>
                  <a:gd name="T19" fmla="*/ 156 h 367"/>
                  <a:gd name="T20" fmla="*/ 107 w 365"/>
                  <a:gd name="T21" fmla="*/ 94 h 367"/>
                  <a:gd name="T22" fmla="*/ 129 w 365"/>
                  <a:gd name="T23" fmla="*/ 78 h 367"/>
                  <a:gd name="T24" fmla="*/ 140 w 365"/>
                  <a:gd name="T25" fmla="*/ 79 h 367"/>
                  <a:gd name="T26" fmla="*/ 152 w 365"/>
                  <a:gd name="T27" fmla="*/ 77 h 367"/>
                  <a:gd name="T28" fmla="*/ 182 w 365"/>
                  <a:gd name="T29" fmla="*/ 49 h 367"/>
                  <a:gd name="T30" fmla="*/ 258 w 365"/>
                  <a:gd name="T31" fmla="*/ 52 h 367"/>
                  <a:gd name="T32" fmla="*/ 275 w 365"/>
                  <a:gd name="T33" fmla="*/ 22 h 367"/>
                  <a:gd name="T34" fmla="*/ 261 w 365"/>
                  <a:gd name="T35" fmla="*/ 0 h 367"/>
                  <a:gd name="T36" fmla="*/ 237 w 365"/>
                  <a:gd name="T37" fmla="*/ 25 h 367"/>
                  <a:gd name="T38" fmla="*/ 205 w 365"/>
                  <a:gd name="T39" fmla="*/ 17 h 367"/>
                  <a:gd name="T40" fmla="*/ 161 w 365"/>
                  <a:gd name="T41" fmla="*/ 9 h 367"/>
                  <a:gd name="T42" fmla="*/ 123 w 365"/>
                  <a:gd name="T43" fmla="*/ 25 h 367"/>
                  <a:gd name="T44" fmla="*/ 70 w 365"/>
                  <a:gd name="T45" fmla="*/ 36 h 367"/>
                  <a:gd name="T46" fmla="*/ 38 w 365"/>
                  <a:gd name="T47" fmla="*/ 50 h 367"/>
                  <a:gd name="T48" fmla="*/ 21 w 365"/>
                  <a:gd name="T49" fmla="*/ 84 h 367"/>
                  <a:gd name="T50" fmla="*/ 3 w 365"/>
                  <a:gd name="T51" fmla="*/ 109 h 367"/>
                  <a:gd name="T52" fmla="*/ 29 w 365"/>
                  <a:gd name="T53" fmla="*/ 156 h 367"/>
                  <a:gd name="T54" fmla="*/ 266 w 365"/>
                  <a:gd name="T55" fmla="*/ 168 h 367"/>
                  <a:gd name="T56" fmla="*/ 261 w 365"/>
                  <a:gd name="T57" fmla="*/ 196 h 367"/>
                  <a:gd name="T58" fmla="*/ 30 w 365"/>
                  <a:gd name="T59" fmla="*/ 220 h 367"/>
                  <a:gd name="T60" fmla="*/ 255 w 365"/>
                  <a:gd name="T61" fmla="*/ 270 h 367"/>
                  <a:gd name="T62" fmla="*/ 275 w 365"/>
                  <a:gd name="T63" fmla="*/ 220 h 367"/>
                  <a:gd name="T64" fmla="*/ 269 w 365"/>
                  <a:gd name="T65" fmla="*/ 127 h 367"/>
                  <a:gd name="T66" fmla="*/ 278 w 365"/>
                  <a:gd name="T67" fmla="*/ 148 h 367"/>
                  <a:gd name="T68" fmla="*/ 247 w 365"/>
                  <a:gd name="T69" fmla="*/ 254 h 367"/>
                  <a:gd name="T70" fmla="*/ 291 w 365"/>
                  <a:gd name="T71" fmla="*/ 220 h 367"/>
                  <a:gd name="T72" fmla="*/ 307 w 365"/>
                  <a:gd name="T73" fmla="*/ 236 h 367"/>
                  <a:gd name="T74" fmla="*/ 186 w 365"/>
                  <a:gd name="T75" fmla="*/ 146 h 367"/>
                  <a:gd name="T76" fmla="*/ 361 w 365"/>
                  <a:gd name="T77" fmla="*/ 281 h 367"/>
                  <a:gd name="T78" fmla="*/ 310 w 365"/>
                  <a:gd name="T79" fmla="*/ 258 h 367"/>
                  <a:gd name="T80" fmla="*/ 326 w 365"/>
                  <a:gd name="T81" fmla="*/ 249 h 367"/>
                  <a:gd name="T82" fmla="*/ 324 w 365"/>
                  <a:gd name="T83" fmla="*/ 339 h 367"/>
                  <a:gd name="T84" fmla="*/ 186 w 365"/>
                  <a:gd name="T85" fmla="*/ 221 h 367"/>
                  <a:gd name="T86" fmla="*/ 127 w 365"/>
                  <a:gd name="T87" fmla="*/ 288 h 367"/>
                  <a:gd name="T88" fmla="*/ 259 w 365"/>
                  <a:gd name="T89" fmla="*/ 352 h 367"/>
                  <a:gd name="T90" fmla="*/ 209 w 365"/>
                  <a:gd name="T91" fmla="*/ 336 h 367"/>
                  <a:gd name="T92" fmla="*/ 161 w 365"/>
                  <a:gd name="T93" fmla="*/ 342 h 367"/>
                  <a:gd name="T94" fmla="*/ 205 w 365"/>
                  <a:gd name="T95" fmla="*/ 352 h 367"/>
                  <a:gd name="T96" fmla="*/ 241 w 365"/>
                  <a:gd name="T97" fmla="*/ 362 h 367"/>
                  <a:gd name="T98" fmla="*/ 285 w 365"/>
                  <a:gd name="T99" fmla="*/ 272 h 367"/>
                  <a:gd name="T100" fmla="*/ 79 w 365"/>
                  <a:gd name="T101" fmla="*/ 186 h 367"/>
                  <a:gd name="T102" fmla="*/ 47 w 365"/>
                  <a:gd name="T103" fmla="*/ 207 h 367"/>
                  <a:gd name="T104" fmla="*/ 81 w 365"/>
                  <a:gd name="T105" fmla="*/ 260 h 367"/>
                  <a:gd name="T106" fmla="*/ 113 w 365"/>
                  <a:gd name="T107" fmla="*/ 262 h 367"/>
                  <a:gd name="T108" fmla="*/ 129 w 365"/>
                  <a:gd name="T109" fmla="*/ 270 h 367"/>
                  <a:gd name="T110" fmla="*/ 117 w 365"/>
                  <a:gd name="T111" fmla="*/ 221 h 367"/>
                  <a:gd name="T112" fmla="*/ 132 w 365"/>
                  <a:gd name="T113" fmla="*/ 212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5" h="367">
                    <a:moveTo>
                      <a:pt x="165" y="73"/>
                    </a:moveTo>
                    <a:cubicBezTo>
                      <a:pt x="183" y="85"/>
                      <a:pt x="183" y="85"/>
                      <a:pt x="183" y="85"/>
                    </a:cubicBezTo>
                    <a:cubicBezTo>
                      <a:pt x="190" y="78"/>
                      <a:pt x="190" y="78"/>
                      <a:pt x="190" y="78"/>
                    </a:cubicBezTo>
                    <a:lnTo>
                      <a:pt x="165" y="73"/>
                    </a:lnTo>
                    <a:close/>
                    <a:moveTo>
                      <a:pt x="19" y="173"/>
                    </a:moveTo>
                    <a:cubicBezTo>
                      <a:pt x="5" y="188"/>
                      <a:pt x="5" y="188"/>
                      <a:pt x="5" y="188"/>
                    </a:cubicBezTo>
                    <a:cubicBezTo>
                      <a:pt x="30" y="195"/>
                      <a:pt x="30" y="195"/>
                      <a:pt x="30" y="195"/>
                    </a:cubicBezTo>
                    <a:lnTo>
                      <a:pt x="19" y="173"/>
                    </a:lnTo>
                    <a:close/>
                    <a:moveTo>
                      <a:pt x="212" y="277"/>
                    </a:moveTo>
                    <a:cubicBezTo>
                      <a:pt x="211" y="280"/>
                      <a:pt x="220" y="282"/>
                      <a:pt x="219" y="275"/>
                    </a:cubicBezTo>
                    <a:cubicBezTo>
                      <a:pt x="218" y="268"/>
                      <a:pt x="213" y="271"/>
                      <a:pt x="212" y="277"/>
                    </a:cubicBezTo>
                    <a:close/>
                    <a:moveTo>
                      <a:pt x="210" y="258"/>
                    </a:moveTo>
                    <a:cubicBezTo>
                      <a:pt x="204" y="253"/>
                      <a:pt x="204" y="253"/>
                      <a:pt x="204" y="253"/>
                    </a:cubicBezTo>
                    <a:cubicBezTo>
                      <a:pt x="198" y="259"/>
                      <a:pt x="198" y="259"/>
                      <a:pt x="198" y="259"/>
                    </a:cubicBezTo>
                    <a:lnTo>
                      <a:pt x="210" y="258"/>
                    </a:lnTo>
                    <a:close/>
                    <a:moveTo>
                      <a:pt x="201" y="196"/>
                    </a:moveTo>
                    <a:cubicBezTo>
                      <a:pt x="217" y="224"/>
                      <a:pt x="217" y="224"/>
                      <a:pt x="217" y="224"/>
                    </a:cubicBezTo>
                    <a:cubicBezTo>
                      <a:pt x="223" y="213"/>
                      <a:pt x="223" y="213"/>
                      <a:pt x="223" y="213"/>
                    </a:cubicBezTo>
                    <a:lnTo>
                      <a:pt x="201" y="196"/>
                    </a:lnTo>
                    <a:close/>
                    <a:moveTo>
                      <a:pt x="76" y="178"/>
                    </a:moveTo>
                    <a:cubicBezTo>
                      <a:pt x="76" y="178"/>
                      <a:pt x="90" y="173"/>
                      <a:pt x="97" y="176"/>
                    </a:cubicBezTo>
                    <a:cubicBezTo>
                      <a:pt x="104" y="179"/>
                      <a:pt x="141" y="193"/>
                      <a:pt x="141" y="193"/>
                    </a:cubicBezTo>
                    <a:cubicBezTo>
                      <a:pt x="141" y="193"/>
                      <a:pt x="163" y="216"/>
                      <a:pt x="168" y="210"/>
                    </a:cubicBezTo>
                    <a:cubicBezTo>
                      <a:pt x="173" y="204"/>
                      <a:pt x="174" y="195"/>
                      <a:pt x="166" y="188"/>
                    </a:cubicBezTo>
                    <a:cubicBezTo>
                      <a:pt x="158" y="181"/>
                      <a:pt x="142" y="168"/>
                      <a:pt x="139" y="167"/>
                    </a:cubicBezTo>
                    <a:cubicBezTo>
                      <a:pt x="136" y="166"/>
                      <a:pt x="117" y="157"/>
                      <a:pt x="117" y="157"/>
                    </a:cubicBezTo>
                    <a:cubicBezTo>
                      <a:pt x="117" y="157"/>
                      <a:pt x="124" y="151"/>
                      <a:pt x="128" y="152"/>
                    </a:cubicBezTo>
                    <a:cubicBezTo>
                      <a:pt x="132" y="153"/>
                      <a:pt x="155" y="176"/>
                      <a:pt x="169" y="178"/>
                    </a:cubicBezTo>
                    <a:cubicBezTo>
                      <a:pt x="183" y="180"/>
                      <a:pt x="189" y="164"/>
                      <a:pt x="176" y="162"/>
                    </a:cubicBezTo>
                    <a:cubicBezTo>
                      <a:pt x="163" y="160"/>
                      <a:pt x="153" y="156"/>
                      <a:pt x="153" y="156"/>
                    </a:cubicBezTo>
                    <a:cubicBezTo>
                      <a:pt x="153" y="156"/>
                      <a:pt x="139" y="148"/>
                      <a:pt x="137" y="141"/>
                    </a:cubicBezTo>
                    <a:cubicBezTo>
                      <a:pt x="135" y="134"/>
                      <a:pt x="123" y="117"/>
                      <a:pt x="123" y="117"/>
                    </a:cubicBezTo>
                    <a:cubicBezTo>
                      <a:pt x="123" y="117"/>
                      <a:pt x="112" y="100"/>
                      <a:pt x="107" y="94"/>
                    </a:cubicBezTo>
                    <a:cubicBezTo>
                      <a:pt x="102" y="88"/>
                      <a:pt x="97" y="67"/>
                      <a:pt x="104" y="64"/>
                    </a:cubicBezTo>
                    <a:cubicBezTo>
                      <a:pt x="111" y="61"/>
                      <a:pt x="113" y="78"/>
                      <a:pt x="121" y="78"/>
                    </a:cubicBezTo>
                    <a:cubicBezTo>
                      <a:pt x="123" y="78"/>
                      <a:pt x="126" y="78"/>
                      <a:pt x="129" y="78"/>
                    </a:cubicBezTo>
                    <a:cubicBezTo>
                      <a:pt x="133" y="86"/>
                      <a:pt x="137" y="95"/>
                      <a:pt x="139" y="96"/>
                    </a:cubicBezTo>
                    <a:cubicBezTo>
                      <a:pt x="142" y="98"/>
                      <a:pt x="148" y="94"/>
                      <a:pt x="148" y="94"/>
                    </a:cubicBezTo>
                    <a:cubicBezTo>
                      <a:pt x="140" y="79"/>
                      <a:pt x="140" y="79"/>
                      <a:pt x="140" y="79"/>
                    </a:cubicBezTo>
                    <a:cubicBezTo>
                      <a:pt x="141" y="79"/>
                      <a:pt x="142" y="79"/>
                      <a:pt x="143" y="79"/>
                    </a:cubicBezTo>
                    <a:cubicBezTo>
                      <a:pt x="161" y="90"/>
                      <a:pt x="161" y="90"/>
                      <a:pt x="161" y="90"/>
                    </a:cubicBezTo>
                    <a:cubicBezTo>
                      <a:pt x="152" y="77"/>
                      <a:pt x="152" y="77"/>
                      <a:pt x="152" y="77"/>
                    </a:cubicBezTo>
                    <a:cubicBezTo>
                      <a:pt x="152" y="77"/>
                      <a:pt x="153" y="77"/>
                      <a:pt x="153" y="77"/>
                    </a:cubicBezTo>
                    <a:cubicBezTo>
                      <a:pt x="156" y="74"/>
                      <a:pt x="157" y="66"/>
                      <a:pt x="156" y="58"/>
                    </a:cubicBezTo>
                    <a:cubicBezTo>
                      <a:pt x="155" y="50"/>
                      <a:pt x="173" y="46"/>
                      <a:pt x="182" y="49"/>
                    </a:cubicBezTo>
                    <a:cubicBezTo>
                      <a:pt x="191" y="52"/>
                      <a:pt x="184" y="65"/>
                      <a:pt x="193" y="62"/>
                    </a:cubicBezTo>
                    <a:cubicBezTo>
                      <a:pt x="202" y="59"/>
                      <a:pt x="205" y="44"/>
                      <a:pt x="210" y="43"/>
                    </a:cubicBezTo>
                    <a:cubicBezTo>
                      <a:pt x="215" y="42"/>
                      <a:pt x="258" y="52"/>
                      <a:pt x="258" y="52"/>
                    </a:cubicBezTo>
                    <a:cubicBezTo>
                      <a:pt x="258" y="52"/>
                      <a:pt x="261" y="47"/>
                      <a:pt x="263" y="40"/>
                    </a:cubicBezTo>
                    <a:cubicBezTo>
                      <a:pt x="265" y="33"/>
                      <a:pt x="260" y="30"/>
                      <a:pt x="261" y="24"/>
                    </a:cubicBezTo>
                    <a:cubicBezTo>
                      <a:pt x="262" y="18"/>
                      <a:pt x="275" y="22"/>
                      <a:pt x="275" y="22"/>
                    </a:cubicBezTo>
                    <a:cubicBezTo>
                      <a:pt x="275" y="22"/>
                      <a:pt x="276" y="14"/>
                      <a:pt x="273" y="9"/>
                    </a:cubicBezTo>
                    <a:cubicBezTo>
                      <a:pt x="270" y="4"/>
                      <a:pt x="263" y="5"/>
                      <a:pt x="263" y="5"/>
                    </a:cubicBezTo>
                    <a:cubicBezTo>
                      <a:pt x="261" y="0"/>
                      <a:pt x="261" y="0"/>
                      <a:pt x="261" y="0"/>
                    </a:cubicBezTo>
                    <a:cubicBezTo>
                      <a:pt x="249" y="6"/>
                      <a:pt x="249" y="6"/>
                      <a:pt x="249" y="6"/>
                    </a:cubicBezTo>
                    <a:cubicBezTo>
                      <a:pt x="249" y="6"/>
                      <a:pt x="255" y="14"/>
                      <a:pt x="253" y="19"/>
                    </a:cubicBezTo>
                    <a:cubicBezTo>
                      <a:pt x="251" y="24"/>
                      <a:pt x="237" y="25"/>
                      <a:pt x="237" y="25"/>
                    </a:cubicBezTo>
                    <a:cubicBezTo>
                      <a:pt x="227" y="17"/>
                      <a:pt x="227" y="17"/>
                      <a:pt x="227" y="17"/>
                    </a:cubicBezTo>
                    <a:cubicBezTo>
                      <a:pt x="227" y="17"/>
                      <a:pt x="222" y="24"/>
                      <a:pt x="214" y="25"/>
                    </a:cubicBezTo>
                    <a:cubicBezTo>
                      <a:pt x="206" y="26"/>
                      <a:pt x="205" y="17"/>
                      <a:pt x="205" y="17"/>
                    </a:cubicBezTo>
                    <a:cubicBezTo>
                      <a:pt x="205" y="17"/>
                      <a:pt x="199" y="20"/>
                      <a:pt x="191" y="20"/>
                    </a:cubicBezTo>
                    <a:cubicBezTo>
                      <a:pt x="183" y="20"/>
                      <a:pt x="179" y="6"/>
                      <a:pt x="179" y="6"/>
                    </a:cubicBezTo>
                    <a:cubicBezTo>
                      <a:pt x="161" y="9"/>
                      <a:pt x="161" y="9"/>
                      <a:pt x="161" y="9"/>
                    </a:cubicBezTo>
                    <a:cubicBezTo>
                      <a:pt x="155" y="21"/>
                      <a:pt x="155" y="21"/>
                      <a:pt x="155" y="21"/>
                    </a:cubicBezTo>
                    <a:cubicBezTo>
                      <a:pt x="141" y="15"/>
                      <a:pt x="141" y="15"/>
                      <a:pt x="141" y="15"/>
                    </a:cubicBezTo>
                    <a:cubicBezTo>
                      <a:pt x="141" y="15"/>
                      <a:pt x="131" y="25"/>
                      <a:pt x="123" y="25"/>
                    </a:cubicBezTo>
                    <a:cubicBezTo>
                      <a:pt x="118" y="25"/>
                      <a:pt x="114" y="21"/>
                      <a:pt x="111" y="18"/>
                    </a:cubicBezTo>
                    <a:cubicBezTo>
                      <a:pt x="107" y="23"/>
                      <a:pt x="102" y="26"/>
                      <a:pt x="97" y="32"/>
                    </a:cubicBezTo>
                    <a:cubicBezTo>
                      <a:pt x="89" y="40"/>
                      <a:pt x="70" y="36"/>
                      <a:pt x="70" y="36"/>
                    </a:cubicBezTo>
                    <a:cubicBezTo>
                      <a:pt x="70" y="36"/>
                      <a:pt x="71" y="41"/>
                      <a:pt x="67" y="47"/>
                    </a:cubicBezTo>
                    <a:cubicBezTo>
                      <a:pt x="63" y="53"/>
                      <a:pt x="43" y="45"/>
                      <a:pt x="43" y="45"/>
                    </a:cubicBezTo>
                    <a:cubicBezTo>
                      <a:pt x="38" y="50"/>
                      <a:pt x="38" y="50"/>
                      <a:pt x="38" y="50"/>
                    </a:cubicBezTo>
                    <a:cubicBezTo>
                      <a:pt x="38" y="55"/>
                      <a:pt x="39" y="62"/>
                      <a:pt x="36" y="64"/>
                    </a:cubicBezTo>
                    <a:cubicBezTo>
                      <a:pt x="31" y="68"/>
                      <a:pt x="21" y="70"/>
                      <a:pt x="21" y="70"/>
                    </a:cubicBezTo>
                    <a:cubicBezTo>
                      <a:pt x="21" y="84"/>
                      <a:pt x="21" y="84"/>
                      <a:pt x="21" y="84"/>
                    </a:cubicBezTo>
                    <a:cubicBezTo>
                      <a:pt x="13" y="89"/>
                      <a:pt x="13" y="89"/>
                      <a:pt x="13" y="89"/>
                    </a:cubicBezTo>
                    <a:cubicBezTo>
                      <a:pt x="13" y="89"/>
                      <a:pt x="4" y="86"/>
                      <a:pt x="3" y="93"/>
                    </a:cubicBezTo>
                    <a:cubicBezTo>
                      <a:pt x="2" y="100"/>
                      <a:pt x="3" y="109"/>
                      <a:pt x="3" y="109"/>
                    </a:cubicBezTo>
                    <a:cubicBezTo>
                      <a:pt x="5" y="116"/>
                      <a:pt x="5" y="116"/>
                      <a:pt x="5" y="116"/>
                    </a:cubicBezTo>
                    <a:cubicBezTo>
                      <a:pt x="5" y="116"/>
                      <a:pt x="0" y="133"/>
                      <a:pt x="9" y="136"/>
                    </a:cubicBezTo>
                    <a:cubicBezTo>
                      <a:pt x="18" y="139"/>
                      <a:pt x="29" y="156"/>
                      <a:pt x="29" y="156"/>
                    </a:cubicBezTo>
                    <a:cubicBezTo>
                      <a:pt x="29" y="156"/>
                      <a:pt x="39" y="179"/>
                      <a:pt x="47" y="179"/>
                    </a:cubicBezTo>
                    <a:cubicBezTo>
                      <a:pt x="55" y="179"/>
                      <a:pt x="76" y="178"/>
                      <a:pt x="76" y="178"/>
                    </a:cubicBezTo>
                    <a:close/>
                    <a:moveTo>
                      <a:pt x="266" y="168"/>
                    </a:moveTo>
                    <a:cubicBezTo>
                      <a:pt x="253" y="168"/>
                      <a:pt x="253" y="168"/>
                      <a:pt x="253" y="168"/>
                    </a:cubicBezTo>
                    <a:cubicBezTo>
                      <a:pt x="252" y="180"/>
                      <a:pt x="252" y="180"/>
                      <a:pt x="252" y="180"/>
                    </a:cubicBezTo>
                    <a:cubicBezTo>
                      <a:pt x="261" y="196"/>
                      <a:pt x="261" y="196"/>
                      <a:pt x="261" y="196"/>
                    </a:cubicBezTo>
                    <a:lnTo>
                      <a:pt x="266" y="168"/>
                    </a:lnTo>
                    <a:close/>
                    <a:moveTo>
                      <a:pt x="19" y="207"/>
                    </a:moveTo>
                    <a:cubicBezTo>
                      <a:pt x="10" y="214"/>
                      <a:pt x="30" y="220"/>
                      <a:pt x="30" y="220"/>
                    </a:cubicBezTo>
                    <a:cubicBezTo>
                      <a:pt x="36" y="216"/>
                      <a:pt x="28" y="200"/>
                      <a:pt x="19" y="207"/>
                    </a:cubicBezTo>
                    <a:close/>
                    <a:moveTo>
                      <a:pt x="255" y="261"/>
                    </a:moveTo>
                    <a:cubicBezTo>
                      <a:pt x="255" y="270"/>
                      <a:pt x="255" y="270"/>
                      <a:pt x="255" y="270"/>
                    </a:cubicBezTo>
                    <a:cubicBezTo>
                      <a:pt x="264" y="260"/>
                      <a:pt x="264" y="260"/>
                      <a:pt x="264" y="260"/>
                    </a:cubicBezTo>
                    <a:lnTo>
                      <a:pt x="255" y="261"/>
                    </a:lnTo>
                    <a:close/>
                    <a:moveTo>
                      <a:pt x="275" y="220"/>
                    </a:moveTo>
                    <a:cubicBezTo>
                      <a:pt x="271" y="216"/>
                      <a:pt x="259" y="219"/>
                      <a:pt x="259" y="227"/>
                    </a:cubicBezTo>
                    <a:cubicBezTo>
                      <a:pt x="259" y="232"/>
                      <a:pt x="279" y="224"/>
                      <a:pt x="275" y="220"/>
                    </a:cubicBezTo>
                    <a:close/>
                    <a:moveTo>
                      <a:pt x="269" y="127"/>
                    </a:moveTo>
                    <a:cubicBezTo>
                      <a:pt x="250" y="132"/>
                      <a:pt x="250" y="132"/>
                      <a:pt x="250" y="132"/>
                    </a:cubicBezTo>
                    <a:cubicBezTo>
                      <a:pt x="251" y="148"/>
                      <a:pt x="264" y="141"/>
                      <a:pt x="264" y="141"/>
                    </a:cubicBezTo>
                    <a:cubicBezTo>
                      <a:pt x="264" y="141"/>
                      <a:pt x="269" y="152"/>
                      <a:pt x="278" y="148"/>
                    </a:cubicBezTo>
                    <a:cubicBezTo>
                      <a:pt x="287" y="144"/>
                      <a:pt x="269" y="127"/>
                      <a:pt x="269" y="127"/>
                    </a:cubicBezTo>
                    <a:close/>
                    <a:moveTo>
                      <a:pt x="230" y="247"/>
                    </a:moveTo>
                    <a:cubicBezTo>
                      <a:pt x="232" y="259"/>
                      <a:pt x="242" y="262"/>
                      <a:pt x="247" y="254"/>
                    </a:cubicBezTo>
                    <a:cubicBezTo>
                      <a:pt x="253" y="244"/>
                      <a:pt x="228" y="235"/>
                      <a:pt x="230" y="247"/>
                    </a:cubicBezTo>
                    <a:close/>
                    <a:moveTo>
                      <a:pt x="299" y="210"/>
                    </a:moveTo>
                    <a:cubicBezTo>
                      <a:pt x="289" y="202"/>
                      <a:pt x="291" y="220"/>
                      <a:pt x="291" y="220"/>
                    </a:cubicBezTo>
                    <a:cubicBezTo>
                      <a:pt x="305" y="227"/>
                      <a:pt x="309" y="218"/>
                      <a:pt x="299" y="210"/>
                    </a:cubicBezTo>
                    <a:close/>
                    <a:moveTo>
                      <a:pt x="298" y="249"/>
                    </a:moveTo>
                    <a:cubicBezTo>
                      <a:pt x="307" y="236"/>
                      <a:pt x="307" y="236"/>
                      <a:pt x="307" y="236"/>
                    </a:cubicBezTo>
                    <a:cubicBezTo>
                      <a:pt x="295" y="236"/>
                      <a:pt x="295" y="236"/>
                      <a:pt x="295" y="236"/>
                    </a:cubicBezTo>
                    <a:lnTo>
                      <a:pt x="298" y="249"/>
                    </a:lnTo>
                    <a:close/>
                    <a:moveTo>
                      <a:pt x="186" y="146"/>
                    </a:moveTo>
                    <a:cubicBezTo>
                      <a:pt x="186" y="146"/>
                      <a:pt x="180" y="158"/>
                      <a:pt x="196" y="158"/>
                    </a:cubicBezTo>
                    <a:lnTo>
                      <a:pt x="186" y="146"/>
                    </a:lnTo>
                    <a:close/>
                    <a:moveTo>
                      <a:pt x="361" y="281"/>
                    </a:moveTo>
                    <a:cubicBezTo>
                      <a:pt x="357" y="274"/>
                      <a:pt x="336" y="302"/>
                      <a:pt x="342" y="312"/>
                    </a:cubicBezTo>
                    <a:cubicBezTo>
                      <a:pt x="347" y="321"/>
                      <a:pt x="365" y="288"/>
                      <a:pt x="361" y="281"/>
                    </a:cubicBezTo>
                    <a:close/>
                    <a:moveTo>
                      <a:pt x="310" y="258"/>
                    </a:moveTo>
                    <a:cubicBezTo>
                      <a:pt x="309" y="273"/>
                      <a:pt x="309" y="273"/>
                      <a:pt x="309" y="273"/>
                    </a:cubicBezTo>
                    <a:cubicBezTo>
                      <a:pt x="334" y="254"/>
                      <a:pt x="334" y="254"/>
                      <a:pt x="334" y="254"/>
                    </a:cubicBezTo>
                    <a:cubicBezTo>
                      <a:pt x="326" y="249"/>
                      <a:pt x="326" y="249"/>
                      <a:pt x="326" y="249"/>
                    </a:cubicBezTo>
                    <a:lnTo>
                      <a:pt x="310" y="258"/>
                    </a:lnTo>
                    <a:close/>
                    <a:moveTo>
                      <a:pt x="311" y="342"/>
                    </a:moveTo>
                    <a:cubicBezTo>
                      <a:pt x="324" y="339"/>
                      <a:pt x="324" y="339"/>
                      <a:pt x="324" y="339"/>
                    </a:cubicBezTo>
                    <a:cubicBezTo>
                      <a:pt x="317" y="312"/>
                      <a:pt x="317" y="312"/>
                      <a:pt x="317" y="312"/>
                    </a:cubicBezTo>
                    <a:lnTo>
                      <a:pt x="311" y="342"/>
                    </a:lnTo>
                    <a:close/>
                    <a:moveTo>
                      <a:pt x="186" y="221"/>
                    </a:moveTo>
                    <a:cubicBezTo>
                      <a:pt x="181" y="226"/>
                      <a:pt x="184" y="232"/>
                      <a:pt x="189" y="231"/>
                    </a:cubicBezTo>
                    <a:cubicBezTo>
                      <a:pt x="198" y="229"/>
                      <a:pt x="191" y="216"/>
                      <a:pt x="186" y="221"/>
                    </a:cubicBezTo>
                    <a:close/>
                    <a:moveTo>
                      <a:pt x="127" y="288"/>
                    </a:moveTo>
                    <a:cubicBezTo>
                      <a:pt x="121" y="290"/>
                      <a:pt x="126" y="307"/>
                      <a:pt x="133" y="301"/>
                    </a:cubicBezTo>
                    <a:cubicBezTo>
                      <a:pt x="140" y="295"/>
                      <a:pt x="134" y="286"/>
                      <a:pt x="127" y="288"/>
                    </a:cubicBezTo>
                    <a:close/>
                    <a:moveTo>
                      <a:pt x="259" y="352"/>
                    </a:moveTo>
                    <a:cubicBezTo>
                      <a:pt x="255" y="354"/>
                      <a:pt x="252" y="342"/>
                      <a:pt x="252" y="342"/>
                    </a:cubicBezTo>
                    <a:cubicBezTo>
                      <a:pt x="230" y="341"/>
                      <a:pt x="230" y="341"/>
                      <a:pt x="230" y="341"/>
                    </a:cubicBezTo>
                    <a:cubicBezTo>
                      <a:pt x="209" y="336"/>
                      <a:pt x="209" y="336"/>
                      <a:pt x="209" y="336"/>
                    </a:cubicBezTo>
                    <a:cubicBezTo>
                      <a:pt x="188" y="336"/>
                      <a:pt x="188" y="336"/>
                      <a:pt x="188" y="336"/>
                    </a:cubicBezTo>
                    <a:cubicBezTo>
                      <a:pt x="168" y="325"/>
                      <a:pt x="168" y="325"/>
                      <a:pt x="168" y="325"/>
                    </a:cubicBezTo>
                    <a:cubicBezTo>
                      <a:pt x="168" y="325"/>
                      <a:pt x="152" y="332"/>
                      <a:pt x="161" y="342"/>
                    </a:cubicBezTo>
                    <a:cubicBezTo>
                      <a:pt x="170" y="352"/>
                      <a:pt x="175" y="345"/>
                      <a:pt x="175" y="345"/>
                    </a:cubicBezTo>
                    <a:cubicBezTo>
                      <a:pt x="181" y="351"/>
                      <a:pt x="181" y="351"/>
                      <a:pt x="181" y="351"/>
                    </a:cubicBezTo>
                    <a:cubicBezTo>
                      <a:pt x="205" y="352"/>
                      <a:pt x="205" y="352"/>
                      <a:pt x="205" y="352"/>
                    </a:cubicBezTo>
                    <a:cubicBezTo>
                      <a:pt x="213" y="367"/>
                      <a:pt x="213" y="367"/>
                      <a:pt x="213" y="367"/>
                    </a:cubicBezTo>
                    <a:cubicBezTo>
                      <a:pt x="238" y="366"/>
                      <a:pt x="238" y="366"/>
                      <a:pt x="238" y="366"/>
                    </a:cubicBezTo>
                    <a:cubicBezTo>
                      <a:pt x="241" y="362"/>
                      <a:pt x="241" y="362"/>
                      <a:pt x="241" y="362"/>
                    </a:cubicBezTo>
                    <a:cubicBezTo>
                      <a:pt x="241" y="362"/>
                      <a:pt x="279" y="367"/>
                      <a:pt x="281" y="353"/>
                    </a:cubicBezTo>
                    <a:cubicBezTo>
                      <a:pt x="283" y="339"/>
                      <a:pt x="263" y="350"/>
                      <a:pt x="259" y="352"/>
                    </a:cubicBezTo>
                    <a:close/>
                    <a:moveTo>
                      <a:pt x="285" y="272"/>
                    </a:moveTo>
                    <a:cubicBezTo>
                      <a:pt x="276" y="268"/>
                      <a:pt x="272" y="276"/>
                      <a:pt x="277" y="279"/>
                    </a:cubicBezTo>
                    <a:cubicBezTo>
                      <a:pt x="284" y="284"/>
                      <a:pt x="294" y="276"/>
                      <a:pt x="285" y="272"/>
                    </a:cubicBezTo>
                    <a:close/>
                    <a:moveTo>
                      <a:pt x="79" y="186"/>
                    </a:moveTo>
                    <a:cubicBezTo>
                      <a:pt x="65" y="192"/>
                      <a:pt x="65" y="192"/>
                      <a:pt x="65" y="192"/>
                    </a:cubicBezTo>
                    <a:cubicBezTo>
                      <a:pt x="58" y="192"/>
                      <a:pt x="58" y="192"/>
                      <a:pt x="58" y="192"/>
                    </a:cubicBezTo>
                    <a:cubicBezTo>
                      <a:pt x="47" y="207"/>
                      <a:pt x="47" y="207"/>
                      <a:pt x="47" y="207"/>
                    </a:cubicBezTo>
                    <a:cubicBezTo>
                      <a:pt x="66" y="224"/>
                      <a:pt x="66" y="224"/>
                      <a:pt x="66" y="224"/>
                    </a:cubicBezTo>
                    <a:cubicBezTo>
                      <a:pt x="66" y="224"/>
                      <a:pt x="63" y="241"/>
                      <a:pt x="63" y="251"/>
                    </a:cubicBezTo>
                    <a:cubicBezTo>
                      <a:pt x="63" y="261"/>
                      <a:pt x="78" y="267"/>
                      <a:pt x="81" y="260"/>
                    </a:cubicBezTo>
                    <a:cubicBezTo>
                      <a:pt x="84" y="253"/>
                      <a:pt x="93" y="254"/>
                      <a:pt x="93" y="254"/>
                    </a:cubicBezTo>
                    <a:cubicBezTo>
                      <a:pt x="107" y="280"/>
                      <a:pt x="107" y="280"/>
                      <a:pt x="107" y="280"/>
                    </a:cubicBezTo>
                    <a:cubicBezTo>
                      <a:pt x="113" y="262"/>
                      <a:pt x="113" y="262"/>
                      <a:pt x="113" y="262"/>
                    </a:cubicBezTo>
                    <a:cubicBezTo>
                      <a:pt x="122" y="275"/>
                      <a:pt x="122" y="275"/>
                      <a:pt x="122" y="275"/>
                    </a:cubicBezTo>
                    <a:cubicBezTo>
                      <a:pt x="138" y="281"/>
                      <a:pt x="138" y="281"/>
                      <a:pt x="138" y="281"/>
                    </a:cubicBezTo>
                    <a:cubicBezTo>
                      <a:pt x="129" y="270"/>
                      <a:pt x="129" y="270"/>
                      <a:pt x="129" y="270"/>
                    </a:cubicBezTo>
                    <a:cubicBezTo>
                      <a:pt x="133" y="265"/>
                      <a:pt x="133" y="265"/>
                      <a:pt x="133" y="265"/>
                    </a:cubicBezTo>
                    <a:cubicBezTo>
                      <a:pt x="131" y="250"/>
                      <a:pt x="131" y="250"/>
                      <a:pt x="131" y="250"/>
                    </a:cubicBezTo>
                    <a:cubicBezTo>
                      <a:pt x="131" y="250"/>
                      <a:pt x="114" y="229"/>
                      <a:pt x="117" y="221"/>
                    </a:cubicBezTo>
                    <a:cubicBezTo>
                      <a:pt x="120" y="213"/>
                      <a:pt x="143" y="232"/>
                      <a:pt x="143" y="232"/>
                    </a:cubicBezTo>
                    <a:cubicBezTo>
                      <a:pt x="152" y="228"/>
                      <a:pt x="152" y="228"/>
                      <a:pt x="152" y="228"/>
                    </a:cubicBezTo>
                    <a:cubicBezTo>
                      <a:pt x="152" y="228"/>
                      <a:pt x="141" y="221"/>
                      <a:pt x="132" y="212"/>
                    </a:cubicBezTo>
                    <a:cubicBezTo>
                      <a:pt x="123" y="203"/>
                      <a:pt x="79" y="186"/>
                      <a:pt x="79" y="186"/>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71" name="Freeform 93">
                <a:extLst>
                  <a:ext uri="{FF2B5EF4-FFF2-40B4-BE49-F238E27FC236}">
                    <a16:creationId xmlns:a16="http://schemas.microsoft.com/office/drawing/2014/main" id="{E923BA28-4980-49DC-8BF7-3205984FB211}"/>
                  </a:ext>
                </a:extLst>
              </p:cNvPr>
              <p:cNvSpPr>
                <a:spLocks/>
              </p:cNvSpPr>
              <p:nvPr>
                <p:custDataLst>
                  <p:tags r:id="rId52"/>
                </p:custDataLst>
              </p:nvPr>
            </p:nvSpPr>
            <p:spPr bwMode="gray">
              <a:xfrm>
                <a:off x="5005359" y="3114687"/>
                <a:ext cx="60324" cy="90488"/>
              </a:xfrm>
              <a:custGeom>
                <a:avLst/>
                <a:gdLst>
                  <a:gd name="T0" fmla="*/ 62 w 100"/>
                  <a:gd name="T1" fmla="*/ 142 h 165"/>
                  <a:gd name="T2" fmla="*/ 72 w 100"/>
                  <a:gd name="T3" fmla="*/ 138 h 165"/>
                  <a:gd name="T4" fmla="*/ 80 w 100"/>
                  <a:gd name="T5" fmla="*/ 133 h 165"/>
                  <a:gd name="T6" fmla="*/ 80 w 100"/>
                  <a:gd name="T7" fmla="*/ 119 h 165"/>
                  <a:gd name="T8" fmla="*/ 95 w 100"/>
                  <a:gd name="T9" fmla="*/ 113 h 165"/>
                  <a:gd name="T10" fmla="*/ 95 w 100"/>
                  <a:gd name="T11" fmla="*/ 92 h 165"/>
                  <a:gd name="T12" fmla="*/ 77 w 100"/>
                  <a:gd name="T13" fmla="*/ 99 h 165"/>
                  <a:gd name="T14" fmla="*/ 77 w 100"/>
                  <a:gd name="T15" fmla="*/ 85 h 165"/>
                  <a:gd name="T16" fmla="*/ 69 w 100"/>
                  <a:gd name="T17" fmla="*/ 79 h 165"/>
                  <a:gd name="T18" fmla="*/ 71 w 100"/>
                  <a:gd name="T19" fmla="*/ 67 h 165"/>
                  <a:gd name="T20" fmla="*/ 66 w 100"/>
                  <a:gd name="T21" fmla="*/ 56 h 165"/>
                  <a:gd name="T22" fmla="*/ 68 w 100"/>
                  <a:gd name="T23" fmla="*/ 41 h 165"/>
                  <a:gd name="T24" fmla="*/ 68 w 100"/>
                  <a:gd name="T25" fmla="*/ 29 h 165"/>
                  <a:gd name="T26" fmla="*/ 64 w 100"/>
                  <a:gd name="T27" fmla="*/ 19 h 165"/>
                  <a:gd name="T28" fmla="*/ 55 w 100"/>
                  <a:gd name="T29" fmla="*/ 19 h 165"/>
                  <a:gd name="T30" fmla="*/ 47 w 100"/>
                  <a:gd name="T31" fmla="*/ 4 h 165"/>
                  <a:gd name="T32" fmla="*/ 41 w 100"/>
                  <a:gd name="T33" fmla="*/ 10 h 165"/>
                  <a:gd name="T34" fmla="*/ 23 w 100"/>
                  <a:gd name="T35" fmla="*/ 0 h 165"/>
                  <a:gd name="T36" fmla="*/ 21 w 100"/>
                  <a:gd name="T37" fmla="*/ 14 h 165"/>
                  <a:gd name="T38" fmla="*/ 15 w 100"/>
                  <a:gd name="T39" fmla="*/ 19 h 165"/>
                  <a:gd name="T40" fmla="*/ 0 w 100"/>
                  <a:gd name="T41" fmla="*/ 19 h 165"/>
                  <a:gd name="T42" fmla="*/ 9 w 100"/>
                  <a:gd name="T43" fmla="*/ 25 h 165"/>
                  <a:gd name="T44" fmla="*/ 15 w 100"/>
                  <a:gd name="T45" fmla="*/ 22 h 165"/>
                  <a:gd name="T46" fmla="*/ 17 w 100"/>
                  <a:gd name="T47" fmla="*/ 32 h 165"/>
                  <a:gd name="T48" fmla="*/ 10 w 100"/>
                  <a:gd name="T49" fmla="*/ 41 h 165"/>
                  <a:gd name="T50" fmla="*/ 14 w 100"/>
                  <a:gd name="T51" fmla="*/ 45 h 165"/>
                  <a:gd name="T52" fmla="*/ 30 w 100"/>
                  <a:gd name="T53" fmla="*/ 45 h 165"/>
                  <a:gd name="T54" fmla="*/ 24 w 100"/>
                  <a:gd name="T55" fmla="*/ 96 h 165"/>
                  <a:gd name="T56" fmla="*/ 17 w 100"/>
                  <a:gd name="T57" fmla="*/ 129 h 165"/>
                  <a:gd name="T58" fmla="*/ 40 w 100"/>
                  <a:gd name="T59" fmla="*/ 144 h 165"/>
                  <a:gd name="T60" fmla="*/ 41 w 100"/>
                  <a:gd name="T61" fmla="*/ 163 h 165"/>
                  <a:gd name="T62" fmla="*/ 64 w 100"/>
                  <a:gd name="T63" fmla="*/ 165 h 165"/>
                  <a:gd name="T64" fmla="*/ 62 w 100"/>
                  <a:gd name="T65" fmla="*/ 158 h 165"/>
                  <a:gd name="T66" fmla="*/ 62 w 100"/>
                  <a:gd name="T67" fmla="*/ 14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0" h="165">
                    <a:moveTo>
                      <a:pt x="62" y="142"/>
                    </a:moveTo>
                    <a:cubicBezTo>
                      <a:pt x="63" y="135"/>
                      <a:pt x="72" y="138"/>
                      <a:pt x="72" y="138"/>
                    </a:cubicBezTo>
                    <a:cubicBezTo>
                      <a:pt x="80" y="133"/>
                      <a:pt x="80" y="133"/>
                      <a:pt x="80" y="133"/>
                    </a:cubicBezTo>
                    <a:cubicBezTo>
                      <a:pt x="80" y="119"/>
                      <a:pt x="80" y="119"/>
                      <a:pt x="80" y="119"/>
                    </a:cubicBezTo>
                    <a:cubicBezTo>
                      <a:pt x="80" y="119"/>
                      <a:pt x="90" y="117"/>
                      <a:pt x="95" y="113"/>
                    </a:cubicBezTo>
                    <a:cubicBezTo>
                      <a:pt x="100" y="109"/>
                      <a:pt x="95" y="92"/>
                      <a:pt x="95" y="92"/>
                    </a:cubicBezTo>
                    <a:cubicBezTo>
                      <a:pt x="77" y="99"/>
                      <a:pt x="77" y="99"/>
                      <a:pt x="77" y="99"/>
                    </a:cubicBezTo>
                    <a:cubicBezTo>
                      <a:pt x="77" y="85"/>
                      <a:pt x="77" y="85"/>
                      <a:pt x="77" y="85"/>
                    </a:cubicBezTo>
                    <a:cubicBezTo>
                      <a:pt x="77" y="85"/>
                      <a:pt x="69" y="84"/>
                      <a:pt x="69" y="79"/>
                    </a:cubicBezTo>
                    <a:cubicBezTo>
                      <a:pt x="69" y="74"/>
                      <a:pt x="71" y="67"/>
                      <a:pt x="71" y="67"/>
                    </a:cubicBezTo>
                    <a:cubicBezTo>
                      <a:pt x="66" y="56"/>
                      <a:pt x="66" y="56"/>
                      <a:pt x="66" y="56"/>
                    </a:cubicBezTo>
                    <a:cubicBezTo>
                      <a:pt x="68" y="41"/>
                      <a:pt x="68" y="41"/>
                      <a:pt x="68" y="41"/>
                    </a:cubicBezTo>
                    <a:cubicBezTo>
                      <a:pt x="68" y="29"/>
                      <a:pt x="68" y="29"/>
                      <a:pt x="68" y="29"/>
                    </a:cubicBezTo>
                    <a:cubicBezTo>
                      <a:pt x="64" y="19"/>
                      <a:pt x="64" y="19"/>
                      <a:pt x="64" y="19"/>
                    </a:cubicBezTo>
                    <a:cubicBezTo>
                      <a:pt x="55" y="19"/>
                      <a:pt x="55" y="19"/>
                      <a:pt x="55" y="19"/>
                    </a:cubicBezTo>
                    <a:cubicBezTo>
                      <a:pt x="47" y="4"/>
                      <a:pt x="47" y="4"/>
                      <a:pt x="47" y="4"/>
                    </a:cubicBezTo>
                    <a:cubicBezTo>
                      <a:pt x="41" y="10"/>
                      <a:pt x="41" y="10"/>
                      <a:pt x="41" y="10"/>
                    </a:cubicBezTo>
                    <a:cubicBezTo>
                      <a:pt x="23" y="0"/>
                      <a:pt x="23" y="0"/>
                      <a:pt x="23" y="0"/>
                    </a:cubicBezTo>
                    <a:cubicBezTo>
                      <a:pt x="21" y="14"/>
                      <a:pt x="21" y="14"/>
                      <a:pt x="21" y="14"/>
                    </a:cubicBezTo>
                    <a:cubicBezTo>
                      <a:pt x="15" y="19"/>
                      <a:pt x="15" y="19"/>
                      <a:pt x="15" y="19"/>
                    </a:cubicBezTo>
                    <a:cubicBezTo>
                      <a:pt x="0" y="19"/>
                      <a:pt x="0" y="19"/>
                      <a:pt x="0" y="19"/>
                    </a:cubicBezTo>
                    <a:cubicBezTo>
                      <a:pt x="9" y="25"/>
                      <a:pt x="9" y="25"/>
                      <a:pt x="9" y="25"/>
                    </a:cubicBezTo>
                    <a:cubicBezTo>
                      <a:pt x="15" y="22"/>
                      <a:pt x="15" y="22"/>
                      <a:pt x="15" y="22"/>
                    </a:cubicBezTo>
                    <a:cubicBezTo>
                      <a:pt x="17" y="32"/>
                      <a:pt x="17" y="32"/>
                      <a:pt x="17" y="32"/>
                    </a:cubicBezTo>
                    <a:cubicBezTo>
                      <a:pt x="10" y="41"/>
                      <a:pt x="10" y="41"/>
                      <a:pt x="10" y="41"/>
                    </a:cubicBezTo>
                    <a:cubicBezTo>
                      <a:pt x="14" y="45"/>
                      <a:pt x="14" y="45"/>
                      <a:pt x="14" y="45"/>
                    </a:cubicBezTo>
                    <a:cubicBezTo>
                      <a:pt x="30" y="45"/>
                      <a:pt x="30" y="45"/>
                      <a:pt x="30" y="45"/>
                    </a:cubicBezTo>
                    <a:cubicBezTo>
                      <a:pt x="30" y="45"/>
                      <a:pt x="25" y="84"/>
                      <a:pt x="24" y="96"/>
                    </a:cubicBezTo>
                    <a:cubicBezTo>
                      <a:pt x="23" y="108"/>
                      <a:pt x="12" y="124"/>
                      <a:pt x="17" y="129"/>
                    </a:cubicBezTo>
                    <a:cubicBezTo>
                      <a:pt x="22" y="134"/>
                      <a:pt x="40" y="144"/>
                      <a:pt x="40" y="144"/>
                    </a:cubicBezTo>
                    <a:cubicBezTo>
                      <a:pt x="40" y="144"/>
                      <a:pt x="37" y="164"/>
                      <a:pt x="41" y="163"/>
                    </a:cubicBezTo>
                    <a:cubicBezTo>
                      <a:pt x="45" y="162"/>
                      <a:pt x="64" y="165"/>
                      <a:pt x="64" y="165"/>
                    </a:cubicBezTo>
                    <a:cubicBezTo>
                      <a:pt x="62" y="158"/>
                      <a:pt x="62" y="158"/>
                      <a:pt x="62" y="158"/>
                    </a:cubicBezTo>
                    <a:cubicBezTo>
                      <a:pt x="62" y="158"/>
                      <a:pt x="61" y="149"/>
                      <a:pt x="62" y="142"/>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72" name="Freeform 94">
                <a:extLst>
                  <a:ext uri="{FF2B5EF4-FFF2-40B4-BE49-F238E27FC236}">
                    <a16:creationId xmlns:a16="http://schemas.microsoft.com/office/drawing/2014/main" id="{48A49830-4A51-4B2B-99C1-346E27E2572B}"/>
                  </a:ext>
                </a:extLst>
              </p:cNvPr>
              <p:cNvSpPr>
                <a:spLocks/>
              </p:cNvSpPr>
              <p:nvPr>
                <p:custDataLst>
                  <p:tags r:id="rId53"/>
                </p:custDataLst>
              </p:nvPr>
            </p:nvSpPr>
            <p:spPr bwMode="gray">
              <a:xfrm>
                <a:off x="5089495" y="3068650"/>
                <a:ext cx="160337" cy="85725"/>
              </a:xfrm>
              <a:custGeom>
                <a:avLst/>
                <a:gdLst>
                  <a:gd name="T0" fmla="*/ 225 w 267"/>
                  <a:gd name="T1" fmla="*/ 87 h 155"/>
                  <a:gd name="T2" fmla="*/ 241 w 267"/>
                  <a:gd name="T3" fmla="*/ 47 h 155"/>
                  <a:gd name="T4" fmla="*/ 264 w 267"/>
                  <a:gd name="T5" fmla="*/ 23 h 155"/>
                  <a:gd name="T6" fmla="*/ 237 w 267"/>
                  <a:gd name="T7" fmla="*/ 12 h 155"/>
                  <a:gd name="T8" fmla="*/ 194 w 267"/>
                  <a:gd name="T9" fmla="*/ 2 h 155"/>
                  <a:gd name="T10" fmla="*/ 169 w 267"/>
                  <a:gd name="T11" fmla="*/ 6 h 155"/>
                  <a:gd name="T12" fmla="*/ 157 w 267"/>
                  <a:gd name="T13" fmla="*/ 12 h 155"/>
                  <a:gd name="T14" fmla="*/ 118 w 267"/>
                  <a:gd name="T15" fmla="*/ 23 h 155"/>
                  <a:gd name="T16" fmla="*/ 92 w 267"/>
                  <a:gd name="T17" fmla="*/ 17 h 155"/>
                  <a:gd name="T18" fmla="*/ 62 w 267"/>
                  <a:gd name="T19" fmla="*/ 21 h 155"/>
                  <a:gd name="T20" fmla="*/ 39 w 267"/>
                  <a:gd name="T21" fmla="*/ 21 h 155"/>
                  <a:gd name="T22" fmla="*/ 29 w 267"/>
                  <a:gd name="T23" fmla="*/ 5 h 155"/>
                  <a:gd name="T24" fmla="*/ 10 w 267"/>
                  <a:gd name="T25" fmla="*/ 0 h 155"/>
                  <a:gd name="T26" fmla="*/ 0 w 267"/>
                  <a:gd name="T27" fmla="*/ 16 h 155"/>
                  <a:gd name="T28" fmla="*/ 12 w 267"/>
                  <a:gd name="T29" fmla="*/ 33 h 155"/>
                  <a:gd name="T30" fmla="*/ 23 w 267"/>
                  <a:gd name="T31" fmla="*/ 47 h 155"/>
                  <a:gd name="T32" fmla="*/ 20 w 267"/>
                  <a:gd name="T33" fmla="*/ 68 h 155"/>
                  <a:gd name="T34" fmla="*/ 8 w 267"/>
                  <a:gd name="T35" fmla="*/ 80 h 155"/>
                  <a:gd name="T36" fmla="*/ 2 w 267"/>
                  <a:gd name="T37" fmla="*/ 95 h 155"/>
                  <a:gd name="T38" fmla="*/ 8 w 267"/>
                  <a:gd name="T39" fmla="*/ 104 h 155"/>
                  <a:gd name="T40" fmla="*/ 13 w 267"/>
                  <a:gd name="T41" fmla="*/ 112 h 155"/>
                  <a:gd name="T42" fmla="*/ 33 w 267"/>
                  <a:gd name="T43" fmla="*/ 139 h 155"/>
                  <a:gd name="T44" fmla="*/ 41 w 267"/>
                  <a:gd name="T45" fmla="*/ 154 h 155"/>
                  <a:gd name="T46" fmla="*/ 73 w 267"/>
                  <a:gd name="T47" fmla="*/ 150 h 155"/>
                  <a:gd name="T48" fmla="*/ 97 w 267"/>
                  <a:gd name="T49" fmla="*/ 135 h 155"/>
                  <a:gd name="T50" fmla="*/ 123 w 267"/>
                  <a:gd name="T51" fmla="*/ 146 h 155"/>
                  <a:gd name="T52" fmla="*/ 145 w 267"/>
                  <a:gd name="T53" fmla="*/ 146 h 155"/>
                  <a:gd name="T54" fmla="*/ 171 w 267"/>
                  <a:gd name="T55" fmla="*/ 148 h 155"/>
                  <a:gd name="T56" fmla="*/ 179 w 267"/>
                  <a:gd name="T57" fmla="*/ 129 h 155"/>
                  <a:gd name="T58" fmla="*/ 208 w 267"/>
                  <a:gd name="T59" fmla="*/ 116 h 155"/>
                  <a:gd name="T60" fmla="*/ 226 w 267"/>
                  <a:gd name="T61" fmla="*/ 119 h 155"/>
                  <a:gd name="T62" fmla="*/ 248 w 267"/>
                  <a:gd name="T63" fmla="*/ 11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155">
                    <a:moveTo>
                      <a:pt x="248" y="115"/>
                    </a:moveTo>
                    <a:cubicBezTo>
                      <a:pt x="225" y="87"/>
                      <a:pt x="225" y="87"/>
                      <a:pt x="225" y="87"/>
                    </a:cubicBezTo>
                    <a:cubicBezTo>
                      <a:pt x="225" y="87"/>
                      <a:pt x="235" y="82"/>
                      <a:pt x="239" y="75"/>
                    </a:cubicBezTo>
                    <a:cubicBezTo>
                      <a:pt x="243" y="68"/>
                      <a:pt x="232" y="54"/>
                      <a:pt x="241" y="47"/>
                    </a:cubicBezTo>
                    <a:cubicBezTo>
                      <a:pt x="250" y="40"/>
                      <a:pt x="267" y="44"/>
                      <a:pt x="267" y="44"/>
                    </a:cubicBezTo>
                    <a:cubicBezTo>
                      <a:pt x="267" y="44"/>
                      <a:pt x="265" y="35"/>
                      <a:pt x="264" y="23"/>
                    </a:cubicBezTo>
                    <a:cubicBezTo>
                      <a:pt x="257" y="24"/>
                      <a:pt x="248" y="24"/>
                      <a:pt x="245" y="22"/>
                    </a:cubicBezTo>
                    <a:cubicBezTo>
                      <a:pt x="240" y="19"/>
                      <a:pt x="237" y="12"/>
                      <a:pt x="237" y="12"/>
                    </a:cubicBezTo>
                    <a:cubicBezTo>
                      <a:pt x="237" y="12"/>
                      <a:pt x="228" y="10"/>
                      <a:pt x="219" y="10"/>
                    </a:cubicBezTo>
                    <a:cubicBezTo>
                      <a:pt x="210" y="10"/>
                      <a:pt x="203" y="2"/>
                      <a:pt x="194" y="2"/>
                    </a:cubicBezTo>
                    <a:cubicBezTo>
                      <a:pt x="185" y="2"/>
                      <a:pt x="188" y="8"/>
                      <a:pt x="188" y="8"/>
                    </a:cubicBezTo>
                    <a:cubicBezTo>
                      <a:pt x="169" y="6"/>
                      <a:pt x="169" y="6"/>
                      <a:pt x="169" y="6"/>
                    </a:cubicBezTo>
                    <a:cubicBezTo>
                      <a:pt x="170" y="11"/>
                      <a:pt x="170" y="11"/>
                      <a:pt x="170" y="11"/>
                    </a:cubicBezTo>
                    <a:cubicBezTo>
                      <a:pt x="170" y="11"/>
                      <a:pt x="164" y="10"/>
                      <a:pt x="157" y="12"/>
                    </a:cubicBezTo>
                    <a:cubicBezTo>
                      <a:pt x="150" y="14"/>
                      <a:pt x="151" y="30"/>
                      <a:pt x="140" y="29"/>
                    </a:cubicBezTo>
                    <a:cubicBezTo>
                      <a:pt x="129" y="28"/>
                      <a:pt x="118" y="23"/>
                      <a:pt x="118" y="23"/>
                    </a:cubicBezTo>
                    <a:cubicBezTo>
                      <a:pt x="105" y="22"/>
                      <a:pt x="105" y="22"/>
                      <a:pt x="105" y="22"/>
                    </a:cubicBezTo>
                    <a:cubicBezTo>
                      <a:pt x="92" y="17"/>
                      <a:pt x="92" y="17"/>
                      <a:pt x="92" y="17"/>
                    </a:cubicBezTo>
                    <a:cubicBezTo>
                      <a:pt x="92" y="17"/>
                      <a:pt x="97" y="26"/>
                      <a:pt x="84" y="26"/>
                    </a:cubicBezTo>
                    <a:cubicBezTo>
                      <a:pt x="71" y="26"/>
                      <a:pt x="62" y="21"/>
                      <a:pt x="62" y="21"/>
                    </a:cubicBezTo>
                    <a:cubicBezTo>
                      <a:pt x="46" y="14"/>
                      <a:pt x="46" y="14"/>
                      <a:pt x="46" y="14"/>
                    </a:cubicBezTo>
                    <a:cubicBezTo>
                      <a:pt x="39" y="21"/>
                      <a:pt x="39" y="21"/>
                      <a:pt x="39" y="21"/>
                    </a:cubicBezTo>
                    <a:cubicBezTo>
                      <a:pt x="39" y="21"/>
                      <a:pt x="22" y="22"/>
                      <a:pt x="22" y="18"/>
                    </a:cubicBezTo>
                    <a:cubicBezTo>
                      <a:pt x="22" y="14"/>
                      <a:pt x="31" y="9"/>
                      <a:pt x="29" y="5"/>
                    </a:cubicBezTo>
                    <a:cubicBezTo>
                      <a:pt x="27" y="1"/>
                      <a:pt x="17" y="1"/>
                      <a:pt x="17" y="1"/>
                    </a:cubicBezTo>
                    <a:cubicBezTo>
                      <a:pt x="10" y="0"/>
                      <a:pt x="10" y="0"/>
                      <a:pt x="10" y="0"/>
                    </a:cubicBezTo>
                    <a:cubicBezTo>
                      <a:pt x="9" y="8"/>
                      <a:pt x="9" y="8"/>
                      <a:pt x="9" y="8"/>
                    </a:cubicBezTo>
                    <a:cubicBezTo>
                      <a:pt x="0" y="16"/>
                      <a:pt x="0" y="16"/>
                      <a:pt x="0" y="16"/>
                    </a:cubicBezTo>
                    <a:cubicBezTo>
                      <a:pt x="3" y="28"/>
                      <a:pt x="3" y="28"/>
                      <a:pt x="3" y="28"/>
                    </a:cubicBezTo>
                    <a:cubicBezTo>
                      <a:pt x="12" y="33"/>
                      <a:pt x="12" y="33"/>
                      <a:pt x="12" y="33"/>
                    </a:cubicBezTo>
                    <a:cubicBezTo>
                      <a:pt x="10" y="40"/>
                      <a:pt x="10" y="40"/>
                      <a:pt x="10" y="40"/>
                    </a:cubicBezTo>
                    <a:cubicBezTo>
                      <a:pt x="23" y="47"/>
                      <a:pt x="23" y="47"/>
                      <a:pt x="23" y="47"/>
                    </a:cubicBezTo>
                    <a:cubicBezTo>
                      <a:pt x="23" y="47"/>
                      <a:pt x="28" y="53"/>
                      <a:pt x="26" y="57"/>
                    </a:cubicBezTo>
                    <a:cubicBezTo>
                      <a:pt x="24" y="61"/>
                      <a:pt x="20" y="68"/>
                      <a:pt x="20" y="68"/>
                    </a:cubicBezTo>
                    <a:cubicBezTo>
                      <a:pt x="20" y="68"/>
                      <a:pt x="9" y="65"/>
                      <a:pt x="7" y="69"/>
                    </a:cubicBezTo>
                    <a:cubicBezTo>
                      <a:pt x="5" y="73"/>
                      <a:pt x="8" y="80"/>
                      <a:pt x="8" y="80"/>
                    </a:cubicBezTo>
                    <a:cubicBezTo>
                      <a:pt x="8" y="80"/>
                      <a:pt x="11" y="88"/>
                      <a:pt x="10" y="91"/>
                    </a:cubicBezTo>
                    <a:cubicBezTo>
                      <a:pt x="9" y="93"/>
                      <a:pt x="5" y="94"/>
                      <a:pt x="2" y="95"/>
                    </a:cubicBezTo>
                    <a:cubicBezTo>
                      <a:pt x="2" y="95"/>
                      <a:pt x="2" y="95"/>
                      <a:pt x="2" y="95"/>
                    </a:cubicBezTo>
                    <a:cubicBezTo>
                      <a:pt x="8" y="104"/>
                      <a:pt x="8" y="104"/>
                      <a:pt x="8" y="104"/>
                    </a:cubicBezTo>
                    <a:cubicBezTo>
                      <a:pt x="13" y="104"/>
                      <a:pt x="13" y="104"/>
                      <a:pt x="13" y="104"/>
                    </a:cubicBezTo>
                    <a:cubicBezTo>
                      <a:pt x="13" y="112"/>
                      <a:pt x="13" y="112"/>
                      <a:pt x="13" y="112"/>
                    </a:cubicBezTo>
                    <a:cubicBezTo>
                      <a:pt x="25" y="121"/>
                      <a:pt x="25" y="121"/>
                      <a:pt x="25" y="121"/>
                    </a:cubicBezTo>
                    <a:cubicBezTo>
                      <a:pt x="25" y="121"/>
                      <a:pt x="36" y="128"/>
                      <a:pt x="33" y="139"/>
                    </a:cubicBezTo>
                    <a:cubicBezTo>
                      <a:pt x="32" y="142"/>
                      <a:pt x="31" y="145"/>
                      <a:pt x="29" y="147"/>
                    </a:cubicBezTo>
                    <a:cubicBezTo>
                      <a:pt x="32" y="150"/>
                      <a:pt x="36" y="154"/>
                      <a:pt x="41" y="154"/>
                    </a:cubicBezTo>
                    <a:cubicBezTo>
                      <a:pt x="49" y="154"/>
                      <a:pt x="59" y="144"/>
                      <a:pt x="59" y="144"/>
                    </a:cubicBezTo>
                    <a:cubicBezTo>
                      <a:pt x="73" y="150"/>
                      <a:pt x="73" y="150"/>
                      <a:pt x="73" y="150"/>
                    </a:cubicBezTo>
                    <a:cubicBezTo>
                      <a:pt x="79" y="138"/>
                      <a:pt x="79" y="138"/>
                      <a:pt x="79" y="138"/>
                    </a:cubicBezTo>
                    <a:cubicBezTo>
                      <a:pt x="97" y="135"/>
                      <a:pt x="97" y="135"/>
                      <a:pt x="97" y="135"/>
                    </a:cubicBezTo>
                    <a:cubicBezTo>
                      <a:pt x="97" y="135"/>
                      <a:pt x="101" y="149"/>
                      <a:pt x="109" y="149"/>
                    </a:cubicBezTo>
                    <a:cubicBezTo>
                      <a:pt x="117" y="149"/>
                      <a:pt x="123" y="146"/>
                      <a:pt x="123" y="146"/>
                    </a:cubicBezTo>
                    <a:cubicBezTo>
                      <a:pt x="123" y="146"/>
                      <a:pt x="124" y="155"/>
                      <a:pt x="132" y="154"/>
                    </a:cubicBezTo>
                    <a:cubicBezTo>
                      <a:pt x="140" y="153"/>
                      <a:pt x="145" y="146"/>
                      <a:pt x="145" y="146"/>
                    </a:cubicBezTo>
                    <a:cubicBezTo>
                      <a:pt x="155" y="154"/>
                      <a:pt x="155" y="154"/>
                      <a:pt x="155" y="154"/>
                    </a:cubicBezTo>
                    <a:cubicBezTo>
                      <a:pt x="155" y="154"/>
                      <a:pt x="169" y="153"/>
                      <a:pt x="171" y="148"/>
                    </a:cubicBezTo>
                    <a:cubicBezTo>
                      <a:pt x="173" y="143"/>
                      <a:pt x="167" y="135"/>
                      <a:pt x="167" y="135"/>
                    </a:cubicBezTo>
                    <a:cubicBezTo>
                      <a:pt x="179" y="129"/>
                      <a:pt x="179" y="129"/>
                      <a:pt x="179" y="129"/>
                    </a:cubicBezTo>
                    <a:cubicBezTo>
                      <a:pt x="188" y="114"/>
                      <a:pt x="188" y="114"/>
                      <a:pt x="188" y="114"/>
                    </a:cubicBezTo>
                    <a:cubicBezTo>
                      <a:pt x="208" y="116"/>
                      <a:pt x="208" y="116"/>
                      <a:pt x="208" y="116"/>
                    </a:cubicBezTo>
                    <a:cubicBezTo>
                      <a:pt x="216" y="106"/>
                      <a:pt x="216" y="106"/>
                      <a:pt x="216" y="106"/>
                    </a:cubicBezTo>
                    <a:cubicBezTo>
                      <a:pt x="226" y="119"/>
                      <a:pt x="226" y="119"/>
                      <a:pt x="226" y="119"/>
                    </a:cubicBezTo>
                    <a:cubicBezTo>
                      <a:pt x="226" y="119"/>
                      <a:pt x="240" y="121"/>
                      <a:pt x="249" y="120"/>
                    </a:cubicBezTo>
                    <a:cubicBezTo>
                      <a:pt x="248" y="117"/>
                      <a:pt x="248" y="115"/>
                      <a:pt x="248" y="115"/>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73" name="Freeform 95">
                <a:extLst>
                  <a:ext uri="{FF2B5EF4-FFF2-40B4-BE49-F238E27FC236}">
                    <a16:creationId xmlns:a16="http://schemas.microsoft.com/office/drawing/2014/main" id="{D867969D-F45F-4A21-842D-888AB0088E5E}"/>
                  </a:ext>
                </a:extLst>
              </p:cNvPr>
              <p:cNvSpPr>
                <a:spLocks/>
              </p:cNvSpPr>
              <p:nvPr>
                <p:custDataLst>
                  <p:tags r:id="rId54"/>
                </p:custDataLst>
              </p:nvPr>
            </p:nvSpPr>
            <p:spPr bwMode="gray">
              <a:xfrm>
                <a:off x="5043459" y="3119450"/>
                <a:ext cx="68262" cy="49213"/>
              </a:xfrm>
              <a:custGeom>
                <a:avLst/>
                <a:gdLst>
                  <a:gd name="T0" fmla="*/ 100 w 111"/>
                  <a:gd name="T1" fmla="*/ 26 h 87"/>
                  <a:gd name="T2" fmla="*/ 88 w 111"/>
                  <a:gd name="T3" fmla="*/ 17 h 87"/>
                  <a:gd name="T4" fmla="*/ 88 w 111"/>
                  <a:gd name="T5" fmla="*/ 9 h 87"/>
                  <a:gd name="T6" fmla="*/ 83 w 111"/>
                  <a:gd name="T7" fmla="*/ 9 h 87"/>
                  <a:gd name="T8" fmla="*/ 77 w 111"/>
                  <a:gd name="T9" fmla="*/ 0 h 87"/>
                  <a:gd name="T10" fmla="*/ 76 w 111"/>
                  <a:gd name="T11" fmla="*/ 0 h 87"/>
                  <a:gd name="T12" fmla="*/ 50 w 111"/>
                  <a:gd name="T13" fmla="*/ 2 h 87"/>
                  <a:gd name="T14" fmla="*/ 46 w 111"/>
                  <a:gd name="T15" fmla="*/ 6 h 87"/>
                  <a:gd name="T16" fmla="*/ 33 w 111"/>
                  <a:gd name="T17" fmla="*/ 6 h 87"/>
                  <a:gd name="T18" fmla="*/ 30 w 111"/>
                  <a:gd name="T19" fmla="*/ 14 h 87"/>
                  <a:gd name="T20" fmla="*/ 18 w 111"/>
                  <a:gd name="T21" fmla="*/ 14 h 87"/>
                  <a:gd name="T22" fmla="*/ 13 w 111"/>
                  <a:gd name="T23" fmla="*/ 22 h 87"/>
                  <a:gd name="T24" fmla="*/ 2 w 111"/>
                  <a:gd name="T25" fmla="*/ 26 h 87"/>
                  <a:gd name="T26" fmla="*/ 0 w 111"/>
                  <a:gd name="T27" fmla="*/ 41 h 87"/>
                  <a:gd name="T28" fmla="*/ 5 w 111"/>
                  <a:gd name="T29" fmla="*/ 52 h 87"/>
                  <a:gd name="T30" fmla="*/ 3 w 111"/>
                  <a:gd name="T31" fmla="*/ 64 h 87"/>
                  <a:gd name="T32" fmla="*/ 11 w 111"/>
                  <a:gd name="T33" fmla="*/ 70 h 87"/>
                  <a:gd name="T34" fmla="*/ 11 w 111"/>
                  <a:gd name="T35" fmla="*/ 84 h 87"/>
                  <a:gd name="T36" fmla="*/ 29 w 111"/>
                  <a:gd name="T37" fmla="*/ 77 h 87"/>
                  <a:gd name="T38" fmla="*/ 31 w 111"/>
                  <a:gd name="T39" fmla="*/ 84 h 87"/>
                  <a:gd name="T40" fmla="*/ 36 w 111"/>
                  <a:gd name="T41" fmla="*/ 79 h 87"/>
                  <a:gd name="T42" fmla="*/ 60 w 111"/>
                  <a:gd name="T43" fmla="*/ 81 h 87"/>
                  <a:gd name="T44" fmla="*/ 63 w 111"/>
                  <a:gd name="T45" fmla="*/ 70 h 87"/>
                  <a:gd name="T46" fmla="*/ 90 w 111"/>
                  <a:gd name="T47" fmla="*/ 66 h 87"/>
                  <a:gd name="T48" fmla="*/ 108 w 111"/>
                  <a:gd name="T49" fmla="*/ 44 h 87"/>
                  <a:gd name="T50" fmla="*/ 100 w 111"/>
                  <a:gd name="T51" fmla="*/ 2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87">
                    <a:moveTo>
                      <a:pt x="100" y="26"/>
                    </a:moveTo>
                    <a:cubicBezTo>
                      <a:pt x="88" y="17"/>
                      <a:pt x="88" y="17"/>
                      <a:pt x="88" y="17"/>
                    </a:cubicBezTo>
                    <a:cubicBezTo>
                      <a:pt x="88" y="9"/>
                      <a:pt x="88" y="9"/>
                      <a:pt x="88" y="9"/>
                    </a:cubicBezTo>
                    <a:cubicBezTo>
                      <a:pt x="83" y="9"/>
                      <a:pt x="83" y="9"/>
                      <a:pt x="83" y="9"/>
                    </a:cubicBezTo>
                    <a:cubicBezTo>
                      <a:pt x="77" y="0"/>
                      <a:pt x="77" y="0"/>
                      <a:pt x="77" y="0"/>
                    </a:cubicBezTo>
                    <a:cubicBezTo>
                      <a:pt x="77" y="0"/>
                      <a:pt x="76" y="0"/>
                      <a:pt x="76" y="0"/>
                    </a:cubicBezTo>
                    <a:cubicBezTo>
                      <a:pt x="50" y="2"/>
                      <a:pt x="50" y="2"/>
                      <a:pt x="50" y="2"/>
                    </a:cubicBezTo>
                    <a:cubicBezTo>
                      <a:pt x="46" y="6"/>
                      <a:pt x="46" y="6"/>
                      <a:pt x="46" y="6"/>
                    </a:cubicBezTo>
                    <a:cubicBezTo>
                      <a:pt x="33" y="6"/>
                      <a:pt x="33" y="6"/>
                      <a:pt x="33" y="6"/>
                    </a:cubicBezTo>
                    <a:cubicBezTo>
                      <a:pt x="33" y="6"/>
                      <a:pt x="37" y="14"/>
                      <a:pt x="30" y="14"/>
                    </a:cubicBezTo>
                    <a:cubicBezTo>
                      <a:pt x="23" y="14"/>
                      <a:pt x="18" y="14"/>
                      <a:pt x="18" y="14"/>
                    </a:cubicBezTo>
                    <a:cubicBezTo>
                      <a:pt x="13" y="22"/>
                      <a:pt x="13" y="22"/>
                      <a:pt x="13" y="22"/>
                    </a:cubicBezTo>
                    <a:cubicBezTo>
                      <a:pt x="2" y="26"/>
                      <a:pt x="2" y="26"/>
                      <a:pt x="2" y="26"/>
                    </a:cubicBezTo>
                    <a:cubicBezTo>
                      <a:pt x="0" y="41"/>
                      <a:pt x="0" y="41"/>
                      <a:pt x="0" y="41"/>
                    </a:cubicBezTo>
                    <a:cubicBezTo>
                      <a:pt x="5" y="52"/>
                      <a:pt x="5" y="52"/>
                      <a:pt x="5" y="52"/>
                    </a:cubicBezTo>
                    <a:cubicBezTo>
                      <a:pt x="5" y="52"/>
                      <a:pt x="3" y="59"/>
                      <a:pt x="3" y="64"/>
                    </a:cubicBezTo>
                    <a:cubicBezTo>
                      <a:pt x="3" y="69"/>
                      <a:pt x="11" y="70"/>
                      <a:pt x="11" y="70"/>
                    </a:cubicBezTo>
                    <a:cubicBezTo>
                      <a:pt x="11" y="84"/>
                      <a:pt x="11" y="84"/>
                      <a:pt x="11" y="84"/>
                    </a:cubicBezTo>
                    <a:cubicBezTo>
                      <a:pt x="29" y="77"/>
                      <a:pt x="29" y="77"/>
                      <a:pt x="29" y="77"/>
                    </a:cubicBezTo>
                    <a:cubicBezTo>
                      <a:pt x="29" y="77"/>
                      <a:pt x="30" y="80"/>
                      <a:pt x="31" y="84"/>
                    </a:cubicBezTo>
                    <a:cubicBezTo>
                      <a:pt x="36" y="79"/>
                      <a:pt x="36" y="79"/>
                      <a:pt x="36" y="79"/>
                    </a:cubicBezTo>
                    <a:cubicBezTo>
                      <a:pt x="36" y="79"/>
                      <a:pt x="56" y="87"/>
                      <a:pt x="60" y="81"/>
                    </a:cubicBezTo>
                    <a:cubicBezTo>
                      <a:pt x="64" y="75"/>
                      <a:pt x="63" y="70"/>
                      <a:pt x="63" y="70"/>
                    </a:cubicBezTo>
                    <a:cubicBezTo>
                      <a:pt x="63" y="70"/>
                      <a:pt x="82" y="74"/>
                      <a:pt x="90" y="66"/>
                    </a:cubicBezTo>
                    <a:cubicBezTo>
                      <a:pt x="98" y="58"/>
                      <a:pt x="105" y="55"/>
                      <a:pt x="108" y="44"/>
                    </a:cubicBezTo>
                    <a:cubicBezTo>
                      <a:pt x="111" y="33"/>
                      <a:pt x="100" y="26"/>
                      <a:pt x="100" y="26"/>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74" name="Freeform 96">
                <a:extLst>
                  <a:ext uri="{FF2B5EF4-FFF2-40B4-BE49-F238E27FC236}">
                    <a16:creationId xmlns:a16="http://schemas.microsoft.com/office/drawing/2014/main" id="{CC26AC7E-0DFD-40C5-A105-7306C80DF9C5}"/>
                  </a:ext>
                </a:extLst>
              </p:cNvPr>
              <p:cNvSpPr>
                <a:spLocks/>
              </p:cNvSpPr>
              <p:nvPr>
                <p:custDataLst>
                  <p:tags r:id="rId55"/>
                </p:custDataLst>
              </p:nvPr>
            </p:nvSpPr>
            <p:spPr bwMode="gray">
              <a:xfrm>
                <a:off x="5191094" y="2941649"/>
                <a:ext cx="85725" cy="87312"/>
              </a:xfrm>
              <a:custGeom>
                <a:avLst/>
                <a:gdLst>
                  <a:gd name="T0" fmla="*/ 0 w 143"/>
                  <a:gd name="T1" fmla="*/ 11 h 158"/>
                  <a:gd name="T2" fmla="*/ 24 w 143"/>
                  <a:gd name="T3" fmla="*/ 30 h 158"/>
                  <a:gd name="T4" fmla="*/ 23 w 143"/>
                  <a:gd name="T5" fmla="*/ 40 h 158"/>
                  <a:gd name="T6" fmla="*/ 38 w 143"/>
                  <a:gd name="T7" fmla="*/ 49 h 158"/>
                  <a:gd name="T8" fmla="*/ 44 w 143"/>
                  <a:gd name="T9" fmla="*/ 63 h 158"/>
                  <a:gd name="T10" fmla="*/ 52 w 143"/>
                  <a:gd name="T11" fmla="*/ 64 h 158"/>
                  <a:gd name="T12" fmla="*/ 54 w 143"/>
                  <a:gd name="T13" fmla="*/ 74 h 158"/>
                  <a:gd name="T14" fmla="*/ 71 w 143"/>
                  <a:gd name="T15" fmla="*/ 84 h 158"/>
                  <a:gd name="T16" fmla="*/ 69 w 143"/>
                  <a:gd name="T17" fmla="*/ 106 h 158"/>
                  <a:gd name="T18" fmla="*/ 74 w 143"/>
                  <a:gd name="T19" fmla="*/ 109 h 158"/>
                  <a:gd name="T20" fmla="*/ 67 w 143"/>
                  <a:gd name="T21" fmla="*/ 129 h 158"/>
                  <a:gd name="T22" fmla="*/ 73 w 143"/>
                  <a:gd name="T23" fmla="*/ 143 h 158"/>
                  <a:gd name="T24" fmla="*/ 75 w 143"/>
                  <a:gd name="T25" fmla="*/ 158 h 158"/>
                  <a:gd name="T26" fmla="*/ 92 w 143"/>
                  <a:gd name="T27" fmla="*/ 155 h 158"/>
                  <a:gd name="T28" fmla="*/ 88 w 143"/>
                  <a:gd name="T29" fmla="*/ 141 h 158"/>
                  <a:gd name="T30" fmla="*/ 104 w 143"/>
                  <a:gd name="T31" fmla="*/ 129 h 158"/>
                  <a:gd name="T32" fmla="*/ 113 w 143"/>
                  <a:gd name="T33" fmla="*/ 120 h 158"/>
                  <a:gd name="T34" fmla="*/ 97 w 143"/>
                  <a:gd name="T35" fmla="*/ 106 h 158"/>
                  <a:gd name="T36" fmla="*/ 113 w 143"/>
                  <a:gd name="T37" fmla="*/ 102 h 158"/>
                  <a:gd name="T38" fmla="*/ 126 w 143"/>
                  <a:gd name="T39" fmla="*/ 109 h 158"/>
                  <a:gd name="T40" fmla="*/ 143 w 143"/>
                  <a:gd name="T41" fmla="*/ 104 h 158"/>
                  <a:gd name="T42" fmla="*/ 141 w 143"/>
                  <a:gd name="T43" fmla="*/ 83 h 158"/>
                  <a:gd name="T44" fmla="*/ 120 w 143"/>
                  <a:gd name="T45" fmla="*/ 77 h 158"/>
                  <a:gd name="T46" fmla="*/ 122 w 143"/>
                  <a:gd name="T47" fmla="*/ 61 h 158"/>
                  <a:gd name="T48" fmla="*/ 117 w 143"/>
                  <a:gd name="T49" fmla="*/ 56 h 158"/>
                  <a:gd name="T50" fmla="*/ 105 w 143"/>
                  <a:gd name="T51" fmla="*/ 58 h 158"/>
                  <a:gd name="T52" fmla="*/ 105 w 143"/>
                  <a:gd name="T53" fmla="*/ 43 h 158"/>
                  <a:gd name="T54" fmla="*/ 103 w 143"/>
                  <a:gd name="T55" fmla="*/ 26 h 158"/>
                  <a:gd name="T56" fmla="*/ 83 w 143"/>
                  <a:gd name="T57" fmla="*/ 24 h 158"/>
                  <a:gd name="T58" fmla="*/ 78 w 143"/>
                  <a:gd name="T59" fmla="*/ 13 h 158"/>
                  <a:gd name="T60" fmla="*/ 57 w 143"/>
                  <a:gd name="T61" fmla="*/ 12 h 158"/>
                  <a:gd name="T62" fmla="*/ 52 w 143"/>
                  <a:gd name="T63" fmla="*/ 7 h 158"/>
                  <a:gd name="T64" fmla="*/ 48 w 143"/>
                  <a:gd name="T65" fmla="*/ 9 h 158"/>
                  <a:gd name="T66" fmla="*/ 33 w 143"/>
                  <a:gd name="T67" fmla="*/ 1 h 158"/>
                  <a:gd name="T68" fmla="*/ 18 w 143"/>
                  <a:gd name="T69" fmla="*/ 8 h 158"/>
                  <a:gd name="T70" fmla="*/ 2 w 143"/>
                  <a:gd name="T71" fmla="*/ 3 h 158"/>
                  <a:gd name="T72" fmla="*/ 0 w 143"/>
                  <a:gd name="T73" fmla="*/ 11 h 158"/>
                  <a:gd name="T74" fmla="*/ 0 w 143"/>
                  <a:gd name="T75" fmla="*/ 1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3" h="158">
                    <a:moveTo>
                      <a:pt x="0" y="11"/>
                    </a:moveTo>
                    <a:cubicBezTo>
                      <a:pt x="17" y="14"/>
                      <a:pt x="24" y="30"/>
                      <a:pt x="24" y="30"/>
                    </a:cubicBezTo>
                    <a:cubicBezTo>
                      <a:pt x="23" y="40"/>
                      <a:pt x="23" y="40"/>
                      <a:pt x="23" y="40"/>
                    </a:cubicBezTo>
                    <a:cubicBezTo>
                      <a:pt x="38" y="49"/>
                      <a:pt x="38" y="49"/>
                      <a:pt x="38" y="49"/>
                    </a:cubicBezTo>
                    <a:cubicBezTo>
                      <a:pt x="44" y="63"/>
                      <a:pt x="44" y="63"/>
                      <a:pt x="44" y="63"/>
                    </a:cubicBezTo>
                    <a:cubicBezTo>
                      <a:pt x="52" y="64"/>
                      <a:pt x="52" y="64"/>
                      <a:pt x="52" y="64"/>
                    </a:cubicBezTo>
                    <a:cubicBezTo>
                      <a:pt x="54" y="74"/>
                      <a:pt x="54" y="74"/>
                      <a:pt x="54" y="74"/>
                    </a:cubicBezTo>
                    <a:cubicBezTo>
                      <a:pt x="54" y="74"/>
                      <a:pt x="70" y="75"/>
                      <a:pt x="71" y="84"/>
                    </a:cubicBezTo>
                    <a:cubicBezTo>
                      <a:pt x="72" y="93"/>
                      <a:pt x="69" y="106"/>
                      <a:pt x="69" y="106"/>
                    </a:cubicBezTo>
                    <a:cubicBezTo>
                      <a:pt x="74" y="109"/>
                      <a:pt x="74" y="109"/>
                      <a:pt x="74" y="109"/>
                    </a:cubicBezTo>
                    <a:cubicBezTo>
                      <a:pt x="74" y="109"/>
                      <a:pt x="67" y="122"/>
                      <a:pt x="67" y="129"/>
                    </a:cubicBezTo>
                    <a:cubicBezTo>
                      <a:pt x="67" y="136"/>
                      <a:pt x="73" y="143"/>
                      <a:pt x="73" y="143"/>
                    </a:cubicBezTo>
                    <a:cubicBezTo>
                      <a:pt x="73" y="143"/>
                      <a:pt x="72" y="151"/>
                      <a:pt x="75" y="158"/>
                    </a:cubicBezTo>
                    <a:cubicBezTo>
                      <a:pt x="92" y="155"/>
                      <a:pt x="92" y="155"/>
                      <a:pt x="92" y="155"/>
                    </a:cubicBezTo>
                    <a:cubicBezTo>
                      <a:pt x="92" y="155"/>
                      <a:pt x="88" y="145"/>
                      <a:pt x="88" y="141"/>
                    </a:cubicBezTo>
                    <a:cubicBezTo>
                      <a:pt x="88" y="137"/>
                      <a:pt x="104" y="129"/>
                      <a:pt x="104" y="129"/>
                    </a:cubicBezTo>
                    <a:cubicBezTo>
                      <a:pt x="113" y="120"/>
                      <a:pt x="113" y="120"/>
                      <a:pt x="113" y="120"/>
                    </a:cubicBezTo>
                    <a:cubicBezTo>
                      <a:pt x="113" y="120"/>
                      <a:pt x="98" y="110"/>
                      <a:pt x="97" y="106"/>
                    </a:cubicBezTo>
                    <a:cubicBezTo>
                      <a:pt x="96" y="102"/>
                      <a:pt x="113" y="102"/>
                      <a:pt x="113" y="102"/>
                    </a:cubicBezTo>
                    <a:cubicBezTo>
                      <a:pt x="113" y="102"/>
                      <a:pt x="119" y="110"/>
                      <a:pt x="126" y="109"/>
                    </a:cubicBezTo>
                    <a:cubicBezTo>
                      <a:pt x="133" y="108"/>
                      <a:pt x="143" y="104"/>
                      <a:pt x="143" y="104"/>
                    </a:cubicBezTo>
                    <a:cubicBezTo>
                      <a:pt x="143" y="104"/>
                      <a:pt x="142" y="90"/>
                      <a:pt x="141" y="83"/>
                    </a:cubicBezTo>
                    <a:cubicBezTo>
                      <a:pt x="140" y="76"/>
                      <a:pt x="127" y="79"/>
                      <a:pt x="120" y="77"/>
                    </a:cubicBezTo>
                    <a:cubicBezTo>
                      <a:pt x="113" y="75"/>
                      <a:pt x="122" y="61"/>
                      <a:pt x="122" y="61"/>
                    </a:cubicBezTo>
                    <a:cubicBezTo>
                      <a:pt x="117" y="56"/>
                      <a:pt x="117" y="56"/>
                      <a:pt x="117" y="56"/>
                    </a:cubicBezTo>
                    <a:cubicBezTo>
                      <a:pt x="117" y="56"/>
                      <a:pt x="108" y="58"/>
                      <a:pt x="105" y="58"/>
                    </a:cubicBezTo>
                    <a:cubicBezTo>
                      <a:pt x="102" y="58"/>
                      <a:pt x="105" y="43"/>
                      <a:pt x="105" y="43"/>
                    </a:cubicBezTo>
                    <a:cubicBezTo>
                      <a:pt x="105" y="43"/>
                      <a:pt x="114" y="34"/>
                      <a:pt x="103" y="26"/>
                    </a:cubicBezTo>
                    <a:cubicBezTo>
                      <a:pt x="92" y="18"/>
                      <a:pt x="83" y="24"/>
                      <a:pt x="83" y="24"/>
                    </a:cubicBezTo>
                    <a:cubicBezTo>
                      <a:pt x="83" y="24"/>
                      <a:pt x="83" y="17"/>
                      <a:pt x="78" y="13"/>
                    </a:cubicBezTo>
                    <a:cubicBezTo>
                      <a:pt x="73" y="9"/>
                      <a:pt x="66" y="12"/>
                      <a:pt x="57" y="12"/>
                    </a:cubicBezTo>
                    <a:cubicBezTo>
                      <a:pt x="48" y="12"/>
                      <a:pt x="52" y="7"/>
                      <a:pt x="52" y="7"/>
                    </a:cubicBezTo>
                    <a:cubicBezTo>
                      <a:pt x="48" y="9"/>
                      <a:pt x="48" y="9"/>
                      <a:pt x="48" y="9"/>
                    </a:cubicBezTo>
                    <a:cubicBezTo>
                      <a:pt x="48" y="9"/>
                      <a:pt x="42" y="0"/>
                      <a:pt x="33" y="1"/>
                    </a:cubicBezTo>
                    <a:cubicBezTo>
                      <a:pt x="24" y="2"/>
                      <a:pt x="24" y="7"/>
                      <a:pt x="18" y="8"/>
                    </a:cubicBezTo>
                    <a:cubicBezTo>
                      <a:pt x="12" y="9"/>
                      <a:pt x="2" y="3"/>
                      <a:pt x="2" y="3"/>
                    </a:cubicBezTo>
                    <a:cubicBezTo>
                      <a:pt x="0" y="11"/>
                      <a:pt x="0" y="11"/>
                      <a:pt x="0" y="11"/>
                    </a:cubicBezTo>
                    <a:cubicBezTo>
                      <a:pt x="0" y="11"/>
                      <a:pt x="0" y="11"/>
                      <a:pt x="0" y="11"/>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75" name="Freeform 97">
                <a:extLst>
                  <a:ext uri="{FF2B5EF4-FFF2-40B4-BE49-F238E27FC236}">
                    <a16:creationId xmlns:a16="http://schemas.microsoft.com/office/drawing/2014/main" id="{F7368082-C599-4D1A-866F-E0A408EE5BB0}"/>
                  </a:ext>
                </a:extLst>
              </p:cNvPr>
              <p:cNvSpPr>
                <a:spLocks/>
              </p:cNvSpPr>
              <p:nvPr>
                <p:custDataLst>
                  <p:tags r:id="rId56"/>
                </p:custDataLst>
              </p:nvPr>
            </p:nvSpPr>
            <p:spPr bwMode="gray">
              <a:xfrm>
                <a:off x="4752947" y="2976574"/>
                <a:ext cx="9525" cy="7937"/>
              </a:xfrm>
              <a:custGeom>
                <a:avLst/>
                <a:gdLst>
                  <a:gd name="T0" fmla="*/ 11 w 15"/>
                  <a:gd name="T1" fmla="*/ 1 h 16"/>
                  <a:gd name="T2" fmla="*/ 4 w 15"/>
                  <a:gd name="T3" fmla="*/ 14 h 16"/>
                  <a:gd name="T4" fmla="*/ 12 w 15"/>
                  <a:gd name="T5" fmla="*/ 16 h 16"/>
                  <a:gd name="T6" fmla="*/ 15 w 15"/>
                  <a:gd name="T7" fmla="*/ 16 h 16"/>
                  <a:gd name="T8" fmla="*/ 15 w 15"/>
                  <a:gd name="T9" fmla="*/ 6 h 16"/>
                  <a:gd name="T10" fmla="*/ 13 w 15"/>
                  <a:gd name="T11" fmla="*/ 0 h 16"/>
                  <a:gd name="T12" fmla="*/ 11 w 15"/>
                  <a:gd name="T13" fmla="*/ 1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11" y="1"/>
                    </a:moveTo>
                    <a:cubicBezTo>
                      <a:pt x="6" y="3"/>
                      <a:pt x="0" y="11"/>
                      <a:pt x="4" y="14"/>
                    </a:cubicBezTo>
                    <a:cubicBezTo>
                      <a:pt x="8" y="16"/>
                      <a:pt x="12" y="16"/>
                      <a:pt x="12" y="16"/>
                    </a:cubicBezTo>
                    <a:cubicBezTo>
                      <a:pt x="15" y="16"/>
                      <a:pt x="15" y="16"/>
                      <a:pt x="15" y="16"/>
                    </a:cubicBezTo>
                    <a:cubicBezTo>
                      <a:pt x="15" y="14"/>
                      <a:pt x="15" y="9"/>
                      <a:pt x="15" y="6"/>
                    </a:cubicBezTo>
                    <a:cubicBezTo>
                      <a:pt x="15" y="4"/>
                      <a:pt x="14" y="2"/>
                      <a:pt x="13" y="0"/>
                    </a:cubicBezTo>
                    <a:cubicBezTo>
                      <a:pt x="12" y="0"/>
                      <a:pt x="12" y="1"/>
                      <a:pt x="11" y="1"/>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76" name="Freeform 98">
                <a:extLst>
                  <a:ext uri="{FF2B5EF4-FFF2-40B4-BE49-F238E27FC236}">
                    <a16:creationId xmlns:a16="http://schemas.microsoft.com/office/drawing/2014/main" id="{86A197FC-2468-4306-8639-3BC45B839147}"/>
                  </a:ext>
                </a:extLst>
              </p:cNvPr>
              <p:cNvSpPr>
                <a:spLocks/>
              </p:cNvSpPr>
              <p:nvPr>
                <p:custDataLst>
                  <p:tags r:id="rId57"/>
                </p:custDataLst>
              </p:nvPr>
            </p:nvSpPr>
            <p:spPr bwMode="gray">
              <a:xfrm>
                <a:off x="5032345" y="2947999"/>
                <a:ext cx="247649" cy="138112"/>
              </a:xfrm>
              <a:custGeom>
                <a:avLst/>
                <a:gdLst>
                  <a:gd name="T0" fmla="*/ 360 w 411"/>
                  <a:gd name="T1" fmla="*/ 241 h 248"/>
                  <a:gd name="T2" fmla="*/ 379 w 411"/>
                  <a:gd name="T3" fmla="*/ 187 h 248"/>
                  <a:gd name="T4" fmla="*/ 396 w 411"/>
                  <a:gd name="T5" fmla="*/ 146 h 248"/>
                  <a:gd name="T6" fmla="*/ 353 w 411"/>
                  <a:gd name="T7" fmla="*/ 161 h 248"/>
                  <a:gd name="T8" fmla="*/ 330 w 411"/>
                  <a:gd name="T9" fmla="*/ 121 h 248"/>
                  <a:gd name="T10" fmla="*/ 332 w 411"/>
                  <a:gd name="T11" fmla="*/ 98 h 248"/>
                  <a:gd name="T12" fmla="*/ 317 w 411"/>
                  <a:gd name="T13" fmla="*/ 66 h 248"/>
                  <a:gd name="T14" fmla="*/ 307 w 411"/>
                  <a:gd name="T15" fmla="*/ 55 h 248"/>
                  <a:gd name="T16" fmla="*/ 286 w 411"/>
                  <a:gd name="T17" fmla="*/ 32 h 248"/>
                  <a:gd name="T18" fmla="*/ 263 w 411"/>
                  <a:gd name="T19" fmla="*/ 3 h 248"/>
                  <a:gd name="T20" fmla="*/ 225 w 411"/>
                  <a:gd name="T21" fmla="*/ 17 h 248"/>
                  <a:gd name="T22" fmla="*/ 204 w 411"/>
                  <a:gd name="T23" fmla="*/ 21 h 248"/>
                  <a:gd name="T24" fmla="*/ 172 w 411"/>
                  <a:gd name="T25" fmla="*/ 16 h 248"/>
                  <a:gd name="T26" fmla="*/ 145 w 411"/>
                  <a:gd name="T27" fmla="*/ 18 h 248"/>
                  <a:gd name="T28" fmla="*/ 123 w 411"/>
                  <a:gd name="T29" fmla="*/ 14 h 248"/>
                  <a:gd name="T30" fmla="*/ 90 w 411"/>
                  <a:gd name="T31" fmla="*/ 28 h 248"/>
                  <a:gd name="T32" fmla="*/ 69 w 411"/>
                  <a:gd name="T33" fmla="*/ 53 h 248"/>
                  <a:gd name="T34" fmla="*/ 46 w 411"/>
                  <a:gd name="T35" fmla="*/ 83 h 248"/>
                  <a:gd name="T36" fmla="*/ 29 w 411"/>
                  <a:gd name="T37" fmla="*/ 107 h 248"/>
                  <a:gd name="T38" fmla="*/ 16 w 411"/>
                  <a:gd name="T39" fmla="*/ 114 h 248"/>
                  <a:gd name="T40" fmla="*/ 1 w 411"/>
                  <a:gd name="T41" fmla="*/ 119 h 248"/>
                  <a:gd name="T42" fmla="*/ 22 w 411"/>
                  <a:gd name="T43" fmla="*/ 131 h 248"/>
                  <a:gd name="T44" fmla="*/ 38 w 411"/>
                  <a:gd name="T45" fmla="*/ 160 h 248"/>
                  <a:gd name="T46" fmla="*/ 51 w 411"/>
                  <a:gd name="T47" fmla="*/ 177 h 248"/>
                  <a:gd name="T48" fmla="*/ 72 w 411"/>
                  <a:gd name="T49" fmla="*/ 190 h 248"/>
                  <a:gd name="T50" fmla="*/ 94 w 411"/>
                  <a:gd name="T51" fmla="*/ 190 h 248"/>
                  <a:gd name="T52" fmla="*/ 107 w 411"/>
                  <a:gd name="T53" fmla="*/ 200 h 248"/>
                  <a:gd name="T54" fmla="*/ 107 w 411"/>
                  <a:gd name="T55" fmla="*/ 212 h 248"/>
                  <a:gd name="T56" fmla="*/ 113 w 411"/>
                  <a:gd name="T57" fmla="*/ 219 h 248"/>
                  <a:gd name="T58" fmla="*/ 118 w 411"/>
                  <a:gd name="T59" fmla="*/ 236 h 248"/>
                  <a:gd name="T60" fmla="*/ 142 w 411"/>
                  <a:gd name="T61" fmla="*/ 232 h 248"/>
                  <a:gd name="T62" fmla="*/ 180 w 411"/>
                  <a:gd name="T63" fmla="*/ 244 h 248"/>
                  <a:gd name="T64" fmla="*/ 201 w 411"/>
                  <a:gd name="T65" fmla="*/ 240 h 248"/>
                  <a:gd name="T66" fmla="*/ 236 w 411"/>
                  <a:gd name="T67" fmla="*/ 247 h 248"/>
                  <a:gd name="T68" fmla="*/ 266 w 411"/>
                  <a:gd name="T69" fmla="*/ 229 h 248"/>
                  <a:gd name="T70" fmla="*/ 284 w 411"/>
                  <a:gd name="T71" fmla="*/ 226 h 248"/>
                  <a:gd name="T72" fmla="*/ 315 w 411"/>
                  <a:gd name="T73" fmla="*/ 228 h 248"/>
                  <a:gd name="T74" fmla="*/ 341 w 411"/>
                  <a:gd name="T75" fmla="*/ 24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11" h="248">
                    <a:moveTo>
                      <a:pt x="341" y="240"/>
                    </a:moveTo>
                    <a:cubicBezTo>
                      <a:pt x="344" y="242"/>
                      <a:pt x="353" y="242"/>
                      <a:pt x="360" y="241"/>
                    </a:cubicBezTo>
                    <a:cubicBezTo>
                      <a:pt x="358" y="230"/>
                      <a:pt x="359" y="216"/>
                      <a:pt x="364" y="209"/>
                    </a:cubicBezTo>
                    <a:cubicBezTo>
                      <a:pt x="373" y="197"/>
                      <a:pt x="379" y="187"/>
                      <a:pt x="379" y="187"/>
                    </a:cubicBezTo>
                    <a:cubicBezTo>
                      <a:pt x="379" y="187"/>
                      <a:pt x="411" y="197"/>
                      <a:pt x="407" y="174"/>
                    </a:cubicBezTo>
                    <a:cubicBezTo>
                      <a:pt x="404" y="158"/>
                      <a:pt x="399" y="149"/>
                      <a:pt x="396" y="146"/>
                    </a:cubicBezTo>
                    <a:cubicBezTo>
                      <a:pt x="395" y="148"/>
                      <a:pt x="391" y="152"/>
                      <a:pt x="382" y="151"/>
                    </a:cubicBezTo>
                    <a:cubicBezTo>
                      <a:pt x="370" y="150"/>
                      <a:pt x="374" y="164"/>
                      <a:pt x="353" y="161"/>
                    </a:cubicBezTo>
                    <a:cubicBezTo>
                      <a:pt x="332" y="158"/>
                      <a:pt x="336" y="135"/>
                      <a:pt x="336" y="135"/>
                    </a:cubicBezTo>
                    <a:cubicBezTo>
                      <a:pt x="336" y="135"/>
                      <a:pt x="330" y="128"/>
                      <a:pt x="330" y="121"/>
                    </a:cubicBezTo>
                    <a:cubicBezTo>
                      <a:pt x="330" y="114"/>
                      <a:pt x="337" y="101"/>
                      <a:pt x="337" y="101"/>
                    </a:cubicBezTo>
                    <a:cubicBezTo>
                      <a:pt x="332" y="98"/>
                      <a:pt x="332" y="98"/>
                      <a:pt x="332" y="98"/>
                    </a:cubicBezTo>
                    <a:cubicBezTo>
                      <a:pt x="332" y="98"/>
                      <a:pt x="335" y="85"/>
                      <a:pt x="334" y="76"/>
                    </a:cubicBezTo>
                    <a:cubicBezTo>
                      <a:pt x="333" y="67"/>
                      <a:pt x="317" y="66"/>
                      <a:pt x="317" y="66"/>
                    </a:cubicBezTo>
                    <a:cubicBezTo>
                      <a:pt x="315" y="56"/>
                      <a:pt x="315" y="56"/>
                      <a:pt x="315" y="56"/>
                    </a:cubicBezTo>
                    <a:cubicBezTo>
                      <a:pt x="307" y="55"/>
                      <a:pt x="307" y="55"/>
                      <a:pt x="307" y="55"/>
                    </a:cubicBezTo>
                    <a:cubicBezTo>
                      <a:pt x="301" y="41"/>
                      <a:pt x="301" y="41"/>
                      <a:pt x="301" y="41"/>
                    </a:cubicBezTo>
                    <a:cubicBezTo>
                      <a:pt x="286" y="32"/>
                      <a:pt x="286" y="32"/>
                      <a:pt x="286" y="32"/>
                    </a:cubicBezTo>
                    <a:cubicBezTo>
                      <a:pt x="287" y="22"/>
                      <a:pt x="287" y="22"/>
                      <a:pt x="287" y="22"/>
                    </a:cubicBezTo>
                    <a:cubicBezTo>
                      <a:pt x="287" y="22"/>
                      <a:pt x="280" y="6"/>
                      <a:pt x="263" y="3"/>
                    </a:cubicBezTo>
                    <a:cubicBezTo>
                      <a:pt x="246" y="0"/>
                      <a:pt x="248" y="18"/>
                      <a:pt x="238" y="18"/>
                    </a:cubicBezTo>
                    <a:cubicBezTo>
                      <a:pt x="228" y="18"/>
                      <a:pt x="225" y="17"/>
                      <a:pt x="225" y="17"/>
                    </a:cubicBezTo>
                    <a:cubicBezTo>
                      <a:pt x="221" y="24"/>
                      <a:pt x="221" y="24"/>
                      <a:pt x="221" y="24"/>
                    </a:cubicBezTo>
                    <a:cubicBezTo>
                      <a:pt x="204" y="21"/>
                      <a:pt x="204" y="21"/>
                      <a:pt x="204" y="21"/>
                    </a:cubicBezTo>
                    <a:cubicBezTo>
                      <a:pt x="204" y="21"/>
                      <a:pt x="204" y="30"/>
                      <a:pt x="194" y="33"/>
                    </a:cubicBezTo>
                    <a:cubicBezTo>
                      <a:pt x="184" y="36"/>
                      <a:pt x="178" y="17"/>
                      <a:pt x="172" y="16"/>
                    </a:cubicBezTo>
                    <a:cubicBezTo>
                      <a:pt x="166" y="15"/>
                      <a:pt x="151" y="23"/>
                      <a:pt x="151" y="23"/>
                    </a:cubicBezTo>
                    <a:cubicBezTo>
                      <a:pt x="145" y="18"/>
                      <a:pt x="145" y="18"/>
                      <a:pt x="145" y="18"/>
                    </a:cubicBezTo>
                    <a:cubicBezTo>
                      <a:pt x="129" y="21"/>
                      <a:pt x="129" y="21"/>
                      <a:pt x="129" y="21"/>
                    </a:cubicBezTo>
                    <a:cubicBezTo>
                      <a:pt x="129" y="21"/>
                      <a:pt x="127" y="14"/>
                      <a:pt x="123" y="14"/>
                    </a:cubicBezTo>
                    <a:cubicBezTo>
                      <a:pt x="119" y="14"/>
                      <a:pt x="110" y="14"/>
                      <a:pt x="110" y="14"/>
                    </a:cubicBezTo>
                    <a:cubicBezTo>
                      <a:pt x="110" y="14"/>
                      <a:pt x="100" y="27"/>
                      <a:pt x="90" y="28"/>
                    </a:cubicBezTo>
                    <a:cubicBezTo>
                      <a:pt x="80" y="29"/>
                      <a:pt x="71" y="29"/>
                      <a:pt x="70" y="35"/>
                    </a:cubicBezTo>
                    <a:cubicBezTo>
                      <a:pt x="69" y="41"/>
                      <a:pt x="69" y="53"/>
                      <a:pt x="69" y="53"/>
                    </a:cubicBezTo>
                    <a:cubicBezTo>
                      <a:pt x="69" y="53"/>
                      <a:pt x="72" y="65"/>
                      <a:pt x="62" y="70"/>
                    </a:cubicBezTo>
                    <a:cubicBezTo>
                      <a:pt x="52" y="75"/>
                      <a:pt x="46" y="83"/>
                      <a:pt x="46" y="83"/>
                    </a:cubicBezTo>
                    <a:cubicBezTo>
                      <a:pt x="46" y="83"/>
                      <a:pt x="51" y="91"/>
                      <a:pt x="45" y="97"/>
                    </a:cubicBezTo>
                    <a:cubicBezTo>
                      <a:pt x="39" y="103"/>
                      <a:pt x="29" y="107"/>
                      <a:pt x="29" y="107"/>
                    </a:cubicBezTo>
                    <a:cubicBezTo>
                      <a:pt x="18" y="105"/>
                      <a:pt x="18" y="105"/>
                      <a:pt x="18" y="105"/>
                    </a:cubicBezTo>
                    <a:cubicBezTo>
                      <a:pt x="16" y="114"/>
                      <a:pt x="16" y="114"/>
                      <a:pt x="16" y="114"/>
                    </a:cubicBezTo>
                    <a:cubicBezTo>
                      <a:pt x="0" y="118"/>
                      <a:pt x="0" y="118"/>
                      <a:pt x="0" y="118"/>
                    </a:cubicBezTo>
                    <a:cubicBezTo>
                      <a:pt x="1" y="119"/>
                      <a:pt x="1" y="119"/>
                      <a:pt x="1" y="119"/>
                    </a:cubicBezTo>
                    <a:cubicBezTo>
                      <a:pt x="16" y="133"/>
                      <a:pt x="16" y="133"/>
                      <a:pt x="16" y="133"/>
                    </a:cubicBezTo>
                    <a:cubicBezTo>
                      <a:pt x="22" y="131"/>
                      <a:pt x="22" y="131"/>
                      <a:pt x="22" y="131"/>
                    </a:cubicBezTo>
                    <a:cubicBezTo>
                      <a:pt x="30" y="154"/>
                      <a:pt x="30" y="154"/>
                      <a:pt x="30" y="154"/>
                    </a:cubicBezTo>
                    <a:cubicBezTo>
                      <a:pt x="30" y="154"/>
                      <a:pt x="36" y="165"/>
                      <a:pt x="38" y="160"/>
                    </a:cubicBezTo>
                    <a:cubicBezTo>
                      <a:pt x="40" y="155"/>
                      <a:pt x="52" y="156"/>
                      <a:pt x="54" y="162"/>
                    </a:cubicBezTo>
                    <a:cubicBezTo>
                      <a:pt x="56" y="168"/>
                      <a:pt x="51" y="177"/>
                      <a:pt x="51" y="177"/>
                    </a:cubicBezTo>
                    <a:cubicBezTo>
                      <a:pt x="56" y="188"/>
                      <a:pt x="56" y="188"/>
                      <a:pt x="56" y="188"/>
                    </a:cubicBezTo>
                    <a:cubicBezTo>
                      <a:pt x="72" y="190"/>
                      <a:pt x="72" y="190"/>
                      <a:pt x="72" y="190"/>
                    </a:cubicBezTo>
                    <a:cubicBezTo>
                      <a:pt x="78" y="197"/>
                      <a:pt x="78" y="197"/>
                      <a:pt x="78" y="197"/>
                    </a:cubicBezTo>
                    <a:cubicBezTo>
                      <a:pt x="94" y="190"/>
                      <a:pt x="94" y="190"/>
                      <a:pt x="94" y="190"/>
                    </a:cubicBezTo>
                    <a:cubicBezTo>
                      <a:pt x="110" y="194"/>
                      <a:pt x="110" y="194"/>
                      <a:pt x="110" y="194"/>
                    </a:cubicBezTo>
                    <a:cubicBezTo>
                      <a:pt x="107" y="200"/>
                      <a:pt x="107" y="200"/>
                      <a:pt x="107" y="200"/>
                    </a:cubicBezTo>
                    <a:cubicBezTo>
                      <a:pt x="100" y="208"/>
                      <a:pt x="100" y="208"/>
                      <a:pt x="100" y="208"/>
                    </a:cubicBezTo>
                    <a:cubicBezTo>
                      <a:pt x="107" y="212"/>
                      <a:pt x="107" y="212"/>
                      <a:pt x="107" y="212"/>
                    </a:cubicBezTo>
                    <a:cubicBezTo>
                      <a:pt x="106" y="218"/>
                      <a:pt x="106" y="218"/>
                      <a:pt x="106" y="218"/>
                    </a:cubicBezTo>
                    <a:cubicBezTo>
                      <a:pt x="113" y="219"/>
                      <a:pt x="113" y="219"/>
                      <a:pt x="113" y="219"/>
                    </a:cubicBezTo>
                    <a:cubicBezTo>
                      <a:pt x="113" y="219"/>
                      <a:pt x="123" y="219"/>
                      <a:pt x="125" y="223"/>
                    </a:cubicBezTo>
                    <a:cubicBezTo>
                      <a:pt x="127" y="227"/>
                      <a:pt x="118" y="232"/>
                      <a:pt x="118" y="236"/>
                    </a:cubicBezTo>
                    <a:cubicBezTo>
                      <a:pt x="118" y="240"/>
                      <a:pt x="135" y="239"/>
                      <a:pt x="135" y="239"/>
                    </a:cubicBezTo>
                    <a:cubicBezTo>
                      <a:pt x="142" y="232"/>
                      <a:pt x="142" y="232"/>
                      <a:pt x="142" y="232"/>
                    </a:cubicBezTo>
                    <a:cubicBezTo>
                      <a:pt x="158" y="239"/>
                      <a:pt x="158" y="239"/>
                      <a:pt x="158" y="239"/>
                    </a:cubicBezTo>
                    <a:cubicBezTo>
                      <a:pt x="158" y="239"/>
                      <a:pt x="167" y="244"/>
                      <a:pt x="180" y="244"/>
                    </a:cubicBezTo>
                    <a:cubicBezTo>
                      <a:pt x="193" y="244"/>
                      <a:pt x="188" y="235"/>
                      <a:pt x="188" y="235"/>
                    </a:cubicBezTo>
                    <a:cubicBezTo>
                      <a:pt x="201" y="240"/>
                      <a:pt x="201" y="240"/>
                      <a:pt x="201" y="240"/>
                    </a:cubicBezTo>
                    <a:cubicBezTo>
                      <a:pt x="214" y="241"/>
                      <a:pt x="214" y="241"/>
                      <a:pt x="214" y="241"/>
                    </a:cubicBezTo>
                    <a:cubicBezTo>
                      <a:pt x="214" y="241"/>
                      <a:pt x="225" y="246"/>
                      <a:pt x="236" y="247"/>
                    </a:cubicBezTo>
                    <a:cubicBezTo>
                      <a:pt x="247" y="248"/>
                      <a:pt x="246" y="232"/>
                      <a:pt x="253" y="230"/>
                    </a:cubicBezTo>
                    <a:cubicBezTo>
                      <a:pt x="260" y="228"/>
                      <a:pt x="266" y="229"/>
                      <a:pt x="266" y="229"/>
                    </a:cubicBezTo>
                    <a:cubicBezTo>
                      <a:pt x="265" y="224"/>
                      <a:pt x="265" y="224"/>
                      <a:pt x="265" y="224"/>
                    </a:cubicBezTo>
                    <a:cubicBezTo>
                      <a:pt x="284" y="226"/>
                      <a:pt x="284" y="226"/>
                      <a:pt x="284" y="226"/>
                    </a:cubicBezTo>
                    <a:cubicBezTo>
                      <a:pt x="284" y="226"/>
                      <a:pt x="281" y="220"/>
                      <a:pt x="290" y="220"/>
                    </a:cubicBezTo>
                    <a:cubicBezTo>
                      <a:pt x="299" y="220"/>
                      <a:pt x="306" y="228"/>
                      <a:pt x="315" y="228"/>
                    </a:cubicBezTo>
                    <a:cubicBezTo>
                      <a:pt x="324" y="228"/>
                      <a:pt x="333" y="230"/>
                      <a:pt x="333" y="230"/>
                    </a:cubicBezTo>
                    <a:cubicBezTo>
                      <a:pt x="333" y="230"/>
                      <a:pt x="336" y="237"/>
                      <a:pt x="341" y="240"/>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77" name="Freeform 99">
                <a:extLst>
                  <a:ext uri="{FF2B5EF4-FFF2-40B4-BE49-F238E27FC236}">
                    <a16:creationId xmlns:a16="http://schemas.microsoft.com/office/drawing/2014/main" id="{1B45A560-F63E-40A8-8F59-43BCC77A239E}"/>
                  </a:ext>
                </a:extLst>
              </p:cNvPr>
              <p:cNvSpPr>
                <a:spLocks/>
              </p:cNvSpPr>
              <p:nvPr>
                <p:custDataLst>
                  <p:tags r:id="rId58"/>
                </p:custDataLst>
              </p:nvPr>
            </p:nvSpPr>
            <p:spPr bwMode="gray">
              <a:xfrm>
                <a:off x="4913283" y="3035312"/>
                <a:ext cx="104774" cy="84138"/>
              </a:xfrm>
              <a:custGeom>
                <a:avLst/>
                <a:gdLst>
                  <a:gd name="T0" fmla="*/ 162 w 173"/>
                  <a:gd name="T1" fmla="*/ 51 h 153"/>
                  <a:gd name="T2" fmla="*/ 151 w 173"/>
                  <a:gd name="T3" fmla="*/ 52 h 153"/>
                  <a:gd name="T4" fmla="*/ 151 w 173"/>
                  <a:gd name="T5" fmla="*/ 41 h 153"/>
                  <a:gd name="T6" fmla="*/ 163 w 173"/>
                  <a:gd name="T7" fmla="*/ 22 h 153"/>
                  <a:gd name="T8" fmla="*/ 144 w 173"/>
                  <a:gd name="T9" fmla="*/ 23 h 153"/>
                  <a:gd name="T10" fmla="*/ 141 w 173"/>
                  <a:gd name="T11" fmla="*/ 18 h 153"/>
                  <a:gd name="T12" fmla="*/ 136 w 173"/>
                  <a:gd name="T13" fmla="*/ 19 h 153"/>
                  <a:gd name="T14" fmla="*/ 126 w 173"/>
                  <a:gd name="T15" fmla="*/ 8 h 153"/>
                  <a:gd name="T16" fmla="*/ 109 w 173"/>
                  <a:gd name="T17" fmla="*/ 7 h 153"/>
                  <a:gd name="T18" fmla="*/ 93 w 173"/>
                  <a:gd name="T19" fmla="*/ 8 h 153"/>
                  <a:gd name="T20" fmla="*/ 80 w 173"/>
                  <a:gd name="T21" fmla="*/ 5 h 153"/>
                  <a:gd name="T22" fmla="*/ 71 w 173"/>
                  <a:gd name="T23" fmla="*/ 9 h 153"/>
                  <a:gd name="T24" fmla="*/ 58 w 173"/>
                  <a:gd name="T25" fmla="*/ 2 h 153"/>
                  <a:gd name="T26" fmla="*/ 43 w 173"/>
                  <a:gd name="T27" fmla="*/ 4 h 153"/>
                  <a:gd name="T28" fmla="*/ 28 w 173"/>
                  <a:gd name="T29" fmla="*/ 8 h 153"/>
                  <a:gd name="T30" fmla="*/ 12 w 173"/>
                  <a:gd name="T31" fmla="*/ 1 h 153"/>
                  <a:gd name="T32" fmla="*/ 9 w 173"/>
                  <a:gd name="T33" fmla="*/ 15 h 153"/>
                  <a:gd name="T34" fmla="*/ 0 w 173"/>
                  <a:gd name="T35" fmla="*/ 20 h 153"/>
                  <a:gd name="T36" fmla="*/ 7 w 173"/>
                  <a:gd name="T37" fmla="*/ 27 h 153"/>
                  <a:gd name="T38" fmla="*/ 19 w 173"/>
                  <a:gd name="T39" fmla="*/ 30 h 153"/>
                  <a:gd name="T40" fmla="*/ 18 w 173"/>
                  <a:gd name="T41" fmla="*/ 39 h 153"/>
                  <a:gd name="T42" fmla="*/ 26 w 173"/>
                  <a:gd name="T43" fmla="*/ 43 h 153"/>
                  <a:gd name="T44" fmla="*/ 26 w 173"/>
                  <a:gd name="T45" fmla="*/ 57 h 153"/>
                  <a:gd name="T46" fmla="*/ 37 w 173"/>
                  <a:gd name="T47" fmla="*/ 60 h 153"/>
                  <a:gd name="T48" fmla="*/ 47 w 173"/>
                  <a:gd name="T49" fmla="*/ 80 h 153"/>
                  <a:gd name="T50" fmla="*/ 75 w 173"/>
                  <a:gd name="T51" fmla="*/ 99 h 153"/>
                  <a:gd name="T52" fmla="*/ 81 w 173"/>
                  <a:gd name="T53" fmla="*/ 120 h 153"/>
                  <a:gd name="T54" fmla="*/ 89 w 173"/>
                  <a:gd name="T55" fmla="*/ 121 h 153"/>
                  <a:gd name="T56" fmla="*/ 125 w 173"/>
                  <a:gd name="T57" fmla="*/ 153 h 153"/>
                  <a:gd name="T58" fmla="*/ 138 w 173"/>
                  <a:gd name="T59" fmla="*/ 137 h 153"/>
                  <a:gd name="T60" fmla="*/ 124 w 173"/>
                  <a:gd name="T61" fmla="*/ 128 h 153"/>
                  <a:gd name="T62" fmla="*/ 125 w 173"/>
                  <a:gd name="T63" fmla="*/ 118 h 153"/>
                  <a:gd name="T64" fmla="*/ 130 w 173"/>
                  <a:gd name="T65" fmla="*/ 118 h 153"/>
                  <a:gd name="T66" fmla="*/ 139 w 173"/>
                  <a:gd name="T67" fmla="*/ 103 h 153"/>
                  <a:gd name="T68" fmla="*/ 150 w 173"/>
                  <a:gd name="T69" fmla="*/ 104 h 153"/>
                  <a:gd name="T70" fmla="*/ 150 w 173"/>
                  <a:gd name="T71" fmla="*/ 89 h 153"/>
                  <a:gd name="T72" fmla="*/ 171 w 173"/>
                  <a:gd name="T73" fmla="*/ 86 h 153"/>
                  <a:gd name="T74" fmla="*/ 159 w 173"/>
                  <a:gd name="T75" fmla="*/ 66 h 153"/>
                  <a:gd name="T76" fmla="*/ 173 w 173"/>
                  <a:gd name="T77" fmla="*/ 64 h 153"/>
                  <a:gd name="T78" fmla="*/ 162 w 173"/>
                  <a:gd name="T79" fmla="*/ 5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3" h="153">
                    <a:moveTo>
                      <a:pt x="162" y="51"/>
                    </a:moveTo>
                    <a:cubicBezTo>
                      <a:pt x="155" y="49"/>
                      <a:pt x="151" y="52"/>
                      <a:pt x="151" y="52"/>
                    </a:cubicBezTo>
                    <a:cubicBezTo>
                      <a:pt x="151" y="41"/>
                      <a:pt x="151" y="41"/>
                      <a:pt x="151" y="41"/>
                    </a:cubicBezTo>
                    <a:cubicBezTo>
                      <a:pt x="151" y="41"/>
                      <a:pt x="163" y="27"/>
                      <a:pt x="163" y="22"/>
                    </a:cubicBezTo>
                    <a:cubicBezTo>
                      <a:pt x="163" y="17"/>
                      <a:pt x="144" y="23"/>
                      <a:pt x="144" y="23"/>
                    </a:cubicBezTo>
                    <a:cubicBezTo>
                      <a:pt x="141" y="18"/>
                      <a:pt x="141" y="18"/>
                      <a:pt x="141" y="18"/>
                    </a:cubicBezTo>
                    <a:cubicBezTo>
                      <a:pt x="136" y="19"/>
                      <a:pt x="136" y="19"/>
                      <a:pt x="136" y="19"/>
                    </a:cubicBezTo>
                    <a:cubicBezTo>
                      <a:pt x="126" y="8"/>
                      <a:pt x="126" y="8"/>
                      <a:pt x="126" y="8"/>
                    </a:cubicBezTo>
                    <a:cubicBezTo>
                      <a:pt x="126" y="8"/>
                      <a:pt x="115" y="8"/>
                      <a:pt x="109" y="7"/>
                    </a:cubicBezTo>
                    <a:cubicBezTo>
                      <a:pt x="103" y="6"/>
                      <a:pt x="96" y="8"/>
                      <a:pt x="93" y="8"/>
                    </a:cubicBezTo>
                    <a:cubicBezTo>
                      <a:pt x="90" y="8"/>
                      <a:pt x="80" y="5"/>
                      <a:pt x="80" y="5"/>
                    </a:cubicBezTo>
                    <a:cubicBezTo>
                      <a:pt x="71" y="9"/>
                      <a:pt x="71" y="9"/>
                      <a:pt x="71" y="9"/>
                    </a:cubicBezTo>
                    <a:cubicBezTo>
                      <a:pt x="58" y="2"/>
                      <a:pt x="58" y="2"/>
                      <a:pt x="58" y="2"/>
                    </a:cubicBezTo>
                    <a:cubicBezTo>
                      <a:pt x="43" y="4"/>
                      <a:pt x="43" y="4"/>
                      <a:pt x="43" y="4"/>
                    </a:cubicBezTo>
                    <a:cubicBezTo>
                      <a:pt x="28" y="8"/>
                      <a:pt x="28" y="8"/>
                      <a:pt x="28" y="8"/>
                    </a:cubicBezTo>
                    <a:cubicBezTo>
                      <a:pt x="28" y="8"/>
                      <a:pt x="16" y="0"/>
                      <a:pt x="12" y="1"/>
                    </a:cubicBezTo>
                    <a:cubicBezTo>
                      <a:pt x="8" y="2"/>
                      <a:pt x="9" y="15"/>
                      <a:pt x="9" y="15"/>
                    </a:cubicBezTo>
                    <a:cubicBezTo>
                      <a:pt x="0" y="20"/>
                      <a:pt x="0" y="20"/>
                      <a:pt x="0" y="20"/>
                    </a:cubicBezTo>
                    <a:cubicBezTo>
                      <a:pt x="7" y="27"/>
                      <a:pt x="7" y="27"/>
                      <a:pt x="7" y="27"/>
                    </a:cubicBezTo>
                    <a:cubicBezTo>
                      <a:pt x="19" y="30"/>
                      <a:pt x="19" y="30"/>
                      <a:pt x="19" y="30"/>
                    </a:cubicBezTo>
                    <a:cubicBezTo>
                      <a:pt x="18" y="39"/>
                      <a:pt x="18" y="39"/>
                      <a:pt x="18" y="39"/>
                    </a:cubicBezTo>
                    <a:cubicBezTo>
                      <a:pt x="18" y="39"/>
                      <a:pt x="23" y="39"/>
                      <a:pt x="26" y="43"/>
                    </a:cubicBezTo>
                    <a:cubicBezTo>
                      <a:pt x="29" y="47"/>
                      <a:pt x="26" y="57"/>
                      <a:pt x="26" y="57"/>
                    </a:cubicBezTo>
                    <a:cubicBezTo>
                      <a:pt x="37" y="60"/>
                      <a:pt x="37" y="60"/>
                      <a:pt x="37" y="60"/>
                    </a:cubicBezTo>
                    <a:cubicBezTo>
                      <a:pt x="47" y="80"/>
                      <a:pt x="47" y="80"/>
                      <a:pt x="47" y="80"/>
                    </a:cubicBezTo>
                    <a:cubicBezTo>
                      <a:pt x="47" y="80"/>
                      <a:pt x="51" y="84"/>
                      <a:pt x="75" y="99"/>
                    </a:cubicBezTo>
                    <a:cubicBezTo>
                      <a:pt x="90" y="108"/>
                      <a:pt x="86" y="116"/>
                      <a:pt x="81" y="120"/>
                    </a:cubicBezTo>
                    <a:cubicBezTo>
                      <a:pt x="89" y="121"/>
                      <a:pt x="89" y="121"/>
                      <a:pt x="89" y="121"/>
                    </a:cubicBezTo>
                    <a:cubicBezTo>
                      <a:pt x="89" y="121"/>
                      <a:pt x="116" y="148"/>
                      <a:pt x="125" y="153"/>
                    </a:cubicBezTo>
                    <a:cubicBezTo>
                      <a:pt x="138" y="137"/>
                      <a:pt x="138" y="137"/>
                      <a:pt x="138" y="137"/>
                    </a:cubicBezTo>
                    <a:cubicBezTo>
                      <a:pt x="138" y="137"/>
                      <a:pt x="127" y="131"/>
                      <a:pt x="124" y="128"/>
                    </a:cubicBezTo>
                    <a:cubicBezTo>
                      <a:pt x="121" y="125"/>
                      <a:pt x="125" y="118"/>
                      <a:pt x="125" y="118"/>
                    </a:cubicBezTo>
                    <a:cubicBezTo>
                      <a:pt x="130" y="118"/>
                      <a:pt x="130" y="118"/>
                      <a:pt x="130" y="118"/>
                    </a:cubicBezTo>
                    <a:cubicBezTo>
                      <a:pt x="130" y="118"/>
                      <a:pt x="136" y="107"/>
                      <a:pt x="139" y="103"/>
                    </a:cubicBezTo>
                    <a:cubicBezTo>
                      <a:pt x="142" y="99"/>
                      <a:pt x="150" y="104"/>
                      <a:pt x="150" y="104"/>
                    </a:cubicBezTo>
                    <a:cubicBezTo>
                      <a:pt x="150" y="89"/>
                      <a:pt x="150" y="89"/>
                      <a:pt x="150" y="89"/>
                    </a:cubicBezTo>
                    <a:cubicBezTo>
                      <a:pt x="150" y="89"/>
                      <a:pt x="169" y="93"/>
                      <a:pt x="171" y="86"/>
                    </a:cubicBezTo>
                    <a:cubicBezTo>
                      <a:pt x="173" y="79"/>
                      <a:pt x="159" y="66"/>
                      <a:pt x="159" y="66"/>
                    </a:cubicBezTo>
                    <a:cubicBezTo>
                      <a:pt x="173" y="64"/>
                      <a:pt x="173" y="64"/>
                      <a:pt x="173" y="64"/>
                    </a:cubicBezTo>
                    <a:cubicBezTo>
                      <a:pt x="173" y="64"/>
                      <a:pt x="169" y="53"/>
                      <a:pt x="162" y="51"/>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78" name="Freeform 100">
                <a:extLst>
                  <a:ext uri="{FF2B5EF4-FFF2-40B4-BE49-F238E27FC236}">
                    <a16:creationId xmlns:a16="http://schemas.microsoft.com/office/drawing/2014/main" id="{59311135-4523-4A1B-9E04-6CFC7EDDD251}"/>
                  </a:ext>
                </a:extLst>
              </p:cNvPr>
              <p:cNvSpPr>
                <a:spLocks/>
              </p:cNvSpPr>
              <p:nvPr>
                <p:custDataLst>
                  <p:tags r:id="rId59"/>
                </p:custDataLst>
              </p:nvPr>
            </p:nvSpPr>
            <p:spPr bwMode="gray">
              <a:xfrm>
                <a:off x="4862484" y="3000386"/>
                <a:ext cx="149224" cy="103188"/>
              </a:xfrm>
              <a:custGeom>
                <a:avLst/>
                <a:gdLst>
                  <a:gd name="T0" fmla="*/ 232 w 246"/>
                  <a:gd name="T1" fmla="*/ 77 h 186"/>
                  <a:gd name="T2" fmla="*/ 228 w 246"/>
                  <a:gd name="T3" fmla="*/ 65 h 186"/>
                  <a:gd name="T4" fmla="*/ 226 w 246"/>
                  <a:gd name="T5" fmla="*/ 52 h 186"/>
                  <a:gd name="T6" fmla="*/ 217 w 246"/>
                  <a:gd name="T7" fmla="*/ 32 h 186"/>
                  <a:gd name="T8" fmla="*/ 183 w 246"/>
                  <a:gd name="T9" fmla="*/ 41 h 186"/>
                  <a:gd name="T10" fmla="*/ 168 w 246"/>
                  <a:gd name="T11" fmla="*/ 34 h 186"/>
                  <a:gd name="T12" fmla="*/ 139 w 246"/>
                  <a:gd name="T13" fmla="*/ 13 h 186"/>
                  <a:gd name="T14" fmla="*/ 112 w 246"/>
                  <a:gd name="T15" fmla="*/ 2 h 186"/>
                  <a:gd name="T16" fmla="*/ 93 w 246"/>
                  <a:gd name="T17" fmla="*/ 14 h 186"/>
                  <a:gd name="T18" fmla="*/ 87 w 246"/>
                  <a:gd name="T19" fmla="*/ 31 h 186"/>
                  <a:gd name="T20" fmla="*/ 70 w 246"/>
                  <a:gd name="T21" fmla="*/ 40 h 186"/>
                  <a:gd name="T22" fmla="*/ 59 w 246"/>
                  <a:gd name="T23" fmla="*/ 53 h 186"/>
                  <a:gd name="T24" fmla="*/ 40 w 246"/>
                  <a:gd name="T25" fmla="*/ 45 h 186"/>
                  <a:gd name="T26" fmla="*/ 22 w 246"/>
                  <a:gd name="T27" fmla="*/ 54 h 186"/>
                  <a:gd name="T28" fmla="*/ 14 w 246"/>
                  <a:gd name="T29" fmla="*/ 57 h 186"/>
                  <a:gd name="T30" fmla="*/ 1 w 246"/>
                  <a:gd name="T31" fmla="*/ 67 h 186"/>
                  <a:gd name="T32" fmla="*/ 31 w 246"/>
                  <a:gd name="T33" fmla="*/ 70 h 186"/>
                  <a:gd name="T34" fmla="*/ 54 w 246"/>
                  <a:gd name="T35" fmla="*/ 87 h 186"/>
                  <a:gd name="T36" fmla="*/ 68 w 246"/>
                  <a:gd name="T37" fmla="*/ 123 h 186"/>
                  <a:gd name="T38" fmla="*/ 98 w 246"/>
                  <a:gd name="T39" fmla="*/ 161 h 186"/>
                  <a:gd name="T40" fmla="*/ 146 w 246"/>
                  <a:gd name="T41" fmla="*/ 171 h 186"/>
                  <a:gd name="T42" fmla="*/ 165 w 246"/>
                  <a:gd name="T43" fmla="*/ 186 h 186"/>
                  <a:gd name="T44" fmla="*/ 131 w 246"/>
                  <a:gd name="T45" fmla="*/ 146 h 186"/>
                  <a:gd name="T46" fmla="*/ 110 w 246"/>
                  <a:gd name="T47" fmla="*/ 123 h 186"/>
                  <a:gd name="T48" fmla="*/ 102 w 246"/>
                  <a:gd name="T49" fmla="*/ 105 h 186"/>
                  <a:gd name="T50" fmla="*/ 91 w 246"/>
                  <a:gd name="T51" fmla="*/ 93 h 186"/>
                  <a:gd name="T52" fmla="*/ 93 w 246"/>
                  <a:gd name="T53" fmla="*/ 81 h 186"/>
                  <a:gd name="T54" fmla="*/ 112 w 246"/>
                  <a:gd name="T55" fmla="*/ 74 h 186"/>
                  <a:gd name="T56" fmla="*/ 142 w 246"/>
                  <a:gd name="T57" fmla="*/ 68 h 186"/>
                  <a:gd name="T58" fmla="*/ 164 w 246"/>
                  <a:gd name="T59" fmla="*/ 71 h 186"/>
                  <a:gd name="T60" fmla="*/ 193 w 246"/>
                  <a:gd name="T61" fmla="*/ 73 h 186"/>
                  <a:gd name="T62" fmla="*/ 220 w 246"/>
                  <a:gd name="T63" fmla="*/ 8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6" h="186">
                    <a:moveTo>
                      <a:pt x="230" y="84"/>
                    </a:moveTo>
                    <a:cubicBezTo>
                      <a:pt x="232" y="77"/>
                      <a:pt x="232" y="77"/>
                      <a:pt x="232" y="77"/>
                    </a:cubicBezTo>
                    <a:cubicBezTo>
                      <a:pt x="232" y="77"/>
                      <a:pt x="246" y="74"/>
                      <a:pt x="245" y="71"/>
                    </a:cubicBezTo>
                    <a:cubicBezTo>
                      <a:pt x="244" y="68"/>
                      <a:pt x="228" y="65"/>
                      <a:pt x="228" y="65"/>
                    </a:cubicBezTo>
                    <a:cubicBezTo>
                      <a:pt x="231" y="53"/>
                      <a:pt x="231" y="53"/>
                      <a:pt x="231" y="53"/>
                    </a:cubicBezTo>
                    <a:cubicBezTo>
                      <a:pt x="226" y="52"/>
                      <a:pt x="226" y="52"/>
                      <a:pt x="226" y="52"/>
                    </a:cubicBezTo>
                    <a:cubicBezTo>
                      <a:pt x="222" y="34"/>
                      <a:pt x="222" y="34"/>
                      <a:pt x="222" y="34"/>
                    </a:cubicBezTo>
                    <a:cubicBezTo>
                      <a:pt x="217" y="32"/>
                      <a:pt x="217" y="32"/>
                      <a:pt x="217" y="32"/>
                    </a:cubicBezTo>
                    <a:cubicBezTo>
                      <a:pt x="211" y="38"/>
                      <a:pt x="211" y="38"/>
                      <a:pt x="211" y="38"/>
                    </a:cubicBezTo>
                    <a:cubicBezTo>
                      <a:pt x="183" y="41"/>
                      <a:pt x="183" y="41"/>
                      <a:pt x="183" y="41"/>
                    </a:cubicBezTo>
                    <a:cubicBezTo>
                      <a:pt x="180" y="34"/>
                      <a:pt x="180" y="34"/>
                      <a:pt x="180" y="34"/>
                    </a:cubicBezTo>
                    <a:cubicBezTo>
                      <a:pt x="168" y="34"/>
                      <a:pt x="168" y="34"/>
                      <a:pt x="168" y="34"/>
                    </a:cubicBezTo>
                    <a:cubicBezTo>
                      <a:pt x="159" y="30"/>
                      <a:pt x="159" y="30"/>
                      <a:pt x="159" y="30"/>
                    </a:cubicBezTo>
                    <a:cubicBezTo>
                      <a:pt x="159" y="30"/>
                      <a:pt x="141" y="16"/>
                      <a:pt x="139" y="13"/>
                    </a:cubicBezTo>
                    <a:cubicBezTo>
                      <a:pt x="137" y="10"/>
                      <a:pt x="125" y="0"/>
                      <a:pt x="125" y="0"/>
                    </a:cubicBezTo>
                    <a:cubicBezTo>
                      <a:pt x="112" y="2"/>
                      <a:pt x="112" y="2"/>
                      <a:pt x="112" y="2"/>
                    </a:cubicBezTo>
                    <a:cubicBezTo>
                      <a:pt x="112" y="2"/>
                      <a:pt x="115" y="6"/>
                      <a:pt x="109" y="10"/>
                    </a:cubicBezTo>
                    <a:cubicBezTo>
                      <a:pt x="103" y="14"/>
                      <a:pt x="93" y="14"/>
                      <a:pt x="93" y="14"/>
                    </a:cubicBezTo>
                    <a:cubicBezTo>
                      <a:pt x="93" y="14"/>
                      <a:pt x="84" y="14"/>
                      <a:pt x="84" y="18"/>
                    </a:cubicBezTo>
                    <a:cubicBezTo>
                      <a:pt x="84" y="22"/>
                      <a:pt x="87" y="31"/>
                      <a:pt x="87" y="31"/>
                    </a:cubicBezTo>
                    <a:cubicBezTo>
                      <a:pt x="80" y="39"/>
                      <a:pt x="80" y="39"/>
                      <a:pt x="80" y="39"/>
                    </a:cubicBezTo>
                    <a:cubicBezTo>
                      <a:pt x="70" y="40"/>
                      <a:pt x="70" y="40"/>
                      <a:pt x="70" y="40"/>
                    </a:cubicBezTo>
                    <a:cubicBezTo>
                      <a:pt x="70" y="40"/>
                      <a:pt x="74" y="51"/>
                      <a:pt x="69" y="53"/>
                    </a:cubicBezTo>
                    <a:cubicBezTo>
                      <a:pt x="64" y="55"/>
                      <a:pt x="59" y="53"/>
                      <a:pt x="59" y="53"/>
                    </a:cubicBezTo>
                    <a:cubicBezTo>
                      <a:pt x="59" y="53"/>
                      <a:pt x="52" y="54"/>
                      <a:pt x="46" y="53"/>
                    </a:cubicBezTo>
                    <a:cubicBezTo>
                      <a:pt x="40" y="52"/>
                      <a:pt x="40" y="45"/>
                      <a:pt x="40" y="45"/>
                    </a:cubicBezTo>
                    <a:cubicBezTo>
                      <a:pt x="34" y="53"/>
                      <a:pt x="34" y="53"/>
                      <a:pt x="34" y="53"/>
                    </a:cubicBezTo>
                    <a:cubicBezTo>
                      <a:pt x="22" y="54"/>
                      <a:pt x="22" y="54"/>
                      <a:pt x="22" y="54"/>
                    </a:cubicBezTo>
                    <a:cubicBezTo>
                      <a:pt x="16" y="48"/>
                      <a:pt x="16" y="48"/>
                      <a:pt x="16" y="48"/>
                    </a:cubicBezTo>
                    <a:cubicBezTo>
                      <a:pt x="14" y="57"/>
                      <a:pt x="14" y="57"/>
                      <a:pt x="14" y="57"/>
                    </a:cubicBezTo>
                    <a:cubicBezTo>
                      <a:pt x="5" y="58"/>
                      <a:pt x="5" y="58"/>
                      <a:pt x="5" y="58"/>
                    </a:cubicBezTo>
                    <a:cubicBezTo>
                      <a:pt x="3" y="62"/>
                      <a:pt x="1" y="67"/>
                      <a:pt x="1" y="67"/>
                    </a:cubicBezTo>
                    <a:cubicBezTo>
                      <a:pt x="1" y="67"/>
                      <a:pt x="0" y="97"/>
                      <a:pt x="8" y="88"/>
                    </a:cubicBezTo>
                    <a:cubicBezTo>
                      <a:pt x="16" y="79"/>
                      <a:pt x="27" y="64"/>
                      <a:pt x="31" y="70"/>
                    </a:cubicBezTo>
                    <a:cubicBezTo>
                      <a:pt x="35" y="76"/>
                      <a:pt x="35" y="91"/>
                      <a:pt x="35" y="91"/>
                    </a:cubicBezTo>
                    <a:cubicBezTo>
                      <a:pt x="54" y="87"/>
                      <a:pt x="54" y="87"/>
                      <a:pt x="54" y="87"/>
                    </a:cubicBezTo>
                    <a:cubicBezTo>
                      <a:pt x="54" y="87"/>
                      <a:pt x="48" y="107"/>
                      <a:pt x="60" y="111"/>
                    </a:cubicBezTo>
                    <a:cubicBezTo>
                      <a:pt x="72" y="115"/>
                      <a:pt x="68" y="123"/>
                      <a:pt x="68" y="123"/>
                    </a:cubicBezTo>
                    <a:cubicBezTo>
                      <a:pt x="97" y="144"/>
                      <a:pt x="97" y="144"/>
                      <a:pt x="97" y="144"/>
                    </a:cubicBezTo>
                    <a:cubicBezTo>
                      <a:pt x="98" y="161"/>
                      <a:pt x="98" y="161"/>
                      <a:pt x="98" y="161"/>
                    </a:cubicBezTo>
                    <a:cubicBezTo>
                      <a:pt x="125" y="162"/>
                      <a:pt x="125" y="162"/>
                      <a:pt x="125" y="162"/>
                    </a:cubicBezTo>
                    <a:cubicBezTo>
                      <a:pt x="125" y="162"/>
                      <a:pt x="142" y="163"/>
                      <a:pt x="146" y="171"/>
                    </a:cubicBezTo>
                    <a:cubicBezTo>
                      <a:pt x="146" y="171"/>
                      <a:pt x="142" y="180"/>
                      <a:pt x="148" y="184"/>
                    </a:cubicBezTo>
                    <a:cubicBezTo>
                      <a:pt x="165" y="186"/>
                      <a:pt x="165" y="186"/>
                      <a:pt x="165" y="186"/>
                    </a:cubicBezTo>
                    <a:cubicBezTo>
                      <a:pt x="170" y="182"/>
                      <a:pt x="174" y="174"/>
                      <a:pt x="159" y="165"/>
                    </a:cubicBezTo>
                    <a:cubicBezTo>
                      <a:pt x="135" y="150"/>
                      <a:pt x="131" y="146"/>
                      <a:pt x="131" y="146"/>
                    </a:cubicBezTo>
                    <a:cubicBezTo>
                      <a:pt x="121" y="126"/>
                      <a:pt x="121" y="126"/>
                      <a:pt x="121" y="126"/>
                    </a:cubicBezTo>
                    <a:cubicBezTo>
                      <a:pt x="110" y="123"/>
                      <a:pt x="110" y="123"/>
                      <a:pt x="110" y="123"/>
                    </a:cubicBezTo>
                    <a:cubicBezTo>
                      <a:pt x="110" y="123"/>
                      <a:pt x="113" y="113"/>
                      <a:pt x="110" y="109"/>
                    </a:cubicBezTo>
                    <a:cubicBezTo>
                      <a:pt x="107" y="105"/>
                      <a:pt x="102" y="105"/>
                      <a:pt x="102" y="105"/>
                    </a:cubicBezTo>
                    <a:cubicBezTo>
                      <a:pt x="103" y="96"/>
                      <a:pt x="103" y="96"/>
                      <a:pt x="103" y="96"/>
                    </a:cubicBezTo>
                    <a:cubicBezTo>
                      <a:pt x="91" y="93"/>
                      <a:pt x="91" y="93"/>
                      <a:pt x="91" y="93"/>
                    </a:cubicBezTo>
                    <a:cubicBezTo>
                      <a:pt x="84" y="86"/>
                      <a:pt x="84" y="86"/>
                      <a:pt x="84" y="86"/>
                    </a:cubicBezTo>
                    <a:cubicBezTo>
                      <a:pt x="93" y="81"/>
                      <a:pt x="93" y="81"/>
                      <a:pt x="93" y="81"/>
                    </a:cubicBezTo>
                    <a:cubicBezTo>
                      <a:pt x="93" y="81"/>
                      <a:pt x="92" y="68"/>
                      <a:pt x="96" y="67"/>
                    </a:cubicBezTo>
                    <a:cubicBezTo>
                      <a:pt x="100" y="66"/>
                      <a:pt x="112" y="74"/>
                      <a:pt x="112" y="74"/>
                    </a:cubicBezTo>
                    <a:cubicBezTo>
                      <a:pt x="127" y="70"/>
                      <a:pt x="127" y="70"/>
                      <a:pt x="127" y="70"/>
                    </a:cubicBezTo>
                    <a:cubicBezTo>
                      <a:pt x="142" y="68"/>
                      <a:pt x="142" y="68"/>
                      <a:pt x="142" y="68"/>
                    </a:cubicBezTo>
                    <a:cubicBezTo>
                      <a:pt x="155" y="75"/>
                      <a:pt x="155" y="75"/>
                      <a:pt x="155" y="75"/>
                    </a:cubicBezTo>
                    <a:cubicBezTo>
                      <a:pt x="164" y="71"/>
                      <a:pt x="164" y="71"/>
                      <a:pt x="164" y="71"/>
                    </a:cubicBezTo>
                    <a:cubicBezTo>
                      <a:pt x="164" y="71"/>
                      <a:pt x="174" y="74"/>
                      <a:pt x="177" y="74"/>
                    </a:cubicBezTo>
                    <a:cubicBezTo>
                      <a:pt x="180" y="74"/>
                      <a:pt x="187" y="72"/>
                      <a:pt x="193" y="73"/>
                    </a:cubicBezTo>
                    <a:cubicBezTo>
                      <a:pt x="199" y="74"/>
                      <a:pt x="210" y="74"/>
                      <a:pt x="210" y="74"/>
                    </a:cubicBezTo>
                    <a:cubicBezTo>
                      <a:pt x="220" y="85"/>
                      <a:pt x="220" y="85"/>
                      <a:pt x="220" y="85"/>
                    </a:cubicBezTo>
                    <a:lnTo>
                      <a:pt x="230" y="84"/>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79" name="Freeform 101">
                <a:extLst>
                  <a:ext uri="{FF2B5EF4-FFF2-40B4-BE49-F238E27FC236}">
                    <a16:creationId xmlns:a16="http://schemas.microsoft.com/office/drawing/2014/main" id="{6034FE0D-6AC7-45A4-B8AC-42354E9F6C7A}"/>
                  </a:ext>
                </a:extLst>
              </p:cNvPr>
              <p:cNvSpPr>
                <a:spLocks/>
              </p:cNvSpPr>
              <p:nvPr>
                <p:custDataLst>
                  <p:tags r:id="rId60"/>
                </p:custDataLst>
              </p:nvPr>
            </p:nvSpPr>
            <p:spPr bwMode="gray">
              <a:xfrm>
                <a:off x="4856134" y="2987686"/>
                <a:ext cx="82550" cy="42864"/>
              </a:xfrm>
              <a:custGeom>
                <a:avLst/>
                <a:gdLst>
                  <a:gd name="T0" fmla="*/ 18 w 138"/>
                  <a:gd name="T1" fmla="*/ 80 h 80"/>
                  <a:gd name="T2" fmla="*/ 27 w 138"/>
                  <a:gd name="T3" fmla="*/ 79 h 80"/>
                  <a:gd name="T4" fmla="*/ 29 w 138"/>
                  <a:gd name="T5" fmla="*/ 70 h 80"/>
                  <a:gd name="T6" fmla="*/ 35 w 138"/>
                  <a:gd name="T7" fmla="*/ 76 h 80"/>
                  <a:gd name="T8" fmla="*/ 47 w 138"/>
                  <a:gd name="T9" fmla="*/ 75 h 80"/>
                  <a:gd name="T10" fmla="*/ 53 w 138"/>
                  <a:gd name="T11" fmla="*/ 67 h 80"/>
                  <a:gd name="T12" fmla="*/ 59 w 138"/>
                  <a:gd name="T13" fmla="*/ 75 h 80"/>
                  <a:gd name="T14" fmla="*/ 72 w 138"/>
                  <a:gd name="T15" fmla="*/ 75 h 80"/>
                  <a:gd name="T16" fmla="*/ 82 w 138"/>
                  <a:gd name="T17" fmla="*/ 75 h 80"/>
                  <a:gd name="T18" fmla="*/ 83 w 138"/>
                  <a:gd name="T19" fmla="*/ 62 h 80"/>
                  <a:gd name="T20" fmla="*/ 93 w 138"/>
                  <a:gd name="T21" fmla="*/ 61 h 80"/>
                  <a:gd name="T22" fmla="*/ 100 w 138"/>
                  <a:gd name="T23" fmla="*/ 53 h 80"/>
                  <a:gd name="T24" fmla="*/ 97 w 138"/>
                  <a:gd name="T25" fmla="*/ 40 h 80"/>
                  <a:gd name="T26" fmla="*/ 106 w 138"/>
                  <a:gd name="T27" fmla="*/ 36 h 80"/>
                  <a:gd name="T28" fmla="*/ 122 w 138"/>
                  <a:gd name="T29" fmla="*/ 32 h 80"/>
                  <a:gd name="T30" fmla="*/ 125 w 138"/>
                  <a:gd name="T31" fmla="*/ 24 h 80"/>
                  <a:gd name="T32" fmla="*/ 138 w 138"/>
                  <a:gd name="T33" fmla="*/ 22 h 80"/>
                  <a:gd name="T34" fmla="*/ 128 w 138"/>
                  <a:gd name="T35" fmla="*/ 15 h 80"/>
                  <a:gd name="T36" fmla="*/ 125 w 138"/>
                  <a:gd name="T37" fmla="*/ 5 h 80"/>
                  <a:gd name="T38" fmla="*/ 118 w 138"/>
                  <a:gd name="T39" fmla="*/ 0 h 80"/>
                  <a:gd name="T40" fmla="*/ 115 w 138"/>
                  <a:gd name="T41" fmla="*/ 8 h 80"/>
                  <a:gd name="T42" fmla="*/ 113 w 138"/>
                  <a:gd name="T43" fmla="*/ 20 h 80"/>
                  <a:gd name="T44" fmla="*/ 97 w 138"/>
                  <a:gd name="T45" fmla="*/ 15 h 80"/>
                  <a:gd name="T46" fmla="*/ 90 w 138"/>
                  <a:gd name="T47" fmla="*/ 19 h 80"/>
                  <a:gd name="T48" fmla="*/ 57 w 138"/>
                  <a:gd name="T49" fmla="*/ 18 h 80"/>
                  <a:gd name="T50" fmla="*/ 50 w 138"/>
                  <a:gd name="T51" fmla="*/ 27 h 80"/>
                  <a:gd name="T52" fmla="*/ 35 w 138"/>
                  <a:gd name="T53" fmla="*/ 25 h 80"/>
                  <a:gd name="T54" fmla="*/ 26 w 138"/>
                  <a:gd name="T55" fmla="*/ 21 h 80"/>
                  <a:gd name="T56" fmla="*/ 14 w 138"/>
                  <a:gd name="T57" fmla="*/ 25 h 80"/>
                  <a:gd name="T58" fmla="*/ 5 w 138"/>
                  <a:gd name="T59" fmla="*/ 25 h 80"/>
                  <a:gd name="T60" fmla="*/ 0 w 138"/>
                  <a:gd name="T61" fmla="*/ 34 h 80"/>
                  <a:gd name="T62" fmla="*/ 8 w 138"/>
                  <a:gd name="T63" fmla="*/ 37 h 80"/>
                  <a:gd name="T64" fmla="*/ 3 w 138"/>
                  <a:gd name="T65" fmla="*/ 62 h 80"/>
                  <a:gd name="T66" fmla="*/ 23 w 138"/>
                  <a:gd name="T67" fmla="*/ 70 h 80"/>
                  <a:gd name="T68" fmla="*/ 18 w 138"/>
                  <a:gd name="T6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8" h="80">
                    <a:moveTo>
                      <a:pt x="18" y="80"/>
                    </a:moveTo>
                    <a:cubicBezTo>
                      <a:pt x="27" y="79"/>
                      <a:pt x="27" y="79"/>
                      <a:pt x="27" y="79"/>
                    </a:cubicBezTo>
                    <a:cubicBezTo>
                      <a:pt x="29" y="70"/>
                      <a:pt x="29" y="70"/>
                      <a:pt x="29" y="70"/>
                    </a:cubicBezTo>
                    <a:cubicBezTo>
                      <a:pt x="35" y="76"/>
                      <a:pt x="35" y="76"/>
                      <a:pt x="35" y="76"/>
                    </a:cubicBezTo>
                    <a:cubicBezTo>
                      <a:pt x="47" y="75"/>
                      <a:pt x="47" y="75"/>
                      <a:pt x="47" y="75"/>
                    </a:cubicBezTo>
                    <a:cubicBezTo>
                      <a:pt x="53" y="67"/>
                      <a:pt x="53" y="67"/>
                      <a:pt x="53" y="67"/>
                    </a:cubicBezTo>
                    <a:cubicBezTo>
                      <a:pt x="53" y="67"/>
                      <a:pt x="53" y="74"/>
                      <a:pt x="59" y="75"/>
                    </a:cubicBezTo>
                    <a:cubicBezTo>
                      <a:pt x="65" y="76"/>
                      <a:pt x="72" y="75"/>
                      <a:pt x="72" y="75"/>
                    </a:cubicBezTo>
                    <a:cubicBezTo>
                      <a:pt x="72" y="75"/>
                      <a:pt x="77" y="77"/>
                      <a:pt x="82" y="75"/>
                    </a:cubicBezTo>
                    <a:cubicBezTo>
                      <a:pt x="87" y="73"/>
                      <a:pt x="83" y="62"/>
                      <a:pt x="83" y="62"/>
                    </a:cubicBezTo>
                    <a:cubicBezTo>
                      <a:pt x="93" y="61"/>
                      <a:pt x="93" y="61"/>
                      <a:pt x="93" y="61"/>
                    </a:cubicBezTo>
                    <a:cubicBezTo>
                      <a:pt x="100" y="53"/>
                      <a:pt x="100" y="53"/>
                      <a:pt x="100" y="53"/>
                    </a:cubicBezTo>
                    <a:cubicBezTo>
                      <a:pt x="100" y="53"/>
                      <a:pt x="97" y="44"/>
                      <a:pt x="97" y="40"/>
                    </a:cubicBezTo>
                    <a:cubicBezTo>
                      <a:pt x="97" y="36"/>
                      <a:pt x="106" y="36"/>
                      <a:pt x="106" y="36"/>
                    </a:cubicBezTo>
                    <a:cubicBezTo>
                      <a:pt x="106" y="36"/>
                      <a:pt x="116" y="36"/>
                      <a:pt x="122" y="32"/>
                    </a:cubicBezTo>
                    <a:cubicBezTo>
                      <a:pt x="128" y="28"/>
                      <a:pt x="125" y="24"/>
                      <a:pt x="125" y="24"/>
                    </a:cubicBezTo>
                    <a:cubicBezTo>
                      <a:pt x="138" y="22"/>
                      <a:pt x="138" y="22"/>
                      <a:pt x="138" y="22"/>
                    </a:cubicBezTo>
                    <a:cubicBezTo>
                      <a:pt x="128" y="15"/>
                      <a:pt x="128" y="15"/>
                      <a:pt x="128" y="15"/>
                    </a:cubicBezTo>
                    <a:cubicBezTo>
                      <a:pt x="125" y="5"/>
                      <a:pt x="125" y="5"/>
                      <a:pt x="125" y="5"/>
                    </a:cubicBezTo>
                    <a:cubicBezTo>
                      <a:pt x="118" y="0"/>
                      <a:pt x="118" y="0"/>
                      <a:pt x="118" y="0"/>
                    </a:cubicBezTo>
                    <a:cubicBezTo>
                      <a:pt x="115" y="8"/>
                      <a:pt x="115" y="8"/>
                      <a:pt x="115" y="8"/>
                    </a:cubicBezTo>
                    <a:cubicBezTo>
                      <a:pt x="113" y="20"/>
                      <a:pt x="113" y="20"/>
                      <a:pt x="113" y="20"/>
                    </a:cubicBezTo>
                    <a:cubicBezTo>
                      <a:pt x="97" y="15"/>
                      <a:pt x="97" y="15"/>
                      <a:pt x="97" y="15"/>
                    </a:cubicBezTo>
                    <a:cubicBezTo>
                      <a:pt x="90" y="19"/>
                      <a:pt x="90" y="19"/>
                      <a:pt x="90" y="19"/>
                    </a:cubicBezTo>
                    <a:cubicBezTo>
                      <a:pt x="57" y="18"/>
                      <a:pt x="57" y="18"/>
                      <a:pt x="57" y="18"/>
                    </a:cubicBezTo>
                    <a:cubicBezTo>
                      <a:pt x="57" y="18"/>
                      <a:pt x="57" y="27"/>
                      <a:pt x="50" y="27"/>
                    </a:cubicBezTo>
                    <a:cubicBezTo>
                      <a:pt x="43" y="27"/>
                      <a:pt x="35" y="25"/>
                      <a:pt x="35" y="25"/>
                    </a:cubicBezTo>
                    <a:cubicBezTo>
                      <a:pt x="35" y="25"/>
                      <a:pt x="29" y="21"/>
                      <a:pt x="26" y="21"/>
                    </a:cubicBezTo>
                    <a:cubicBezTo>
                      <a:pt x="23" y="21"/>
                      <a:pt x="14" y="25"/>
                      <a:pt x="14" y="25"/>
                    </a:cubicBezTo>
                    <a:cubicBezTo>
                      <a:pt x="5" y="25"/>
                      <a:pt x="5" y="25"/>
                      <a:pt x="5" y="25"/>
                    </a:cubicBezTo>
                    <a:cubicBezTo>
                      <a:pt x="4" y="30"/>
                      <a:pt x="0" y="34"/>
                      <a:pt x="0" y="34"/>
                    </a:cubicBezTo>
                    <a:cubicBezTo>
                      <a:pt x="8" y="37"/>
                      <a:pt x="8" y="37"/>
                      <a:pt x="8" y="37"/>
                    </a:cubicBezTo>
                    <a:cubicBezTo>
                      <a:pt x="3" y="62"/>
                      <a:pt x="3" y="62"/>
                      <a:pt x="3" y="62"/>
                    </a:cubicBezTo>
                    <a:cubicBezTo>
                      <a:pt x="3" y="62"/>
                      <a:pt x="26" y="66"/>
                      <a:pt x="23" y="70"/>
                    </a:cubicBezTo>
                    <a:cubicBezTo>
                      <a:pt x="22" y="72"/>
                      <a:pt x="20" y="76"/>
                      <a:pt x="18" y="80"/>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80" name="Freeform 102">
                <a:extLst>
                  <a:ext uri="{FF2B5EF4-FFF2-40B4-BE49-F238E27FC236}">
                    <a16:creationId xmlns:a16="http://schemas.microsoft.com/office/drawing/2014/main" id="{A80DDB26-8E12-45CB-A7B8-BFF1389AB75A}"/>
                  </a:ext>
                </a:extLst>
              </p:cNvPr>
              <p:cNvSpPr>
                <a:spLocks/>
              </p:cNvSpPr>
              <p:nvPr>
                <p:custDataLst>
                  <p:tags r:id="rId61"/>
                </p:custDataLst>
              </p:nvPr>
            </p:nvSpPr>
            <p:spPr bwMode="gray">
              <a:xfrm>
                <a:off x="4941859" y="2909898"/>
                <a:ext cx="142874" cy="55562"/>
              </a:xfrm>
              <a:custGeom>
                <a:avLst/>
                <a:gdLst>
                  <a:gd name="T0" fmla="*/ 233 w 239"/>
                  <a:gd name="T1" fmla="*/ 23 h 98"/>
                  <a:gd name="T2" fmla="*/ 214 w 239"/>
                  <a:gd name="T3" fmla="*/ 19 h 98"/>
                  <a:gd name="T4" fmla="*/ 194 w 239"/>
                  <a:gd name="T5" fmla="*/ 6 h 98"/>
                  <a:gd name="T6" fmla="*/ 170 w 239"/>
                  <a:gd name="T7" fmla="*/ 14 h 98"/>
                  <a:gd name="T8" fmla="*/ 159 w 239"/>
                  <a:gd name="T9" fmla="*/ 10 h 98"/>
                  <a:gd name="T10" fmla="*/ 140 w 239"/>
                  <a:gd name="T11" fmla="*/ 9 h 98"/>
                  <a:gd name="T12" fmla="*/ 132 w 239"/>
                  <a:gd name="T13" fmla="*/ 18 h 98"/>
                  <a:gd name="T14" fmla="*/ 126 w 239"/>
                  <a:gd name="T15" fmla="*/ 11 h 98"/>
                  <a:gd name="T16" fmla="*/ 119 w 239"/>
                  <a:gd name="T17" fmla="*/ 11 h 98"/>
                  <a:gd name="T18" fmla="*/ 111 w 239"/>
                  <a:gd name="T19" fmla="*/ 2 h 98"/>
                  <a:gd name="T20" fmla="*/ 91 w 239"/>
                  <a:gd name="T21" fmla="*/ 8 h 98"/>
                  <a:gd name="T22" fmla="*/ 83 w 239"/>
                  <a:gd name="T23" fmla="*/ 2 h 98"/>
                  <a:gd name="T24" fmla="*/ 72 w 239"/>
                  <a:gd name="T25" fmla="*/ 9 h 98"/>
                  <a:gd name="T26" fmla="*/ 58 w 239"/>
                  <a:gd name="T27" fmla="*/ 15 h 98"/>
                  <a:gd name="T28" fmla="*/ 58 w 239"/>
                  <a:gd name="T29" fmla="*/ 28 h 98"/>
                  <a:gd name="T30" fmla="*/ 36 w 239"/>
                  <a:gd name="T31" fmla="*/ 40 h 98"/>
                  <a:gd name="T32" fmla="*/ 24 w 239"/>
                  <a:gd name="T33" fmla="*/ 39 h 98"/>
                  <a:gd name="T34" fmla="*/ 12 w 239"/>
                  <a:gd name="T35" fmla="*/ 41 h 98"/>
                  <a:gd name="T36" fmla="*/ 3 w 239"/>
                  <a:gd name="T37" fmla="*/ 46 h 98"/>
                  <a:gd name="T38" fmla="*/ 1 w 239"/>
                  <a:gd name="T39" fmla="*/ 60 h 98"/>
                  <a:gd name="T40" fmla="*/ 0 w 239"/>
                  <a:gd name="T41" fmla="*/ 70 h 98"/>
                  <a:gd name="T42" fmla="*/ 7 w 239"/>
                  <a:gd name="T43" fmla="*/ 75 h 98"/>
                  <a:gd name="T44" fmla="*/ 7 w 239"/>
                  <a:gd name="T45" fmla="*/ 87 h 98"/>
                  <a:gd name="T46" fmla="*/ 7 w 239"/>
                  <a:gd name="T47" fmla="*/ 87 h 98"/>
                  <a:gd name="T48" fmla="*/ 13 w 239"/>
                  <a:gd name="T49" fmla="*/ 92 h 98"/>
                  <a:gd name="T50" fmla="*/ 20 w 239"/>
                  <a:gd name="T51" fmla="*/ 81 h 98"/>
                  <a:gd name="T52" fmla="*/ 40 w 239"/>
                  <a:gd name="T53" fmla="*/ 97 h 98"/>
                  <a:gd name="T54" fmla="*/ 81 w 239"/>
                  <a:gd name="T55" fmla="*/ 94 h 98"/>
                  <a:gd name="T56" fmla="*/ 87 w 239"/>
                  <a:gd name="T57" fmla="*/ 78 h 98"/>
                  <a:gd name="T58" fmla="*/ 111 w 239"/>
                  <a:gd name="T59" fmla="*/ 81 h 98"/>
                  <a:gd name="T60" fmla="*/ 118 w 239"/>
                  <a:gd name="T61" fmla="*/ 73 h 98"/>
                  <a:gd name="T62" fmla="*/ 144 w 239"/>
                  <a:gd name="T63" fmla="*/ 69 h 98"/>
                  <a:gd name="T64" fmla="*/ 155 w 239"/>
                  <a:gd name="T65" fmla="*/ 53 h 98"/>
                  <a:gd name="T66" fmla="*/ 171 w 239"/>
                  <a:gd name="T67" fmla="*/ 53 h 98"/>
                  <a:gd name="T68" fmla="*/ 174 w 239"/>
                  <a:gd name="T69" fmla="*/ 63 h 98"/>
                  <a:gd name="T70" fmla="*/ 183 w 239"/>
                  <a:gd name="T71" fmla="*/ 64 h 98"/>
                  <a:gd name="T72" fmla="*/ 188 w 239"/>
                  <a:gd name="T73" fmla="*/ 53 h 98"/>
                  <a:gd name="T74" fmla="*/ 194 w 239"/>
                  <a:gd name="T75" fmla="*/ 63 h 98"/>
                  <a:gd name="T76" fmla="*/ 223 w 239"/>
                  <a:gd name="T77" fmla="*/ 59 h 98"/>
                  <a:gd name="T78" fmla="*/ 223 w 239"/>
                  <a:gd name="T79" fmla="*/ 59 h 98"/>
                  <a:gd name="T80" fmla="*/ 224 w 239"/>
                  <a:gd name="T81" fmla="*/ 51 h 98"/>
                  <a:gd name="T82" fmla="*/ 234 w 239"/>
                  <a:gd name="T83" fmla="*/ 43 h 98"/>
                  <a:gd name="T84" fmla="*/ 237 w 239"/>
                  <a:gd name="T85" fmla="*/ 30 h 98"/>
                  <a:gd name="T86" fmla="*/ 233 w 239"/>
                  <a:gd name="T87" fmla="*/ 2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9" h="98">
                    <a:moveTo>
                      <a:pt x="233" y="23"/>
                    </a:moveTo>
                    <a:cubicBezTo>
                      <a:pt x="227" y="23"/>
                      <a:pt x="221" y="25"/>
                      <a:pt x="214" y="19"/>
                    </a:cubicBezTo>
                    <a:cubicBezTo>
                      <a:pt x="207" y="13"/>
                      <a:pt x="208" y="6"/>
                      <a:pt x="194" y="6"/>
                    </a:cubicBezTo>
                    <a:cubicBezTo>
                      <a:pt x="180" y="6"/>
                      <a:pt x="175" y="14"/>
                      <a:pt x="170" y="14"/>
                    </a:cubicBezTo>
                    <a:cubicBezTo>
                      <a:pt x="165" y="14"/>
                      <a:pt x="159" y="10"/>
                      <a:pt x="159" y="10"/>
                    </a:cubicBezTo>
                    <a:cubicBezTo>
                      <a:pt x="140" y="9"/>
                      <a:pt x="140" y="9"/>
                      <a:pt x="140" y="9"/>
                    </a:cubicBezTo>
                    <a:cubicBezTo>
                      <a:pt x="140" y="9"/>
                      <a:pt x="141" y="18"/>
                      <a:pt x="132" y="18"/>
                    </a:cubicBezTo>
                    <a:cubicBezTo>
                      <a:pt x="123" y="18"/>
                      <a:pt x="126" y="11"/>
                      <a:pt x="126" y="11"/>
                    </a:cubicBezTo>
                    <a:cubicBezTo>
                      <a:pt x="119" y="11"/>
                      <a:pt x="119" y="11"/>
                      <a:pt x="119" y="11"/>
                    </a:cubicBezTo>
                    <a:cubicBezTo>
                      <a:pt x="119" y="11"/>
                      <a:pt x="118" y="4"/>
                      <a:pt x="111" y="2"/>
                    </a:cubicBezTo>
                    <a:cubicBezTo>
                      <a:pt x="104" y="0"/>
                      <a:pt x="94" y="8"/>
                      <a:pt x="91" y="8"/>
                    </a:cubicBezTo>
                    <a:cubicBezTo>
                      <a:pt x="89" y="8"/>
                      <a:pt x="86" y="5"/>
                      <a:pt x="83" y="2"/>
                    </a:cubicBezTo>
                    <a:cubicBezTo>
                      <a:pt x="72" y="9"/>
                      <a:pt x="72" y="9"/>
                      <a:pt x="72" y="9"/>
                    </a:cubicBezTo>
                    <a:cubicBezTo>
                      <a:pt x="58" y="15"/>
                      <a:pt x="58" y="15"/>
                      <a:pt x="58" y="15"/>
                    </a:cubicBezTo>
                    <a:cubicBezTo>
                      <a:pt x="58" y="28"/>
                      <a:pt x="58" y="28"/>
                      <a:pt x="58" y="28"/>
                    </a:cubicBezTo>
                    <a:cubicBezTo>
                      <a:pt x="58" y="28"/>
                      <a:pt x="43" y="35"/>
                      <a:pt x="36" y="40"/>
                    </a:cubicBezTo>
                    <a:cubicBezTo>
                      <a:pt x="31" y="43"/>
                      <a:pt x="25" y="41"/>
                      <a:pt x="24" y="39"/>
                    </a:cubicBezTo>
                    <a:cubicBezTo>
                      <a:pt x="21" y="40"/>
                      <a:pt x="15" y="40"/>
                      <a:pt x="12" y="41"/>
                    </a:cubicBezTo>
                    <a:cubicBezTo>
                      <a:pt x="8" y="42"/>
                      <a:pt x="3" y="46"/>
                      <a:pt x="3" y="46"/>
                    </a:cubicBezTo>
                    <a:cubicBezTo>
                      <a:pt x="1" y="60"/>
                      <a:pt x="1" y="60"/>
                      <a:pt x="1" y="60"/>
                    </a:cubicBezTo>
                    <a:cubicBezTo>
                      <a:pt x="0" y="70"/>
                      <a:pt x="0" y="70"/>
                      <a:pt x="0" y="70"/>
                    </a:cubicBezTo>
                    <a:cubicBezTo>
                      <a:pt x="0" y="70"/>
                      <a:pt x="6" y="69"/>
                      <a:pt x="7" y="75"/>
                    </a:cubicBezTo>
                    <a:cubicBezTo>
                      <a:pt x="7" y="78"/>
                      <a:pt x="7" y="83"/>
                      <a:pt x="7" y="87"/>
                    </a:cubicBezTo>
                    <a:cubicBezTo>
                      <a:pt x="7" y="87"/>
                      <a:pt x="7" y="87"/>
                      <a:pt x="7" y="87"/>
                    </a:cubicBezTo>
                    <a:cubicBezTo>
                      <a:pt x="13" y="92"/>
                      <a:pt x="13" y="92"/>
                      <a:pt x="13" y="92"/>
                    </a:cubicBezTo>
                    <a:cubicBezTo>
                      <a:pt x="20" y="81"/>
                      <a:pt x="20" y="81"/>
                      <a:pt x="20" y="81"/>
                    </a:cubicBezTo>
                    <a:cubicBezTo>
                      <a:pt x="20" y="81"/>
                      <a:pt x="23" y="98"/>
                      <a:pt x="40" y="97"/>
                    </a:cubicBezTo>
                    <a:cubicBezTo>
                      <a:pt x="57" y="96"/>
                      <a:pt x="81" y="94"/>
                      <a:pt x="81" y="94"/>
                    </a:cubicBezTo>
                    <a:cubicBezTo>
                      <a:pt x="87" y="78"/>
                      <a:pt x="87" y="78"/>
                      <a:pt x="87" y="78"/>
                    </a:cubicBezTo>
                    <a:cubicBezTo>
                      <a:pt x="111" y="81"/>
                      <a:pt x="111" y="81"/>
                      <a:pt x="111" y="81"/>
                    </a:cubicBezTo>
                    <a:cubicBezTo>
                      <a:pt x="118" y="73"/>
                      <a:pt x="118" y="73"/>
                      <a:pt x="118" y="73"/>
                    </a:cubicBezTo>
                    <a:cubicBezTo>
                      <a:pt x="118" y="73"/>
                      <a:pt x="141" y="72"/>
                      <a:pt x="144" y="69"/>
                    </a:cubicBezTo>
                    <a:cubicBezTo>
                      <a:pt x="147" y="66"/>
                      <a:pt x="155" y="53"/>
                      <a:pt x="155" y="53"/>
                    </a:cubicBezTo>
                    <a:cubicBezTo>
                      <a:pt x="171" y="53"/>
                      <a:pt x="171" y="53"/>
                      <a:pt x="171" y="53"/>
                    </a:cubicBezTo>
                    <a:cubicBezTo>
                      <a:pt x="174" y="63"/>
                      <a:pt x="174" y="63"/>
                      <a:pt x="174" y="63"/>
                    </a:cubicBezTo>
                    <a:cubicBezTo>
                      <a:pt x="183" y="64"/>
                      <a:pt x="183" y="64"/>
                      <a:pt x="183" y="64"/>
                    </a:cubicBezTo>
                    <a:cubicBezTo>
                      <a:pt x="183" y="64"/>
                      <a:pt x="183" y="53"/>
                      <a:pt x="188" y="53"/>
                    </a:cubicBezTo>
                    <a:cubicBezTo>
                      <a:pt x="193" y="53"/>
                      <a:pt x="194" y="63"/>
                      <a:pt x="194" y="63"/>
                    </a:cubicBezTo>
                    <a:cubicBezTo>
                      <a:pt x="194" y="63"/>
                      <a:pt x="215" y="57"/>
                      <a:pt x="223" y="59"/>
                    </a:cubicBezTo>
                    <a:cubicBezTo>
                      <a:pt x="223" y="59"/>
                      <a:pt x="223" y="59"/>
                      <a:pt x="223" y="59"/>
                    </a:cubicBezTo>
                    <a:cubicBezTo>
                      <a:pt x="224" y="51"/>
                      <a:pt x="224" y="51"/>
                      <a:pt x="224" y="51"/>
                    </a:cubicBezTo>
                    <a:cubicBezTo>
                      <a:pt x="224" y="51"/>
                      <a:pt x="232" y="49"/>
                      <a:pt x="234" y="43"/>
                    </a:cubicBezTo>
                    <a:cubicBezTo>
                      <a:pt x="236" y="37"/>
                      <a:pt x="237" y="30"/>
                      <a:pt x="237" y="30"/>
                    </a:cubicBezTo>
                    <a:cubicBezTo>
                      <a:pt x="237" y="30"/>
                      <a:pt x="239" y="23"/>
                      <a:pt x="233" y="23"/>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81" name="Freeform 103">
                <a:extLst>
                  <a:ext uri="{FF2B5EF4-FFF2-40B4-BE49-F238E27FC236}">
                    <a16:creationId xmlns:a16="http://schemas.microsoft.com/office/drawing/2014/main" id="{D5B5D5F1-1A72-48DE-9945-DC0FE6D06B90}"/>
                  </a:ext>
                </a:extLst>
              </p:cNvPr>
              <p:cNvSpPr>
                <a:spLocks/>
              </p:cNvSpPr>
              <p:nvPr>
                <p:custDataLst>
                  <p:tags r:id="rId62"/>
                </p:custDataLst>
              </p:nvPr>
            </p:nvSpPr>
            <p:spPr bwMode="gray">
              <a:xfrm>
                <a:off x="4925984" y="2940061"/>
                <a:ext cx="173036" cy="84138"/>
              </a:xfrm>
              <a:custGeom>
                <a:avLst/>
                <a:gdLst>
                  <a:gd name="T0" fmla="*/ 31 w 286"/>
                  <a:gd name="T1" fmla="*/ 43 h 148"/>
                  <a:gd name="T2" fmla="*/ 16 w 286"/>
                  <a:gd name="T3" fmla="*/ 43 h 148"/>
                  <a:gd name="T4" fmla="*/ 15 w 286"/>
                  <a:gd name="T5" fmla="*/ 52 h 148"/>
                  <a:gd name="T6" fmla="*/ 23 w 286"/>
                  <a:gd name="T7" fmla="*/ 53 h 148"/>
                  <a:gd name="T8" fmla="*/ 15 w 286"/>
                  <a:gd name="T9" fmla="*/ 65 h 148"/>
                  <a:gd name="T10" fmla="*/ 15 w 286"/>
                  <a:gd name="T11" fmla="*/ 79 h 148"/>
                  <a:gd name="T12" fmla="*/ 2 w 286"/>
                  <a:gd name="T13" fmla="*/ 81 h 148"/>
                  <a:gd name="T14" fmla="*/ 0 w 286"/>
                  <a:gd name="T15" fmla="*/ 85 h 148"/>
                  <a:gd name="T16" fmla="*/ 7 w 286"/>
                  <a:gd name="T17" fmla="*/ 90 h 148"/>
                  <a:gd name="T18" fmla="*/ 10 w 286"/>
                  <a:gd name="T19" fmla="*/ 100 h 148"/>
                  <a:gd name="T20" fmla="*/ 20 w 286"/>
                  <a:gd name="T21" fmla="*/ 107 h 148"/>
                  <a:gd name="T22" fmla="*/ 34 w 286"/>
                  <a:gd name="T23" fmla="*/ 120 h 148"/>
                  <a:gd name="T24" fmla="*/ 54 w 286"/>
                  <a:gd name="T25" fmla="*/ 137 h 148"/>
                  <a:gd name="T26" fmla="*/ 63 w 286"/>
                  <a:gd name="T27" fmla="*/ 141 h 148"/>
                  <a:gd name="T28" fmla="*/ 75 w 286"/>
                  <a:gd name="T29" fmla="*/ 141 h 148"/>
                  <a:gd name="T30" fmla="*/ 78 w 286"/>
                  <a:gd name="T31" fmla="*/ 148 h 148"/>
                  <a:gd name="T32" fmla="*/ 106 w 286"/>
                  <a:gd name="T33" fmla="*/ 145 h 148"/>
                  <a:gd name="T34" fmla="*/ 112 w 286"/>
                  <a:gd name="T35" fmla="*/ 139 h 148"/>
                  <a:gd name="T36" fmla="*/ 115 w 286"/>
                  <a:gd name="T37" fmla="*/ 140 h 148"/>
                  <a:gd name="T38" fmla="*/ 118 w 286"/>
                  <a:gd name="T39" fmla="*/ 136 h 148"/>
                  <a:gd name="T40" fmla="*/ 133 w 286"/>
                  <a:gd name="T41" fmla="*/ 136 h 148"/>
                  <a:gd name="T42" fmla="*/ 145 w 286"/>
                  <a:gd name="T43" fmla="*/ 125 h 148"/>
                  <a:gd name="T44" fmla="*/ 163 w 286"/>
                  <a:gd name="T45" fmla="*/ 125 h 148"/>
                  <a:gd name="T46" fmla="*/ 176 w 286"/>
                  <a:gd name="T47" fmla="*/ 131 h 148"/>
                  <a:gd name="T48" fmla="*/ 192 w 286"/>
                  <a:gd name="T49" fmla="*/ 127 h 148"/>
                  <a:gd name="T50" fmla="*/ 194 w 286"/>
                  <a:gd name="T51" fmla="*/ 118 h 148"/>
                  <a:gd name="T52" fmla="*/ 205 w 286"/>
                  <a:gd name="T53" fmla="*/ 120 h 148"/>
                  <a:gd name="T54" fmla="*/ 221 w 286"/>
                  <a:gd name="T55" fmla="*/ 110 h 148"/>
                  <a:gd name="T56" fmla="*/ 222 w 286"/>
                  <a:gd name="T57" fmla="*/ 96 h 148"/>
                  <a:gd name="T58" fmla="*/ 238 w 286"/>
                  <a:gd name="T59" fmla="*/ 83 h 148"/>
                  <a:gd name="T60" fmla="*/ 245 w 286"/>
                  <a:gd name="T61" fmla="*/ 66 h 148"/>
                  <a:gd name="T62" fmla="*/ 246 w 286"/>
                  <a:gd name="T63" fmla="*/ 48 h 148"/>
                  <a:gd name="T64" fmla="*/ 266 w 286"/>
                  <a:gd name="T65" fmla="*/ 41 h 148"/>
                  <a:gd name="T66" fmla="*/ 286 w 286"/>
                  <a:gd name="T67" fmla="*/ 27 h 148"/>
                  <a:gd name="T68" fmla="*/ 264 w 286"/>
                  <a:gd name="T69" fmla="*/ 19 h 148"/>
                  <a:gd name="T70" fmla="*/ 248 w 286"/>
                  <a:gd name="T71" fmla="*/ 6 h 148"/>
                  <a:gd name="T72" fmla="*/ 219 w 286"/>
                  <a:gd name="T73" fmla="*/ 10 h 148"/>
                  <a:gd name="T74" fmla="*/ 213 w 286"/>
                  <a:gd name="T75" fmla="*/ 0 h 148"/>
                  <a:gd name="T76" fmla="*/ 208 w 286"/>
                  <a:gd name="T77" fmla="*/ 11 h 148"/>
                  <a:gd name="T78" fmla="*/ 199 w 286"/>
                  <a:gd name="T79" fmla="*/ 10 h 148"/>
                  <a:gd name="T80" fmla="*/ 196 w 286"/>
                  <a:gd name="T81" fmla="*/ 0 h 148"/>
                  <a:gd name="T82" fmla="*/ 180 w 286"/>
                  <a:gd name="T83" fmla="*/ 0 h 148"/>
                  <a:gd name="T84" fmla="*/ 169 w 286"/>
                  <a:gd name="T85" fmla="*/ 16 h 148"/>
                  <a:gd name="T86" fmla="*/ 143 w 286"/>
                  <a:gd name="T87" fmla="*/ 20 h 148"/>
                  <a:gd name="T88" fmla="*/ 136 w 286"/>
                  <a:gd name="T89" fmla="*/ 28 h 148"/>
                  <a:gd name="T90" fmla="*/ 112 w 286"/>
                  <a:gd name="T91" fmla="*/ 25 h 148"/>
                  <a:gd name="T92" fmla="*/ 106 w 286"/>
                  <a:gd name="T93" fmla="*/ 41 h 148"/>
                  <a:gd name="T94" fmla="*/ 65 w 286"/>
                  <a:gd name="T95" fmla="*/ 44 h 148"/>
                  <a:gd name="T96" fmla="*/ 45 w 286"/>
                  <a:gd name="T97" fmla="*/ 28 h 148"/>
                  <a:gd name="T98" fmla="*/ 38 w 286"/>
                  <a:gd name="T99" fmla="*/ 39 h 148"/>
                  <a:gd name="T100" fmla="*/ 32 w 286"/>
                  <a:gd name="T101" fmla="*/ 34 h 148"/>
                  <a:gd name="T102" fmla="*/ 31 w 286"/>
                  <a:gd name="T103" fmla="*/ 4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6" h="148">
                    <a:moveTo>
                      <a:pt x="31" y="43"/>
                    </a:moveTo>
                    <a:cubicBezTo>
                      <a:pt x="16" y="43"/>
                      <a:pt x="16" y="43"/>
                      <a:pt x="16" y="43"/>
                    </a:cubicBezTo>
                    <a:cubicBezTo>
                      <a:pt x="15" y="52"/>
                      <a:pt x="15" y="52"/>
                      <a:pt x="15" y="52"/>
                    </a:cubicBezTo>
                    <a:cubicBezTo>
                      <a:pt x="23" y="53"/>
                      <a:pt x="23" y="53"/>
                      <a:pt x="23" y="53"/>
                    </a:cubicBezTo>
                    <a:cubicBezTo>
                      <a:pt x="15" y="65"/>
                      <a:pt x="15" y="65"/>
                      <a:pt x="15" y="65"/>
                    </a:cubicBezTo>
                    <a:cubicBezTo>
                      <a:pt x="15" y="79"/>
                      <a:pt x="15" y="79"/>
                      <a:pt x="15" y="79"/>
                    </a:cubicBezTo>
                    <a:cubicBezTo>
                      <a:pt x="2" y="81"/>
                      <a:pt x="2" y="81"/>
                      <a:pt x="2" y="81"/>
                    </a:cubicBezTo>
                    <a:cubicBezTo>
                      <a:pt x="0" y="85"/>
                      <a:pt x="0" y="85"/>
                      <a:pt x="0" y="85"/>
                    </a:cubicBezTo>
                    <a:cubicBezTo>
                      <a:pt x="7" y="90"/>
                      <a:pt x="7" y="90"/>
                      <a:pt x="7" y="90"/>
                    </a:cubicBezTo>
                    <a:cubicBezTo>
                      <a:pt x="10" y="100"/>
                      <a:pt x="10" y="100"/>
                      <a:pt x="10" y="100"/>
                    </a:cubicBezTo>
                    <a:cubicBezTo>
                      <a:pt x="20" y="107"/>
                      <a:pt x="20" y="107"/>
                      <a:pt x="20" y="107"/>
                    </a:cubicBezTo>
                    <a:cubicBezTo>
                      <a:pt x="20" y="107"/>
                      <a:pt x="32" y="117"/>
                      <a:pt x="34" y="120"/>
                    </a:cubicBezTo>
                    <a:cubicBezTo>
                      <a:pt x="36" y="123"/>
                      <a:pt x="54" y="137"/>
                      <a:pt x="54" y="137"/>
                    </a:cubicBezTo>
                    <a:cubicBezTo>
                      <a:pt x="63" y="141"/>
                      <a:pt x="63" y="141"/>
                      <a:pt x="63" y="141"/>
                    </a:cubicBezTo>
                    <a:cubicBezTo>
                      <a:pt x="75" y="141"/>
                      <a:pt x="75" y="141"/>
                      <a:pt x="75" y="141"/>
                    </a:cubicBezTo>
                    <a:cubicBezTo>
                      <a:pt x="78" y="148"/>
                      <a:pt x="78" y="148"/>
                      <a:pt x="78" y="148"/>
                    </a:cubicBezTo>
                    <a:cubicBezTo>
                      <a:pt x="106" y="145"/>
                      <a:pt x="106" y="145"/>
                      <a:pt x="106" y="145"/>
                    </a:cubicBezTo>
                    <a:cubicBezTo>
                      <a:pt x="112" y="139"/>
                      <a:pt x="112" y="139"/>
                      <a:pt x="112" y="139"/>
                    </a:cubicBezTo>
                    <a:cubicBezTo>
                      <a:pt x="115" y="140"/>
                      <a:pt x="115" y="140"/>
                      <a:pt x="115" y="140"/>
                    </a:cubicBezTo>
                    <a:cubicBezTo>
                      <a:pt x="118" y="136"/>
                      <a:pt x="118" y="136"/>
                      <a:pt x="118" y="136"/>
                    </a:cubicBezTo>
                    <a:cubicBezTo>
                      <a:pt x="133" y="136"/>
                      <a:pt x="133" y="136"/>
                      <a:pt x="133" y="136"/>
                    </a:cubicBezTo>
                    <a:cubicBezTo>
                      <a:pt x="133" y="136"/>
                      <a:pt x="142" y="131"/>
                      <a:pt x="145" y="125"/>
                    </a:cubicBezTo>
                    <a:cubicBezTo>
                      <a:pt x="148" y="119"/>
                      <a:pt x="163" y="125"/>
                      <a:pt x="163" y="125"/>
                    </a:cubicBezTo>
                    <a:cubicBezTo>
                      <a:pt x="176" y="131"/>
                      <a:pt x="176" y="131"/>
                      <a:pt x="176" y="131"/>
                    </a:cubicBezTo>
                    <a:cubicBezTo>
                      <a:pt x="192" y="127"/>
                      <a:pt x="192" y="127"/>
                      <a:pt x="192" y="127"/>
                    </a:cubicBezTo>
                    <a:cubicBezTo>
                      <a:pt x="194" y="118"/>
                      <a:pt x="194" y="118"/>
                      <a:pt x="194" y="118"/>
                    </a:cubicBezTo>
                    <a:cubicBezTo>
                      <a:pt x="205" y="120"/>
                      <a:pt x="205" y="120"/>
                      <a:pt x="205" y="120"/>
                    </a:cubicBezTo>
                    <a:cubicBezTo>
                      <a:pt x="205" y="120"/>
                      <a:pt x="215" y="116"/>
                      <a:pt x="221" y="110"/>
                    </a:cubicBezTo>
                    <a:cubicBezTo>
                      <a:pt x="227" y="104"/>
                      <a:pt x="222" y="96"/>
                      <a:pt x="222" y="96"/>
                    </a:cubicBezTo>
                    <a:cubicBezTo>
                      <a:pt x="222" y="96"/>
                      <a:pt x="228" y="88"/>
                      <a:pt x="238" y="83"/>
                    </a:cubicBezTo>
                    <a:cubicBezTo>
                      <a:pt x="248" y="78"/>
                      <a:pt x="245" y="66"/>
                      <a:pt x="245" y="66"/>
                    </a:cubicBezTo>
                    <a:cubicBezTo>
                      <a:pt x="245" y="66"/>
                      <a:pt x="245" y="54"/>
                      <a:pt x="246" y="48"/>
                    </a:cubicBezTo>
                    <a:cubicBezTo>
                      <a:pt x="247" y="42"/>
                      <a:pt x="256" y="42"/>
                      <a:pt x="266" y="41"/>
                    </a:cubicBezTo>
                    <a:cubicBezTo>
                      <a:pt x="276" y="40"/>
                      <a:pt x="286" y="27"/>
                      <a:pt x="286" y="27"/>
                    </a:cubicBezTo>
                    <a:cubicBezTo>
                      <a:pt x="286" y="27"/>
                      <a:pt x="270" y="20"/>
                      <a:pt x="264" y="19"/>
                    </a:cubicBezTo>
                    <a:cubicBezTo>
                      <a:pt x="258" y="18"/>
                      <a:pt x="256" y="8"/>
                      <a:pt x="248" y="6"/>
                    </a:cubicBezTo>
                    <a:cubicBezTo>
                      <a:pt x="240" y="4"/>
                      <a:pt x="219" y="10"/>
                      <a:pt x="219" y="10"/>
                    </a:cubicBezTo>
                    <a:cubicBezTo>
                      <a:pt x="219" y="10"/>
                      <a:pt x="218" y="0"/>
                      <a:pt x="213" y="0"/>
                    </a:cubicBezTo>
                    <a:cubicBezTo>
                      <a:pt x="208" y="0"/>
                      <a:pt x="208" y="11"/>
                      <a:pt x="208" y="11"/>
                    </a:cubicBezTo>
                    <a:cubicBezTo>
                      <a:pt x="199" y="10"/>
                      <a:pt x="199" y="10"/>
                      <a:pt x="199" y="10"/>
                    </a:cubicBezTo>
                    <a:cubicBezTo>
                      <a:pt x="196" y="0"/>
                      <a:pt x="196" y="0"/>
                      <a:pt x="196" y="0"/>
                    </a:cubicBezTo>
                    <a:cubicBezTo>
                      <a:pt x="180" y="0"/>
                      <a:pt x="180" y="0"/>
                      <a:pt x="180" y="0"/>
                    </a:cubicBezTo>
                    <a:cubicBezTo>
                      <a:pt x="180" y="0"/>
                      <a:pt x="172" y="13"/>
                      <a:pt x="169" y="16"/>
                    </a:cubicBezTo>
                    <a:cubicBezTo>
                      <a:pt x="166" y="19"/>
                      <a:pt x="143" y="20"/>
                      <a:pt x="143" y="20"/>
                    </a:cubicBezTo>
                    <a:cubicBezTo>
                      <a:pt x="136" y="28"/>
                      <a:pt x="136" y="28"/>
                      <a:pt x="136" y="28"/>
                    </a:cubicBezTo>
                    <a:cubicBezTo>
                      <a:pt x="112" y="25"/>
                      <a:pt x="112" y="25"/>
                      <a:pt x="112" y="25"/>
                    </a:cubicBezTo>
                    <a:cubicBezTo>
                      <a:pt x="106" y="41"/>
                      <a:pt x="106" y="41"/>
                      <a:pt x="106" y="41"/>
                    </a:cubicBezTo>
                    <a:cubicBezTo>
                      <a:pt x="106" y="41"/>
                      <a:pt x="82" y="43"/>
                      <a:pt x="65" y="44"/>
                    </a:cubicBezTo>
                    <a:cubicBezTo>
                      <a:pt x="48" y="45"/>
                      <a:pt x="45" y="28"/>
                      <a:pt x="45" y="28"/>
                    </a:cubicBezTo>
                    <a:cubicBezTo>
                      <a:pt x="38" y="39"/>
                      <a:pt x="38" y="39"/>
                      <a:pt x="38" y="39"/>
                    </a:cubicBezTo>
                    <a:cubicBezTo>
                      <a:pt x="32" y="34"/>
                      <a:pt x="32" y="34"/>
                      <a:pt x="32" y="34"/>
                    </a:cubicBezTo>
                    <a:cubicBezTo>
                      <a:pt x="31" y="39"/>
                      <a:pt x="31" y="43"/>
                      <a:pt x="31" y="43"/>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82" name="Freeform 104">
                <a:extLst>
                  <a:ext uri="{FF2B5EF4-FFF2-40B4-BE49-F238E27FC236}">
                    <a16:creationId xmlns:a16="http://schemas.microsoft.com/office/drawing/2014/main" id="{FA44152A-0916-4E73-AF8A-49E51FA2A9C0}"/>
                  </a:ext>
                </a:extLst>
              </p:cNvPr>
              <p:cNvSpPr>
                <a:spLocks/>
              </p:cNvSpPr>
              <p:nvPr>
                <p:custDataLst>
                  <p:tags r:id="rId63"/>
                </p:custDataLst>
              </p:nvPr>
            </p:nvSpPr>
            <p:spPr bwMode="gray">
              <a:xfrm>
                <a:off x="5032345" y="2713048"/>
                <a:ext cx="139699" cy="74612"/>
              </a:xfrm>
              <a:custGeom>
                <a:avLst/>
                <a:gdLst>
                  <a:gd name="T0" fmla="*/ 222 w 230"/>
                  <a:gd name="T1" fmla="*/ 42 h 132"/>
                  <a:gd name="T2" fmla="*/ 210 w 230"/>
                  <a:gd name="T3" fmla="*/ 38 h 132"/>
                  <a:gd name="T4" fmla="*/ 195 w 230"/>
                  <a:gd name="T5" fmla="*/ 30 h 132"/>
                  <a:gd name="T6" fmla="*/ 184 w 230"/>
                  <a:gd name="T7" fmla="*/ 20 h 132"/>
                  <a:gd name="T8" fmla="*/ 157 w 230"/>
                  <a:gd name="T9" fmla="*/ 17 h 132"/>
                  <a:gd name="T10" fmla="*/ 145 w 230"/>
                  <a:gd name="T11" fmla="*/ 4 h 132"/>
                  <a:gd name="T12" fmla="*/ 128 w 230"/>
                  <a:gd name="T13" fmla="*/ 12 h 132"/>
                  <a:gd name="T14" fmla="*/ 113 w 230"/>
                  <a:gd name="T15" fmla="*/ 8 h 132"/>
                  <a:gd name="T16" fmla="*/ 104 w 230"/>
                  <a:gd name="T17" fmla="*/ 13 h 132"/>
                  <a:gd name="T18" fmla="*/ 81 w 230"/>
                  <a:gd name="T19" fmla="*/ 7 h 132"/>
                  <a:gd name="T20" fmla="*/ 73 w 230"/>
                  <a:gd name="T21" fmla="*/ 9 h 132"/>
                  <a:gd name="T22" fmla="*/ 60 w 230"/>
                  <a:gd name="T23" fmla="*/ 2 h 132"/>
                  <a:gd name="T24" fmla="*/ 46 w 230"/>
                  <a:gd name="T25" fmla="*/ 5 h 132"/>
                  <a:gd name="T26" fmla="*/ 13 w 230"/>
                  <a:gd name="T27" fmla="*/ 11 h 132"/>
                  <a:gd name="T28" fmla="*/ 0 w 230"/>
                  <a:gd name="T29" fmla="*/ 16 h 132"/>
                  <a:gd name="T30" fmla="*/ 1 w 230"/>
                  <a:gd name="T31" fmla="*/ 23 h 132"/>
                  <a:gd name="T32" fmla="*/ 11 w 230"/>
                  <a:gd name="T33" fmla="*/ 60 h 132"/>
                  <a:gd name="T34" fmla="*/ 14 w 230"/>
                  <a:gd name="T35" fmla="*/ 64 h 132"/>
                  <a:gd name="T36" fmla="*/ 19 w 230"/>
                  <a:gd name="T37" fmla="*/ 64 h 132"/>
                  <a:gd name="T38" fmla="*/ 22 w 230"/>
                  <a:gd name="T39" fmla="*/ 70 h 132"/>
                  <a:gd name="T40" fmla="*/ 30 w 230"/>
                  <a:gd name="T41" fmla="*/ 69 h 132"/>
                  <a:gd name="T42" fmla="*/ 32 w 230"/>
                  <a:gd name="T43" fmla="*/ 75 h 132"/>
                  <a:gd name="T44" fmla="*/ 64 w 230"/>
                  <a:gd name="T45" fmla="*/ 71 h 132"/>
                  <a:gd name="T46" fmla="*/ 74 w 230"/>
                  <a:gd name="T47" fmla="*/ 86 h 132"/>
                  <a:gd name="T48" fmla="*/ 65 w 230"/>
                  <a:gd name="T49" fmla="*/ 98 h 132"/>
                  <a:gd name="T50" fmla="*/ 70 w 230"/>
                  <a:gd name="T51" fmla="*/ 108 h 132"/>
                  <a:gd name="T52" fmla="*/ 74 w 230"/>
                  <a:gd name="T53" fmla="*/ 108 h 132"/>
                  <a:gd name="T54" fmla="*/ 103 w 230"/>
                  <a:gd name="T55" fmla="*/ 119 h 132"/>
                  <a:gd name="T56" fmla="*/ 103 w 230"/>
                  <a:gd name="T57" fmla="*/ 132 h 132"/>
                  <a:gd name="T58" fmla="*/ 127 w 230"/>
                  <a:gd name="T59" fmla="*/ 127 h 132"/>
                  <a:gd name="T60" fmla="*/ 137 w 230"/>
                  <a:gd name="T61" fmla="*/ 132 h 132"/>
                  <a:gd name="T62" fmla="*/ 155 w 230"/>
                  <a:gd name="T63" fmla="*/ 132 h 132"/>
                  <a:gd name="T64" fmla="*/ 157 w 230"/>
                  <a:gd name="T65" fmla="*/ 122 h 132"/>
                  <a:gd name="T66" fmla="*/ 165 w 230"/>
                  <a:gd name="T67" fmla="*/ 130 h 132"/>
                  <a:gd name="T68" fmla="*/ 169 w 230"/>
                  <a:gd name="T69" fmla="*/ 122 h 132"/>
                  <a:gd name="T70" fmla="*/ 187 w 230"/>
                  <a:gd name="T71" fmla="*/ 115 h 132"/>
                  <a:gd name="T72" fmla="*/ 193 w 230"/>
                  <a:gd name="T73" fmla="*/ 123 h 132"/>
                  <a:gd name="T74" fmla="*/ 188 w 230"/>
                  <a:gd name="T75" fmla="*/ 103 h 132"/>
                  <a:gd name="T76" fmla="*/ 195 w 230"/>
                  <a:gd name="T77" fmla="*/ 96 h 132"/>
                  <a:gd name="T78" fmla="*/ 193 w 230"/>
                  <a:gd name="T79" fmla="*/ 81 h 132"/>
                  <a:gd name="T80" fmla="*/ 208 w 230"/>
                  <a:gd name="T81" fmla="*/ 79 h 132"/>
                  <a:gd name="T82" fmla="*/ 204 w 230"/>
                  <a:gd name="T83" fmla="*/ 66 h 132"/>
                  <a:gd name="T84" fmla="*/ 217 w 230"/>
                  <a:gd name="T85" fmla="*/ 71 h 132"/>
                  <a:gd name="T86" fmla="*/ 230 w 230"/>
                  <a:gd name="T87" fmla="*/ 65 h 132"/>
                  <a:gd name="T88" fmla="*/ 216 w 230"/>
                  <a:gd name="T89" fmla="*/ 50 h 132"/>
                  <a:gd name="T90" fmla="*/ 222 w 230"/>
                  <a:gd name="T91" fmla="*/ 4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 h="132">
                    <a:moveTo>
                      <a:pt x="222" y="42"/>
                    </a:moveTo>
                    <a:cubicBezTo>
                      <a:pt x="210" y="38"/>
                      <a:pt x="210" y="38"/>
                      <a:pt x="210" y="38"/>
                    </a:cubicBezTo>
                    <a:cubicBezTo>
                      <a:pt x="195" y="30"/>
                      <a:pt x="195" y="30"/>
                      <a:pt x="195" y="30"/>
                    </a:cubicBezTo>
                    <a:cubicBezTo>
                      <a:pt x="195" y="30"/>
                      <a:pt x="190" y="22"/>
                      <a:pt x="184" y="20"/>
                    </a:cubicBezTo>
                    <a:cubicBezTo>
                      <a:pt x="178" y="18"/>
                      <a:pt x="157" y="17"/>
                      <a:pt x="157" y="17"/>
                    </a:cubicBezTo>
                    <a:cubicBezTo>
                      <a:pt x="157" y="17"/>
                      <a:pt x="151" y="4"/>
                      <a:pt x="145" y="4"/>
                    </a:cubicBezTo>
                    <a:cubicBezTo>
                      <a:pt x="139" y="4"/>
                      <a:pt x="136" y="12"/>
                      <a:pt x="128" y="12"/>
                    </a:cubicBezTo>
                    <a:cubicBezTo>
                      <a:pt x="120" y="12"/>
                      <a:pt x="118" y="8"/>
                      <a:pt x="113" y="8"/>
                    </a:cubicBezTo>
                    <a:cubicBezTo>
                      <a:pt x="108" y="8"/>
                      <a:pt x="104" y="13"/>
                      <a:pt x="104" y="13"/>
                    </a:cubicBezTo>
                    <a:cubicBezTo>
                      <a:pt x="104" y="13"/>
                      <a:pt x="84" y="6"/>
                      <a:pt x="81" y="7"/>
                    </a:cubicBezTo>
                    <a:cubicBezTo>
                      <a:pt x="78" y="8"/>
                      <a:pt x="73" y="9"/>
                      <a:pt x="73" y="9"/>
                    </a:cubicBezTo>
                    <a:cubicBezTo>
                      <a:pt x="73" y="9"/>
                      <a:pt x="66" y="4"/>
                      <a:pt x="60" y="2"/>
                    </a:cubicBezTo>
                    <a:cubicBezTo>
                      <a:pt x="54" y="0"/>
                      <a:pt x="52" y="2"/>
                      <a:pt x="46" y="5"/>
                    </a:cubicBezTo>
                    <a:cubicBezTo>
                      <a:pt x="40" y="8"/>
                      <a:pt x="33" y="8"/>
                      <a:pt x="13" y="11"/>
                    </a:cubicBezTo>
                    <a:cubicBezTo>
                      <a:pt x="7" y="12"/>
                      <a:pt x="3" y="14"/>
                      <a:pt x="0" y="16"/>
                    </a:cubicBezTo>
                    <a:cubicBezTo>
                      <a:pt x="0" y="20"/>
                      <a:pt x="1" y="23"/>
                      <a:pt x="1" y="23"/>
                    </a:cubicBezTo>
                    <a:cubicBezTo>
                      <a:pt x="1" y="23"/>
                      <a:pt x="2" y="58"/>
                      <a:pt x="11" y="60"/>
                    </a:cubicBezTo>
                    <a:cubicBezTo>
                      <a:pt x="13" y="60"/>
                      <a:pt x="14" y="62"/>
                      <a:pt x="14" y="64"/>
                    </a:cubicBezTo>
                    <a:cubicBezTo>
                      <a:pt x="19" y="64"/>
                      <a:pt x="19" y="64"/>
                      <a:pt x="19" y="64"/>
                    </a:cubicBezTo>
                    <a:cubicBezTo>
                      <a:pt x="22" y="70"/>
                      <a:pt x="22" y="70"/>
                      <a:pt x="22" y="70"/>
                    </a:cubicBezTo>
                    <a:cubicBezTo>
                      <a:pt x="30" y="69"/>
                      <a:pt x="30" y="69"/>
                      <a:pt x="30" y="69"/>
                    </a:cubicBezTo>
                    <a:cubicBezTo>
                      <a:pt x="32" y="75"/>
                      <a:pt x="32" y="75"/>
                      <a:pt x="32" y="75"/>
                    </a:cubicBezTo>
                    <a:cubicBezTo>
                      <a:pt x="32" y="75"/>
                      <a:pt x="56" y="72"/>
                      <a:pt x="64" y="71"/>
                    </a:cubicBezTo>
                    <a:cubicBezTo>
                      <a:pt x="72" y="70"/>
                      <a:pt x="75" y="81"/>
                      <a:pt x="74" y="86"/>
                    </a:cubicBezTo>
                    <a:cubicBezTo>
                      <a:pt x="73" y="91"/>
                      <a:pt x="65" y="98"/>
                      <a:pt x="65" y="98"/>
                    </a:cubicBezTo>
                    <a:cubicBezTo>
                      <a:pt x="70" y="108"/>
                      <a:pt x="70" y="108"/>
                      <a:pt x="70" y="108"/>
                    </a:cubicBezTo>
                    <a:cubicBezTo>
                      <a:pt x="71" y="108"/>
                      <a:pt x="73" y="108"/>
                      <a:pt x="74" y="108"/>
                    </a:cubicBezTo>
                    <a:cubicBezTo>
                      <a:pt x="87" y="110"/>
                      <a:pt x="103" y="119"/>
                      <a:pt x="103" y="119"/>
                    </a:cubicBezTo>
                    <a:cubicBezTo>
                      <a:pt x="103" y="132"/>
                      <a:pt x="103" y="132"/>
                      <a:pt x="103" y="132"/>
                    </a:cubicBezTo>
                    <a:cubicBezTo>
                      <a:pt x="103" y="132"/>
                      <a:pt x="119" y="128"/>
                      <a:pt x="127" y="127"/>
                    </a:cubicBezTo>
                    <a:cubicBezTo>
                      <a:pt x="135" y="126"/>
                      <a:pt x="137" y="132"/>
                      <a:pt x="137" y="132"/>
                    </a:cubicBezTo>
                    <a:cubicBezTo>
                      <a:pt x="155" y="132"/>
                      <a:pt x="155" y="132"/>
                      <a:pt x="155" y="132"/>
                    </a:cubicBezTo>
                    <a:cubicBezTo>
                      <a:pt x="157" y="122"/>
                      <a:pt x="157" y="122"/>
                      <a:pt x="157" y="122"/>
                    </a:cubicBezTo>
                    <a:cubicBezTo>
                      <a:pt x="165" y="130"/>
                      <a:pt x="165" y="130"/>
                      <a:pt x="165" y="130"/>
                    </a:cubicBezTo>
                    <a:cubicBezTo>
                      <a:pt x="169" y="122"/>
                      <a:pt x="169" y="122"/>
                      <a:pt x="169" y="122"/>
                    </a:cubicBezTo>
                    <a:cubicBezTo>
                      <a:pt x="169" y="122"/>
                      <a:pt x="177" y="115"/>
                      <a:pt x="187" y="115"/>
                    </a:cubicBezTo>
                    <a:cubicBezTo>
                      <a:pt x="197" y="115"/>
                      <a:pt x="186" y="124"/>
                      <a:pt x="193" y="123"/>
                    </a:cubicBezTo>
                    <a:cubicBezTo>
                      <a:pt x="200" y="122"/>
                      <a:pt x="193" y="111"/>
                      <a:pt x="188" y="103"/>
                    </a:cubicBezTo>
                    <a:cubicBezTo>
                      <a:pt x="183" y="95"/>
                      <a:pt x="195" y="96"/>
                      <a:pt x="195" y="96"/>
                    </a:cubicBezTo>
                    <a:cubicBezTo>
                      <a:pt x="195" y="96"/>
                      <a:pt x="191" y="88"/>
                      <a:pt x="193" y="81"/>
                    </a:cubicBezTo>
                    <a:cubicBezTo>
                      <a:pt x="195" y="74"/>
                      <a:pt x="208" y="79"/>
                      <a:pt x="208" y="79"/>
                    </a:cubicBezTo>
                    <a:cubicBezTo>
                      <a:pt x="204" y="66"/>
                      <a:pt x="204" y="66"/>
                      <a:pt x="204" y="66"/>
                    </a:cubicBezTo>
                    <a:cubicBezTo>
                      <a:pt x="204" y="66"/>
                      <a:pt x="211" y="71"/>
                      <a:pt x="217" y="71"/>
                    </a:cubicBezTo>
                    <a:cubicBezTo>
                      <a:pt x="223" y="71"/>
                      <a:pt x="230" y="65"/>
                      <a:pt x="230" y="65"/>
                    </a:cubicBezTo>
                    <a:cubicBezTo>
                      <a:pt x="230" y="65"/>
                      <a:pt x="214" y="55"/>
                      <a:pt x="216" y="50"/>
                    </a:cubicBezTo>
                    <a:cubicBezTo>
                      <a:pt x="217" y="48"/>
                      <a:pt x="219" y="45"/>
                      <a:pt x="222" y="42"/>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83" name="Freeform 105">
                <a:extLst>
                  <a:ext uri="{FF2B5EF4-FFF2-40B4-BE49-F238E27FC236}">
                    <a16:creationId xmlns:a16="http://schemas.microsoft.com/office/drawing/2014/main" id="{9814AE6B-7F91-403E-B842-6CFD47D00E57}"/>
                  </a:ext>
                </a:extLst>
              </p:cNvPr>
              <p:cNvSpPr>
                <a:spLocks/>
              </p:cNvSpPr>
              <p:nvPr>
                <p:custDataLst>
                  <p:tags r:id="rId64"/>
                </p:custDataLst>
              </p:nvPr>
            </p:nvSpPr>
            <p:spPr bwMode="gray">
              <a:xfrm>
                <a:off x="4667223" y="2960699"/>
                <a:ext cx="119063" cy="61912"/>
              </a:xfrm>
              <a:custGeom>
                <a:avLst/>
                <a:gdLst>
                  <a:gd name="T0" fmla="*/ 93 w 196"/>
                  <a:gd name="T1" fmla="*/ 17 h 109"/>
                  <a:gd name="T2" fmla="*/ 81 w 196"/>
                  <a:gd name="T3" fmla="*/ 17 h 109"/>
                  <a:gd name="T4" fmla="*/ 70 w 196"/>
                  <a:gd name="T5" fmla="*/ 15 h 109"/>
                  <a:gd name="T6" fmla="*/ 70 w 196"/>
                  <a:gd name="T7" fmla="*/ 16 h 109"/>
                  <a:gd name="T8" fmla="*/ 65 w 196"/>
                  <a:gd name="T9" fmla="*/ 26 h 109"/>
                  <a:gd name="T10" fmla="*/ 52 w 196"/>
                  <a:gd name="T11" fmla="*/ 19 h 109"/>
                  <a:gd name="T12" fmla="*/ 47 w 196"/>
                  <a:gd name="T13" fmla="*/ 28 h 109"/>
                  <a:gd name="T14" fmla="*/ 36 w 196"/>
                  <a:gd name="T15" fmla="*/ 43 h 109"/>
                  <a:gd name="T16" fmla="*/ 25 w 196"/>
                  <a:gd name="T17" fmla="*/ 43 h 109"/>
                  <a:gd name="T18" fmla="*/ 22 w 196"/>
                  <a:gd name="T19" fmla="*/ 56 h 109"/>
                  <a:gd name="T20" fmla="*/ 4 w 196"/>
                  <a:gd name="T21" fmla="*/ 72 h 109"/>
                  <a:gd name="T22" fmla="*/ 10 w 196"/>
                  <a:gd name="T23" fmla="*/ 80 h 109"/>
                  <a:gd name="T24" fmla="*/ 6 w 196"/>
                  <a:gd name="T25" fmla="*/ 89 h 109"/>
                  <a:gd name="T26" fmla="*/ 24 w 196"/>
                  <a:gd name="T27" fmla="*/ 73 h 109"/>
                  <a:gd name="T28" fmla="*/ 39 w 196"/>
                  <a:gd name="T29" fmla="*/ 75 h 109"/>
                  <a:gd name="T30" fmla="*/ 38 w 196"/>
                  <a:gd name="T31" fmla="*/ 93 h 109"/>
                  <a:gd name="T32" fmla="*/ 45 w 196"/>
                  <a:gd name="T33" fmla="*/ 103 h 109"/>
                  <a:gd name="T34" fmla="*/ 52 w 196"/>
                  <a:gd name="T35" fmla="*/ 103 h 109"/>
                  <a:gd name="T36" fmla="*/ 66 w 196"/>
                  <a:gd name="T37" fmla="*/ 96 h 109"/>
                  <a:gd name="T38" fmla="*/ 86 w 196"/>
                  <a:gd name="T39" fmla="*/ 101 h 109"/>
                  <a:gd name="T40" fmla="*/ 92 w 196"/>
                  <a:gd name="T41" fmla="*/ 81 h 109"/>
                  <a:gd name="T42" fmla="*/ 103 w 196"/>
                  <a:gd name="T43" fmla="*/ 75 h 109"/>
                  <a:gd name="T44" fmla="*/ 111 w 196"/>
                  <a:gd name="T45" fmla="*/ 90 h 109"/>
                  <a:gd name="T46" fmla="*/ 116 w 196"/>
                  <a:gd name="T47" fmla="*/ 91 h 109"/>
                  <a:gd name="T48" fmla="*/ 132 w 196"/>
                  <a:gd name="T49" fmla="*/ 108 h 109"/>
                  <a:gd name="T50" fmla="*/ 133 w 196"/>
                  <a:gd name="T51" fmla="*/ 93 h 109"/>
                  <a:gd name="T52" fmla="*/ 139 w 196"/>
                  <a:gd name="T53" fmla="*/ 87 h 109"/>
                  <a:gd name="T54" fmla="*/ 144 w 196"/>
                  <a:gd name="T55" fmla="*/ 71 h 109"/>
                  <a:gd name="T56" fmla="*/ 150 w 196"/>
                  <a:gd name="T57" fmla="*/ 83 h 109"/>
                  <a:gd name="T58" fmla="*/ 164 w 196"/>
                  <a:gd name="T59" fmla="*/ 80 h 109"/>
                  <a:gd name="T60" fmla="*/ 175 w 196"/>
                  <a:gd name="T61" fmla="*/ 85 h 109"/>
                  <a:gd name="T62" fmla="*/ 180 w 196"/>
                  <a:gd name="T63" fmla="*/ 79 h 109"/>
                  <a:gd name="T64" fmla="*/ 176 w 196"/>
                  <a:gd name="T65" fmla="*/ 66 h 109"/>
                  <a:gd name="T66" fmla="*/ 189 w 196"/>
                  <a:gd name="T67" fmla="*/ 68 h 109"/>
                  <a:gd name="T68" fmla="*/ 191 w 196"/>
                  <a:gd name="T69" fmla="*/ 55 h 109"/>
                  <a:gd name="T70" fmla="*/ 196 w 196"/>
                  <a:gd name="T71" fmla="*/ 54 h 109"/>
                  <a:gd name="T72" fmla="*/ 187 w 196"/>
                  <a:gd name="T73" fmla="*/ 43 h 109"/>
                  <a:gd name="T74" fmla="*/ 171 w 196"/>
                  <a:gd name="T75" fmla="*/ 55 h 109"/>
                  <a:gd name="T76" fmla="*/ 166 w 196"/>
                  <a:gd name="T77" fmla="*/ 43 h 109"/>
                  <a:gd name="T78" fmla="*/ 154 w 196"/>
                  <a:gd name="T79" fmla="*/ 44 h 109"/>
                  <a:gd name="T80" fmla="*/ 146 w 196"/>
                  <a:gd name="T81" fmla="*/ 42 h 109"/>
                  <a:gd name="T82" fmla="*/ 153 w 196"/>
                  <a:gd name="T83" fmla="*/ 29 h 109"/>
                  <a:gd name="T84" fmla="*/ 154 w 196"/>
                  <a:gd name="T85" fmla="*/ 19 h 109"/>
                  <a:gd name="T86" fmla="*/ 150 w 196"/>
                  <a:gd name="T87" fmla="*/ 19 h 109"/>
                  <a:gd name="T88" fmla="*/ 144 w 196"/>
                  <a:gd name="T89" fmla="*/ 11 h 109"/>
                  <a:gd name="T90" fmla="*/ 134 w 196"/>
                  <a:gd name="T91" fmla="*/ 8 h 109"/>
                  <a:gd name="T92" fmla="*/ 125 w 196"/>
                  <a:gd name="T93" fmla="*/ 8 h 109"/>
                  <a:gd name="T94" fmla="*/ 109 w 196"/>
                  <a:gd name="T95" fmla="*/ 1 h 109"/>
                  <a:gd name="T96" fmla="*/ 107 w 196"/>
                  <a:gd name="T97" fmla="*/ 14 h 109"/>
                  <a:gd name="T98" fmla="*/ 103 w 196"/>
                  <a:gd name="T99" fmla="*/ 10 h 109"/>
                  <a:gd name="T100" fmla="*/ 93 w 196"/>
                  <a:gd name="T101" fmla="*/ 1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6" h="109">
                    <a:moveTo>
                      <a:pt x="93" y="17"/>
                    </a:moveTo>
                    <a:cubicBezTo>
                      <a:pt x="81" y="17"/>
                      <a:pt x="81" y="17"/>
                      <a:pt x="81" y="17"/>
                    </a:cubicBezTo>
                    <a:cubicBezTo>
                      <a:pt x="70" y="15"/>
                      <a:pt x="70" y="15"/>
                      <a:pt x="70" y="15"/>
                    </a:cubicBezTo>
                    <a:cubicBezTo>
                      <a:pt x="70" y="16"/>
                      <a:pt x="70" y="16"/>
                      <a:pt x="70" y="16"/>
                    </a:cubicBezTo>
                    <a:cubicBezTo>
                      <a:pt x="65" y="26"/>
                      <a:pt x="65" y="26"/>
                      <a:pt x="65" y="26"/>
                    </a:cubicBezTo>
                    <a:cubicBezTo>
                      <a:pt x="52" y="19"/>
                      <a:pt x="52" y="19"/>
                      <a:pt x="52" y="19"/>
                    </a:cubicBezTo>
                    <a:cubicBezTo>
                      <a:pt x="47" y="28"/>
                      <a:pt x="47" y="28"/>
                      <a:pt x="47" y="28"/>
                    </a:cubicBezTo>
                    <a:cubicBezTo>
                      <a:pt x="47" y="28"/>
                      <a:pt x="41" y="37"/>
                      <a:pt x="36" y="43"/>
                    </a:cubicBezTo>
                    <a:cubicBezTo>
                      <a:pt x="31" y="49"/>
                      <a:pt x="25" y="43"/>
                      <a:pt x="25" y="43"/>
                    </a:cubicBezTo>
                    <a:cubicBezTo>
                      <a:pt x="25" y="43"/>
                      <a:pt x="28" y="49"/>
                      <a:pt x="22" y="56"/>
                    </a:cubicBezTo>
                    <a:cubicBezTo>
                      <a:pt x="16" y="63"/>
                      <a:pt x="4" y="72"/>
                      <a:pt x="4" y="72"/>
                    </a:cubicBezTo>
                    <a:cubicBezTo>
                      <a:pt x="10" y="80"/>
                      <a:pt x="10" y="80"/>
                      <a:pt x="10" y="80"/>
                    </a:cubicBezTo>
                    <a:cubicBezTo>
                      <a:pt x="10" y="80"/>
                      <a:pt x="0" y="88"/>
                      <a:pt x="6" y="89"/>
                    </a:cubicBezTo>
                    <a:cubicBezTo>
                      <a:pt x="12" y="90"/>
                      <a:pt x="17" y="77"/>
                      <a:pt x="24" y="73"/>
                    </a:cubicBezTo>
                    <a:cubicBezTo>
                      <a:pt x="31" y="69"/>
                      <a:pt x="39" y="75"/>
                      <a:pt x="39" y="75"/>
                    </a:cubicBezTo>
                    <a:cubicBezTo>
                      <a:pt x="38" y="93"/>
                      <a:pt x="38" y="93"/>
                      <a:pt x="38" y="93"/>
                    </a:cubicBezTo>
                    <a:cubicBezTo>
                      <a:pt x="38" y="93"/>
                      <a:pt x="45" y="99"/>
                      <a:pt x="45" y="103"/>
                    </a:cubicBezTo>
                    <a:cubicBezTo>
                      <a:pt x="52" y="103"/>
                      <a:pt x="52" y="103"/>
                      <a:pt x="52" y="103"/>
                    </a:cubicBezTo>
                    <a:cubicBezTo>
                      <a:pt x="52" y="103"/>
                      <a:pt x="61" y="96"/>
                      <a:pt x="66" y="96"/>
                    </a:cubicBezTo>
                    <a:cubicBezTo>
                      <a:pt x="71" y="96"/>
                      <a:pt x="76" y="109"/>
                      <a:pt x="86" y="101"/>
                    </a:cubicBezTo>
                    <a:cubicBezTo>
                      <a:pt x="96" y="92"/>
                      <a:pt x="92" y="81"/>
                      <a:pt x="92" y="81"/>
                    </a:cubicBezTo>
                    <a:cubicBezTo>
                      <a:pt x="92" y="81"/>
                      <a:pt x="99" y="75"/>
                      <a:pt x="103" y="75"/>
                    </a:cubicBezTo>
                    <a:cubicBezTo>
                      <a:pt x="107" y="75"/>
                      <a:pt x="111" y="90"/>
                      <a:pt x="111" y="90"/>
                    </a:cubicBezTo>
                    <a:cubicBezTo>
                      <a:pt x="116" y="91"/>
                      <a:pt x="116" y="91"/>
                      <a:pt x="116" y="91"/>
                    </a:cubicBezTo>
                    <a:cubicBezTo>
                      <a:pt x="132" y="108"/>
                      <a:pt x="132" y="108"/>
                      <a:pt x="132" y="108"/>
                    </a:cubicBezTo>
                    <a:cubicBezTo>
                      <a:pt x="133" y="93"/>
                      <a:pt x="133" y="93"/>
                      <a:pt x="133" y="93"/>
                    </a:cubicBezTo>
                    <a:cubicBezTo>
                      <a:pt x="139" y="87"/>
                      <a:pt x="139" y="87"/>
                      <a:pt x="139" y="87"/>
                    </a:cubicBezTo>
                    <a:cubicBezTo>
                      <a:pt x="144" y="71"/>
                      <a:pt x="144" y="71"/>
                      <a:pt x="144" y="71"/>
                    </a:cubicBezTo>
                    <a:cubicBezTo>
                      <a:pt x="150" y="83"/>
                      <a:pt x="150" y="83"/>
                      <a:pt x="150" y="83"/>
                    </a:cubicBezTo>
                    <a:cubicBezTo>
                      <a:pt x="164" y="80"/>
                      <a:pt x="164" y="80"/>
                      <a:pt x="164" y="80"/>
                    </a:cubicBezTo>
                    <a:cubicBezTo>
                      <a:pt x="175" y="85"/>
                      <a:pt x="175" y="85"/>
                      <a:pt x="175" y="85"/>
                    </a:cubicBezTo>
                    <a:cubicBezTo>
                      <a:pt x="180" y="79"/>
                      <a:pt x="180" y="79"/>
                      <a:pt x="180" y="79"/>
                    </a:cubicBezTo>
                    <a:cubicBezTo>
                      <a:pt x="180" y="79"/>
                      <a:pt x="165" y="68"/>
                      <a:pt x="176" y="66"/>
                    </a:cubicBezTo>
                    <a:cubicBezTo>
                      <a:pt x="187" y="64"/>
                      <a:pt x="189" y="68"/>
                      <a:pt x="189" y="68"/>
                    </a:cubicBezTo>
                    <a:cubicBezTo>
                      <a:pt x="191" y="55"/>
                      <a:pt x="191" y="55"/>
                      <a:pt x="191" y="55"/>
                    </a:cubicBezTo>
                    <a:cubicBezTo>
                      <a:pt x="196" y="54"/>
                      <a:pt x="196" y="54"/>
                      <a:pt x="196" y="54"/>
                    </a:cubicBezTo>
                    <a:cubicBezTo>
                      <a:pt x="195" y="50"/>
                      <a:pt x="192" y="44"/>
                      <a:pt x="187" y="43"/>
                    </a:cubicBezTo>
                    <a:cubicBezTo>
                      <a:pt x="176" y="43"/>
                      <a:pt x="178" y="52"/>
                      <a:pt x="171" y="55"/>
                    </a:cubicBezTo>
                    <a:cubicBezTo>
                      <a:pt x="163" y="57"/>
                      <a:pt x="166" y="43"/>
                      <a:pt x="166" y="43"/>
                    </a:cubicBezTo>
                    <a:cubicBezTo>
                      <a:pt x="154" y="44"/>
                      <a:pt x="154" y="44"/>
                      <a:pt x="154" y="44"/>
                    </a:cubicBezTo>
                    <a:cubicBezTo>
                      <a:pt x="154" y="44"/>
                      <a:pt x="150" y="44"/>
                      <a:pt x="146" y="42"/>
                    </a:cubicBezTo>
                    <a:cubicBezTo>
                      <a:pt x="142" y="39"/>
                      <a:pt x="148" y="31"/>
                      <a:pt x="153" y="29"/>
                    </a:cubicBezTo>
                    <a:cubicBezTo>
                      <a:pt x="159" y="27"/>
                      <a:pt x="154" y="19"/>
                      <a:pt x="154" y="19"/>
                    </a:cubicBezTo>
                    <a:cubicBezTo>
                      <a:pt x="150" y="19"/>
                      <a:pt x="150" y="19"/>
                      <a:pt x="150" y="19"/>
                    </a:cubicBezTo>
                    <a:cubicBezTo>
                      <a:pt x="144" y="11"/>
                      <a:pt x="144" y="11"/>
                      <a:pt x="144" y="11"/>
                    </a:cubicBezTo>
                    <a:cubicBezTo>
                      <a:pt x="134" y="8"/>
                      <a:pt x="134" y="8"/>
                      <a:pt x="134" y="8"/>
                    </a:cubicBezTo>
                    <a:cubicBezTo>
                      <a:pt x="125" y="8"/>
                      <a:pt x="125" y="8"/>
                      <a:pt x="125" y="8"/>
                    </a:cubicBezTo>
                    <a:cubicBezTo>
                      <a:pt x="125" y="8"/>
                      <a:pt x="116" y="0"/>
                      <a:pt x="109" y="1"/>
                    </a:cubicBezTo>
                    <a:cubicBezTo>
                      <a:pt x="102" y="2"/>
                      <a:pt x="107" y="14"/>
                      <a:pt x="107" y="14"/>
                    </a:cubicBezTo>
                    <a:cubicBezTo>
                      <a:pt x="103" y="10"/>
                      <a:pt x="103" y="10"/>
                      <a:pt x="103" y="10"/>
                    </a:cubicBezTo>
                    <a:lnTo>
                      <a:pt x="93" y="17"/>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84" name="Freeform 106">
                <a:extLst>
                  <a:ext uri="{FF2B5EF4-FFF2-40B4-BE49-F238E27FC236}">
                    <a16:creationId xmlns:a16="http://schemas.microsoft.com/office/drawing/2014/main" id="{E92C9001-2FF4-4B07-873F-24ADA007BFD5}"/>
                  </a:ext>
                </a:extLst>
              </p:cNvPr>
              <p:cNvSpPr>
                <a:spLocks noEditPoints="1"/>
              </p:cNvSpPr>
              <p:nvPr>
                <p:custDataLst>
                  <p:tags r:id="rId65"/>
                </p:custDataLst>
              </p:nvPr>
            </p:nvSpPr>
            <p:spPr bwMode="gray">
              <a:xfrm>
                <a:off x="4683097" y="2981336"/>
                <a:ext cx="314323" cy="309565"/>
              </a:xfrm>
              <a:custGeom>
                <a:avLst/>
                <a:gdLst>
                  <a:gd name="T0" fmla="*/ 341 w 523"/>
                  <a:gd name="T1" fmla="*/ 483 h 554"/>
                  <a:gd name="T2" fmla="*/ 278 w 523"/>
                  <a:gd name="T3" fmla="*/ 485 h 554"/>
                  <a:gd name="T4" fmla="*/ 281 w 523"/>
                  <a:gd name="T5" fmla="*/ 507 h 554"/>
                  <a:gd name="T6" fmla="*/ 330 w 523"/>
                  <a:gd name="T7" fmla="*/ 531 h 554"/>
                  <a:gd name="T8" fmla="*/ 372 w 523"/>
                  <a:gd name="T9" fmla="*/ 513 h 554"/>
                  <a:gd name="T10" fmla="*/ 378 w 523"/>
                  <a:gd name="T11" fmla="*/ 479 h 554"/>
                  <a:gd name="T12" fmla="*/ 68 w 523"/>
                  <a:gd name="T13" fmla="*/ 320 h 554"/>
                  <a:gd name="T14" fmla="*/ 75 w 523"/>
                  <a:gd name="T15" fmla="*/ 381 h 554"/>
                  <a:gd name="T16" fmla="*/ 78 w 523"/>
                  <a:gd name="T17" fmla="*/ 424 h 554"/>
                  <a:gd name="T18" fmla="*/ 103 w 523"/>
                  <a:gd name="T19" fmla="*/ 414 h 554"/>
                  <a:gd name="T20" fmla="*/ 133 w 523"/>
                  <a:gd name="T21" fmla="*/ 388 h 554"/>
                  <a:gd name="T22" fmla="*/ 140 w 523"/>
                  <a:gd name="T23" fmla="*/ 352 h 554"/>
                  <a:gd name="T24" fmla="*/ 481 w 523"/>
                  <a:gd name="T25" fmla="*/ 337 h 554"/>
                  <a:gd name="T26" fmla="*/ 414 w 523"/>
                  <a:gd name="T27" fmla="*/ 281 h 554"/>
                  <a:gd name="T28" fmla="*/ 311 w 523"/>
                  <a:gd name="T29" fmla="*/ 216 h 554"/>
                  <a:gd name="T30" fmla="*/ 249 w 523"/>
                  <a:gd name="T31" fmla="*/ 148 h 554"/>
                  <a:gd name="T32" fmla="*/ 244 w 523"/>
                  <a:gd name="T33" fmla="*/ 92 h 554"/>
                  <a:gd name="T34" fmla="*/ 294 w 523"/>
                  <a:gd name="T35" fmla="*/ 46 h 554"/>
                  <a:gd name="T36" fmla="*/ 265 w 523"/>
                  <a:gd name="T37" fmla="*/ 29 h 554"/>
                  <a:gd name="T38" fmla="*/ 243 w 523"/>
                  <a:gd name="T39" fmla="*/ 16 h 554"/>
                  <a:gd name="T40" fmla="*/ 195 w 523"/>
                  <a:gd name="T41" fmla="*/ 7 h 554"/>
                  <a:gd name="T42" fmla="*/ 165 w 523"/>
                  <a:gd name="T43" fmla="*/ 16 h 554"/>
                  <a:gd name="T44" fmla="*/ 154 w 523"/>
                  <a:gd name="T45" fmla="*/ 40 h 554"/>
                  <a:gd name="T46" fmla="*/ 124 w 523"/>
                  <a:gd name="T47" fmla="*/ 44 h 554"/>
                  <a:gd name="T48" fmla="*/ 107 w 523"/>
                  <a:gd name="T49" fmla="*/ 54 h 554"/>
                  <a:gd name="T50" fmla="*/ 85 w 523"/>
                  <a:gd name="T51" fmla="*/ 51 h 554"/>
                  <a:gd name="T52" fmla="*/ 60 w 523"/>
                  <a:gd name="T53" fmla="*/ 62 h 554"/>
                  <a:gd name="T54" fmla="*/ 19 w 523"/>
                  <a:gd name="T55" fmla="*/ 64 h 554"/>
                  <a:gd name="T56" fmla="*/ 28 w 523"/>
                  <a:gd name="T57" fmla="*/ 93 h 554"/>
                  <a:gd name="T58" fmla="*/ 6 w 523"/>
                  <a:gd name="T59" fmla="*/ 118 h 554"/>
                  <a:gd name="T60" fmla="*/ 12 w 523"/>
                  <a:gd name="T61" fmla="*/ 141 h 554"/>
                  <a:gd name="T62" fmla="*/ 45 w 523"/>
                  <a:gd name="T63" fmla="*/ 160 h 554"/>
                  <a:gd name="T64" fmla="*/ 58 w 523"/>
                  <a:gd name="T65" fmla="*/ 173 h 554"/>
                  <a:gd name="T66" fmla="*/ 160 w 523"/>
                  <a:gd name="T67" fmla="*/ 192 h 554"/>
                  <a:gd name="T68" fmla="*/ 193 w 523"/>
                  <a:gd name="T69" fmla="*/ 236 h 554"/>
                  <a:gd name="T70" fmla="*/ 259 w 523"/>
                  <a:gd name="T71" fmla="*/ 294 h 554"/>
                  <a:gd name="T72" fmla="*/ 325 w 523"/>
                  <a:gd name="T73" fmla="*/ 334 h 554"/>
                  <a:gd name="T74" fmla="*/ 397 w 523"/>
                  <a:gd name="T75" fmla="*/ 373 h 554"/>
                  <a:gd name="T76" fmla="*/ 418 w 523"/>
                  <a:gd name="T77" fmla="*/ 446 h 554"/>
                  <a:gd name="T78" fmla="*/ 395 w 523"/>
                  <a:gd name="T79" fmla="*/ 489 h 554"/>
                  <a:gd name="T80" fmla="*/ 435 w 523"/>
                  <a:gd name="T81" fmla="*/ 466 h 554"/>
                  <a:gd name="T82" fmla="*/ 452 w 523"/>
                  <a:gd name="T83" fmla="*/ 408 h 554"/>
                  <a:gd name="T84" fmla="*/ 468 w 523"/>
                  <a:gd name="T85" fmla="*/ 361 h 554"/>
                  <a:gd name="T86" fmla="*/ 515 w 523"/>
                  <a:gd name="T87" fmla="*/ 363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3" h="554">
                    <a:moveTo>
                      <a:pt x="378" y="479"/>
                    </a:moveTo>
                    <a:cubicBezTo>
                      <a:pt x="378" y="479"/>
                      <a:pt x="365" y="472"/>
                      <a:pt x="358" y="474"/>
                    </a:cubicBezTo>
                    <a:cubicBezTo>
                      <a:pt x="351" y="476"/>
                      <a:pt x="341" y="483"/>
                      <a:pt x="341" y="483"/>
                    </a:cubicBezTo>
                    <a:cubicBezTo>
                      <a:pt x="341" y="483"/>
                      <a:pt x="322" y="486"/>
                      <a:pt x="314" y="486"/>
                    </a:cubicBezTo>
                    <a:cubicBezTo>
                      <a:pt x="306" y="486"/>
                      <a:pt x="292" y="470"/>
                      <a:pt x="289" y="473"/>
                    </a:cubicBezTo>
                    <a:cubicBezTo>
                      <a:pt x="286" y="476"/>
                      <a:pt x="278" y="485"/>
                      <a:pt x="278" y="485"/>
                    </a:cubicBezTo>
                    <a:cubicBezTo>
                      <a:pt x="265" y="477"/>
                      <a:pt x="265" y="477"/>
                      <a:pt x="265" y="477"/>
                    </a:cubicBezTo>
                    <a:cubicBezTo>
                      <a:pt x="265" y="477"/>
                      <a:pt x="245" y="482"/>
                      <a:pt x="253" y="494"/>
                    </a:cubicBezTo>
                    <a:cubicBezTo>
                      <a:pt x="264" y="510"/>
                      <a:pt x="276" y="505"/>
                      <a:pt x="281" y="507"/>
                    </a:cubicBezTo>
                    <a:cubicBezTo>
                      <a:pt x="286" y="509"/>
                      <a:pt x="291" y="517"/>
                      <a:pt x="293" y="521"/>
                    </a:cubicBezTo>
                    <a:cubicBezTo>
                      <a:pt x="295" y="525"/>
                      <a:pt x="317" y="535"/>
                      <a:pt x="317" y="535"/>
                    </a:cubicBezTo>
                    <a:cubicBezTo>
                      <a:pt x="330" y="531"/>
                      <a:pt x="330" y="531"/>
                      <a:pt x="330" y="531"/>
                    </a:cubicBezTo>
                    <a:cubicBezTo>
                      <a:pt x="330" y="531"/>
                      <a:pt x="344" y="552"/>
                      <a:pt x="363" y="553"/>
                    </a:cubicBezTo>
                    <a:cubicBezTo>
                      <a:pt x="382" y="554"/>
                      <a:pt x="377" y="537"/>
                      <a:pt x="377" y="537"/>
                    </a:cubicBezTo>
                    <a:cubicBezTo>
                      <a:pt x="377" y="537"/>
                      <a:pt x="372" y="520"/>
                      <a:pt x="372" y="513"/>
                    </a:cubicBezTo>
                    <a:cubicBezTo>
                      <a:pt x="372" y="506"/>
                      <a:pt x="377" y="496"/>
                      <a:pt x="383" y="491"/>
                    </a:cubicBezTo>
                    <a:cubicBezTo>
                      <a:pt x="389" y="486"/>
                      <a:pt x="383" y="469"/>
                      <a:pt x="383" y="469"/>
                    </a:cubicBezTo>
                    <a:lnTo>
                      <a:pt x="378" y="479"/>
                    </a:lnTo>
                    <a:close/>
                    <a:moveTo>
                      <a:pt x="119" y="312"/>
                    </a:moveTo>
                    <a:cubicBezTo>
                      <a:pt x="107" y="311"/>
                      <a:pt x="95" y="332"/>
                      <a:pt x="87" y="332"/>
                    </a:cubicBezTo>
                    <a:cubicBezTo>
                      <a:pt x="79" y="332"/>
                      <a:pt x="68" y="320"/>
                      <a:pt x="68" y="320"/>
                    </a:cubicBezTo>
                    <a:cubicBezTo>
                      <a:pt x="64" y="331"/>
                      <a:pt x="64" y="331"/>
                      <a:pt x="64" y="331"/>
                    </a:cubicBezTo>
                    <a:cubicBezTo>
                      <a:pt x="64" y="331"/>
                      <a:pt x="79" y="344"/>
                      <a:pt x="79" y="354"/>
                    </a:cubicBezTo>
                    <a:cubicBezTo>
                      <a:pt x="79" y="364"/>
                      <a:pt x="75" y="381"/>
                      <a:pt x="75" y="381"/>
                    </a:cubicBezTo>
                    <a:cubicBezTo>
                      <a:pt x="81" y="388"/>
                      <a:pt x="81" y="388"/>
                      <a:pt x="81" y="388"/>
                    </a:cubicBezTo>
                    <a:cubicBezTo>
                      <a:pt x="73" y="393"/>
                      <a:pt x="73" y="393"/>
                      <a:pt x="73" y="393"/>
                    </a:cubicBezTo>
                    <a:cubicBezTo>
                      <a:pt x="78" y="424"/>
                      <a:pt x="78" y="424"/>
                      <a:pt x="78" y="424"/>
                    </a:cubicBezTo>
                    <a:cubicBezTo>
                      <a:pt x="69" y="424"/>
                      <a:pt x="69" y="424"/>
                      <a:pt x="69" y="424"/>
                    </a:cubicBezTo>
                    <a:cubicBezTo>
                      <a:pt x="82" y="435"/>
                      <a:pt x="82" y="435"/>
                      <a:pt x="82" y="435"/>
                    </a:cubicBezTo>
                    <a:cubicBezTo>
                      <a:pt x="98" y="435"/>
                      <a:pt x="103" y="414"/>
                      <a:pt x="103" y="414"/>
                    </a:cubicBezTo>
                    <a:cubicBezTo>
                      <a:pt x="103" y="414"/>
                      <a:pt x="115" y="430"/>
                      <a:pt x="124" y="423"/>
                    </a:cubicBezTo>
                    <a:cubicBezTo>
                      <a:pt x="133" y="416"/>
                      <a:pt x="129" y="398"/>
                      <a:pt x="129" y="398"/>
                    </a:cubicBezTo>
                    <a:cubicBezTo>
                      <a:pt x="133" y="388"/>
                      <a:pt x="133" y="388"/>
                      <a:pt x="133" y="388"/>
                    </a:cubicBezTo>
                    <a:cubicBezTo>
                      <a:pt x="133" y="371"/>
                      <a:pt x="133" y="371"/>
                      <a:pt x="133" y="371"/>
                    </a:cubicBezTo>
                    <a:cubicBezTo>
                      <a:pt x="133" y="371"/>
                      <a:pt x="127" y="369"/>
                      <a:pt x="128" y="364"/>
                    </a:cubicBezTo>
                    <a:cubicBezTo>
                      <a:pt x="129" y="359"/>
                      <a:pt x="140" y="359"/>
                      <a:pt x="140" y="352"/>
                    </a:cubicBezTo>
                    <a:cubicBezTo>
                      <a:pt x="140" y="345"/>
                      <a:pt x="131" y="313"/>
                      <a:pt x="119" y="312"/>
                    </a:cubicBezTo>
                    <a:close/>
                    <a:moveTo>
                      <a:pt x="515" y="363"/>
                    </a:moveTo>
                    <a:cubicBezTo>
                      <a:pt x="507" y="354"/>
                      <a:pt x="481" y="337"/>
                      <a:pt x="481" y="337"/>
                    </a:cubicBezTo>
                    <a:cubicBezTo>
                      <a:pt x="451" y="321"/>
                      <a:pt x="451" y="321"/>
                      <a:pt x="451" y="321"/>
                    </a:cubicBezTo>
                    <a:cubicBezTo>
                      <a:pt x="451" y="321"/>
                      <a:pt x="398" y="308"/>
                      <a:pt x="402" y="299"/>
                    </a:cubicBezTo>
                    <a:cubicBezTo>
                      <a:pt x="406" y="290"/>
                      <a:pt x="415" y="289"/>
                      <a:pt x="414" y="281"/>
                    </a:cubicBezTo>
                    <a:cubicBezTo>
                      <a:pt x="413" y="273"/>
                      <a:pt x="365" y="271"/>
                      <a:pt x="365" y="271"/>
                    </a:cubicBezTo>
                    <a:cubicBezTo>
                      <a:pt x="365" y="271"/>
                      <a:pt x="351" y="266"/>
                      <a:pt x="334" y="249"/>
                    </a:cubicBezTo>
                    <a:cubicBezTo>
                      <a:pt x="317" y="232"/>
                      <a:pt x="311" y="216"/>
                      <a:pt x="311" y="216"/>
                    </a:cubicBezTo>
                    <a:cubicBezTo>
                      <a:pt x="311" y="216"/>
                      <a:pt x="306" y="192"/>
                      <a:pt x="296" y="186"/>
                    </a:cubicBezTo>
                    <a:cubicBezTo>
                      <a:pt x="286" y="180"/>
                      <a:pt x="275" y="170"/>
                      <a:pt x="275" y="170"/>
                    </a:cubicBezTo>
                    <a:cubicBezTo>
                      <a:pt x="249" y="148"/>
                      <a:pt x="249" y="148"/>
                      <a:pt x="249" y="148"/>
                    </a:cubicBezTo>
                    <a:cubicBezTo>
                      <a:pt x="249" y="148"/>
                      <a:pt x="235" y="126"/>
                      <a:pt x="240" y="124"/>
                    </a:cubicBezTo>
                    <a:cubicBezTo>
                      <a:pt x="245" y="122"/>
                      <a:pt x="253" y="120"/>
                      <a:pt x="253" y="115"/>
                    </a:cubicBezTo>
                    <a:cubicBezTo>
                      <a:pt x="253" y="110"/>
                      <a:pt x="236" y="101"/>
                      <a:pt x="244" y="92"/>
                    </a:cubicBezTo>
                    <a:cubicBezTo>
                      <a:pt x="252" y="83"/>
                      <a:pt x="275" y="77"/>
                      <a:pt x="275" y="77"/>
                    </a:cubicBezTo>
                    <a:cubicBezTo>
                      <a:pt x="289" y="71"/>
                      <a:pt x="289" y="71"/>
                      <a:pt x="289" y="71"/>
                    </a:cubicBezTo>
                    <a:cubicBezTo>
                      <a:pt x="294" y="46"/>
                      <a:pt x="294" y="46"/>
                      <a:pt x="294" y="46"/>
                    </a:cubicBezTo>
                    <a:cubicBezTo>
                      <a:pt x="286" y="43"/>
                      <a:pt x="286" y="43"/>
                      <a:pt x="286" y="43"/>
                    </a:cubicBezTo>
                    <a:cubicBezTo>
                      <a:pt x="286" y="43"/>
                      <a:pt x="294" y="36"/>
                      <a:pt x="291" y="30"/>
                    </a:cubicBezTo>
                    <a:cubicBezTo>
                      <a:pt x="288" y="25"/>
                      <a:pt x="265" y="29"/>
                      <a:pt x="265" y="29"/>
                    </a:cubicBezTo>
                    <a:cubicBezTo>
                      <a:pt x="253" y="29"/>
                      <a:pt x="253" y="29"/>
                      <a:pt x="253" y="29"/>
                    </a:cubicBezTo>
                    <a:cubicBezTo>
                      <a:pt x="248" y="16"/>
                      <a:pt x="248" y="16"/>
                      <a:pt x="248" y="16"/>
                    </a:cubicBezTo>
                    <a:cubicBezTo>
                      <a:pt x="243" y="16"/>
                      <a:pt x="243" y="16"/>
                      <a:pt x="243" y="16"/>
                    </a:cubicBezTo>
                    <a:cubicBezTo>
                      <a:pt x="243" y="16"/>
                      <a:pt x="242" y="2"/>
                      <a:pt x="233" y="1"/>
                    </a:cubicBezTo>
                    <a:cubicBezTo>
                      <a:pt x="223" y="0"/>
                      <a:pt x="221" y="9"/>
                      <a:pt x="221" y="9"/>
                    </a:cubicBezTo>
                    <a:cubicBezTo>
                      <a:pt x="195" y="7"/>
                      <a:pt x="195" y="7"/>
                      <a:pt x="195" y="7"/>
                    </a:cubicBezTo>
                    <a:cubicBezTo>
                      <a:pt x="185" y="19"/>
                      <a:pt x="185" y="19"/>
                      <a:pt x="185" y="19"/>
                    </a:cubicBezTo>
                    <a:cubicBezTo>
                      <a:pt x="179" y="15"/>
                      <a:pt x="179" y="15"/>
                      <a:pt x="179" y="15"/>
                    </a:cubicBezTo>
                    <a:cubicBezTo>
                      <a:pt x="165" y="16"/>
                      <a:pt x="165" y="16"/>
                      <a:pt x="165" y="16"/>
                    </a:cubicBezTo>
                    <a:cubicBezTo>
                      <a:pt x="163" y="29"/>
                      <a:pt x="163" y="29"/>
                      <a:pt x="163" y="29"/>
                    </a:cubicBezTo>
                    <a:cubicBezTo>
                      <a:pt x="163" y="29"/>
                      <a:pt x="161" y="25"/>
                      <a:pt x="150" y="27"/>
                    </a:cubicBezTo>
                    <a:cubicBezTo>
                      <a:pt x="139" y="29"/>
                      <a:pt x="154" y="40"/>
                      <a:pt x="154" y="40"/>
                    </a:cubicBezTo>
                    <a:cubicBezTo>
                      <a:pt x="149" y="46"/>
                      <a:pt x="149" y="46"/>
                      <a:pt x="149" y="46"/>
                    </a:cubicBezTo>
                    <a:cubicBezTo>
                      <a:pt x="138" y="41"/>
                      <a:pt x="138" y="41"/>
                      <a:pt x="138" y="41"/>
                    </a:cubicBezTo>
                    <a:cubicBezTo>
                      <a:pt x="124" y="44"/>
                      <a:pt x="124" y="44"/>
                      <a:pt x="124" y="44"/>
                    </a:cubicBezTo>
                    <a:cubicBezTo>
                      <a:pt x="118" y="32"/>
                      <a:pt x="118" y="32"/>
                      <a:pt x="118" y="32"/>
                    </a:cubicBezTo>
                    <a:cubicBezTo>
                      <a:pt x="113" y="48"/>
                      <a:pt x="113" y="48"/>
                      <a:pt x="113" y="48"/>
                    </a:cubicBezTo>
                    <a:cubicBezTo>
                      <a:pt x="107" y="54"/>
                      <a:pt x="107" y="54"/>
                      <a:pt x="107" y="54"/>
                    </a:cubicBezTo>
                    <a:cubicBezTo>
                      <a:pt x="106" y="69"/>
                      <a:pt x="106" y="69"/>
                      <a:pt x="106" y="69"/>
                    </a:cubicBezTo>
                    <a:cubicBezTo>
                      <a:pt x="90" y="52"/>
                      <a:pt x="90" y="52"/>
                      <a:pt x="90" y="52"/>
                    </a:cubicBezTo>
                    <a:cubicBezTo>
                      <a:pt x="85" y="51"/>
                      <a:pt x="85" y="51"/>
                      <a:pt x="85" y="51"/>
                    </a:cubicBezTo>
                    <a:cubicBezTo>
                      <a:pt x="85" y="51"/>
                      <a:pt x="81" y="36"/>
                      <a:pt x="77" y="36"/>
                    </a:cubicBezTo>
                    <a:cubicBezTo>
                      <a:pt x="73" y="36"/>
                      <a:pt x="66" y="42"/>
                      <a:pt x="66" y="42"/>
                    </a:cubicBezTo>
                    <a:cubicBezTo>
                      <a:pt x="66" y="42"/>
                      <a:pt x="70" y="53"/>
                      <a:pt x="60" y="62"/>
                    </a:cubicBezTo>
                    <a:cubicBezTo>
                      <a:pt x="50" y="70"/>
                      <a:pt x="45" y="57"/>
                      <a:pt x="40" y="57"/>
                    </a:cubicBezTo>
                    <a:cubicBezTo>
                      <a:pt x="35" y="57"/>
                      <a:pt x="26" y="64"/>
                      <a:pt x="26" y="64"/>
                    </a:cubicBezTo>
                    <a:cubicBezTo>
                      <a:pt x="19" y="64"/>
                      <a:pt x="19" y="64"/>
                      <a:pt x="19" y="64"/>
                    </a:cubicBezTo>
                    <a:cubicBezTo>
                      <a:pt x="19" y="68"/>
                      <a:pt x="9" y="72"/>
                      <a:pt x="9" y="72"/>
                    </a:cubicBezTo>
                    <a:cubicBezTo>
                      <a:pt x="17" y="80"/>
                      <a:pt x="17" y="80"/>
                      <a:pt x="17" y="80"/>
                    </a:cubicBezTo>
                    <a:cubicBezTo>
                      <a:pt x="17" y="80"/>
                      <a:pt x="28" y="84"/>
                      <a:pt x="28" y="93"/>
                    </a:cubicBezTo>
                    <a:cubicBezTo>
                      <a:pt x="28" y="102"/>
                      <a:pt x="9" y="103"/>
                      <a:pt x="9" y="103"/>
                    </a:cubicBezTo>
                    <a:cubicBezTo>
                      <a:pt x="0" y="105"/>
                      <a:pt x="0" y="105"/>
                      <a:pt x="0" y="105"/>
                    </a:cubicBezTo>
                    <a:cubicBezTo>
                      <a:pt x="6" y="118"/>
                      <a:pt x="6" y="118"/>
                      <a:pt x="6" y="118"/>
                    </a:cubicBezTo>
                    <a:cubicBezTo>
                      <a:pt x="13" y="118"/>
                      <a:pt x="13" y="118"/>
                      <a:pt x="13" y="118"/>
                    </a:cubicBezTo>
                    <a:cubicBezTo>
                      <a:pt x="13" y="118"/>
                      <a:pt x="17" y="121"/>
                      <a:pt x="18" y="126"/>
                    </a:cubicBezTo>
                    <a:cubicBezTo>
                      <a:pt x="19" y="131"/>
                      <a:pt x="13" y="131"/>
                      <a:pt x="12" y="141"/>
                    </a:cubicBezTo>
                    <a:cubicBezTo>
                      <a:pt x="11" y="151"/>
                      <a:pt x="25" y="152"/>
                      <a:pt x="25" y="152"/>
                    </a:cubicBezTo>
                    <a:cubicBezTo>
                      <a:pt x="28" y="158"/>
                      <a:pt x="28" y="158"/>
                      <a:pt x="28" y="158"/>
                    </a:cubicBezTo>
                    <a:cubicBezTo>
                      <a:pt x="28" y="158"/>
                      <a:pt x="42" y="156"/>
                      <a:pt x="45" y="160"/>
                    </a:cubicBezTo>
                    <a:cubicBezTo>
                      <a:pt x="48" y="164"/>
                      <a:pt x="42" y="174"/>
                      <a:pt x="38" y="174"/>
                    </a:cubicBezTo>
                    <a:cubicBezTo>
                      <a:pt x="36" y="174"/>
                      <a:pt x="35" y="176"/>
                      <a:pt x="35" y="179"/>
                    </a:cubicBezTo>
                    <a:cubicBezTo>
                      <a:pt x="44" y="178"/>
                      <a:pt x="54" y="177"/>
                      <a:pt x="58" y="173"/>
                    </a:cubicBezTo>
                    <a:cubicBezTo>
                      <a:pt x="65" y="166"/>
                      <a:pt x="83" y="145"/>
                      <a:pt x="93" y="145"/>
                    </a:cubicBezTo>
                    <a:cubicBezTo>
                      <a:pt x="103" y="145"/>
                      <a:pt x="132" y="152"/>
                      <a:pt x="144" y="162"/>
                    </a:cubicBezTo>
                    <a:cubicBezTo>
                      <a:pt x="156" y="172"/>
                      <a:pt x="160" y="192"/>
                      <a:pt x="160" y="192"/>
                    </a:cubicBezTo>
                    <a:cubicBezTo>
                      <a:pt x="168" y="200"/>
                      <a:pt x="168" y="200"/>
                      <a:pt x="168" y="200"/>
                    </a:cubicBezTo>
                    <a:cubicBezTo>
                      <a:pt x="168" y="200"/>
                      <a:pt x="160" y="221"/>
                      <a:pt x="169" y="226"/>
                    </a:cubicBezTo>
                    <a:cubicBezTo>
                      <a:pt x="178" y="231"/>
                      <a:pt x="193" y="236"/>
                      <a:pt x="193" y="236"/>
                    </a:cubicBezTo>
                    <a:cubicBezTo>
                      <a:pt x="197" y="249"/>
                      <a:pt x="197" y="249"/>
                      <a:pt x="197" y="249"/>
                    </a:cubicBezTo>
                    <a:cubicBezTo>
                      <a:pt x="217" y="250"/>
                      <a:pt x="217" y="250"/>
                      <a:pt x="217" y="250"/>
                    </a:cubicBezTo>
                    <a:cubicBezTo>
                      <a:pt x="217" y="250"/>
                      <a:pt x="250" y="284"/>
                      <a:pt x="259" y="294"/>
                    </a:cubicBezTo>
                    <a:cubicBezTo>
                      <a:pt x="268" y="304"/>
                      <a:pt x="276" y="313"/>
                      <a:pt x="276" y="313"/>
                    </a:cubicBezTo>
                    <a:cubicBezTo>
                      <a:pt x="303" y="314"/>
                      <a:pt x="303" y="314"/>
                      <a:pt x="303" y="314"/>
                    </a:cubicBezTo>
                    <a:cubicBezTo>
                      <a:pt x="303" y="314"/>
                      <a:pt x="310" y="329"/>
                      <a:pt x="325" y="334"/>
                    </a:cubicBezTo>
                    <a:cubicBezTo>
                      <a:pt x="340" y="339"/>
                      <a:pt x="359" y="335"/>
                      <a:pt x="362" y="342"/>
                    </a:cubicBezTo>
                    <a:cubicBezTo>
                      <a:pt x="365" y="349"/>
                      <a:pt x="366" y="372"/>
                      <a:pt x="379" y="375"/>
                    </a:cubicBezTo>
                    <a:cubicBezTo>
                      <a:pt x="392" y="378"/>
                      <a:pt x="397" y="373"/>
                      <a:pt x="397" y="373"/>
                    </a:cubicBezTo>
                    <a:cubicBezTo>
                      <a:pt x="397" y="373"/>
                      <a:pt x="400" y="392"/>
                      <a:pt x="402" y="406"/>
                    </a:cubicBezTo>
                    <a:cubicBezTo>
                      <a:pt x="404" y="420"/>
                      <a:pt x="417" y="419"/>
                      <a:pt x="417" y="429"/>
                    </a:cubicBezTo>
                    <a:cubicBezTo>
                      <a:pt x="417" y="439"/>
                      <a:pt x="418" y="446"/>
                      <a:pt x="418" y="446"/>
                    </a:cubicBezTo>
                    <a:cubicBezTo>
                      <a:pt x="405" y="445"/>
                      <a:pt x="405" y="445"/>
                      <a:pt x="405" y="445"/>
                    </a:cubicBezTo>
                    <a:cubicBezTo>
                      <a:pt x="404" y="460"/>
                      <a:pt x="404" y="460"/>
                      <a:pt x="404" y="460"/>
                    </a:cubicBezTo>
                    <a:cubicBezTo>
                      <a:pt x="404" y="460"/>
                      <a:pt x="384" y="489"/>
                      <a:pt x="395" y="489"/>
                    </a:cubicBezTo>
                    <a:cubicBezTo>
                      <a:pt x="406" y="489"/>
                      <a:pt x="414" y="483"/>
                      <a:pt x="414" y="483"/>
                    </a:cubicBezTo>
                    <a:cubicBezTo>
                      <a:pt x="422" y="468"/>
                      <a:pt x="422" y="468"/>
                      <a:pt x="422" y="468"/>
                    </a:cubicBezTo>
                    <a:cubicBezTo>
                      <a:pt x="435" y="466"/>
                      <a:pt x="435" y="466"/>
                      <a:pt x="435" y="466"/>
                    </a:cubicBezTo>
                    <a:cubicBezTo>
                      <a:pt x="435" y="466"/>
                      <a:pt x="432" y="444"/>
                      <a:pt x="436" y="441"/>
                    </a:cubicBezTo>
                    <a:cubicBezTo>
                      <a:pt x="440" y="438"/>
                      <a:pt x="461" y="432"/>
                      <a:pt x="461" y="432"/>
                    </a:cubicBezTo>
                    <a:cubicBezTo>
                      <a:pt x="461" y="432"/>
                      <a:pt x="456" y="412"/>
                      <a:pt x="452" y="408"/>
                    </a:cubicBezTo>
                    <a:cubicBezTo>
                      <a:pt x="448" y="404"/>
                      <a:pt x="430" y="399"/>
                      <a:pt x="431" y="392"/>
                    </a:cubicBezTo>
                    <a:cubicBezTo>
                      <a:pt x="432" y="385"/>
                      <a:pt x="445" y="351"/>
                      <a:pt x="453" y="354"/>
                    </a:cubicBezTo>
                    <a:cubicBezTo>
                      <a:pt x="461" y="357"/>
                      <a:pt x="468" y="361"/>
                      <a:pt x="468" y="361"/>
                    </a:cubicBezTo>
                    <a:cubicBezTo>
                      <a:pt x="488" y="361"/>
                      <a:pt x="488" y="361"/>
                      <a:pt x="488" y="361"/>
                    </a:cubicBezTo>
                    <a:cubicBezTo>
                      <a:pt x="488" y="361"/>
                      <a:pt x="491" y="384"/>
                      <a:pt x="505" y="385"/>
                    </a:cubicBezTo>
                    <a:cubicBezTo>
                      <a:pt x="519" y="386"/>
                      <a:pt x="523" y="372"/>
                      <a:pt x="515" y="363"/>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85" name="Freeform 107">
                <a:extLst>
                  <a:ext uri="{FF2B5EF4-FFF2-40B4-BE49-F238E27FC236}">
                    <a16:creationId xmlns:a16="http://schemas.microsoft.com/office/drawing/2014/main" id="{FD1686C8-902E-4271-9065-7E507E4DFF3D}"/>
                  </a:ext>
                </a:extLst>
              </p:cNvPr>
              <p:cNvSpPr>
                <a:spLocks/>
              </p:cNvSpPr>
              <p:nvPr>
                <p:custDataLst>
                  <p:tags r:id="rId66"/>
                </p:custDataLst>
              </p:nvPr>
            </p:nvSpPr>
            <p:spPr bwMode="gray">
              <a:xfrm>
                <a:off x="4822796" y="2867036"/>
                <a:ext cx="168274" cy="73025"/>
              </a:xfrm>
              <a:custGeom>
                <a:avLst/>
                <a:gdLst>
                  <a:gd name="T0" fmla="*/ 268 w 280"/>
                  <a:gd name="T1" fmla="*/ 67 h 132"/>
                  <a:gd name="T2" fmla="*/ 255 w 280"/>
                  <a:gd name="T3" fmla="*/ 60 h 132"/>
                  <a:gd name="T4" fmla="*/ 240 w 280"/>
                  <a:gd name="T5" fmla="*/ 57 h 132"/>
                  <a:gd name="T6" fmla="*/ 219 w 280"/>
                  <a:gd name="T7" fmla="*/ 42 h 132"/>
                  <a:gd name="T8" fmla="*/ 196 w 280"/>
                  <a:gd name="T9" fmla="*/ 47 h 132"/>
                  <a:gd name="T10" fmla="*/ 177 w 280"/>
                  <a:gd name="T11" fmla="*/ 35 h 132"/>
                  <a:gd name="T12" fmla="*/ 178 w 280"/>
                  <a:gd name="T13" fmla="*/ 28 h 132"/>
                  <a:gd name="T14" fmla="*/ 159 w 280"/>
                  <a:gd name="T15" fmla="*/ 24 h 132"/>
                  <a:gd name="T16" fmla="*/ 132 w 280"/>
                  <a:gd name="T17" fmla="*/ 13 h 132"/>
                  <a:gd name="T18" fmla="*/ 116 w 280"/>
                  <a:gd name="T19" fmla="*/ 2 h 132"/>
                  <a:gd name="T20" fmla="*/ 108 w 280"/>
                  <a:gd name="T21" fmla="*/ 11 h 132"/>
                  <a:gd name="T22" fmla="*/ 87 w 280"/>
                  <a:gd name="T23" fmla="*/ 11 h 132"/>
                  <a:gd name="T24" fmla="*/ 72 w 280"/>
                  <a:gd name="T25" fmla="*/ 19 h 132"/>
                  <a:gd name="T26" fmla="*/ 56 w 280"/>
                  <a:gd name="T27" fmla="*/ 24 h 132"/>
                  <a:gd name="T28" fmla="*/ 38 w 280"/>
                  <a:gd name="T29" fmla="*/ 36 h 132"/>
                  <a:gd name="T30" fmla="*/ 21 w 280"/>
                  <a:gd name="T31" fmla="*/ 36 h 132"/>
                  <a:gd name="T32" fmla="*/ 11 w 280"/>
                  <a:gd name="T33" fmla="*/ 42 h 132"/>
                  <a:gd name="T34" fmla="*/ 5 w 280"/>
                  <a:gd name="T35" fmla="*/ 50 h 132"/>
                  <a:gd name="T36" fmla="*/ 17 w 280"/>
                  <a:gd name="T37" fmla="*/ 60 h 132"/>
                  <a:gd name="T38" fmla="*/ 19 w 280"/>
                  <a:gd name="T39" fmla="*/ 74 h 132"/>
                  <a:gd name="T40" fmla="*/ 27 w 280"/>
                  <a:gd name="T41" fmla="*/ 82 h 132"/>
                  <a:gd name="T42" fmla="*/ 42 w 280"/>
                  <a:gd name="T43" fmla="*/ 90 h 132"/>
                  <a:gd name="T44" fmla="*/ 49 w 280"/>
                  <a:gd name="T45" fmla="*/ 98 h 132"/>
                  <a:gd name="T46" fmla="*/ 65 w 280"/>
                  <a:gd name="T47" fmla="*/ 108 h 132"/>
                  <a:gd name="T48" fmla="*/ 87 w 280"/>
                  <a:gd name="T49" fmla="*/ 131 h 132"/>
                  <a:gd name="T50" fmla="*/ 110 w 280"/>
                  <a:gd name="T51" fmla="*/ 132 h 132"/>
                  <a:gd name="T52" fmla="*/ 115 w 280"/>
                  <a:gd name="T53" fmla="*/ 119 h 132"/>
                  <a:gd name="T54" fmla="*/ 142 w 280"/>
                  <a:gd name="T55" fmla="*/ 112 h 132"/>
                  <a:gd name="T56" fmla="*/ 158 w 280"/>
                  <a:gd name="T57" fmla="*/ 113 h 132"/>
                  <a:gd name="T58" fmla="*/ 173 w 280"/>
                  <a:gd name="T59" fmla="*/ 120 h 132"/>
                  <a:gd name="T60" fmla="*/ 200 w 280"/>
                  <a:gd name="T61" fmla="*/ 123 h 132"/>
                  <a:gd name="T62" fmla="*/ 221 w 280"/>
                  <a:gd name="T63" fmla="*/ 116 h 132"/>
                  <a:gd name="T64" fmla="*/ 255 w 280"/>
                  <a:gd name="T65" fmla="*/ 105 h 132"/>
                  <a:gd name="T66" fmla="*/ 269 w 280"/>
                  <a:gd name="T67" fmla="*/ 86 h 132"/>
                  <a:gd name="T68" fmla="*/ 275 w 280"/>
                  <a:gd name="T69" fmla="*/ 7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0" h="132">
                    <a:moveTo>
                      <a:pt x="275" y="73"/>
                    </a:moveTo>
                    <a:cubicBezTo>
                      <a:pt x="268" y="67"/>
                      <a:pt x="268" y="67"/>
                      <a:pt x="268" y="67"/>
                    </a:cubicBezTo>
                    <a:cubicBezTo>
                      <a:pt x="269" y="62"/>
                      <a:pt x="269" y="62"/>
                      <a:pt x="269" y="62"/>
                    </a:cubicBezTo>
                    <a:cubicBezTo>
                      <a:pt x="269" y="62"/>
                      <a:pt x="259" y="60"/>
                      <a:pt x="255" y="60"/>
                    </a:cubicBezTo>
                    <a:cubicBezTo>
                      <a:pt x="251" y="60"/>
                      <a:pt x="247" y="51"/>
                      <a:pt x="247" y="51"/>
                    </a:cubicBezTo>
                    <a:cubicBezTo>
                      <a:pt x="240" y="57"/>
                      <a:pt x="240" y="57"/>
                      <a:pt x="240" y="57"/>
                    </a:cubicBezTo>
                    <a:cubicBezTo>
                      <a:pt x="240" y="57"/>
                      <a:pt x="235" y="44"/>
                      <a:pt x="227" y="43"/>
                    </a:cubicBezTo>
                    <a:cubicBezTo>
                      <a:pt x="219" y="42"/>
                      <a:pt x="219" y="42"/>
                      <a:pt x="219" y="42"/>
                    </a:cubicBezTo>
                    <a:cubicBezTo>
                      <a:pt x="219" y="42"/>
                      <a:pt x="224" y="35"/>
                      <a:pt x="211" y="39"/>
                    </a:cubicBezTo>
                    <a:cubicBezTo>
                      <a:pt x="198" y="43"/>
                      <a:pt x="196" y="47"/>
                      <a:pt x="196" y="47"/>
                    </a:cubicBezTo>
                    <a:cubicBezTo>
                      <a:pt x="196" y="47"/>
                      <a:pt x="185" y="45"/>
                      <a:pt x="181" y="43"/>
                    </a:cubicBezTo>
                    <a:cubicBezTo>
                      <a:pt x="177" y="41"/>
                      <a:pt x="177" y="35"/>
                      <a:pt x="177" y="35"/>
                    </a:cubicBezTo>
                    <a:cubicBezTo>
                      <a:pt x="171" y="32"/>
                      <a:pt x="171" y="32"/>
                      <a:pt x="171" y="32"/>
                    </a:cubicBezTo>
                    <a:cubicBezTo>
                      <a:pt x="178" y="28"/>
                      <a:pt x="178" y="28"/>
                      <a:pt x="178" y="28"/>
                    </a:cubicBezTo>
                    <a:cubicBezTo>
                      <a:pt x="175" y="23"/>
                      <a:pt x="175" y="23"/>
                      <a:pt x="175" y="23"/>
                    </a:cubicBezTo>
                    <a:cubicBezTo>
                      <a:pt x="175" y="23"/>
                      <a:pt x="162" y="24"/>
                      <a:pt x="159" y="24"/>
                    </a:cubicBezTo>
                    <a:cubicBezTo>
                      <a:pt x="156" y="24"/>
                      <a:pt x="158" y="18"/>
                      <a:pt x="146" y="14"/>
                    </a:cubicBezTo>
                    <a:cubicBezTo>
                      <a:pt x="134" y="10"/>
                      <a:pt x="132" y="13"/>
                      <a:pt x="132" y="13"/>
                    </a:cubicBezTo>
                    <a:cubicBezTo>
                      <a:pt x="129" y="4"/>
                      <a:pt x="129" y="4"/>
                      <a:pt x="129" y="4"/>
                    </a:cubicBezTo>
                    <a:cubicBezTo>
                      <a:pt x="116" y="2"/>
                      <a:pt x="116" y="2"/>
                      <a:pt x="116" y="2"/>
                    </a:cubicBezTo>
                    <a:cubicBezTo>
                      <a:pt x="116" y="2"/>
                      <a:pt x="116" y="2"/>
                      <a:pt x="116" y="2"/>
                    </a:cubicBezTo>
                    <a:cubicBezTo>
                      <a:pt x="114" y="6"/>
                      <a:pt x="111" y="11"/>
                      <a:pt x="108" y="11"/>
                    </a:cubicBezTo>
                    <a:cubicBezTo>
                      <a:pt x="103" y="12"/>
                      <a:pt x="98" y="0"/>
                      <a:pt x="96" y="1"/>
                    </a:cubicBezTo>
                    <a:cubicBezTo>
                      <a:pt x="94" y="2"/>
                      <a:pt x="89" y="8"/>
                      <a:pt x="87" y="11"/>
                    </a:cubicBezTo>
                    <a:cubicBezTo>
                      <a:pt x="84" y="14"/>
                      <a:pt x="73" y="13"/>
                      <a:pt x="73" y="13"/>
                    </a:cubicBezTo>
                    <a:cubicBezTo>
                      <a:pt x="73" y="13"/>
                      <a:pt x="75" y="18"/>
                      <a:pt x="72" y="19"/>
                    </a:cubicBezTo>
                    <a:cubicBezTo>
                      <a:pt x="69" y="20"/>
                      <a:pt x="58" y="20"/>
                      <a:pt x="58" y="20"/>
                    </a:cubicBezTo>
                    <a:cubicBezTo>
                      <a:pt x="56" y="24"/>
                      <a:pt x="56" y="24"/>
                      <a:pt x="56" y="24"/>
                    </a:cubicBezTo>
                    <a:cubicBezTo>
                      <a:pt x="45" y="27"/>
                      <a:pt x="45" y="27"/>
                      <a:pt x="45" y="27"/>
                    </a:cubicBezTo>
                    <a:cubicBezTo>
                      <a:pt x="38" y="36"/>
                      <a:pt x="38" y="36"/>
                      <a:pt x="38" y="36"/>
                    </a:cubicBezTo>
                    <a:cubicBezTo>
                      <a:pt x="38" y="36"/>
                      <a:pt x="40" y="32"/>
                      <a:pt x="31" y="30"/>
                    </a:cubicBezTo>
                    <a:cubicBezTo>
                      <a:pt x="23" y="28"/>
                      <a:pt x="21" y="36"/>
                      <a:pt x="21" y="36"/>
                    </a:cubicBezTo>
                    <a:cubicBezTo>
                      <a:pt x="14" y="36"/>
                      <a:pt x="14" y="36"/>
                      <a:pt x="14" y="36"/>
                    </a:cubicBezTo>
                    <a:cubicBezTo>
                      <a:pt x="14" y="36"/>
                      <a:pt x="15" y="41"/>
                      <a:pt x="11" y="42"/>
                    </a:cubicBezTo>
                    <a:cubicBezTo>
                      <a:pt x="7" y="42"/>
                      <a:pt x="7" y="36"/>
                      <a:pt x="3" y="38"/>
                    </a:cubicBezTo>
                    <a:cubicBezTo>
                      <a:pt x="0" y="41"/>
                      <a:pt x="5" y="50"/>
                      <a:pt x="5" y="50"/>
                    </a:cubicBezTo>
                    <a:cubicBezTo>
                      <a:pt x="11" y="51"/>
                      <a:pt x="11" y="51"/>
                      <a:pt x="11" y="51"/>
                    </a:cubicBezTo>
                    <a:cubicBezTo>
                      <a:pt x="17" y="60"/>
                      <a:pt x="17" y="60"/>
                      <a:pt x="17" y="60"/>
                    </a:cubicBezTo>
                    <a:cubicBezTo>
                      <a:pt x="17" y="60"/>
                      <a:pt x="9" y="64"/>
                      <a:pt x="10" y="66"/>
                    </a:cubicBezTo>
                    <a:cubicBezTo>
                      <a:pt x="11" y="68"/>
                      <a:pt x="19" y="74"/>
                      <a:pt x="19" y="74"/>
                    </a:cubicBezTo>
                    <a:cubicBezTo>
                      <a:pt x="21" y="80"/>
                      <a:pt x="21" y="80"/>
                      <a:pt x="21" y="80"/>
                    </a:cubicBezTo>
                    <a:cubicBezTo>
                      <a:pt x="27" y="82"/>
                      <a:pt x="27" y="82"/>
                      <a:pt x="27" y="82"/>
                    </a:cubicBezTo>
                    <a:cubicBezTo>
                      <a:pt x="27" y="82"/>
                      <a:pt x="21" y="87"/>
                      <a:pt x="29" y="88"/>
                    </a:cubicBezTo>
                    <a:cubicBezTo>
                      <a:pt x="36" y="88"/>
                      <a:pt x="42" y="90"/>
                      <a:pt x="42" y="90"/>
                    </a:cubicBezTo>
                    <a:cubicBezTo>
                      <a:pt x="45" y="98"/>
                      <a:pt x="45" y="98"/>
                      <a:pt x="45" y="98"/>
                    </a:cubicBezTo>
                    <a:cubicBezTo>
                      <a:pt x="49" y="98"/>
                      <a:pt x="49" y="98"/>
                      <a:pt x="49" y="98"/>
                    </a:cubicBezTo>
                    <a:cubicBezTo>
                      <a:pt x="55" y="107"/>
                      <a:pt x="55" y="107"/>
                      <a:pt x="55" y="107"/>
                    </a:cubicBezTo>
                    <a:cubicBezTo>
                      <a:pt x="55" y="107"/>
                      <a:pt x="60" y="105"/>
                      <a:pt x="65" y="108"/>
                    </a:cubicBezTo>
                    <a:cubicBezTo>
                      <a:pt x="71" y="112"/>
                      <a:pt x="72" y="119"/>
                      <a:pt x="72" y="119"/>
                    </a:cubicBezTo>
                    <a:cubicBezTo>
                      <a:pt x="72" y="119"/>
                      <a:pt x="80" y="131"/>
                      <a:pt x="87" y="131"/>
                    </a:cubicBezTo>
                    <a:cubicBezTo>
                      <a:pt x="95" y="131"/>
                      <a:pt x="101" y="127"/>
                      <a:pt x="101" y="127"/>
                    </a:cubicBezTo>
                    <a:cubicBezTo>
                      <a:pt x="110" y="132"/>
                      <a:pt x="110" y="132"/>
                      <a:pt x="110" y="132"/>
                    </a:cubicBezTo>
                    <a:cubicBezTo>
                      <a:pt x="111" y="120"/>
                      <a:pt x="111" y="120"/>
                      <a:pt x="111" y="120"/>
                    </a:cubicBezTo>
                    <a:cubicBezTo>
                      <a:pt x="115" y="119"/>
                      <a:pt x="115" y="119"/>
                      <a:pt x="115" y="119"/>
                    </a:cubicBezTo>
                    <a:cubicBezTo>
                      <a:pt x="115" y="119"/>
                      <a:pt x="122" y="106"/>
                      <a:pt x="125" y="105"/>
                    </a:cubicBezTo>
                    <a:cubicBezTo>
                      <a:pt x="129" y="104"/>
                      <a:pt x="142" y="112"/>
                      <a:pt x="142" y="112"/>
                    </a:cubicBezTo>
                    <a:cubicBezTo>
                      <a:pt x="151" y="118"/>
                      <a:pt x="151" y="118"/>
                      <a:pt x="151" y="118"/>
                    </a:cubicBezTo>
                    <a:cubicBezTo>
                      <a:pt x="158" y="113"/>
                      <a:pt x="158" y="113"/>
                      <a:pt x="158" y="113"/>
                    </a:cubicBezTo>
                    <a:cubicBezTo>
                      <a:pt x="165" y="121"/>
                      <a:pt x="165" y="121"/>
                      <a:pt x="165" y="121"/>
                    </a:cubicBezTo>
                    <a:cubicBezTo>
                      <a:pt x="173" y="120"/>
                      <a:pt x="173" y="120"/>
                      <a:pt x="173" y="120"/>
                    </a:cubicBezTo>
                    <a:cubicBezTo>
                      <a:pt x="173" y="120"/>
                      <a:pt x="177" y="113"/>
                      <a:pt x="184" y="115"/>
                    </a:cubicBezTo>
                    <a:cubicBezTo>
                      <a:pt x="192" y="118"/>
                      <a:pt x="200" y="123"/>
                      <a:pt x="200" y="123"/>
                    </a:cubicBezTo>
                    <a:cubicBezTo>
                      <a:pt x="200" y="123"/>
                      <a:pt x="205" y="119"/>
                      <a:pt x="209" y="118"/>
                    </a:cubicBezTo>
                    <a:cubicBezTo>
                      <a:pt x="212" y="117"/>
                      <a:pt x="218" y="117"/>
                      <a:pt x="221" y="116"/>
                    </a:cubicBezTo>
                    <a:cubicBezTo>
                      <a:pt x="222" y="118"/>
                      <a:pt x="228" y="120"/>
                      <a:pt x="233" y="117"/>
                    </a:cubicBezTo>
                    <a:cubicBezTo>
                      <a:pt x="240" y="112"/>
                      <a:pt x="255" y="105"/>
                      <a:pt x="255" y="105"/>
                    </a:cubicBezTo>
                    <a:cubicBezTo>
                      <a:pt x="255" y="92"/>
                      <a:pt x="255" y="92"/>
                      <a:pt x="255" y="92"/>
                    </a:cubicBezTo>
                    <a:cubicBezTo>
                      <a:pt x="269" y="86"/>
                      <a:pt x="269" y="86"/>
                      <a:pt x="269" y="86"/>
                    </a:cubicBezTo>
                    <a:cubicBezTo>
                      <a:pt x="280" y="79"/>
                      <a:pt x="280" y="79"/>
                      <a:pt x="280" y="79"/>
                    </a:cubicBezTo>
                    <a:cubicBezTo>
                      <a:pt x="277" y="76"/>
                      <a:pt x="275" y="73"/>
                      <a:pt x="275" y="73"/>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86" name="Freeform 108">
                <a:extLst>
                  <a:ext uri="{FF2B5EF4-FFF2-40B4-BE49-F238E27FC236}">
                    <a16:creationId xmlns:a16="http://schemas.microsoft.com/office/drawing/2014/main" id="{6DB64D4D-CF4E-445A-8721-3081BA92851E}"/>
                  </a:ext>
                </a:extLst>
              </p:cNvPr>
              <p:cNvSpPr>
                <a:spLocks/>
              </p:cNvSpPr>
              <p:nvPr>
                <p:custDataLst>
                  <p:tags r:id="rId67"/>
                </p:custDataLst>
              </p:nvPr>
            </p:nvSpPr>
            <p:spPr bwMode="gray">
              <a:xfrm>
                <a:off x="4870422" y="2760674"/>
                <a:ext cx="252412" cy="168276"/>
              </a:xfrm>
              <a:custGeom>
                <a:avLst/>
                <a:gdLst>
                  <a:gd name="T0" fmla="*/ 312 w 419"/>
                  <a:gd name="T1" fmla="*/ 276 h 301"/>
                  <a:gd name="T2" fmla="*/ 351 w 419"/>
                  <a:gd name="T3" fmla="*/ 293 h 301"/>
                  <a:gd name="T4" fmla="*/ 371 w 419"/>
                  <a:gd name="T5" fmla="*/ 301 h 301"/>
                  <a:gd name="T6" fmla="*/ 364 w 419"/>
                  <a:gd name="T7" fmla="*/ 265 h 301"/>
                  <a:gd name="T8" fmla="*/ 417 w 419"/>
                  <a:gd name="T9" fmla="*/ 224 h 301"/>
                  <a:gd name="T10" fmla="*/ 416 w 419"/>
                  <a:gd name="T11" fmla="*/ 203 h 301"/>
                  <a:gd name="T12" fmla="*/ 390 w 419"/>
                  <a:gd name="T13" fmla="*/ 180 h 301"/>
                  <a:gd name="T14" fmla="*/ 389 w 419"/>
                  <a:gd name="T15" fmla="*/ 167 h 301"/>
                  <a:gd name="T16" fmla="*/ 387 w 419"/>
                  <a:gd name="T17" fmla="*/ 140 h 301"/>
                  <a:gd name="T18" fmla="*/ 379 w 419"/>
                  <a:gd name="T19" fmla="*/ 123 h 301"/>
                  <a:gd name="T20" fmla="*/ 394 w 419"/>
                  <a:gd name="T21" fmla="*/ 106 h 301"/>
                  <a:gd name="T22" fmla="*/ 392 w 419"/>
                  <a:gd name="T23" fmla="*/ 78 h 301"/>
                  <a:gd name="T24" fmla="*/ 373 w 419"/>
                  <a:gd name="T25" fmla="*/ 46 h 301"/>
                  <a:gd name="T26" fmla="*/ 344 w 419"/>
                  <a:gd name="T27" fmla="*/ 22 h 301"/>
                  <a:gd name="T28" fmla="*/ 313 w 419"/>
                  <a:gd name="T29" fmla="*/ 26 h 301"/>
                  <a:gd name="T30" fmla="*/ 257 w 419"/>
                  <a:gd name="T31" fmla="*/ 20 h 301"/>
                  <a:gd name="T32" fmla="*/ 231 w 419"/>
                  <a:gd name="T33" fmla="*/ 18 h 301"/>
                  <a:gd name="T34" fmla="*/ 189 w 419"/>
                  <a:gd name="T35" fmla="*/ 22 h 301"/>
                  <a:gd name="T36" fmla="*/ 149 w 419"/>
                  <a:gd name="T37" fmla="*/ 0 h 301"/>
                  <a:gd name="T38" fmla="*/ 81 w 419"/>
                  <a:gd name="T39" fmla="*/ 28 h 301"/>
                  <a:gd name="T40" fmla="*/ 12 w 419"/>
                  <a:gd name="T41" fmla="*/ 48 h 301"/>
                  <a:gd name="T42" fmla="*/ 7 w 419"/>
                  <a:gd name="T43" fmla="*/ 58 h 301"/>
                  <a:gd name="T44" fmla="*/ 14 w 419"/>
                  <a:gd name="T45" fmla="*/ 75 h 301"/>
                  <a:gd name="T46" fmla="*/ 3 w 419"/>
                  <a:gd name="T47" fmla="*/ 102 h 301"/>
                  <a:gd name="T48" fmla="*/ 14 w 419"/>
                  <a:gd name="T49" fmla="*/ 111 h 301"/>
                  <a:gd name="T50" fmla="*/ 24 w 419"/>
                  <a:gd name="T51" fmla="*/ 122 h 301"/>
                  <a:gd name="T52" fmla="*/ 25 w 419"/>
                  <a:gd name="T53" fmla="*/ 132 h 301"/>
                  <a:gd name="T54" fmla="*/ 29 w 419"/>
                  <a:gd name="T55" fmla="*/ 142 h 301"/>
                  <a:gd name="T56" fmla="*/ 30 w 419"/>
                  <a:gd name="T57" fmla="*/ 161 h 301"/>
                  <a:gd name="T58" fmla="*/ 38 w 419"/>
                  <a:gd name="T59" fmla="*/ 173 h 301"/>
                  <a:gd name="T60" fmla="*/ 41 w 419"/>
                  <a:gd name="T61" fmla="*/ 187 h 301"/>
                  <a:gd name="T62" fmla="*/ 50 w 419"/>
                  <a:gd name="T63" fmla="*/ 197 h 301"/>
                  <a:gd name="T64" fmla="*/ 67 w 419"/>
                  <a:gd name="T65" fmla="*/ 207 h 301"/>
                  <a:gd name="T66" fmla="*/ 96 w 419"/>
                  <a:gd name="T67" fmla="*/ 216 h 301"/>
                  <a:gd name="T68" fmla="*/ 92 w 419"/>
                  <a:gd name="T69" fmla="*/ 225 h 301"/>
                  <a:gd name="T70" fmla="*/ 102 w 419"/>
                  <a:gd name="T71" fmla="*/ 236 h 301"/>
                  <a:gd name="T72" fmla="*/ 132 w 419"/>
                  <a:gd name="T73" fmla="*/ 232 h 301"/>
                  <a:gd name="T74" fmla="*/ 148 w 419"/>
                  <a:gd name="T75" fmla="*/ 236 h 301"/>
                  <a:gd name="T76" fmla="*/ 168 w 419"/>
                  <a:gd name="T77" fmla="*/ 244 h 301"/>
                  <a:gd name="T78" fmla="*/ 190 w 419"/>
                  <a:gd name="T79" fmla="*/ 255 h 301"/>
                  <a:gd name="T80" fmla="*/ 196 w 419"/>
                  <a:gd name="T81" fmla="*/ 266 h 301"/>
                  <a:gd name="T82" fmla="*/ 229 w 419"/>
                  <a:gd name="T83" fmla="*/ 272 h 301"/>
                  <a:gd name="T84" fmla="*/ 244 w 419"/>
                  <a:gd name="T85" fmla="*/ 281 h 301"/>
                  <a:gd name="T86" fmla="*/ 258 w 419"/>
                  <a:gd name="T87" fmla="*/ 279 h 301"/>
                  <a:gd name="T88" fmla="*/ 288 w 419"/>
                  <a:gd name="T89" fmla="*/ 284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19" h="301">
                    <a:moveTo>
                      <a:pt x="288" y="284"/>
                    </a:moveTo>
                    <a:cubicBezTo>
                      <a:pt x="293" y="284"/>
                      <a:pt x="298" y="276"/>
                      <a:pt x="312" y="276"/>
                    </a:cubicBezTo>
                    <a:cubicBezTo>
                      <a:pt x="326" y="276"/>
                      <a:pt x="325" y="283"/>
                      <a:pt x="332" y="289"/>
                    </a:cubicBezTo>
                    <a:cubicBezTo>
                      <a:pt x="339" y="295"/>
                      <a:pt x="345" y="293"/>
                      <a:pt x="351" y="293"/>
                    </a:cubicBezTo>
                    <a:cubicBezTo>
                      <a:pt x="357" y="293"/>
                      <a:pt x="355" y="300"/>
                      <a:pt x="355" y="300"/>
                    </a:cubicBezTo>
                    <a:cubicBezTo>
                      <a:pt x="371" y="301"/>
                      <a:pt x="371" y="301"/>
                      <a:pt x="371" y="301"/>
                    </a:cubicBezTo>
                    <a:cubicBezTo>
                      <a:pt x="371" y="301"/>
                      <a:pt x="362" y="295"/>
                      <a:pt x="363" y="285"/>
                    </a:cubicBezTo>
                    <a:cubicBezTo>
                      <a:pt x="364" y="275"/>
                      <a:pt x="364" y="265"/>
                      <a:pt x="364" y="265"/>
                    </a:cubicBezTo>
                    <a:cubicBezTo>
                      <a:pt x="399" y="230"/>
                      <a:pt x="399" y="230"/>
                      <a:pt x="399" y="230"/>
                    </a:cubicBezTo>
                    <a:cubicBezTo>
                      <a:pt x="399" y="230"/>
                      <a:pt x="419" y="229"/>
                      <a:pt x="417" y="224"/>
                    </a:cubicBezTo>
                    <a:cubicBezTo>
                      <a:pt x="415" y="219"/>
                      <a:pt x="409" y="211"/>
                      <a:pt x="409" y="211"/>
                    </a:cubicBezTo>
                    <a:cubicBezTo>
                      <a:pt x="416" y="203"/>
                      <a:pt x="416" y="203"/>
                      <a:pt x="416" y="203"/>
                    </a:cubicBezTo>
                    <a:cubicBezTo>
                      <a:pt x="416" y="203"/>
                      <a:pt x="404" y="200"/>
                      <a:pt x="401" y="191"/>
                    </a:cubicBezTo>
                    <a:cubicBezTo>
                      <a:pt x="398" y="182"/>
                      <a:pt x="390" y="180"/>
                      <a:pt x="390" y="180"/>
                    </a:cubicBezTo>
                    <a:cubicBezTo>
                      <a:pt x="388" y="167"/>
                      <a:pt x="388" y="167"/>
                      <a:pt x="388" y="167"/>
                    </a:cubicBezTo>
                    <a:cubicBezTo>
                      <a:pt x="388" y="167"/>
                      <a:pt x="388" y="167"/>
                      <a:pt x="389" y="167"/>
                    </a:cubicBezTo>
                    <a:cubicBezTo>
                      <a:pt x="386" y="158"/>
                      <a:pt x="386" y="158"/>
                      <a:pt x="386" y="158"/>
                    </a:cubicBezTo>
                    <a:cubicBezTo>
                      <a:pt x="386" y="158"/>
                      <a:pt x="389" y="144"/>
                      <a:pt x="387" y="140"/>
                    </a:cubicBezTo>
                    <a:cubicBezTo>
                      <a:pt x="385" y="136"/>
                      <a:pt x="371" y="133"/>
                      <a:pt x="369" y="127"/>
                    </a:cubicBezTo>
                    <a:cubicBezTo>
                      <a:pt x="367" y="121"/>
                      <a:pt x="376" y="123"/>
                      <a:pt x="379" y="123"/>
                    </a:cubicBezTo>
                    <a:cubicBezTo>
                      <a:pt x="382" y="123"/>
                      <a:pt x="380" y="111"/>
                      <a:pt x="380" y="111"/>
                    </a:cubicBezTo>
                    <a:cubicBezTo>
                      <a:pt x="394" y="106"/>
                      <a:pt x="394" y="106"/>
                      <a:pt x="394" y="106"/>
                    </a:cubicBezTo>
                    <a:cubicBezTo>
                      <a:pt x="394" y="106"/>
                      <a:pt x="396" y="98"/>
                      <a:pt x="398" y="94"/>
                    </a:cubicBezTo>
                    <a:cubicBezTo>
                      <a:pt x="400" y="90"/>
                      <a:pt x="392" y="78"/>
                      <a:pt x="392" y="78"/>
                    </a:cubicBezTo>
                    <a:cubicBezTo>
                      <a:pt x="392" y="78"/>
                      <a:pt x="381" y="69"/>
                      <a:pt x="381" y="64"/>
                    </a:cubicBezTo>
                    <a:cubicBezTo>
                      <a:pt x="381" y="59"/>
                      <a:pt x="373" y="46"/>
                      <a:pt x="373" y="46"/>
                    </a:cubicBezTo>
                    <a:cubicBezTo>
                      <a:pt x="373" y="33"/>
                      <a:pt x="373" y="33"/>
                      <a:pt x="373" y="33"/>
                    </a:cubicBezTo>
                    <a:cubicBezTo>
                      <a:pt x="373" y="33"/>
                      <a:pt x="357" y="24"/>
                      <a:pt x="344" y="22"/>
                    </a:cubicBezTo>
                    <a:cubicBezTo>
                      <a:pt x="331" y="20"/>
                      <a:pt x="336" y="27"/>
                      <a:pt x="336" y="27"/>
                    </a:cubicBezTo>
                    <a:cubicBezTo>
                      <a:pt x="336" y="27"/>
                      <a:pt x="321" y="27"/>
                      <a:pt x="313" y="26"/>
                    </a:cubicBezTo>
                    <a:cubicBezTo>
                      <a:pt x="305" y="25"/>
                      <a:pt x="274" y="27"/>
                      <a:pt x="274" y="27"/>
                    </a:cubicBezTo>
                    <a:cubicBezTo>
                      <a:pt x="274" y="27"/>
                      <a:pt x="266" y="22"/>
                      <a:pt x="257" y="20"/>
                    </a:cubicBezTo>
                    <a:cubicBezTo>
                      <a:pt x="248" y="18"/>
                      <a:pt x="236" y="23"/>
                      <a:pt x="236" y="23"/>
                    </a:cubicBezTo>
                    <a:cubicBezTo>
                      <a:pt x="231" y="18"/>
                      <a:pt x="231" y="18"/>
                      <a:pt x="231" y="18"/>
                    </a:cubicBezTo>
                    <a:cubicBezTo>
                      <a:pt x="231" y="19"/>
                      <a:pt x="231" y="19"/>
                      <a:pt x="231" y="19"/>
                    </a:cubicBezTo>
                    <a:cubicBezTo>
                      <a:pt x="231" y="19"/>
                      <a:pt x="195" y="23"/>
                      <a:pt x="189" y="22"/>
                    </a:cubicBezTo>
                    <a:cubicBezTo>
                      <a:pt x="183" y="21"/>
                      <a:pt x="178" y="4"/>
                      <a:pt x="178" y="4"/>
                    </a:cubicBezTo>
                    <a:cubicBezTo>
                      <a:pt x="178" y="4"/>
                      <a:pt x="164" y="0"/>
                      <a:pt x="149" y="0"/>
                    </a:cubicBezTo>
                    <a:cubicBezTo>
                      <a:pt x="134" y="0"/>
                      <a:pt x="94" y="17"/>
                      <a:pt x="94" y="17"/>
                    </a:cubicBezTo>
                    <a:cubicBezTo>
                      <a:pt x="81" y="28"/>
                      <a:pt x="81" y="28"/>
                      <a:pt x="81" y="28"/>
                    </a:cubicBezTo>
                    <a:cubicBezTo>
                      <a:pt x="41" y="33"/>
                      <a:pt x="41" y="33"/>
                      <a:pt x="41" y="33"/>
                    </a:cubicBezTo>
                    <a:cubicBezTo>
                      <a:pt x="41" y="33"/>
                      <a:pt x="10" y="44"/>
                      <a:pt x="12" y="48"/>
                    </a:cubicBezTo>
                    <a:cubicBezTo>
                      <a:pt x="14" y="52"/>
                      <a:pt x="14" y="62"/>
                      <a:pt x="14" y="62"/>
                    </a:cubicBezTo>
                    <a:cubicBezTo>
                      <a:pt x="7" y="58"/>
                      <a:pt x="7" y="58"/>
                      <a:pt x="7" y="58"/>
                    </a:cubicBezTo>
                    <a:cubicBezTo>
                      <a:pt x="8" y="61"/>
                      <a:pt x="9" y="65"/>
                      <a:pt x="8" y="68"/>
                    </a:cubicBezTo>
                    <a:cubicBezTo>
                      <a:pt x="6" y="74"/>
                      <a:pt x="11" y="66"/>
                      <a:pt x="14" y="75"/>
                    </a:cubicBezTo>
                    <a:cubicBezTo>
                      <a:pt x="16" y="83"/>
                      <a:pt x="18" y="85"/>
                      <a:pt x="12" y="89"/>
                    </a:cubicBezTo>
                    <a:cubicBezTo>
                      <a:pt x="6" y="94"/>
                      <a:pt x="0" y="95"/>
                      <a:pt x="3" y="102"/>
                    </a:cubicBezTo>
                    <a:cubicBezTo>
                      <a:pt x="6" y="109"/>
                      <a:pt x="10" y="105"/>
                      <a:pt x="10" y="105"/>
                    </a:cubicBezTo>
                    <a:cubicBezTo>
                      <a:pt x="14" y="111"/>
                      <a:pt x="14" y="111"/>
                      <a:pt x="14" y="111"/>
                    </a:cubicBezTo>
                    <a:cubicBezTo>
                      <a:pt x="14" y="111"/>
                      <a:pt x="18" y="107"/>
                      <a:pt x="21" y="111"/>
                    </a:cubicBezTo>
                    <a:cubicBezTo>
                      <a:pt x="24" y="116"/>
                      <a:pt x="24" y="122"/>
                      <a:pt x="24" y="122"/>
                    </a:cubicBezTo>
                    <a:cubicBezTo>
                      <a:pt x="24" y="122"/>
                      <a:pt x="18" y="125"/>
                      <a:pt x="19" y="128"/>
                    </a:cubicBezTo>
                    <a:cubicBezTo>
                      <a:pt x="20" y="131"/>
                      <a:pt x="25" y="132"/>
                      <a:pt x="25" y="132"/>
                    </a:cubicBezTo>
                    <a:cubicBezTo>
                      <a:pt x="25" y="132"/>
                      <a:pt x="22" y="139"/>
                      <a:pt x="24" y="139"/>
                    </a:cubicBezTo>
                    <a:cubicBezTo>
                      <a:pt x="26" y="140"/>
                      <a:pt x="29" y="142"/>
                      <a:pt x="29" y="142"/>
                    </a:cubicBezTo>
                    <a:cubicBezTo>
                      <a:pt x="29" y="142"/>
                      <a:pt x="20" y="148"/>
                      <a:pt x="20" y="153"/>
                    </a:cubicBezTo>
                    <a:cubicBezTo>
                      <a:pt x="21" y="159"/>
                      <a:pt x="30" y="161"/>
                      <a:pt x="30" y="161"/>
                    </a:cubicBezTo>
                    <a:cubicBezTo>
                      <a:pt x="29" y="173"/>
                      <a:pt x="29" y="173"/>
                      <a:pt x="29" y="173"/>
                    </a:cubicBezTo>
                    <a:cubicBezTo>
                      <a:pt x="29" y="173"/>
                      <a:pt x="37" y="167"/>
                      <a:pt x="38" y="173"/>
                    </a:cubicBezTo>
                    <a:cubicBezTo>
                      <a:pt x="40" y="178"/>
                      <a:pt x="36" y="183"/>
                      <a:pt x="36" y="183"/>
                    </a:cubicBezTo>
                    <a:cubicBezTo>
                      <a:pt x="36" y="183"/>
                      <a:pt x="42" y="184"/>
                      <a:pt x="41" y="187"/>
                    </a:cubicBezTo>
                    <a:cubicBezTo>
                      <a:pt x="40" y="189"/>
                      <a:pt x="39" y="192"/>
                      <a:pt x="37" y="195"/>
                    </a:cubicBezTo>
                    <a:cubicBezTo>
                      <a:pt x="50" y="197"/>
                      <a:pt x="50" y="197"/>
                      <a:pt x="50" y="197"/>
                    </a:cubicBezTo>
                    <a:cubicBezTo>
                      <a:pt x="53" y="206"/>
                      <a:pt x="53" y="206"/>
                      <a:pt x="53" y="206"/>
                    </a:cubicBezTo>
                    <a:cubicBezTo>
                      <a:pt x="53" y="206"/>
                      <a:pt x="55" y="203"/>
                      <a:pt x="67" y="207"/>
                    </a:cubicBezTo>
                    <a:cubicBezTo>
                      <a:pt x="79" y="211"/>
                      <a:pt x="77" y="217"/>
                      <a:pt x="80" y="217"/>
                    </a:cubicBezTo>
                    <a:cubicBezTo>
                      <a:pt x="83" y="217"/>
                      <a:pt x="96" y="216"/>
                      <a:pt x="96" y="216"/>
                    </a:cubicBezTo>
                    <a:cubicBezTo>
                      <a:pt x="99" y="221"/>
                      <a:pt x="99" y="221"/>
                      <a:pt x="99" y="221"/>
                    </a:cubicBezTo>
                    <a:cubicBezTo>
                      <a:pt x="92" y="225"/>
                      <a:pt x="92" y="225"/>
                      <a:pt x="92" y="225"/>
                    </a:cubicBezTo>
                    <a:cubicBezTo>
                      <a:pt x="98" y="228"/>
                      <a:pt x="98" y="228"/>
                      <a:pt x="98" y="228"/>
                    </a:cubicBezTo>
                    <a:cubicBezTo>
                      <a:pt x="98" y="228"/>
                      <a:pt x="98" y="234"/>
                      <a:pt x="102" y="236"/>
                    </a:cubicBezTo>
                    <a:cubicBezTo>
                      <a:pt x="106" y="238"/>
                      <a:pt x="117" y="240"/>
                      <a:pt x="117" y="240"/>
                    </a:cubicBezTo>
                    <a:cubicBezTo>
                      <a:pt x="117" y="240"/>
                      <a:pt x="119" y="236"/>
                      <a:pt x="132" y="232"/>
                    </a:cubicBezTo>
                    <a:cubicBezTo>
                      <a:pt x="145" y="228"/>
                      <a:pt x="140" y="235"/>
                      <a:pt x="140" y="235"/>
                    </a:cubicBezTo>
                    <a:cubicBezTo>
                      <a:pt x="140" y="235"/>
                      <a:pt x="140" y="235"/>
                      <a:pt x="148" y="236"/>
                    </a:cubicBezTo>
                    <a:cubicBezTo>
                      <a:pt x="156" y="237"/>
                      <a:pt x="161" y="250"/>
                      <a:pt x="161" y="250"/>
                    </a:cubicBezTo>
                    <a:cubicBezTo>
                      <a:pt x="168" y="244"/>
                      <a:pt x="168" y="244"/>
                      <a:pt x="168" y="244"/>
                    </a:cubicBezTo>
                    <a:cubicBezTo>
                      <a:pt x="168" y="244"/>
                      <a:pt x="172" y="253"/>
                      <a:pt x="176" y="253"/>
                    </a:cubicBezTo>
                    <a:cubicBezTo>
                      <a:pt x="180" y="253"/>
                      <a:pt x="190" y="255"/>
                      <a:pt x="190" y="255"/>
                    </a:cubicBezTo>
                    <a:cubicBezTo>
                      <a:pt x="189" y="260"/>
                      <a:pt x="189" y="260"/>
                      <a:pt x="189" y="260"/>
                    </a:cubicBezTo>
                    <a:cubicBezTo>
                      <a:pt x="196" y="266"/>
                      <a:pt x="196" y="266"/>
                      <a:pt x="196" y="266"/>
                    </a:cubicBezTo>
                    <a:cubicBezTo>
                      <a:pt x="196" y="266"/>
                      <a:pt x="206" y="278"/>
                      <a:pt x="209" y="278"/>
                    </a:cubicBezTo>
                    <a:cubicBezTo>
                      <a:pt x="212" y="278"/>
                      <a:pt x="222" y="270"/>
                      <a:pt x="229" y="272"/>
                    </a:cubicBezTo>
                    <a:cubicBezTo>
                      <a:pt x="236" y="274"/>
                      <a:pt x="237" y="281"/>
                      <a:pt x="237" y="281"/>
                    </a:cubicBezTo>
                    <a:cubicBezTo>
                      <a:pt x="244" y="281"/>
                      <a:pt x="244" y="281"/>
                      <a:pt x="244" y="281"/>
                    </a:cubicBezTo>
                    <a:cubicBezTo>
                      <a:pt x="244" y="281"/>
                      <a:pt x="241" y="288"/>
                      <a:pt x="250" y="288"/>
                    </a:cubicBezTo>
                    <a:cubicBezTo>
                      <a:pt x="259" y="288"/>
                      <a:pt x="258" y="279"/>
                      <a:pt x="258" y="279"/>
                    </a:cubicBezTo>
                    <a:cubicBezTo>
                      <a:pt x="277" y="280"/>
                      <a:pt x="277" y="280"/>
                      <a:pt x="277" y="280"/>
                    </a:cubicBezTo>
                    <a:cubicBezTo>
                      <a:pt x="277" y="280"/>
                      <a:pt x="283" y="284"/>
                      <a:pt x="288" y="284"/>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87" name="Freeform 109">
                <a:extLst>
                  <a:ext uri="{FF2B5EF4-FFF2-40B4-BE49-F238E27FC236}">
                    <a16:creationId xmlns:a16="http://schemas.microsoft.com/office/drawing/2014/main" id="{026D3C24-CAE3-45D4-A58A-E1912CD43E6F}"/>
                  </a:ext>
                </a:extLst>
              </p:cNvPr>
              <p:cNvSpPr>
                <a:spLocks/>
              </p:cNvSpPr>
              <p:nvPr>
                <p:custDataLst>
                  <p:tags r:id="rId68"/>
                </p:custDataLst>
              </p:nvPr>
            </p:nvSpPr>
            <p:spPr bwMode="gray">
              <a:xfrm>
                <a:off x="4664048" y="2894024"/>
                <a:ext cx="20637" cy="19050"/>
              </a:xfrm>
              <a:custGeom>
                <a:avLst/>
                <a:gdLst>
                  <a:gd name="T0" fmla="*/ 13 w 36"/>
                  <a:gd name="T1" fmla="*/ 32 h 32"/>
                  <a:gd name="T2" fmla="*/ 19 w 36"/>
                  <a:gd name="T3" fmla="*/ 27 h 32"/>
                  <a:gd name="T4" fmla="*/ 30 w 36"/>
                  <a:gd name="T5" fmla="*/ 29 h 32"/>
                  <a:gd name="T6" fmla="*/ 35 w 36"/>
                  <a:gd name="T7" fmla="*/ 20 h 32"/>
                  <a:gd name="T8" fmla="*/ 20 w 36"/>
                  <a:gd name="T9" fmla="*/ 8 h 32"/>
                  <a:gd name="T10" fmla="*/ 20 w 36"/>
                  <a:gd name="T11" fmla="*/ 0 h 32"/>
                  <a:gd name="T12" fmla="*/ 12 w 36"/>
                  <a:gd name="T13" fmla="*/ 4 h 32"/>
                  <a:gd name="T14" fmla="*/ 2 w 36"/>
                  <a:gd name="T15" fmla="*/ 18 h 32"/>
                  <a:gd name="T16" fmla="*/ 13 w 36"/>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2">
                    <a:moveTo>
                      <a:pt x="13" y="32"/>
                    </a:moveTo>
                    <a:cubicBezTo>
                      <a:pt x="19" y="27"/>
                      <a:pt x="19" y="27"/>
                      <a:pt x="19" y="27"/>
                    </a:cubicBezTo>
                    <a:cubicBezTo>
                      <a:pt x="30" y="29"/>
                      <a:pt x="30" y="29"/>
                      <a:pt x="30" y="29"/>
                    </a:cubicBezTo>
                    <a:cubicBezTo>
                      <a:pt x="30" y="29"/>
                      <a:pt x="36" y="25"/>
                      <a:pt x="35" y="20"/>
                    </a:cubicBezTo>
                    <a:cubicBezTo>
                      <a:pt x="34" y="16"/>
                      <a:pt x="24" y="14"/>
                      <a:pt x="20" y="8"/>
                    </a:cubicBezTo>
                    <a:cubicBezTo>
                      <a:pt x="19" y="6"/>
                      <a:pt x="19" y="3"/>
                      <a:pt x="20" y="0"/>
                    </a:cubicBezTo>
                    <a:cubicBezTo>
                      <a:pt x="19" y="1"/>
                      <a:pt x="16" y="2"/>
                      <a:pt x="12" y="4"/>
                    </a:cubicBezTo>
                    <a:cubicBezTo>
                      <a:pt x="1" y="10"/>
                      <a:pt x="0" y="16"/>
                      <a:pt x="2" y="18"/>
                    </a:cubicBezTo>
                    <a:cubicBezTo>
                      <a:pt x="3" y="20"/>
                      <a:pt x="9" y="27"/>
                      <a:pt x="13" y="32"/>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88" name="Freeform 110">
                <a:extLst>
                  <a:ext uri="{FF2B5EF4-FFF2-40B4-BE49-F238E27FC236}">
                    <a16:creationId xmlns:a16="http://schemas.microsoft.com/office/drawing/2014/main" id="{F510C702-D7D9-4317-B61E-D89E0EF518D3}"/>
                  </a:ext>
                </a:extLst>
              </p:cNvPr>
              <p:cNvSpPr>
                <a:spLocks/>
              </p:cNvSpPr>
              <p:nvPr>
                <p:custDataLst>
                  <p:tags r:id="rId69"/>
                </p:custDataLst>
              </p:nvPr>
            </p:nvSpPr>
            <p:spPr bwMode="gray">
              <a:xfrm>
                <a:off x="4760885" y="2927361"/>
                <a:ext cx="184149" cy="74614"/>
              </a:xfrm>
              <a:custGeom>
                <a:avLst/>
                <a:gdLst>
                  <a:gd name="T0" fmla="*/ 307 w 308"/>
                  <a:gd name="T1" fmla="*/ 48 h 138"/>
                  <a:gd name="T2" fmla="*/ 301 w 308"/>
                  <a:gd name="T3" fmla="*/ 33 h 138"/>
                  <a:gd name="T4" fmla="*/ 287 w 308"/>
                  <a:gd name="T5" fmla="*/ 11 h 138"/>
                  <a:gd name="T6" fmla="*/ 268 w 308"/>
                  <a:gd name="T7" fmla="*/ 17 h 138"/>
                  <a:gd name="T8" fmla="*/ 254 w 308"/>
                  <a:gd name="T9" fmla="*/ 14 h 138"/>
                  <a:gd name="T10" fmla="*/ 228 w 308"/>
                  <a:gd name="T11" fmla="*/ 1 h 138"/>
                  <a:gd name="T12" fmla="*/ 214 w 308"/>
                  <a:gd name="T13" fmla="*/ 16 h 138"/>
                  <a:gd name="T14" fmla="*/ 204 w 308"/>
                  <a:gd name="T15" fmla="*/ 23 h 138"/>
                  <a:gd name="T16" fmla="*/ 175 w 308"/>
                  <a:gd name="T17" fmla="*/ 15 h 138"/>
                  <a:gd name="T18" fmla="*/ 156 w 308"/>
                  <a:gd name="T19" fmla="*/ 27 h 138"/>
                  <a:gd name="T20" fmla="*/ 160 w 308"/>
                  <a:gd name="T21" fmla="*/ 45 h 138"/>
                  <a:gd name="T22" fmla="*/ 133 w 308"/>
                  <a:gd name="T23" fmla="*/ 57 h 138"/>
                  <a:gd name="T24" fmla="*/ 141 w 308"/>
                  <a:gd name="T25" fmla="*/ 68 h 138"/>
                  <a:gd name="T26" fmla="*/ 131 w 308"/>
                  <a:gd name="T27" fmla="*/ 77 h 138"/>
                  <a:gd name="T28" fmla="*/ 109 w 308"/>
                  <a:gd name="T29" fmla="*/ 71 h 138"/>
                  <a:gd name="T30" fmla="*/ 84 w 308"/>
                  <a:gd name="T31" fmla="*/ 78 h 138"/>
                  <a:gd name="T32" fmla="*/ 63 w 308"/>
                  <a:gd name="T33" fmla="*/ 88 h 138"/>
                  <a:gd name="T34" fmla="*/ 33 w 308"/>
                  <a:gd name="T35" fmla="*/ 76 h 138"/>
                  <a:gd name="T36" fmla="*/ 26 w 308"/>
                  <a:gd name="T37" fmla="*/ 91 h 138"/>
                  <a:gd name="T38" fmla="*/ 0 w 308"/>
                  <a:gd name="T39" fmla="*/ 84 h 138"/>
                  <a:gd name="T40" fmla="*/ 2 w 308"/>
                  <a:gd name="T41" fmla="*/ 97 h 138"/>
                  <a:gd name="T42" fmla="*/ 11 w 308"/>
                  <a:gd name="T43" fmla="*/ 106 h 138"/>
                  <a:gd name="T44" fmla="*/ 32 w 308"/>
                  <a:gd name="T45" fmla="*/ 106 h 138"/>
                  <a:gd name="T46" fmla="*/ 50 w 308"/>
                  <a:gd name="T47" fmla="*/ 117 h 138"/>
                  <a:gd name="T48" fmla="*/ 66 w 308"/>
                  <a:gd name="T49" fmla="*/ 109 h 138"/>
                  <a:gd name="T50" fmla="*/ 104 w 308"/>
                  <a:gd name="T51" fmla="*/ 103 h 138"/>
                  <a:gd name="T52" fmla="*/ 119 w 308"/>
                  <a:gd name="T53" fmla="*/ 118 h 138"/>
                  <a:gd name="T54" fmla="*/ 136 w 308"/>
                  <a:gd name="T55" fmla="*/ 131 h 138"/>
                  <a:gd name="T56" fmla="*/ 162 w 308"/>
                  <a:gd name="T57" fmla="*/ 136 h 138"/>
                  <a:gd name="T58" fmla="*/ 183 w 308"/>
                  <a:gd name="T59" fmla="*/ 132 h 138"/>
                  <a:gd name="T60" fmla="*/ 207 w 308"/>
                  <a:gd name="T61" fmla="*/ 138 h 138"/>
                  <a:gd name="T62" fmla="*/ 247 w 308"/>
                  <a:gd name="T63" fmla="*/ 130 h 138"/>
                  <a:gd name="T64" fmla="*/ 270 w 308"/>
                  <a:gd name="T65" fmla="*/ 131 h 138"/>
                  <a:gd name="T66" fmla="*/ 277 w 308"/>
                  <a:gd name="T67" fmla="*/ 107 h 138"/>
                  <a:gd name="T68" fmla="*/ 290 w 308"/>
                  <a:gd name="T69" fmla="*/ 91 h 138"/>
                  <a:gd name="T70" fmla="*/ 290 w 308"/>
                  <a:gd name="T71" fmla="*/ 78 h 138"/>
                  <a:gd name="T72" fmla="*/ 306 w 308"/>
                  <a:gd name="T73" fmla="*/ 6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8" h="138">
                    <a:moveTo>
                      <a:pt x="306" y="69"/>
                    </a:moveTo>
                    <a:cubicBezTo>
                      <a:pt x="306" y="69"/>
                      <a:pt x="308" y="55"/>
                      <a:pt x="307" y="48"/>
                    </a:cubicBezTo>
                    <a:cubicBezTo>
                      <a:pt x="306" y="42"/>
                      <a:pt x="300" y="43"/>
                      <a:pt x="300" y="43"/>
                    </a:cubicBezTo>
                    <a:cubicBezTo>
                      <a:pt x="301" y="33"/>
                      <a:pt x="301" y="33"/>
                      <a:pt x="301" y="33"/>
                    </a:cubicBezTo>
                    <a:cubicBezTo>
                      <a:pt x="303" y="19"/>
                      <a:pt x="303" y="19"/>
                      <a:pt x="303" y="19"/>
                    </a:cubicBezTo>
                    <a:cubicBezTo>
                      <a:pt x="303" y="19"/>
                      <a:pt x="295" y="14"/>
                      <a:pt x="287" y="11"/>
                    </a:cubicBezTo>
                    <a:cubicBezTo>
                      <a:pt x="280" y="9"/>
                      <a:pt x="276" y="16"/>
                      <a:pt x="276" y="16"/>
                    </a:cubicBezTo>
                    <a:cubicBezTo>
                      <a:pt x="268" y="17"/>
                      <a:pt x="268" y="17"/>
                      <a:pt x="268" y="17"/>
                    </a:cubicBezTo>
                    <a:cubicBezTo>
                      <a:pt x="261" y="9"/>
                      <a:pt x="261" y="9"/>
                      <a:pt x="261" y="9"/>
                    </a:cubicBezTo>
                    <a:cubicBezTo>
                      <a:pt x="254" y="14"/>
                      <a:pt x="254" y="14"/>
                      <a:pt x="254" y="14"/>
                    </a:cubicBezTo>
                    <a:cubicBezTo>
                      <a:pt x="245" y="8"/>
                      <a:pt x="245" y="8"/>
                      <a:pt x="245" y="8"/>
                    </a:cubicBezTo>
                    <a:cubicBezTo>
                      <a:pt x="245" y="8"/>
                      <a:pt x="232" y="0"/>
                      <a:pt x="228" y="1"/>
                    </a:cubicBezTo>
                    <a:cubicBezTo>
                      <a:pt x="225" y="2"/>
                      <a:pt x="218" y="15"/>
                      <a:pt x="218" y="15"/>
                    </a:cubicBezTo>
                    <a:cubicBezTo>
                      <a:pt x="214" y="16"/>
                      <a:pt x="214" y="16"/>
                      <a:pt x="214" y="16"/>
                    </a:cubicBezTo>
                    <a:cubicBezTo>
                      <a:pt x="213" y="28"/>
                      <a:pt x="213" y="28"/>
                      <a:pt x="213" y="28"/>
                    </a:cubicBezTo>
                    <a:cubicBezTo>
                      <a:pt x="204" y="23"/>
                      <a:pt x="204" y="23"/>
                      <a:pt x="204" y="23"/>
                    </a:cubicBezTo>
                    <a:cubicBezTo>
                      <a:pt x="204" y="23"/>
                      <a:pt x="198" y="27"/>
                      <a:pt x="190" y="27"/>
                    </a:cubicBezTo>
                    <a:cubicBezTo>
                      <a:pt x="183" y="27"/>
                      <a:pt x="175" y="15"/>
                      <a:pt x="175" y="15"/>
                    </a:cubicBezTo>
                    <a:cubicBezTo>
                      <a:pt x="168" y="26"/>
                      <a:pt x="168" y="26"/>
                      <a:pt x="168" y="26"/>
                    </a:cubicBezTo>
                    <a:cubicBezTo>
                      <a:pt x="156" y="27"/>
                      <a:pt x="156" y="27"/>
                      <a:pt x="156" y="27"/>
                    </a:cubicBezTo>
                    <a:cubicBezTo>
                      <a:pt x="160" y="34"/>
                      <a:pt x="160" y="34"/>
                      <a:pt x="160" y="34"/>
                    </a:cubicBezTo>
                    <a:cubicBezTo>
                      <a:pt x="160" y="45"/>
                      <a:pt x="160" y="45"/>
                      <a:pt x="160" y="45"/>
                    </a:cubicBezTo>
                    <a:cubicBezTo>
                      <a:pt x="160" y="45"/>
                      <a:pt x="147" y="42"/>
                      <a:pt x="142" y="43"/>
                    </a:cubicBezTo>
                    <a:cubicBezTo>
                      <a:pt x="138" y="44"/>
                      <a:pt x="133" y="57"/>
                      <a:pt x="133" y="57"/>
                    </a:cubicBezTo>
                    <a:cubicBezTo>
                      <a:pt x="141" y="59"/>
                      <a:pt x="141" y="59"/>
                      <a:pt x="141" y="59"/>
                    </a:cubicBezTo>
                    <a:cubicBezTo>
                      <a:pt x="141" y="68"/>
                      <a:pt x="141" y="68"/>
                      <a:pt x="141" y="68"/>
                    </a:cubicBezTo>
                    <a:cubicBezTo>
                      <a:pt x="141" y="68"/>
                      <a:pt x="142" y="78"/>
                      <a:pt x="141" y="84"/>
                    </a:cubicBezTo>
                    <a:cubicBezTo>
                      <a:pt x="139" y="91"/>
                      <a:pt x="131" y="77"/>
                      <a:pt x="131" y="77"/>
                    </a:cubicBezTo>
                    <a:cubicBezTo>
                      <a:pt x="118" y="72"/>
                      <a:pt x="118" y="72"/>
                      <a:pt x="118" y="72"/>
                    </a:cubicBezTo>
                    <a:cubicBezTo>
                      <a:pt x="109" y="71"/>
                      <a:pt x="109" y="71"/>
                      <a:pt x="109" y="71"/>
                    </a:cubicBezTo>
                    <a:cubicBezTo>
                      <a:pt x="98" y="77"/>
                      <a:pt x="98" y="77"/>
                      <a:pt x="98" y="77"/>
                    </a:cubicBezTo>
                    <a:cubicBezTo>
                      <a:pt x="84" y="78"/>
                      <a:pt x="84" y="78"/>
                      <a:pt x="84" y="78"/>
                    </a:cubicBezTo>
                    <a:cubicBezTo>
                      <a:pt x="75" y="86"/>
                      <a:pt x="75" y="86"/>
                      <a:pt x="75" y="86"/>
                    </a:cubicBezTo>
                    <a:cubicBezTo>
                      <a:pt x="75" y="86"/>
                      <a:pt x="69" y="88"/>
                      <a:pt x="63" y="88"/>
                    </a:cubicBezTo>
                    <a:cubicBezTo>
                      <a:pt x="56" y="88"/>
                      <a:pt x="46" y="77"/>
                      <a:pt x="46" y="77"/>
                    </a:cubicBezTo>
                    <a:cubicBezTo>
                      <a:pt x="33" y="76"/>
                      <a:pt x="33" y="76"/>
                      <a:pt x="33" y="76"/>
                    </a:cubicBezTo>
                    <a:cubicBezTo>
                      <a:pt x="33" y="85"/>
                      <a:pt x="33" y="85"/>
                      <a:pt x="33" y="85"/>
                    </a:cubicBezTo>
                    <a:cubicBezTo>
                      <a:pt x="33" y="85"/>
                      <a:pt x="30" y="90"/>
                      <a:pt x="26" y="91"/>
                    </a:cubicBezTo>
                    <a:cubicBezTo>
                      <a:pt x="22" y="92"/>
                      <a:pt x="21" y="82"/>
                      <a:pt x="12" y="81"/>
                    </a:cubicBezTo>
                    <a:cubicBezTo>
                      <a:pt x="6" y="79"/>
                      <a:pt x="2" y="82"/>
                      <a:pt x="0" y="84"/>
                    </a:cubicBezTo>
                    <a:cubicBezTo>
                      <a:pt x="1" y="86"/>
                      <a:pt x="2" y="89"/>
                      <a:pt x="0" y="91"/>
                    </a:cubicBezTo>
                    <a:cubicBezTo>
                      <a:pt x="1" y="93"/>
                      <a:pt x="2" y="95"/>
                      <a:pt x="2" y="97"/>
                    </a:cubicBezTo>
                    <a:cubicBezTo>
                      <a:pt x="2" y="100"/>
                      <a:pt x="2" y="105"/>
                      <a:pt x="2" y="107"/>
                    </a:cubicBezTo>
                    <a:cubicBezTo>
                      <a:pt x="11" y="106"/>
                      <a:pt x="11" y="106"/>
                      <a:pt x="11" y="106"/>
                    </a:cubicBezTo>
                    <a:cubicBezTo>
                      <a:pt x="11" y="106"/>
                      <a:pt x="8" y="120"/>
                      <a:pt x="16" y="118"/>
                    </a:cubicBezTo>
                    <a:cubicBezTo>
                      <a:pt x="23" y="115"/>
                      <a:pt x="21" y="106"/>
                      <a:pt x="32" y="106"/>
                    </a:cubicBezTo>
                    <a:cubicBezTo>
                      <a:pt x="37" y="107"/>
                      <a:pt x="40" y="113"/>
                      <a:pt x="41" y="117"/>
                    </a:cubicBezTo>
                    <a:cubicBezTo>
                      <a:pt x="50" y="117"/>
                      <a:pt x="50" y="117"/>
                      <a:pt x="50" y="117"/>
                    </a:cubicBezTo>
                    <a:cubicBezTo>
                      <a:pt x="56" y="121"/>
                      <a:pt x="56" y="121"/>
                      <a:pt x="56" y="121"/>
                    </a:cubicBezTo>
                    <a:cubicBezTo>
                      <a:pt x="66" y="109"/>
                      <a:pt x="66" y="109"/>
                      <a:pt x="66" y="109"/>
                    </a:cubicBezTo>
                    <a:cubicBezTo>
                      <a:pt x="92" y="111"/>
                      <a:pt x="92" y="111"/>
                      <a:pt x="92" y="111"/>
                    </a:cubicBezTo>
                    <a:cubicBezTo>
                      <a:pt x="92" y="111"/>
                      <a:pt x="94" y="102"/>
                      <a:pt x="104" y="103"/>
                    </a:cubicBezTo>
                    <a:cubicBezTo>
                      <a:pt x="113" y="104"/>
                      <a:pt x="114" y="118"/>
                      <a:pt x="114" y="118"/>
                    </a:cubicBezTo>
                    <a:cubicBezTo>
                      <a:pt x="119" y="118"/>
                      <a:pt x="119" y="118"/>
                      <a:pt x="119" y="118"/>
                    </a:cubicBezTo>
                    <a:cubicBezTo>
                      <a:pt x="124" y="131"/>
                      <a:pt x="124" y="131"/>
                      <a:pt x="124" y="131"/>
                    </a:cubicBezTo>
                    <a:cubicBezTo>
                      <a:pt x="136" y="131"/>
                      <a:pt x="136" y="131"/>
                      <a:pt x="136" y="131"/>
                    </a:cubicBezTo>
                    <a:cubicBezTo>
                      <a:pt x="136" y="131"/>
                      <a:pt x="159" y="127"/>
                      <a:pt x="162" y="132"/>
                    </a:cubicBezTo>
                    <a:cubicBezTo>
                      <a:pt x="162" y="134"/>
                      <a:pt x="162" y="135"/>
                      <a:pt x="162" y="136"/>
                    </a:cubicBezTo>
                    <a:cubicBezTo>
                      <a:pt x="171" y="136"/>
                      <a:pt x="171" y="136"/>
                      <a:pt x="171" y="136"/>
                    </a:cubicBezTo>
                    <a:cubicBezTo>
                      <a:pt x="171" y="136"/>
                      <a:pt x="180" y="132"/>
                      <a:pt x="183" y="132"/>
                    </a:cubicBezTo>
                    <a:cubicBezTo>
                      <a:pt x="186" y="132"/>
                      <a:pt x="192" y="136"/>
                      <a:pt x="192" y="136"/>
                    </a:cubicBezTo>
                    <a:cubicBezTo>
                      <a:pt x="192" y="136"/>
                      <a:pt x="200" y="138"/>
                      <a:pt x="207" y="138"/>
                    </a:cubicBezTo>
                    <a:cubicBezTo>
                      <a:pt x="214" y="138"/>
                      <a:pt x="214" y="129"/>
                      <a:pt x="214" y="129"/>
                    </a:cubicBezTo>
                    <a:cubicBezTo>
                      <a:pt x="247" y="130"/>
                      <a:pt x="247" y="130"/>
                      <a:pt x="247" y="130"/>
                    </a:cubicBezTo>
                    <a:cubicBezTo>
                      <a:pt x="254" y="126"/>
                      <a:pt x="254" y="126"/>
                      <a:pt x="254" y="126"/>
                    </a:cubicBezTo>
                    <a:cubicBezTo>
                      <a:pt x="270" y="131"/>
                      <a:pt x="270" y="131"/>
                      <a:pt x="270" y="131"/>
                    </a:cubicBezTo>
                    <a:cubicBezTo>
                      <a:pt x="272" y="119"/>
                      <a:pt x="272" y="119"/>
                      <a:pt x="272" y="119"/>
                    </a:cubicBezTo>
                    <a:cubicBezTo>
                      <a:pt x="277" y="107"/>
                      <a:pt x="277" y="107"/>
                      <a:pt x="277" y="107"/>
                    </a:cubicBezTo>
                    <a:cubicBezTo>
                      <a:pt x="290" y="105"/>
                      <a:pt x="290" y="105"/>
                      <a:pt x="290" y="105"/>
                    </a:cubicBezTo>
                    <a:cubicBezTo>
                      <a:pt x="290" y="91"/>
                      <a:pt x="290" y="91"/>
                      <a:pt x="290" y="91"/>
                    </a:cubicBezTo>
                    <a:cubicBezTo>
                      <a:pt x="298" y="79"/>
                      <a:pt x="298" y="79"/>
                      <a:pt x="298" y="79"/>
                    </a:cubicBezTo>
                    <a:cubicBezTo>
                      <a:pt x="290" y="78"/>
                      <a:pt x="290" y="78"/>
                      <a:pt x="290" y="78"/>
                    </a:cubicBezTo>
                    <a:cubicBezTo>
                      <a:pt x="291" y="69"/>
                      <a:pt x="291" y="69"/>
                      <a:pt x="291" y="69"/>
                    </a:cubicBezTo>
                    <a:lnTo>
                      <a:pt x="306" y="69"/>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89" name="Freeform 111">
                <a:extLst>
                  <a:ext uri="{FF2B5EF4-FFF2-40B4-BE49-F238E27FC236}">
                    <a16:creationId xmlns:a16="http://schemas.microsoft.com/office/drawing/2014/main" id="{E9F7F67E-7CE2-480A-950A-3AF37E58B25D}"/>
                  </a:ext>
                </a:extLst>
              </p:cNvPr>
              <p:cNvSpPr>
                <a:spLocks/>
              </p:cNvSpPr>
              <p:nvPr>
                <p:custDataLst>
                  <p:tags r:id="rId70"/>
                </p:custDataLst>
              </p:nvPr>
            </p:nvSpPr>
            <p:spPr bwMode="gray">
              <a:xfrm>
                <a:off x="4597373" y="2800361"/>
                <a:ext cx="109538" cy="80963"/>
              </a:xfrm>
              <a:custGeom>
                <a:avLst/>
                <a:gdLst>
                  <a:gd name="T0" fmla="*/ 14 w 182"/>
                  <a:gd name="T1" fmla="*/ 104 h 145"/>
                  <a:gd name="T2" fmla="*/ 0 w 182"/>
                  <a:gd name="T3" fmla="*/ 116 h 145"/>
                  <a:gd name="T4" fmla="*/ 0 w 182"/>
                  <a:gd name="T5" fmla="*/ 116 h 145"/>
                  <a:gd name="T6" fmla="*/ 9 w 182"/>
                  <a:gd name="T7" fmla="*/ 108 h 145"/>
                  <a:gd name="T8" fmla="*/ 10 w 182"/>
                  <a:gd name="T9" fmla="*/ 110 h 145"/>
                  <a:gd name="T10" fmla="*/ 18 w 182"/>
                  <a:gd name="T11" fmla="*/ 108 h 145"/>
                  <a:gd name="T12" fmla="*/ 22 w 182"/>
                  <a:gd name="T13" fmla="*/ 114 h 145"/>
                  <a:gd name="T14" fmla="*/ 34 w 182"/>
                  <a:gd name="T15" fmla="*/ 112 h 145"/>
                  <a:gd name="T16" fmla="*/ 43 w 182"/>
                  <a:gd name="T17" fmla="*/ 117 h 145"/>
                  <a:gd name="T18" fmla="*/ 46 w 182"/>
                  <a:gd name="T19" fmla="*/ 110 h 145"/>
                  <a:gd name="T20" fmla="*/ 56 w 182"/>
                  <a:gd name="T21" fmla="*/ 112 h 145"/>
                  <a:gd name="T22" fmla="*/ 56 w 182"/>
                  <a:gd name="T23" fmla="*/ 106 h 145"/>
                  <a:gd name="T24" fmla="*/ 65 w 182"/>
                  <a:gd name="T25" fmla="*/ 108 h 145"/>
                  <a:gd name="T26" fmla="*/ 71 w 182"/>
                  <a:gd name="T27" fmla="*/ 104 h 145"/>
                  <a:gd name="T28" fmla="*/ 90 w 182"/>
                  <a:gd name="T29" fmla="*/ 104 h 145"/>
                  <a:gd name="T30" fmla="*/ 94 w 182"/>
                  <a:gd name="T31" fmla="*/ 114 h 145"/>
                  <a:gd name="T32" fmla="*/ 108 w 182"/>
                  <a:gd name="T33" fmla="*/ 114 h 145"/>
                  <a:gd name="T34" fmla="*/ 119 w 182"/>
                  <a:gd name="T35" fmla="*/ 121 h 145"/>
                  <a:gd name="T36" fmla="*/ 114 w 182"/>
                  <a:gd name="T37" fmla="*/ 130 h 145"/>
                  <a:gd name="T38" fmla="*/ 112 w 182"/>
                  <a:gd name="T39" fmla="*/ 140 h 145"/>
                  <a:gd name="T40" fmla="*/ 123 w 182"/>
                  <a:gd name="T41" fmla="*/ 140 h 145"/>
                  <a:gd name="T42" fmla="*/ 127 w 182"/>
                  <a:gd name="T43" fmla="*/ 124 h 145"/>
                  <a:gd name="T44" fmla="*/ 123 w 182"/>
                  <a:gd name="T45" fmla="*/ 116 h 145"/>
                  <a:gd name="T46" fmla="*/ 134 w 182"/>
                  <a:gd name="T47" fmla="*/ 106 h 145"/>
                  <a:gd name="T48" fmla="*/ 130 w 182"/>
                  <a:gd name="T49" fmla="*/ 95 h 145"/>
                  <a:gd name="T50" fmla="*/ 124 w 182"/>
                  <a:gd name="T51" fmla="*/ 80 h 145"/>
                  <a:gd name="T52" fmla="*/ 148 w 182"/>
                  <a:gd name="T53" fmla="*/ 85 h 145"/>
                  <a:gd name="T54" fmla="*/ 152 w 182"/>
                  <a:gd name="T55" fmla="*/ 77 h 145"/>
                  <a:gd name="T56" fmla="*/ 158 w 182"/>
                  <a:gd name="T57" fmla="*/ 78 h 145"/>
                  <a:gd name="T58" fmla="*/ 160 w 182"/>
                  <a:gd name="T59" fmla="*/ 67 h 145"/>
                  <a:gd name="T60" fmla="*/ 168 w 182"/>
                  <a:gd name="T61" fmla="*/ 59 h 145"/>
                  <a:gd name="T62" fmla="*/ 153 w 182"/>
                  <a:gd name="T63" fmla="*/ 47 h 145"/>
                  <a:gd name="T64" fmla="*/ 164 w 182"/>
                  <a:gd name="T65" fmla="*/ 40 h 145"/>
                  <a:gd name="T66" fmla="*/ 172 w 182"/>
                  <a:gd name="T67" fmla="*/ 40 h 145"/>
                  <a:gd name="T68" fmla="*/ 170 w 182"/>
                  <a:gd name="T69" fmla="*/ 28 h 145"/>
                  <a:gd name="T70" fmla="*/ 182 w 182"/>
                  <a:gd name="T71" fmla="*/ 20 h 145"/>
                  <a:gd name="T72" fmla="*/ 177 w 182"/>
                  <a:gd name="T73" fmla="*/ 12 h 145"/>
                  <a:gd name="T74" fmla="*/ 180 w 182"/>
                  <a:gd name="T75" fmla="*/ 10 h 145"/>
                  <a:gd name="T76" fmla="*/ 176 w 182"/>
                  <a:gd name="T77" fmla="*/ 7 h 145"/>
                  <a:gd name="T78" fmla="*/ 154 w 182"/>
                  <a:gd name="T79" fmla="*/ 1 h 145"/>
                  <a:gd name="T80" fmla="*/ 125 w 182"/>
                  <a:gd name="T81" fmla="*/ 0 h 145"/>
                  <a:gd name="T82" fmla="*/ 103 w 182"/>
                  <a:gd name="T83" fmla="*/ 10 h 145"/>
                  <a:gd name="T84" fmla="*/ 107 w 182"/>
                  <a:gd name="T85" fmla="*/ 21 h 145"/>
                  <a:gd name="T86" fmla="*/ 111 w 182"/>
                  <a:gd name="T87" fmla="*/ 34 h 145"/>
                  <a:gd name="T88" fmla="*/ 116 w 182"/>
                  <a:gd name="T89" fmla="*/ 40 h 145"/>
                  <a:gd name="T90" fmla="*/ 122 w 182"/>
                  <a:gd name="T91" fmla="*/ 48 h 145"/>
                  <a:gd name="T92" fmla="*/ 104 w 182"/>
                  <a:gd name="T93" fmla="*/ 60 h 145"/>
                  <a:gd name="T94" fmla="*/ 92 w 182"/>
                  <a:gd name="T95" fmla="*/ 52 h 145"/>
                  <a:gd name="T96" fmla="*/ 100 w 182"/>
                  <a:gd name="T97" fmla="*/ 37 h 145"/>
                  <a:gd name="T98" fmla="*/ 102 w 182"/>
                  <a:gd name="T99" fmla="*/ 24 h 145"/>
                  <a:gd name="T100" fmla="*/ 97 w 182"/>
                  <a:gd name="T101" fmla="*/ 16 h 145"/>
                  <a:gd name="T102" fmla="*/ 81 w 182"/>
                  <a:gd name="T103" fmla="*/ 30 h 145"/>
                  <a:gd name="T104" fmla="*/ 64 w 182"/>
                  <a:gd name="T105" fmla="*/ 49 h 145"/>
                  <a:gd name="T106" fmla="*/ 60 w 182"/>
                  <a:gd name="T107" fmla="*/ 69 h 145"/>
                  <a:gd name="T108" fmla="*/ 42 w 182"/>
                  <a:gd name="T109" fmla="*/ 89 h 145"/>
                  <a:gd name="T110" fmla="*/ 48 w 182"/>
                  <a:gd name="T111" fmla="*/ 97 h 145"/>
                  <a:gd name="T112" fmla="*/ 31 w 182"/>
                  <a:gd name="T113" fmla="*/ 98 h 145"/>
                  <a:gd name="T114" fmla="*/ 14 w 182"/>
                  <a:gd name="T115" fmla="*/ 104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2" h="145">
                    <a:moveTo>
                      <a:pt x="14" y="104"/>
                    </a:moveTo>
                    <a:cubicBezTo>
                      <a:pt x="0" y="116"/>
                      <a:pt x="0" y="116"/>
                      <a:pt x="0" y="116"/>
                    </a:cubicBezTo>
                    <a:cubicBezTo>
                      <a:pt x="0" y="116"/>
                      <a:pt x="0" y="116"/>
                      <a:pt x="0" y="116"/>
                    </a:cubicBezTo>
                    <a:cubicBezTo>
                      <a:pt x="9" y="108"/>
                      <a:pt x="9" y="108"/>
                      <a:pt x="9" y="108"/>
                    </a:cubicBezTo>
                    <a:cubicBezTo>
                      <a:pt x="10" y="110"/>
                      <a:pt x="10" y="110"/>
                      <a:pt x="10" y="110"/>
                    </a:cubicBezTo>
                    <a:cubicBezTo>
                      <a:pt x="18" y="108"/>
                      <a:pt x="18" y="108"/>
                      <a:pt x="18" y="108"/>
                    </a:cubicBezTo>
                    <a:cubicBezTo>
                      <a:pt x="22" y="114"/>
                      <a:pt x="22" y="114"/>
                      <a:pt x="22" y="114"/>
                    </a:cubicBezTo>
                    <a:cubicBezTo>
                      <a:pt x="22" y="114"/>
                      <a:pt x="30" y="113"/>
                      <a:pt x="34" y="112"/>
                    </a:cubicBezTo>
                    <a:cubicBezTo>
                      <a:pt x="39" y="112"/>
                      <a:pt x="43" y="117"/>
                      <a:pt x="43" y="117"/>
                    </a:cubicBezTo>
                    <a:cubicBezTo>
                      <a:pt x="46" y="110"/>
                      <a:pt x="46" y="110"/>
                      <a:pt x="46" y="110"/>
                    </a:cubicBezTo>
                    <a:cubicBezTo>
                      <a:pt x="56" y="112"/>
                      <a:pt x="56" y="112"/>
                      <a:pt x="56" y="112"/>
                    </a:cubicBezTo>
                    <a:cubicBezTo>
                      <a:pt x="56" y="106"/>
                      <a:pt x="56" y="106"/>
                      <a:pt x="56" y="106"/>
                    </a:cubicBezTo>
                    <a:cubicBezTo>
                      <a:pt x="65" y="108"/>
                      <a:pt x="65" y="108"/>
                      <a:pt x="65" y="108"/>
                    </a:cubicBezTo>
                    <a:cubicBezTo>
                      <a:pt x="65" y="108"/>
                      <a:pt x="66" y="105"/>
                      <a:pt x="71" y="104"/>
                    </a:cubicBezTo>
                    <a:cubicBezTo>
                      <a:pt x="76" y="102"/>
                      <a:pt x="90" y="104"/>
                      <a:pt x="90" y="104"/>
                    </a:cubicBezTo>
                    <a:cubicBezTo>
                      <a:pt x="90" y="104"/>
                      <a:pt x="91" y="110"/>
                      <a:pt x="94" y="114"/>
                    </a:cubicBezTo>
                    <a:cubicBezTo>
                      <a:pt x="96" y="118"/>
                      <a:pt x="108" y="114"/>
                      <a:pt x="108" y="114"/>
                    </a:cubicBezTo>
                    <a:cubicBezTo>
                      <a:pt x="108" y="114"/>
                      <a:pt x="118" y="112"/>
                      <a:pt x="119" y="121"/>
                    </a:cubicBezTo>
                    <a:cubicBezTo>
                      <a:pt x="120" y="130"/>
                      <a:pt x="114" y="130"/>
                      <a:pt x="114" y="130"/>
                    </a:cubicBezTo>
                    <a:cubicBezTo>
                      <a:pt x="114" y="130"/>
                      <a:pt x="110" y="134"/>
                      <a:pt x="112" y="140"/>
                    </a:cubicBezTo>
                    <a:cubicBezTo>
                      <a:pt x="114" y="145"/>
                      <a:pt x="123" y="140"/>
                      <a:pt x="123" y="140"/>
                    </a:cubicBezTo>
                    <a:cubicBezTo>
                      <a:pt x="123" y="140"/>
                      <a:pt x="126" y="126"/>
                      <a:pt x="127" y="124"/>
                    </a:cubicBezTo>
                    <a:cubicBezTo>
                      <a:pt x="128" y="122"/>
                      <a:pt x="123" y="116"/>
                      <a:pt x="123" y="116"/>
                    </a:cubicBezTo>
                    <a:cubicBezTo>
                      <a:pt x="123" y="116"/>
                      <a:pt x="134" y="110"/>
                      <a:pt x="134" y="106"/>
                    </a:cubicBezTo>
                    <a:cubicBezTo>
                      <a:pt x="135" y="103"/>
                      <a:pt x="130" y="95"/>
                      <a:pt x="130" y="95"/>
                    </a:cubicBezTo>
                    <a:cubicBezTo>
                      <a:pt x="124" y="80"/>
                      <a:pt x="124" y="80"/>
                      <a:pt x="124" y="80"/>
                    </a:cubicBezTo>
                    <a:cubicBezTo>
                      <a:pt x="124" y="80"/>
                      <a:pt x="146" y="88"/>
                      <a:pt x="148" y="85"/>
                    </a:cubicBezTo>
                    <a:cubicBezTo>
                      <a:pt x="150" y="82"/>
                      <a:pt x="152" y="77"/>
                      <a:pt x="152" y="77"/>
                    </a:cubicBezTo>
                    <a:cubicBezTo>
                      <a:pt x="158" y="78"/>
                      <a:pt x="158" y="78"/>
                      <a:pt x="158" y="78"/>
                    </a:cubicBezTo>
                    <a:cubicBezTo>
                      <a:pt x="160" y="67"/>
                      <a:pt x="160" y="67"/>
                      <a:pt x="160" y="67"/>
                    </a:cubicBezTo>
                    <a:cubicBezTo>
                      <a:pt x="160" y="67"/>
                      <a:pt x="168" y="63"/>
                      <a:pt x="168" y="59"/>
                    </a:cubicBezTo>
                    <a:cubicBezTo>
                      <a:pt x="168" y="55"/>
                      <a:pt x="154" y="50"/>
                      <a:pt x="153" y="47"/>
                    </a:cubicBezTo>
                    <a:cubicBezTo>
                      <a:pt x="152" y="44"/>
                      <a:pt x="164" y="40"/>
                      <a:pt x="164" y="40"/>
                    </a:cubicBezTo>
                    <a:cubicBezTo>
                      <a:pt x="172" y="40"/>
                      <a:pt x="172" y="40"/>
                      <a:pt x="172" y="40"/>
                    </a:cubicBezTo>
                    <a:cubicBezTo>
                      <a:pt x="172" y="40"/>
                      <a:pt x="168" y="32"/>
                      <a:pt x="170" y="28"/>
                    </a:cubicBezTo>
                    <a:cubicBezTo>
                      <a:pt x="171" y="24"/>
                      <a:pt x="182" y="20"/>
                      <a:pt x="182" y="20"/>
                    </a:cubicBezTo>
                    <a:cubicBezTo>
                      <a:pt x="177" y="12"/>
                      <a:pt x="177" y="12"/>
                      <a:pt x="177" y="12"/>
                    </a:cubicBezTo>
                    <a:cubicBezTo>
                      <a:pt x="180" y="10"/>
                      <a:pt x="180" y="10"/>
                      <a:pt x="180" y="10"/>
                    </a:cubicBezTo>
                    <a:cubicBezTo>
                      <a:pt x="176" y="7"/>
                      <a:pt x="176" y="7"/>
                      <a:pt x="176" y="7"/>
                    </a:cubicBezTo>
                    <a:cubicBezTo>
                      <a:pt x="176" y="7"/>
                      <a:pt x="160" y="1"/>
                      <a:pt x="154" y="1"/>
                    </a:cubicBezTo>
                    <a:cubicBezTo>
                      <a:pt x="148" y="1"/>
                      <a:pt x="125" y="0"/>
                      <a:pt x="125" y="0"/>
                    </a:cubicBezTo>
                    <a:cubicBezTo>
                      <a:pt x="125" y="0"/>
                      <a:pt x="111" y="5"/>
                      <a:pt x="103" y="10"/>
                    </a:cubicBezTo>
                    <a:cubicBezTo>
                      <a:pt x="104" y="14"/>
                      <a:pt x="107" y="19"/>
                      <a:pt x="107" y="21"/>
                    </a:cubicBezTo>
                    <a:cubicBezTo>
                      <a:pt x="108" y="24"/>
                      <a:pt x="111" y="34"/>
                      <a:pt x="111" y="34"/>
                    </a:cubicBezTo>
                    <a:cubicBezTo>
                      <a:pt x="111" y="34"/>
                      <a:pt x="114" y="40"/>
                      <a:pt x="116" y="40"/>
                    </a:cubicBezTo>
                    <a:cubicBezTo>
                      <a:pt x="119" y="40"/>
                      <a:pt x="122" y="43"/>
                      <a:pt x="122" y="48"/>
                    </a:cubicBezTo>
                    <a:cubicBezTo>
                      <a:pt x="123" y="52"/>
                      <a:pt x="111" y="59"/>
                      <a:pt x="104" y="60"/>
                    </a:cubicBezTo>
                    <a:cubicBezTo>
                      <a:pt x="98" y="60"/>
                      <a:pt x="95" y="55"/>
                      <a:pt x="92" y="52"/>
                    </a:cubicBezTo>
                    <a:cubicBezTo>
                      <a:pt x="88" y="48"/>
                      <a:pt x="94" y="45"/>
                      <a:pt x="100" y="37"/>
                    </a:cubicBezTo>
                    <a:cubicBezTo>
                      <a:pt x="106" y="29"/>
                      <a:pt x="102" y="24"/>
                      <a:pt x="102" y="24"/>
                    </a:cubicBezTo>
                    <a:cubicBezTo>
                      <a:pt x="102" y="24"/>
                      <a:pt x="99" y="21"/>
                      <a:pt x="97" y="16"/>
                    </a:cubicBezTo>
                    <a:cubicBezTo>
                      <a:pt x="92" y="23"/>
                      <a:pt x="81" y="30"/>
                      <a:pt x="81" y="30"/>
                    </a:cubicBezTo>
                    <a:cubicBezTo>
                      <a:pt x="81" y="30"/>
                      <a:pt x="64" y="42"/>
                      <a:pt x="64" y="49"/>
                    </a:cubicBezTo>
                    <a:cubicBezTo>
                      <a:pt x="64" y="56"/>
                      <a:pt x="60" y="69"/>
                      <a:pt x="60" y="69"/>
                    </a:cubicBezTo>
                    <a:cubicBezTo>
                      <a:pt x="42" y="89"/>
                      <a:pt x="42" y="89"/>
                      <a:pt x="42" y="89"/>
                    </a:cubicBezTo>
                    <a:cubicBezTo>
                      <a:pt x="48" y="97"/>
                      <a:pt x="48" y="97"/>
                      <a:pt x="48" y="97"/>
                    </a:cubicBezTo>
                    <a:cubicBezTo>
                      <a:pt x="31" y="98"/>
                      <a:pt x="31" y="98"/>
                      <a:pt x="31" y="98"/>
                    </a:cubicBezTo>
                    <a:lnTo>
                      <a:pt x="14" y="104"/>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90" name="Freeform 112">
                <a:extLst>
                  <a:ext uri="{FF2B5EF4-FFF2-40B4-BE49-F238E27FC236}">
                    <a16:creationId xmlns:a16="http://schemas.microsoft.com/office/drawing/2014/main" id="{77E3A555-D3A5-4C9C-A12D-7128ADF9D889}"/>
                  </a:ext>
                </a:extLst>
              </p:cNvPr>
              <p:cNvSpPr>
                <a:spLocks/>
              </p:cNvSpPr>
              <p:nvPr>
                <p:custDataLst>
                  <p:tags r:id="rId71"/>
                </p:custDataLst>
              </p:nvPr>
            </p:nvSpPr>
            <p:spPr bwMode="gray">
              <a:xfrm>
                <a:off x="4592611" y="2857510"/>
                <a:ext cx="88899" cy="55564"/>
              </a:xfrm>
              <a:custGeom>
                <a:avLst/>
                <a:gdLst>
                  <a:gd name="T0" fmla="*/ 0 w 149"/>
                  <a:gd name="T1" fmla="*/ 29 h 102"/>
                  <a:gd name="T2" fmla="*/ 6 w 149"/>
                  <a:gd name="T3" fmla="*/ 43 h 102"/>
                  <a:gd name="T4" fmla="*/ 22 w 149"/>
                  <a:gd name="T5" fmla="*/ 47 h 102"/>
                  <a:gd name="T6" fmla="*/ 29 w 149"/>
                  <a:gd name="T7" fmla="*/ 54 h 102"/>
                  <a:gd name="T8" fmla="*/ 52 w 149"/>
                  <a:gd name="T9" fmla="*/ 59 h 102"/>
                  <a:gd name="T10" fmla="*/ 57 w 149"/>
                  <a:gd name="T11" fmla="*/ 78 h 102"/>
                  <a:gd name="T12" fmla="*/ 72 w 149"/>
                  <a:gd name="T13" fmla="*/ 78 h 102"/>
                  <a:gd name="T14" fmla="*/ 82 w 149"/>
                  <a:gd name="T15" fmla="*/ 71 h 102"/>
                  <a:gd name="T16" fmla="*/ 82 w 149"/>
                  <a:gd name="T17" fmla="*/ 87 h 102"/>
                  <a:gd name="T18" fmla="*/ 106 w 149"/>
                  <a:gd name="T19" fmla="*/ 94 h 102"/>
                  <a:gd name="T20" fmla="*/ 109 w 149"/>
                  <a:gd name="T21" fmla="*/ 98 h 102"/>
                  <a:gd name="T22" fmla="*/ 123 w 149"/>
                  <a:gd name="T23" fmla="*/ 98 h 102"/>
                  <a:gd name="T24" fmla="*/ 128 w 149"/>
                  <a:gd name="T25" fmla="*/ 102 h 102"/>
                  <a:gd name="T26" fmla="*/ 131 w 149"/>
                  <a:gd name="T27" fmla="*/ 100 h 102"/>
                  <a:gd name="T28" fmla="*/ 120 w 149"/>
                  <a:gd name="T29" fmla="*/ 86 h 102"/>
                  <a:gd name="T30" fmla="*/ 130 w 149"/>
                  <a:gd name="T31" fmla="*/ 72 h 102"/>
                  <a:gd name="T32" fmla="*/ 138 w 149"/>
                  <a:gd name="T33" fmla="*/ 68 h 102"/>
                  <a:gd name="T34" fmla="*/ 138 w 149"/>
                  <a:gd name="T35" fmla="*/ 68 h 102"/>
                  <a:gd name="T36" fmla="*/ 140 w 149"/>
                  <a:gd name="T37" fmla="*/ 62 h 102"/>
                  <a:gd name="T38" fmla="*/ 149 w 149"/>
                  <a:gd name="T39" fmla="*/ 61 h 102"/>
                  <a:gd name="T40" fmla="*/ 146 w 149"/>
                  <a:gd name="T41" fmla="*/ 48 h 102"/>
                  <a:gd name="T42" fmla="*/ 136 w 149"/>
                  <a:gd name="T43" fmla="*/ 39 h 102"/>
                  <a:gd name="T44" fmla="*/ 131 w 149"/>
                  <a:gd name="T45" fmla="*/ 38 h 102"/>
                  <a:gd name="T46" fmla="*/ 120 w 149"/>
                  <a:gd name="T47" fmla="*/ 38 h 102"/>
                  <a:gd name="T48" fmla="*/ 122 w 149"/>
                  <a:gd name="T49" fmla="*/ 28 h 102"/>
                  <a:gd name="T50" fmla="*/ 127 w 149"/>
                  <a:gd name="T51" fmla="*/ 19 h 102"/>
                  <a:gd name="T52" fmla="*/ 116 w 149"/>
                  <a:gd name="T53" fmla="*/ 12 h 102"/>
                  <a:gd name="T54" fmla="*/ 102 w 149"/>
                  <a:gd name="T55" fmla="*/ 12 h 102"/>
                  <a:gd name="T56" fmla="*/ 98 w 149"/>
                  <a:gd name="T57" fmla="*/ 2 h 102"/>
                  <a:gd name="T58" fmla="*/ 79 w 149"/>
                  <a:gd name="T59" fmla="*/ 2 h 102"/>
                  <a:gd name="T60" fmla="*/ 73 w 149"/>
                  <a:gd name="T61" fmla="*/ 6 h 102"/>
                  <a:gd name="T62" fmla="*/ 64 w 149"/>
                  <a:gd name="T63" fmla="*/ 4 h 102"/>
                  <a:gd name="T64" fmla="*/ 64 w 149"/>
                  <a:gd name="T65" fmla="*/ 10 h 102"/>
                  <a:gd name="T66" fmla="*/ 54 w 149"/>
                  <a:gd name="T67" fmla="*/ 8 h 102"/>
                  <a:gd name="T68" fmla="*/ 51 w 149"/>
                  <a:gd name="T69" fmla="*/ 15 h 102"/>
                  <a:gd name="T70" fmla="*/ 42 w 149"/>
                  <a:gd name="T71" fmla="*/ 10 h 102"/>
                  <a:gd name="T72" fmla="*/ 30 w 149"/>
                  <a:gd name="T73" fmla="*/ 12 h 102"/>
                  <a:gd name="T74" fmla="*/ 26 w 149"/>
                  <a:gd name="T75" fmla="*/ 6 h 102"/>
                  <a:gd name="T76" fmla="*/ 18 w 149"/>
                  <a:gd name="T77" fmla="*/ 8 h 102"/>
                  <a:gd name="T78" fmla="*/ 17 w 149"/>
                  <a:gd name="T79" fmla="*/ 6 h 102"/>
                  <a:gd name="T80" fmla="*/ 1 w 149"/>
                  <a:gd name="T81" fmla="*/ 20 h 102"/>
                  <a:gd name="T82" fmla="*/ 0 w 149"/>
                  <a:gd name="T83" fmla="*/ 2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9" h="102">
                    <a:moveTo>
                      <a:pt x="0" y="29"/>
                    </a:moveTo>
                    <a:cubicBezTo>
                      <a:pt x="6" y="43"/>
                      <a:pt x="6" y="43"/>
                      <a:pt x="6" y="43"/>
                    </a:cubicBezTo>
                    <a:cubicBezTo>
                      <a:pt x="22" y="47"/>
                      <a:pt x="22" y="47"/>
                      <a:pt x="22" y="47"/>
                    </a:cubicBezTo>
                    <a:cubicBezTo>
                      <a:pt x="29" y="54"/>
                      <a:pt x="29" y="54"/>
                      <a:pt x="29" y="54"/>
                    </a:cubicBezTo>
                    <a:cubicBezTo>
                      <a:pt x="29" y="54"/>
                      <a:pt x="47" y="56"/>
                      <a:pt x="52" y="59"/>
                    </a:cubicBezTo>
                    <a:cubicBezTo>
                      <a:pt x="57" y="62"/>
                      <a:pt x="57" y="78"/>
                      <a:pt x="57" y="78"/>
                    </a:cubicBezTo>
                    <a:cubicBezTo>
                      <a:pt x="72" y="78"/>
                      <a:pt x="72" y="78"/>
                      <a:pt x="72" y="78"/>
                    </a:cubicBezTo>
                    <a:cubicBezTo>
                      <a:pt x="82" y="71"/>
                      <a:pt x="82" y="71"/>
                      <a:pt x="82" y="71"/>
                    </a:cubicBezTo>
                    <a:cubicBezTo>
                      <a:pt x="82" y="87"/>
                      <a:pt x="82" y="87"/>
                      <a:pt x="82" y="87"/>
                    </a:cubicBezTo>
                    <a:cubicBezTo>
                      <a:pt x="82" y="87"/>
                      <a:pt x="104" y="91"/>
                      <a:pt x="106" y="94"/>
                    </a:cubicBezTo>
                    <a:cubicBezTo>
                      <a:pt x="108" y="97"/>
                      <a:pt x="109" y="98"/>
                      <a:pt x="109" y="98"/>
                    </a:cubicBezTo>
                    <a:cubicBezTo>
                      <a:pt x="123" y="98"/>
                      <a:pt x="123" y="98"/>
                      <a:pt x="123" y="98"/>
                    </a:cubicBezTo>
                    <a:cubicBezTo>
                      <a:pt x="128" y="102"/>
                      <a:pt x="128" y="102"/>
                      <a:pt x="128" y="102"/>
                    </a:cubicBezTo>
                    <a:cubicBezTo>
                      <a:pt x="131" y="100"/>
                      <a:pt x="131" y="100"/>
                      <a:pt x="131" y="100"/>
                    </a:cubicBezTo>
                    <a:cubicBezTo>
                      <a:pt x="127" y="95"/>
                      <a:pt x="121" y="88"/>
                      <a:pt x="120" y="86"/>
                    </a:cubicBezTo>
                    <a:cubicBezTo>
                      <a:pt x="118" y="84"/>
                      <a:pt x="119" y="78"/>
                      <a:pt x="130" y="72"/>
                    </a:cubicBezTo>
                    <a:cubicBezTo>
                      <a:pt x="134" y="70"/>
                      <a:pt x="137" y="69"/>
                      <a:pt x="138" y="68"/>
                    </a:cubicBezTo>
                    <a:cubicBezTo>
                      <a:pt x="138" y="68"/>
                      <a:pt x="138" y="68"/>
                      <a:pt x="138" y="68"/>
                    </a:cubicBezTo>
                    <a:cubicBezTo>
                      <a:pt x="139" y="65"/>
                      <a:pt x="140" y="62"/>
                      <a:pt x="140" y="62"/>
                    </a:cubicBezTo>
                    <a:cubicBezTo>
                      <a:pt x="149" y="61"/>
                      <a:pt x="149" y="61"/>
                      <a:pt x="149" y="61"/>
                    </a:cubicBezTo>
                    <a:cubicBezTo>
                      <a:pt x="149" y="61"/>
                      <a:pt x="146" y="54"/>
                      <a:pt x="146" y="48"/>
                    </a:cubicBezTo>
                    <a:cubicBezTo>
                      <a:pt x="145" y="42"/>
                      <a:pt x="136" y="39"/>
                      <a:pt x="136" y="39"/>
                    </a:cubicBezTo>
                    <a:cubicBezTo>
                      <a:pt x="131" y="38"/>
                      <a:pt x="131" y="38"/>
                      <a:pt x="131" y="38"/>
                    </a:cubicBezTo>
                    <a:cubicBezTo>
                      <a:pt x="131" y="38"/>
                      <a:pt x="122" y="43"/>
                      <a:pt x="120" y="38"/>
                    </a:cubicBezTo>
                    <a:cubicBezTo>
                      <a:pt x="118" y="32"/>
                      <a:pt x="122" y="28"/>
                      <a:pt x="122" y="28"/>
                    </a:cubicBezTo>
                    <a:cubicBezTo>
                      <a:pt x="122" y="28"/>
                      <a:pt x="128" y="28"/>
                      <a:pt x="127" y="19"/>
                    </a:cubicBezTo>
                    <a:cubicBezTo>
                      <a:pt x="126" y="10"/>
                      <a:pt x="116" y="12"/>
                      <a:pt x="116" y="12"/>
                    </a:cubicBezTo>
                    <a:cubicBezTo>
                      <a:pt x="116" y="12"/>
                      <a:pt x="104" y="16"/>
                      <a:pt x="102" y="12"/>
                    </a:cubicBezTo>
                    <a:cubicBezTo>
                      <a:pt x="99" y="8"/>
                      <a:pt x="98" y="2"/>
                      <a:pt x="98" y="2"/>
                    </a:cubicBezTo>
                    <a:cubicBezTo>
                      <a:pt x="98" y="2"/>
                      <a:pt x="84" y="0"/>
                      <a:pt x="79" y="2"/>
                    </a:cubicBezTo>
                    <a:cubicBezTo>
                      <a:pt x="74" y="3"/>
                      <a:pt x="73" y="6"/>
                      <a:pt x="73" y="6"/>
                    </a:cubicBezTo>
                    <a:cubicBezTo>
                      <a:pt x="64" y="4"/>
                      <a:pt x="64" y="4"/>
                      <a:pt x="64" y="4"/>
                    </a:cubicBezTo>
                    <a:cubicBezTo>
                      <a:pt x="64" y="10"/>
                      <a:pt x="64" y="10"/>
                      <a:pt x="64" y="10"/>
                    </a:cubicBezTo>
                    <a:cubicBezTo>
                      <a:pt x="54" y="8"/>
                      <a:pt x="54" y="8"/>
                      <a:pt x="54" y="8"/>
                    </a:cubicBezTo>
                    <a:cubicBezTo>
                      <a:pt x="51" y="15"/>
                      <a:pt x="51" y="15"/>
                      <a:pt x="51" y="15"/>
                    </a:cubicBezTo>
                    <a:cubicBezTo>
                      <a:pt x="51" y="15"/>
                      <a:pt x="47" y="10"/>
                      <a:pt x="42" y="10"/>
                    </a:cubicBezTo>
                    <a:cubicBezTo>
                      <a:pt x="38" y="11"/>
                      <a:pt x="30" y="12"/>
                      <a:pt x="30" y="12"/>
                    </a:cubicBezTo>
                    <a:cubicBezTo>
                      <a:pt x="26" y="6"/>
                      <a:pt x="26" y="6"/>
                      <a:pt x="26" y="6"/>
                    </a:cubicBezTo>
                    <a:cubicBezTo>
                      <a:pt x="18" y="8"/>
                      <a:pt x="18" y="8"/>
                      <a:pt x="18" y="8"/>
                    </a:cubicBezTo>
                    <a:cubicBezTo>
                      <a:pt x="17" y="6"/>
                      <a:pt x="17" y="6"/>
                      <a:pt x="17" y="6"/>
                    </a:cubicBezTo>
                    <a:cubicBezTo>
                      <a:pt x="1" y="20"/>
                      <a:pt x="1" y="20"/>
                      <a:pt x="1" y="20"/>
                    </a:cubicBezTo>
                    <a:lnTo>
                      <a:pt x="0" y="29"/>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91" name="Freeform 113">
                <a:extLst>
                  <a:ext uri="{FF2B5EF4-FFF2-40B4-BE49-F238E27FC236}">
                    <a16:creationId xmlns:a16="http://schemas.microsoft.com/office/drawing/2014/main" id="{7ECB0CF8-A7B5-4486-ABE5-5FA9E9C853C0}"/>
                  </a:ext>
                </a:extLst>
              </p:cNvPr>
              <p:cNvSpPr>
                <a:spLocks/>
              </p:cNvSpPr>
              <p:nvPr>
                <p:custDataLst>
                  <p:tags r:id="rId72"/>
                </p:custDataLst>
              </p:nvPr>
            </p:nvSpPr>
            <p:spPr bwMode="gray">
              <a:xfrm>
                <a:off x="4670397" y="2759085"/>
                <a:ext cx="225423" cy="219075"/>
              </a:xfrm>
              <a:custGeom>
                <a:avLst/>
                <a:gdLst>
                  <a:gd name="T0" fmla="*/ 21 w 373"/>
                  <a:gd name="T1" fmla="*/ 294 h 393"/>
                  <a:gd name="T2" fmla="*/ 62 w 373"/>
                  <a:gd name="T3" fmla="*/ 297 h 393"/>
                  <a:gd name="T4" fmla="*/ 90 w 373"/>
                  <a:gd name="T5" fmla="*/ 305 h 393"/>
                  <a:gd name="T6" fmla="*/ 74 w 373"/>
                  <a:gd name="T7" fmla="*/ 330 h 393"/>
                  <a:gd name="T8" fmla="*/ 75 w 373"/>
                  <a:gd name="T9" fmla="*/ 381 h 393"/>
                  <a:gd name="T10" fmla="*/ 101 w 373"/>
                  <a:gd name="T11" fmla="*/ 378 h 393"/>
                  <a:gd name="T12" fmla="*/ 128 w 373"/>
                  <a:gd name="T13" fmla="*/ 372 h 393"/>
                  <a:gd name="T14" fmla="*/ 148 w 373"/>
                  <a:gd name="T15" fmla="*/ 383 h 393"/>
                  <a:gd name="T16" fmla="*/ 161 w 373"/>
                  <a:gd name="T17" fmla="*/ 382 h 393"/>
                  <a:gd name="T18" fmla="*/ 182 w 373"/>
                  <a:gd name="T19" fmla="*/ 377 h 393"/>
                  <a:gd name="T20" fmla="*/ 224 w 373"/>
                  <a:gd name="T21" fmla="*/ 387 h 393"/>
                  <a:gd name="T22" fmla="*/ 258 w 373"/>
                  <a:gd name="T23" fmla="*/ 372 h 393"/>
                  <a:gd name="T24" fmla="*/ 290 w 373"/>
                  <a:gd name="T25" fmla="*/ 385 h 393"/>
                  <a:gd name="T26" fmla="*/ 282 w 373"/>
                  <a:gd name="T27" fmla="*/ 358 h 393"/>
                  <a:gd name="T28" fmla="*/ 309 w 373"/>
                  <a:gd name="T29" fmla="*/ 335 h 393"/>
                  <a:gd name="T30" fmla="*/ 324 w 373"/>
                  <a:gd name="T31" fmla="*/ 316 h 393"/>
                  <a:gd name="T32" fmla="*/ 301 w 373"/>
                  <a:gd name="T33" fmla="*/ 295 h 393"/>
                  <a:gd name="T34" fmla="*/ 281 w 373"/>
                  <a:gd name="T35" fmla="*/ 285 h 393"/>
                  <a:gd name="T36" fmla="*/ 271 w 373"/>
                  <a:gd name="T37" fmla="*/ 271 h 393"/>
                  <a:gd name="T38" fmla="*/ 263 w 373"/>
                  <a:gd name="T39" fmla="*/ 248 h 393"/>
                  <a:gd name="T40" fmla="*/ 263 w 373"/>
                  <a:gd name="T41" fmla="*/ 239 h 393"/>
                  <a:gd name="T42" fmla="*/ 283 w 373"/>
                  <a:gd name="T43" fmla="*/ 227 h 393"/>
                  <a:gd name="T44" fmla="*/ 308 w 373"/>
                  <a:gd name="T45" fmla="*/ 221 h 393"/>
                  <a:gd name="T46" fmla="*/ 325 w 373"/>
                  <a:gd name="T47" fmla="*/ 210 h 393"/>
                  <a:gd name="T48" fmla="*/ 360 w 373"/>
                  <a:gd name="T49" fmla="*/ 208 h 393"/>
                  <a:gd name="T50" fmla="*/ 369 w 373"/>
                  <a:gd name="T51" fmla="*/ 177 h 393"/>
                  <a:gd name="T52" fmla="*/ 351 w 373"/>
                  <a:gd name="T53" fmla="*/ 157 h 393"/>
                  <a:gd name="T54" fmla="*/ 356 w 373"/>
                  <a:gd name="T55" fmla="*/ 136 h 393"/>
                  <a:gd name="T56" fmla="*/ 352 w 373"/>
                  <a:gd name="T57" fmla="*/ 115 h 393"/>
                  <a:gd name="T58" fmla="*/ 334 w 373"/>
                  <a:gd name="T59" fmla="*/ 106 h 393"/>
                  <a:gd name="T60" fmla="*/ 339 w 373"/>
                  <a:gd name="T61" fmla="*/ 72 h 393"/>
                  <a:gd name="T62" fmla="*/ 321 w 373"/>
                  <a:gd name="T63" fmla="*/ 55 h 393"/>
                  <a:gd name="T64" fmla="*/ 296 w 373"/>
                  <a:gd name="T65" fmla="*/ 35 h 393"/>
                  <a:gd name="T66" fmla="*/ 226 w 373"/>
                  <a:gd name="T67" fmla="*/ 35 h 393"/>
                  <a:gd name="T68" fmla="*/ 202 w 373"/>
                  <a:gd name="T69" fmla="*/ 35 h 393"/>
                  <a:gd name="T70" fmla="*/ 168 w 373"/>
                  <a:gd name="T71" fmla="*/ 22 h 393"/>
                  <a:gd name="T72" fmla="*/ 145 w 373"/>
                  <a:gd name="T73" fmla="*/ 3 h 393"/>
                  <a:gd name="T74" fmla="*/ 112 w 373"/>
                  <a:gd name="T75" fmla="*/ 0 h 393"/>
                  <a:gd name="T76" fmla="*/ 130 w 373"/>
                  <a:gd name="T77" fmla="*/ 49 h 393"/>
                  <a:gd name="T78" fmla="*/ 105 w 373"/>
                  <a:gd name="T79" fmla="*/ 55 h 393"/>
                  <a:gd name="T80" fmla="*/ 82 w 373"/>
                  <a:gd name="T81" fmla="*/ 62 h 393"/>
                  <a:gd name="T82" fmla="*/ 57 w 373"/>
                  <a:gd name="T83" fmla="*/ 85 h 393"/>
                  <a:gd name="T84" fmla="*/ 47 w 373"/>
                  <a:gd name="T85" fmla="*/ 103 h 393"/>
                  <a:gd name="T86" fmla="*/ 30 w 373"/>
                  <a:gd name="T87" fmla="*/ 122 h 393"/>
                  <a:gd name="T88" fmla="*/ 35 w 373"/>
                  <a:gd name="T89" fmla="*/ 153 h 393"/>
                  <a:gd name="T90" fmla="*/ 1 w 373"/>
                  <a:gd name="T91" fmla="*/ 155 h 393"/>
                  <a:gd name="T92" fmla="*/ 0 w 373"/>
                  <a:gd name="T93" fmla="*/ 191 h 393"/>
                  <a:gd name="T94" fmla="*/ 5 w 373"/>
                  <a:gd name="T95" fmla="*/ 216 h 393"/>
                  <a:gd name="T96" fmla="*/ 9 w 373"/>
                  <a:gd name="T97" fmla="*/ 239 h 393"/>
                  <a:gd name="T98" fmla="*/ 17 w 373"/>
                  <a:gd name="T99" fmla="*/ 274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3" h="393">
                    <a:moveTo>
                      <a:pt x="17" y="274"/>
                    </a:moveTo>
                    <a:cubicBezTo>
                      <a:pt x="17" y="274"/>
                      <a:pt x="19" y="278"/>
                      <a:pt x="22" y="281"/>
                    </a:cubicBezTo>
                    <a:cubicBezTo>
                      <a:pt x="25" y="284"/>
                      <a:pt x="21" y="294"/>
                      <a:pt x="21" y="294"/>
                    </a:cubicBezTo>
                    <a:cubicBezTo>
                      <a:pt x="38" y="294"/>
                      <a:pt x="38" y="294"/>
                      <a:pt x="38" y="294"/>
                    </a:cubicBezTo>
                    <a:cubicBezTo>
                      <a:pt x="38" y="294"/>
                      <a:pt x="36" y="299"/>
                      <a:pt x="42" y="300"/>
                    </a:cubicBezTo>
                    <a:cubicBezTo>
                      <a:pt x="48" y="301"/>
                      <a:pt x="62" y="297"/>
                      <a:pt x="62" y="297"/>
                    </a:cubicBezTo>
                    <a:cubicBezTo>
                      <a:pt x="62" y="301"/>
                      <a:pt x="62" y="301"/>
                      <a:pt x="62" y="301"/>
                    </a:cubicBezTo>
                    <a:cubicBezTo>
                      <a:pt x="80" y="300"/>
                      <a:pt x="80" y="300"/>
                      <a:pt x="80" y="300"/>
                    </a:cubicBezTo>
                    <a:cubicBezTo>
                      <a:pt x="90" y="305"/>
                      <a:pt x="90" y="305"/>
                      <a:pt x="90" y="305"/>
                    </a:cubicBezTo>
                    <a:cubicBezTo>
                      <a:pt x="88" y="311"/>
                      <a:pt x="88" y="311"/>
                      <a:pt x="88" y="311"/>
                    </a:cubicBezTo>
                    <a:cubicBezTo>
                      <a:pt x="74" y="322"/>
                      <a:pt x="74" y="322"/>
                      <a:pt x="74" y="322"/>
                    </a:cubicBezTo>
                    <a:cubicBezTo>
                      <a:pt x="74" y="330"/>
                      <a:pt x="74" y="330"/>
                      <a:pt x="74" y="330"/>
                    </a:cubicBezTo>
                    <a:cubicBezTo>
                      <a:pt x="74" y="330"/>
                      <a:pt x="64" y="349"/>
                      <a:pt x="62" y="360"/>
                    </a:cubicBezTo>
                    <a:cubicBezTo>
                      <a:pt x="60" y="369"/>
                      <a:pt x="63" y="377"/>
                      <a:pt x="64" y="379"/>
                    </a:cubicBezTo>
                    <a:cubicBezTo>
                      <a:pt x="75" y="381"/>
                      <a:pt x="75" y="381"/>
                      <a:pt x="75" y="381"/>
                    </a:cubicBezTo>
                    <a:cubicBezTo>
                      <a:pt x="87" y="381"/>
                      <a:pt x="87" y="381"/>
                      <a:pt x="87" y="381"/>
                    </a:cubicBezTo>
                    <a:cubicBezTo>
                      <a:pt x="97" y="374"/>
                      <a:pt x="97" y="374"/>
                      <a:pt x="97" y="374"/>
                    </a:cubicBezTo>
                    <a:cubicBezTo>
                      <a:pt x="101" y="378"/>
                      <a:pt x="101" y="378"/>
                      <a:pt x="101" y="378"/>
                    </a:cubicBezTo>
                    <a:cubicBezTo>
                      <a:pt x="101" y="378"/>
                      <a:pt x="96" y="366"/>
                      <a:pt x="103" y="365"/>
                    </a:cubicBezTo>
                    <a:cubicBezTo>
                      <a:pt x="110" y="364"/>
                      <a:pt x="119" y="372"/>
                      <a:pt x="119" y="372"/>
                    </a:cubicBezTo>
                    <a:cubicBezTo>
                      <a:pt x="128" y="372"/>
                      <a:pt x="128" y="372"/>
                      <a:pt x="128" y="372"/>
                    </a:cubicBezTo>
                    <a:cubicBezTo>
                      <a:pt x="138" y="375"/>
                      <a:pt x="138" y="375"/>
                      <a:pt x="138" y="375"/>
                    </a:cubicBezTo>
                    <a:cubicBezTo>
                      <a:pt x="144" y="383"/>
                      <a:pt x="144" y="383"/>
                      <a:pt x="144" y="383"/>
                    </a:cubicBezTo>
                    <a:cubicBezTo>
                      <a:pt x="148" y="383"/>
                      <a:pt x="148" y="383"/>
                      <a:pt x="148" y="383"/>
                    </a:cubicBezTo>
                    <a:cubicBezTo>
                      <a:pt x="148" y="383"/>
                      <a:pt x="149" y="384"/>
                      <a:pt x="149" y="385"/>
                    </a:cubicBezTo>
                    <a:cubicBezTo>
                      <a:pt x="149" y="385"/>
                      <a:pt x="149" y="385"/>
                      <a:pt x="149" y="385"/>
                    </a:cubicBezTo>
                    <a:cubicBezTo>
                      <a:pt x="151" y="383"/>
                      <a:pt x="155" y="380"/>
                      <a:pt x="161" y="382"/>
                    </a:cubicBezTo>
                    <a:cubicBezTo>
                      <a:pt x="170" y="383"/>
                      <a:pt x="171" y="393"/>
                      <a:pt x="175" y="392"/>
                    </a:cubicBezTo>
                    <a:cubicBezTo>
                      <a:pt x="179" y="391"/>
                      <a:pt x="182" y="386"/>
                      <a:pt x="182" y="386"/>
                    </a:cubicBezTo>
                    <a:cubicBezTo>
                      <a:pt x="182" y="377"/>
                      <a:pt x="182" y="377"/>
                      <a:pt x="182" y="377"/>
                    </a:cubicBezTo>
                    <a:cubicBezTo>
                      <a:pt x="195" y="378"/>
                      <a:pt x="195" y="378"/>
                      <a:pt x="195" y="378"/>
                    </a:cubicBezTo>
                    <a:cubicBezTo>
                      <a:pt x="195" y="378"/>
                      <a:pt x="205" y="389"/>
                      <a:pt x="212" y="389"/>
                    </a:cubicBezTo>
                    <a:cubicBezTo>
                      <a:pt x="218" y="389"/>
                      <a:pt x="224" y="387"/>
                      <a:pt x="224" y="387"/>
                    </a:cubicBezTo>
                    <a:cubicBezTo>
                      <a:pt x="233" y="379"/>
                      <a:pt x="233" y="379"/>
                      <a:pt x="233" y="379"/>
                    </a:cubicBezTo>
                    <a:cubicBezTo>
                      <a:pt x="247" y="378"/>
                      <a:pt x="247" y="378"/>
                      <a:pt x="247" y="378"/>
                    </a:cubicBezTo>
                    <a:cubicBezTo>
                      <a:pt x="258" y="372"/>
                      <a:pt x="258" y="372"/>
                      <a:pt x="258" y="372"/>
                    </a:cubicBezTo>
                    <a:cubicBezTo>
                      <a:pt x="267" y="373"/>
                      <a:pt x="267" y="373"/>
                      <a:pt x="267" y="373"/>
                    </a:cubicBezTo>
                    <a:cubicBezTo>
                      <a:pt x="280" y="378"/>
                      <a:pt x="280" y="378"/>
                      <a:pt x="280" y="378"/>
                    </a:cubicBezTo>
                    <a:cubicBezTo>
                      <a:pt x="280" y="378"/>
                      <a:pt x="288" y="392"/>
                      <a:pt x="290" y="385"/>
                    </a:cubicBezTo>
                    <a:cubicBezTo>
                      <a:pt x="291" y="379"/>
                      <a:pt x="290" y="369"/>
                      <a:pt x="290" y="369"/>
                    </a:cubicBezTo>
                    <a:cubicBezTo>
                      <a:pt x="290" y="360"/>
                      <a:pt x="290" y="360"/>
                      <a:pt x="290" y="360"/>
                    </a:cubicBezTo>
                    <a:cubicBezTo>
                      <a:pt x="282" y="358"/>
                      <a:pt x="282" y="358"/>
                      <a:pt x="282" y="358"/>
                    </a:cubicBezTo>
                    <a:cubicBezTo>
                      <a:pt x="282" y="358"/>
                      <a:pt x="287" y="345"/>
                      <a:pt x="291" y="344"/>
                    </a:cubicBezTo>
                    <a:cubicBezTo>
                      <a:pt x="296" y="343"/>
                      <a:pt x="309" y="346"/>
                      <a:pt x="309" y="346"/>
                    </a:cubicBezTo>
                    <a:cubicBezTo>
                      <a:pt x="309" y="335"/>
                      <a:pt x="309" y="335"/>
                      <a:pt x="309" y="335"/>
                    </a:cubicBezTo>
                    <a:cubicBezTo>
                      <a:pt x="305" y="328"/>
                      <a:pt x="305" y="328"/>
                      <a:pt x="305" y="328"/>
                    </a:cubicBezTo>
                    <a:cubicBezTo>
                      <a:pt x="317" y="327"/>
                      <a:pt x="317" y="327"/>
                      <a:pt x="317" y="327"/>
                    </a:cubicBezTo>
                    <a:cubicBezTo>
                      <a:pt x="324" y="316"/>
                      <a:pt x="324" y="316"/>
                      <a:pt x="324" y="316"/>
                    </a:cubicBezTo>
                    <a:cubicBezTo>
                      <a:pt x="324" y="316"/>
                      <a:pt x="323" y="309"/>
                      <a:pt x="317" y="305"/>
                    </a:cubicBezTo>
                    <a:cubicBezTo>
                      <a:pt x="312" y="302"/>
                      <a:pt x="307" y="304"/>
                      <a:pt x="307" y="304"/>
                    </a:cubicBezTo>
                    <a:cubicBezTo>
                      <a:pt x="301" y="295"/>
                      <a:pt x="301" y="295"/>
                      <a:pt x="301" y="295"/>
                    </a:cubicBezTo>
                    <a:cubicBezTo>
                      <a:pt x="297" y="295"/>
                      <a:pt x="297" y="295"/>
                      <a:pt x="297" y="295"/>
                    </a:cubicBezTo>
                    <a:cubicBezTo>
                      <a:pt x="294" y="287"/>
                      <a:pt x="294" y="287"/>
                      <a:pt x="294" y="287"/>
                    </a:cubicBezTo>
                    <a:cubicBezTo>
                      <a:pt x="294" y="287"/>
                      <a:pt x="288" y="285"/>
                      <a:pt x="281" y="285"/>
                    </a:cubicBezTo>
                    <a:cubicBezTo>
                      <a:pt x="273" y="284"/>
                      <a:pt x="279" y="279"/>
                      <a:pt x="279" y="279"/>
                    </a:cubicBezTo>
                    <a:cubicBezTo>
                      <a:pt x="273" y="277"/>
                      <a:pt x="273" y="277"/>
                      <a:pt x="273" y="277"/>
                    </a:cubicBezTo>
                    <a:cubicBezTo>
                      <a:pt x="271" y="271"/>
                      <a:pt x="271" y="271"/>
                      <a:pt x="271" y="271"/>
                    </a:cubicBezTo>
                    <a:cubicBezTo>
                      <a:pt x="271" y="271"/>
                      <a:pt x="263" y="265"/>
                      <a:pt x="262" y="263"/>
                    </a:cubicBezTo>
                    <a:cubicBezTo>
                      <a:pt x="261" y="261"/>
                      <a:pt x="269" y="257"/>
                      <a:pt x="269" y="257"/>
                    </a:cubicBezTo>
                    <a:cubicBezTo>
                      <a:pt x="263" y="248"/>
                      <a:pt x="263" y="248"/>
                      <a:pt x="263" y="248"/>
                    </a:cubicBezTo>
                    <a:cubicBezTo>
                      <a:pt x="257" y="247"/>
                      <a:pt x="257" y="247"/>
                      <a:pt x="257" y="247"/>
                    </a:cubicBezTo>
                    <a:cubicBezTo>
                      <a:pt x="257" y="247"/>
                      <a:pt x="252" y="238"/>
                      <a:pt x="255" y="235"/>
                    </a:cubicBezTo>
                    <a:cubicBezTo>
                      <a:pt x="259" y="233"/>
                      <a:pt x="259" y="239"/>
                      <a:pt x="263" y="239"/>
                    </a:cubicBezTo>
                    <a:cubicBezTo>
                      <a:pt x="267" y="238"/>
                      <a:pt x="266" y="233"/>
                      <a:pt x="266" y="233"/>
                    </a:cubicBezTo>
                    <a:cubicBezTo>
                      <a:pt x="273" y="233"/>
                      <a:pt x="273" y="233"/>
                      <a:pt x="273" y="233"/>
                    </a:cubicBezTo>
                    <a:cubicBezTo>
                      <a:pt x="273" y="233"/>
                      <a:pt x="275" y="225"/>
                      <a:pt x="283" y="227"/>
                    </a:cubicBezTo>
                    <a:cubicBezTo>
                      <a:pt x="292" y="229"/>
                      <a:pt x="290" y="233"/>
                      <a:pt x="290" y="233"/>
                    </a:cubicBezTo>
                    <a:cubicBezTo>
                      <a:pt x="297" y="224"/>
                      <a:pt x="297" y="224"/>
                      <a:pt x="297" y="224"/>
                    </a:cubicBezTo>
                    <a:cubicBezTo>
                      <a:pt x="308" y="221"/>
                      <a:pt x="308" y="221"/>
                      <a:pt x="308" y="221"/>
                    </a:cubicBezTo>
                    <a:cubicBezTo>
                      <a:pt x="310" y="217"/>
                      <a:pt x="310" y="217"/>
                      <a:pt x="310" y="217"/>
                    </a:cubicBezTo>
                    <a:cubicBezTo>
                      <a:pt x="310" y="217"/>
                      <a:pt x="321" y="217"/>
                      <a:pt x="324" y="216"/>
                    </a:cubicBezTo>
                    <a:cubicBezTo>
                      <a:pt x="327" y="215"/>
                      <a:pt x="325" y="210"/>
                      <a:pt x="325" y="210"/>
                    </a:cubicBezTo>
                    <a:cubicBezTo>
                      <a:pt x="325" y="210"/>
                      <a:pt x="336" y="211"/>
                      <a:pt x="339" y="208"/>
                    </a:cubicBezTo>
                    <a:cubicBezTo>
                      <a:pt x="341" y="205"/>
                      <a:pt x="346" y="199"/>
                      <a:pt x="348" y="198"/>
                    </a:cubicBezTo>
                    <a:cubicBezTo>
                      <a:pt x="350" y="197"/>
                      <a:pt x="355" y="209"/>
                      <a:pt x="360" y="208"/>
                    </a:cubicBezTo>
                    <a:cubicBezTo>
                      <a:pt x="365" y="207"/>
                      <a:pt x="371" y="195"/>
                      <a:pt x="372" y="191"/>
                    </a:cubicBezTo>
                    <a:cubicBezTo>
                      <a:pt x="373" y="188"/>
                      <a:pt x="367" y="187"/>
                      <a:pt x="367" y="187"/>
                    </a:cubicBezTo>
                    <a:cubicBezTo>
                      <a:pt x="367" y="187"/>
                      <a:pt x="371" y="182"/>
                      <a:pt x="369" y="177"/>
                    </a:cubicBezTo>
                    <a:cubicBezTo>
                      <a:pt x="368" y="171"/>
                      <a:pt x="360" y="177"/>
                      <a:pt x="360" y="177"/>
                    </a:cubicBezTo>
                    <a:cubicBezTo>
                      <a:pt x="361" y="165"/>
                      <a:pt x="361" y="165"/>
                      <a:pt x="361" y="165"/>
                    </a:cubicBezTo>
                    <a:cubicBezTo>
                      <a:pt x="361" y="165"/>
                      <a:pt x="352" y="163"/>
                      <a:pt x="351" y="157"/>
                    </a:cubicBezTo>
                    <a:cubicBezTo>
                      <a:pt x="351" y="152"/>
                      <a:pt x="360" y="146"/>
                      <a:pt x="360" y="146"/>
                    </a:cubicBezTo>
                    <a:cubicBezTo>
                      <a:pt x="360" y="146"/>
                      <a:pt x="357" y="144"/>
                      <a:pt x="355" y="143"/>
                    </a:cubicBezTo>
                    <a:cubicBezTo>
                      <a:pt x="353" y="143"/>
                      <a:pt x="356" y="136"/>
                      <a:pt x="356" y="136"/>
                    </a:cubicBezTo>
                    <a:cubicBezTo>
                      <a:pt x="356" y="136"/>
                      <a:pt x="351" y="135"/>
                      <a:pt x="350" y="132"/>
                    </a:cubicBezTo>
                    <a:cubicBezTo>
                      <a:pt x="349" y="129"/>
                      <a:pt x="355" y="126"/>
                      <a:pt x="355" y="126"/>
                    </a:cubicBezTo>
                    <a:cubicBezTo>
                      <a:pt x="355" y="126"/>
                      <a:pt x="355" y="120"/>
                      <a:pt x="352" y="115"/>
                    </a:cubicBezTo>
                    <a:cubicBezTo>
                      <a:pt x="349" y="111"/>
                      <a:pt x="345" y="115"/>
                      <a:pt x="345" y="115"/>
                    </a:cubicBezTo>
                    <a:cubicBezTo>
                      <a:pt x="341" y="109"/>
                      <a:pt x="341" y="109"/>
                      <a:pt x="341" y="109"/>
                    </a:cubicBezTo>
                    <a:cubicBezTo>
                      <a:pt x="341" y="109"/>
                      <a:pt x="337" y="113"/>
                      <a:pt x="334" y="106"/>
                    </a:cubicBezTo>
                    <a:cubicBezTo>
                      <a:pt x="331" y="99"/>
                      <a:pt x="337" y="98"/>
                      <a:pt x="343" y="93"/>
                    </a:cubicBezTo>
                    <a:cubicBezTo>
                      <a:pt x="349" y="89"/>
                      <a:pt x="347" y="87"/>
                      <a:pt x="345" y="79"/>
                    </a:cubicBezTo>
                    <a:cubicBezTo>
                      <a:pt x="342" y="70"/>
                      <a:pt x="337" y="78"/>
                      <a:pt x="339" y="72"/>
                    </a:cubicBezTo>
                    <a:cubicBezTo>
                      <a:pt x="340" y="69"/>
                      <a:pt x="339" y="65"/>
                      <a:pt x="338" y="62"/>
                    </a:cubicBezTo>
                    <a:cubicBezTo>
                      <a:pt x="334" y="60"/>
                      <a:pt x="334" y="60"/>
                      <a:pt x="334" y="60"/>
                    </a:cubicBezTo>
                    <a:cubicBezTo>
                      <a:pt x="321" y="55"/>
                      <a:pt x="321" y="55"/>
                      <a:pt x="321" y="55"/>
                    </a:cubicBezTo>
                    <a:cubicBezTo>
                      <a:pt x="321" y="55"/>
                      <a:pt x="323" y="50"/>
                      <a:pt x="318" y="44"/>
                    </a:cubicBezTo>
                    <a:cubicBezTo>
                      <a:pt x="313" y="38"/>
                      <a:pt x="301" y="41"/>
                      <a:pt x="301" y="41"/>
                    </a:cubicBezTo>
                    <a:cubicBezTo>
                      <a:pt x="296" y="35"/>
                      <a:pt x="296" y="35"/>
                      <a:pt x="296" y="35"/>
                    </a:cubicBezTo>
                    <a:cubicBezTo>
                      <a:pt x="296" y="35"/>
                      <a:pt x="270" y="23"/>
                      <a:pt x="265" y="26"/>
                    </a:cubicBezTo>
                    <a:cubicBezTo>
                      <a:pt x="260" y="29"/>
                      <a:pt x="253" y="36"/>
                      <a:pt x="253" y="36"/>
                    </a:cubicBezTo>
                    <a:cubicBezTo>
                      <a:pt x="226" y="35"/>
                      <a:pt x="226" y="35"/>
                      <a:pt x="226" y="35"/>
                    </a:cubicBezTo>
                    <a:cubicBezTo>
                      <a:pt x="226" y="47"/>
                      <a:pt x="226" y="47"/>
                      <a:pt x="226" y="47"/>
                    </a:cubicBezTo>
                    <a:cubicBezTo>
                      <a:pt x="200" y="46"/>
                      <a:pt x="200" y="46"/>
                      <a:pt x="200" y="46"/>
                    </a:cubicBezTo>
                    <a:cubicBezTo>
                      <a:pt x="200" y="46"/>
                      <a:pt x="198" y="38"/>
                      <a:pt x="202" y="35"/>
                    </a:cubicBezTo>
                    <a:cubicBezTo>
                      <a:pt x="206" y="32"/>
                      <a:pt x="209" y="20"/>
                      <a:pt x="209" y="20"/>
                    </a:cubicBezTo>
                    <a:cubicBezTo>
                      <a:pt x="196" y="27"/>
                      <a:pt x="196" y="27"/>
                      <a:pt x="196" y="27"/>
                    </a:cubicBezTo>
                    <a:cubicBezTo>
                      <a:pt x="168" y="22"/>
                      <a:pt x="168" y="22"/>
                      <a:pt x="168" y="22"/>
                    </a:cubicBezTo>
                    <a:cubicBezTo>
                      <a:pt x="168" y="22"/>
                      <a:pt x="160" y="14"/>
                      <a:pt x="156" y="4"/>
                    </a:cubicBezTo>
                    <a:cubicBezTo>
                      <a:pt x="154" y="5"/>
                      <a:pt x="153" y="6"/>
                      <a:pt x="153" y="6"/>
                    </a:cubicBezTo>
                    <a:cubicBezTo>
                      <a:pt x="153" y="6"/>
                      <a:pt x="152" y="2"/>
                      <a:pt x="145" y="3"/>
                    </a:cubicBezTo>
                    <a:cubicBezTo>
                      <a:pt x="137" y="3"/>
                      <a:pt x="135" y="5"/>
                      <a:pt x="135" y="5"/>
                    </a:cubicBezTo>
                    <a:cubicBezTo>
                      <a:pt x="135" y="5"/>
                      <a:pt x="127" y="0"/>
                      <a:pt x="123" y="0"/>
                    </a:cubicBezTo>
                    <a:cubicBezTo>
                      <a:pt x="119" y="0"/>
                      <a:pt x="112" y="0"/>
                      <a:pt x="112" y="0"/>
                    </a:cubicBezTo>
                    <a:cubicBezTo>
                      <a:pt x="126" y="23"/>
                      <a:pt x="126" y="23"/>
                      <a:pt x="126" y="23"/>
                    </a:cubicBezTo>
                    <a:cubicBezTo>
                      <a:pt x="117" y="31"/>
                      <a:pt x="117" y="31"/>
                      <a:pt x="117" y="31"/>
                    </a:cubicBezTo>
                    <a:cubicBezTo>
                      <a:pt x="130" y="49"/>
                      <a:pt x="130" y="49"/>
                      <a:pt x="130" y="49"/>
                    </a:cubicBezTo>
                    <a:cubicBezTo>
                      <a:pt x="142" y="58"/>
                      <a:pt x="142" y="58"/>
                      <a:pt x="142" y="58"/>
                    </a:cubicBezTo>
                    <a:cubicBezTo>
                      <a:pt x="123" y="51"/>
                      <a:pt x="123" y="51"/>
                      <a:pt x="123" y="51"/>
                    </a:cubicBezTo>
                    <a:cubicBezTo>
                      <a:pt x="105" y="55"/>
                      <a:pt x="105" y="55"/>
                      <a:pt x="105" y="55"/>
                    </a:cubicBezTo>
                    <a:cubicBezTo>
                      <a:pt x="105" y="55"/>
                      <a:pt x="110" y="70"/>
                      <a:pt x="104" y="72"/>
                    </a:cubicBezTo>
                    <a:cubicBezTo>
                      <a:pt x="98" y="74"/>
                      <a:pt x="88" y="72"/>
                      <a:pt x="88" y="72"/>
                    </a:cubicBezTo>
                    <a:cubicBezTo>
                      <a:pt x="82" y="62"/>
                      <a:pt x="82" y="62"/>
                      <a:pt x="82" y="62"/>
                    </a:cubicBezTo>
                    <a:cubicBezTo>
                      <a:pt x="82" y="62"/>
                      <a:pt x="55" y="59"/>
                      <a:pt x="54" y="64"/>
                    </a:cubicBezTo>
                    <a:cubicBezTo>
                      <a:pt x="53" y="69"/>
                      <a:pt x="53" y="82"/>
                      <a:pt x="53" y="82"/>
                    </a:cubicBezTo>
                    <a:cubicBezTo>
                      <a:pt x="57" y="85"/>
                      <a:pt x="57" y="85"/>
                      <a:pt x="57" y="85"/>
                    </a:cubicBezTo>
                    <a:cubicBezTo>
                      <a:pt x="54" y="87"/>
                      <a:pt x="54" y="87"/>
                      <a:pt x="54" y="87"/>
                    </a:cubicBezTo>
                    <a:cubicBezTo>
                      <a:pt x="59" y="95"/>
                      <a:pt x="59" y="95"/>
                      <a:pt x="59" y="95"/>
                    </a:cubicBezTo>
                    <a:cubicBezTo>
                      <a:pt x="59" y="95"/>
                      <a:pt x="48" y="99"/>
                      <a:pt x="47" y="103"/>
                    </a:cubicBezTo>
                    <a:cubicBezTo>
                      <a:pt x="45" y="107"/>
                      <a:pt x="49" y="115"/>
                      <a:pt x="49" y="115"/>
                    </a:cubicBezTo>
                    <a:cubicBezTo>
                      <a:pt x="41" y="115"/>
                      <a:pt x="41" y="115"/>
                      <a:pt x="41" y="115"/>
                    </a:cubicBezTo>
                    <a:cubicBezTo>
                      <a:pt x="41" y="115"/>
                      <a:pt x="29" y="119"/>
                      <a:pt x="30" y="122"/>
                    </a:cubicBezTo>
                    <a:cubicBezTo>
                      <a:pt x="31" y="125"/>
                      <a:pt x="45" y="130"/>
                      <a:pt x="45" y="134"/>
                    </a:cubicBezTo>
                    <a:cubicBezTo>
                      <a:pt x="45" y="138"/>
                      <a:pt x="37" y="142"/>
                      <a:pt x="37" y="142"/>
                    </a:cubicBezTo>
                    <a:cubicBezTo>
                      <a:pt x="35" y="153"/>
                      <a:pt x="35" y="153"/>
                      <a:pt x="35" y="153"/>
                    </a:cubicBezTo>
                    <a:cubicBezTo>
                      <a:pt x="29" y="152"/>
                      <a:pt x="29" y="152"/>
                      <a:pt x="29" y="152"/>
                    </a:cubicBezTo>
                    <a:cubicBezTo>
                      <a:pt x="29" y="152"/>
                      <a:pt x="27" y="157"/>
                      <a:pt x="25" y="160"/>
                    </a:cubicBezTo>
                    <a:cubicBezTo>
                      <a:pt x="23" y="163"/>
                      <a:pt x="1" y="155"/>
                      <a:pt x="1" y="155"/>
                    </a:cubicBezTo>
                    <a:cubicBezTo>
                      <a:pt x="7" y="170"/>
                      <a:pt x="7" y="170"/>
                      <a:pt x="7" y="170"/>
                    </a:cubicBezTo>
                    <a:cubicBezTo>
                      <a:pt x="7" y="170"/>
                      <a:pt x="12" y="178"/>
                      <a:pt x="11" y="181"/>
                    </a:cubicBezTo>
                    <a:cubicBezTo>
                      <a:pt x="11" y="185"/>
                      <a:pt x="0" y="191"/>
                      <a:pt x="0" y="191"/>
                    </a:cubicBezTo>
                    <a:cubicBezTo>
                      <a:pt x="0" y="191"/>
                      <a:pt x="5" y="197"/>
                      <a:pt x="4" y="199"/>
                    </a:cubicBezTo>
                    <a:cubicBezTo>
                      <a:pt x="3" y="201"/>
                      <a:pt x="0" y="215"/>
                      <a:pt x="0" y="215"/>
                    </a:cubicBezTo>
                    <a:cubicBezTo>
                      <a:pt x="5" y="216"/>
                      <a:pt x="5" y="216"/>
                      <a:pt x="5" y="216"/>
                    </a:cubicBezTo>
                    <a:cubicBezTo>
                      <a:pt x="5" y="216"/>
                      <a:pt x="14" y="219"/>
                      <a:pt x="15" y="225"/>
                    </a:cubicBezTo>
                    <a:cubicBezTo>
                      <a:pt x="15" y="231"/>
                      <a:pt x="18" y="238"/>
                      <a:pt x="18" y="238"/>
                    </a:cubicBezTo>
                    <a:cubicBezTo>
                      <a:pt x="9" y="239"/>
                      <a:pt x="9" y="239"/>
                      <a:pt x="9" y="239"/>
                    </a:cubicBezTo>
                    <a:cubicBezTo>
                      <a:pt x="9" y="239"/>
                      <a:pt x="4" y="247"/>
                      <a:pt x="7" y="253"/>
                    </a:cubicBezTo>
                    <a:cubicBezTo>
                      <a:pt x="11" y="259"/>
                      <a:pt x="21" y="261"/>
                      <a:pt x="22" y="265"/>
                    </a:cubicBezTo>
                    <a:cubicBezTo>
                      <a:pt x="23" y="270"/>
                      <a:pt x="17" y="274"/>
                      <a:pt x="17" y="274"/>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92" name="Freeform 114">
                <a:extLst>
                  <a:ext uri="{FF2B5EF4-FFF2-40B4-BE49-F238E27FC236}">
                    <a16:creationId xmlns:a16="http://schemas.microsoft.com/office/drawing/2014/main" id="{53E24CD2-8A44-44D8-B4F6-4227E8D7651E}"/>
                  </a:ext>
                </a:extLst>
              </p:cNvPr>
              <p:cNvSpPr>
                <a:spLocks/>
              </p:cNvSpPr>
              <p:nvPr>
                <p:custDataLst>
                  <p:tags r:id="rId73"/>
                </p:custDataLst>
              </p:nvPr>
            </p:nvSpPr>
            <p:spPr bwMode="gray">
              <a:xfrm>
                <a:off x="4548161" y="3114687"/>
                <a:ext cx="11112" cy="4763"/>
              </a:xfrm>
              <a:custGeom>
                <a:avLst/>
                <a:gdLst>
                  <a:gd name="T0" fmla="*/ 5 w 20"/>
                  <a:gd name="T1" fmla="*/ 13 h 13"/>
                  <a:gd name="T2" fmla="*/ 18 w 20"/>
                  <a:gd name="T3" fmla="*/ 10 h 13"/>
                  <a:gd name="T4" fmla="*/ 20 w 20"/>
                  <a:gd name="T5" fmla="*/ 10 h 13"/>
                  <a:gd name="T6" fmla="*/ 19 w 20"/>
                  <a:gd name="T7" fmla="*/ 1 h 13"/>
                  <a:gd name="T8" fmla="*/ 5 w 20"/>
                  <a:gd name="T9" fmla="*/ 1 h 13"/>
                  <a:gd name="T10" fmla="*/ 0 w 20"/>
                  <a:gd name="T11" fmla="*/ 2 h 13"/>
                  <a:gd name="T12" fmla="*/ 5 w 20"/>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0" h="13">
                    <a:moveTo>
                      <a:pt x="5" y="13"/>
                    </a:moveTo>
                    <a:cubicBezTo>
                      <a:pt x="5" y="13"/>
                      <a:pt x="14" y="11"/>
                      <a:pt x="18" y="10"/>
                    </a:cubicBezTo>
                    <a:cubicBezTo>
                      <a:pt x="19" y="10"/>
                      <a:pt x="20" y="10"/>
                      <a:pt x="20" y="10"/>
                    </a:cubicBezTo>
                    <a:cubicBezTo>
                      <a:pt x="19" y="1"/>
                      <a:pt x="19" y="1"/>
                      <a:pt x="19" y="1"/>
                    </a:cubicBezTo>
                    <a:cubicBezTo>
                      <a:pt x="19" y="1"/>
                      <a:pt x="15" y="0"/>
                      <a:pt x="5" y="1"/>
                    </a:cubicBezTo>
                    <a:cubicBezTo>
                      <a:pt x="3" y="1"/>
                      <a:pt x="1" y="1"/>
                      <a:pt x="0" y="2"/>
                    </a:cubicBezTo>
                    <a:lnTo>
                      <a:pt x="5" y="13"/>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93" name="Freeform 115">
                <a:extLst>
                  <a:ext uri="{FF2B5EF4-FFF2-40B4-BE49-F238E27FC236}">
                    <a16:creationId xmlns:a16="http://schemas.microsoft.com/office/drawing/2014/main" id="{CFEFB567-E976-42F3-BB92-5421C567381F}"/>
                  </a:ext>
                </a:extLst>
              </p:cNvPr>
              <p:cNvSpPr>
                <a:spLocks/>
              </p:cNvSpPr>
              <p:nvPr>
                <p:custDataLst>
                  <p:tags r:id="rId74"/>
                </p:custDataLst>
              </p:nvPr>
            </p:nvSpPr>
            <p:spPr bwMode="gray">
              <a:xfrm>
                <a:off x="5091083" y="2724160"/>
                <a:ext cx="230185" cy="138113"/>
              </a:xfrm>
              <a:custGeom>
                <a:avLst/>
                <a:gdLst>
                  <a:gd name="T0" fmla="*/ 19 w 382"/>
                  <a:gd name="T1" fmla="*/ 225 h 250"/>
                  <a:gd name="T2" fmla="*/ 42 w 382"/>
                  <a:gd name="T3" fmla="*/ 236 h 250"/>
                  <a:gd name="T4" fmla="*/ 77 w 382"/>
                  <a:gd name="T5" fmla="*/ 221 h 250"/>
                  <a:gd name="T6" fmla="*/ 121 w 382"/>
                  <a:gd name="T7" fmla="*/ 214 h 250"/>
                  <a:gd name="T8" fmla="*/ 146 w 382"/>
                  <a:gd name="T9" fmla="*/ 222 h 250"/>
                  <a:gd name="T10" fmla="*/ 176 w 382"/>
                  <a:gd name="T11" fmla="*/ 234 h 250"/>
                  <a:gd name="T12" fmla="*/ 193 w 382"/>
                  <a:gd name="T13" fmla="*/ 239 h 250"/>
                  <a:gd name="T14" fmla="*/ 205 w 382"/>
                  <a:gd name="T15" fmla="*/ 237 h 250"/>
                  <a:gd name="T16" fmla="*/ 221 w 382"/>
                  <a:gd name="T17" fmla="*/ 240 h 250"/>
                  <a:gd name="T18" fmla="*/ 236 w 382"/>
                  <a:gd name="T19" fmla="*/ 242 h 250"/>
                  <a:gd name="T20" fmla="*/ 259 w 382"/>
                  <a:gd name="T21" fmla="*/ 245 h 250"/>
                  <a:gd name="T22" fmla="*/ 301 w 382"/>
                  <a:gd name="T23" fmla="*/ 247 h 250"/>
                  <a:gd name="T24" fmla="*/ 323 w 382"/>
                  <a:gd name="T25" fmla="*/ 206 h 250"/>
                  <a:gd name="T26" fmla="*/ 344 w 382"/>
                  <a:gd name="T27" fmla="*/ 191 h 250"/>
                  <a:gd name="T28" fmla="*/ 328 w 382"/>
                  <a:gd name="T29" fmla="*/ 151 h 250"/>
                  <a:gd name="T30" fmla="*/ 365 w 382"/>
                  <a:gd name="T31" fmla="*/ 155 h 250"/>
                  <a:gd name="T32" fmla="*/ 368 w 382"/>
                  <a:gd name="T33" fmla="*/ 131 h 250"/>
                  <a:gd name="T34" fmla="*/ 340 w 382"/>
                  <a:gd name="T35" fmla="*/ 118 h 250"/>
                  <a:gd name="T36" fmla="*/ 318 w 382"/>
                  <a:gd name="T37" fmla="*/ 96 h 250"/>
                  <a:gd name="T38" fmla="*/ 294 w 382"/>
                  <a:gd name="T39" fmla="*/ 66 h 250"/>
                  <a:gd name="T40" fmla="*/ 290 w 382"/>
                  <a:gd name="T41" fmla="*/ 44 h 250"/>
                  <a:gd name="T42" fmla="*/ 260 w 382"/>
                  <a:gd name="T43" fmla="*/ 9 h 250"/>
                  <a:gd name="T44" fmla="*/ 236 w 382"/>
                  <a:gd name="T45" fmla="*/ 11 h 250"/>
                  <a:gd name="T46" fmla="*/ 204 w 382"/>
                  <a:gd name="T47" fmla="*/ 11 h 250"/>
                  <a:gd name="T48" fmla="*/ 176 w 382"/>
                  <a:gd name="T49" fmla="*/ 0 h 250"/>
                  <a:gd name="T50" fmla="*/ 157 w 382"/>
                  <a:gd name="T51" fmla="*/ 19 h 250"/>
                  <a:gd name="T52" fmla="*/ 119 w 382"/>
                  <a:gd name="T53" fmla="*/ 31 h 250"/>
                  <a:gd name="T54" fmla="*/ 120 w 382"/>
                  <a:gd name="T55" fmla="*/ 52 h 250"/>
                  <a:gd name="T56" fmla="*/ 111 w 382"/>
                  <a:gd name="T57" fmla="*/ 60 h 250"/>
                  <a:gd name="T58" fmla="*/ 98 w 382"/>
                  <a:gd name="T59" fmla="*/ 77 h 250"/>
                  <a:gd name="T60" fmla="*/ 96 w 382"/>
                  <a:gd name="T61" fmla="*/ 104 h 250"/>
                  <a:gd name="T62" fmla="*/ 72 w 382"/>
                  <a:gd name="T63" fmla="*/ 103 h 250"/>
                  <a:gd name="T64" fmla="*/ 60 w 382"/>
                  <a:gd name="T65" fmla="*/ 103 h 250"/>
                  <a:gd name="T66" fmla="*/ 40 w 382"/>
                  <a:gd name="T67" fmla="*/ 113 h 250"/>
                  <a:gd name="T68" fmla="*/ 6 w 382"/>
                  <a:gd name="T69" fmla="*/ 113 h 250"/>
                  <a:gd name="T70" fmla="*/ 25 w 382"/>
                  <a:gd name="T71" fmla="*/ 145 h 250"/>
                  <a:gd name="T72" fmla="*/ 27 w 382"/>
                  <a:gd name="T73" fmla="*/ 173 h 250"/>
                  <a:gd name="T74" fmla="*/ 12 w 382"/>
                  <a:gd name="T75" fmla="*/ 190 h 250"/>
                  <a:gd name="T76" fmla="*/ 20 w 382"/>
                  <a:gd name="T77" fmla="*/ 207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2" h="250">
                    <a:moveTo>
                      <a:pt x="20" y="207"/>
                    </a:moveTo>
                    <a:cubicBezTo>
                      <a:pt x="22" y="211"/>
                      <a:pt x="19" y="225"/>
                      <a:pt x="19" y="225"/>
                    </a:cubicBezTo>
                    <a:cubicBezTo>
                      <a:pt x="22" y="234"/>
                      <a:pt x="22" y="234"/>
                      <a:pt x="22" y="234"/>
                    </a:cubicBezTo>
                    <a:cubicBezTo>
                      <a:pt x="26" y="236"/>
                      <a:pt x="35" y="240"/>
                      <a:pt x="42" y="236"/>
                    </a:cubicBezTo>
                    <a:cubicBezTo>
                      <a:pt x="50" y="231"/>
                      <a:pt x="51" y="221"/>
                      <a:pt x="51" y="221"/>
                    </a:cubicBezTo>
                    <a:cubicBezTo>
                      <a:pt x="77" y="221"/>
                      <a:pt x="77" y="221"/>
                      <a:pt x="77" y="221"/>
                    </a:cubicBezTo>
                    <a:cubicBezTo>
                      <a:pt x="77" y="221"/>
                      <a:pt x="88" y="215"/>
                      <a:pt x="91" y="214"/>
                    </a:cubicBezTo>
                    <a:cubicBezTo>
                      <a:pt x="94" y="213"/>
                      <a:pt x="121" y="214"/>
                      <a:pt x="121" y="214"/>
                    </a:cubicBezTo>
                    <a:cubicBezTo>
                      <a:pt x="121" y="214"/>
                      <a:pt x="121" y="222"/>
                      <a:pt x="131" y="222"/>
                    </a:cubicBezTo>
                    <a:cubicBezTo>
                      <a:pt x="141" y="222"/>
                      <a:pt x="146" y="222"/>
                      <a:pt x="146" y="222"/>
                    </a:cubicBezTo>
                    <a:cubicBezTo>
                      <a:pt x="165" y="225"/>
                      <a:pt x="165" y="225"/>
                      <a:pt x="165" y="225"/>
                    </a:cubicBezTo>
                    <a:cubicBezTo>
                      <a:pt x="176" y="234"/>
                      <a:pt x="176" y="234"/>
                      <a:pt x="176" y="234"/>
                    </a:cubicBezTo>
                    <a:cubicBezTo>
                      <a:pt x="181" y="231"/>
                      <a:pt x="181" y="231"/>
                      <a:pt x="181" y="231"/>
                    </a:cubicBezTo>
                    <a:cubicBezTo>
                      <a:pt x="193" y="239"/>
                      <a:pt x="193" y="239"/>
                      <a:pt x="193" y="239"/>
                    </a:cubicBezTo>
                    <a:cubicBezTo>
                      <a:pt x="198" y="232"/>
                      <a:pt x="198" y="232"/>
                      <a:pt x="198" y="232"/>
                    </a:cubicBezTo>
                    <a:cubicBezTo>
                      <a:pt x="205" y="237"/>
                      <a:pt x="205" y="237"/>
                      <a:pt x="205" y="237"/>
                    </a:cubicBezTo>
                    <a:cubicBezTo>
                      <a:pt x="215" y="235"/>
                      <a:pt x="215" y="235"/>
                      <a:pt x="215" y="235"/>
                    </a:cubicBezTo>
                    <a:cubicBezTo>
                      <a:pt x="221" y="240"/>
                      <a:pt x="221" y="240"/>
                      <a:pt x="221" y="240"/>
                    </a:cubicBezTo>
                    <a:cubicBezTo>
                      <a:pt x="226" y="234"/>
                      <a:pt x="226" y="234"/>
                      <a:pt x="226" y="234"/>
                    </a:cubicBezTo>
                    <a:cubicBezTo>
                      <a:pt x="236" y="242"/>
                      <a:pt x="236" y="242"/>
                      <a:pt x="236" y="242"/>
                    </a:cubicBezTo>
                    <a:cubicBezTo>
                      <a:pt x="236" y="242"/>
                      <a:pt x="235" y="232"/>
                      <a:pt x="247" y="233"/>
                    </a:cubicBezTo>
                    <a:cubicBezTo>
                      <a:pt x="259" y="234"/>
                      <a:pt x="251" y="246"/>
                      <a:pt x="259" y="245"/>
                    </a:cubicBezTo>
                    <a:cubicBezTo>
                      <a:pt x="267" y="244"/>
                      <a:pt x="278" y="241"/>
                      <a:pt x="278" y="241"/>
                    </a:cubicBezTo>
                    <a:cubicBezTo>
                      <a:pt x="278" y="241"/>
                      <a:pt x="292" y="250"/>
                      <a:pt x="301" y="247"/>
                    </a:cubicBezTo>
                    <a:cubicBezTo>
                      <a:pt x="310" y="244"/>
                      <a:pt x="300" y="231"/>
                      <a:pt x="300" y="231"/>
                    </a:cubicBezTo>
                    <a:cubicBezTo>
                      <a:pt x="300" y="231"/>
                      <a:pt x="316" y="206"/>
                      <a:pt x="323" y="206"/>
                    </a:cubicBezTo>
                    <a:cubicBezTo>
                      <a:pt x="326" y="206"/>
                      <a:pt x="336" y="208"/>
                      <a:pt x="347" y="209"/>
                    </a:cubicBezTo>
                    <a:cubicBezTo>
                      <a:pt x="346" y="201"/>
                      <a:pt x="346" y="191"/>
                      <a:pt x="344" y="191"/>
                    </a:cubicBezTo>
                    <a:cubicBezTo>
                      <a:pt x="341" y="190"/>
                      <a:pt x="341" y="176"/>
                      <a:pt x="341" y="176"/>
                    </a:cubicBezTo>
                    <a:cubicBezTo>
                      <a:pt x="341" y="176"/>
                      <a:pt x="314" y="154"/>
                      <a:pt x="328" y="151"/>
                    </a:cubicBezTo>
                    <a:cubicBezTo>
                      <a:pt x="342" y="148"/>
                      <a:pt x="344" y="154"/>
                      <a:pt x="344" y="154"/>
                    </a:cubicBezTo>
                    <a:cubicBezTo>
                      <a:pt x="344" y="154"/>
                      <a:pt x="357" y="162"/>
                      <a:pt x="365" y="155"/>
                    </a:cubicBezTo>
                    <a:cubicBezTo>
                      <a:pt x="373" y="148"/>
                      <a:pt x="382" y="139"/>
                      <a:pt x="382" y="139"/>
                    </a:cubicBezTo>
                    <a:cubicBezTo>
                      <a:pt x="368" y="131"/>
                      <a:pt x="368" y="131"/>
                      <a:pt x="368" y="131"/>
                    </a:cubicBezTo>
                    <a:cubicBezTo>
                      <a:pt x="368" y="131"/>
                      <a:pt x="376" y="122"/>
                      <a:pt x="363" y="119"/>
                    </a:cubicBezTo>
                    <a:cubicBezTo>
                      <a:pt x="350" y="116"/>
                      <a:pt x="340" y="118"/>
                      <a:pt x="340" y="118"/>
                    </a:cubicBezTo>
                    <a:cubicBezTo>
                      <a:pt x="338" y="103"/>
                      <a:pt x="338" y="103"/>
                      <a:pt x="338" y="103"/>
                    </a:cubicBezTo>
                    <a:cubicBezTo>
                      <a:pt x="318" y="96"/>
                      <a:pt x="318" y="96"/>
                      <a:pt x="318" y="96"/>
                    </a:cubicBezTo>
                    <a:cubicBezTo>
                      <a:pt x="318" y="96"/>
                      <a:pt x="315" y="75"/>
                      <a:pt x="307" y="73"/>
                    </a:cubicBezTo>
                    <a:cubicBezTo>
                      <a:pt x="299" y="71"/>
                      <a:pt x="294" y="66"/>
                      <a:pt x="294" y="66"/>
                    </a:cubicBezTo>
                    <a:cubicBezTo>
                      <a:pt x="298" y="54"/>
                      <a:pt x="298" y="54"/>
                      <a:pt x="298" y="54"/>
                    </a:cubicBezTo>
                    <a:cubicBezTo>
                      <a:pt x="290" y="44"/>
                      <a:pt x="290" y="44"/>
                      <a:pt x="290" y="44"/>
                    </a:cubicBezTo>
                    <a:cubicBezTo>
                      <a:pt x="290" y="44"/>
                      <a:pt x="304" y="30"/>
                      <a:pt x="293" y="25"/>
                    </a:cubicBezTo>
                    <a:cubicBezTo>
                      <a:pt x="282" y="20"/>
                      <a:pt x="260" y="9"/>
                      <a:pt x="260" y="9"/>
                    </a:cubicBezTo>
                    <a:cubicBezTo>
                      <a:pt x="238" y="21"/>
                      <a:pt x="238" y="21"/>
                      <a:pt x="238" y="21"/>
                    </a:cubicBezTo>
                    <a:cubicBezTo>
                      <a:pt x="236" y="11"/>
                      <a:pt x="236" y="11"/>
                      <a:pt x="236" y="11"/>
                    </a:cubicBezTo>
                    <a:cubicBezTo>
                      <a:pt x="210" y="5"/>
                      <a:pt x="210" y="5"/>
                      <a:pt x="210" y="5"/>
                    </a:cubicBezTo>
                    <a:cubicBezTo>
                      <a:pt x="204" y="11"/>
                      <a:pt x="204" y="11"/>
                      <a:pt x="204" y="11"/>
                    </a:cubicBezTo>
                    <a:cubicBezTo>
                      <a:pt x="204" y="11"/>
                      <a:pt x="203" y="4"/>
                      <a:pt x="195" y="3"/>
                    </a:cubicBezTo>
                    <a:cubicBezTo>
                      <a:pt x="187" y="2"/>
                      <a:pt x="176" y="0"/>
                      <a:pt x="176" y="0"/>
                    </a:cubicBezTo>
                    <a:cubicBezTo>
                      <a:pt x="176" y="0"/>
                      <a:pt x="162" y="16"/>
                      <a:pt x="162" y="13"/>
                    </a:cubicBezTo>
                    <a:cubicBezTo>
                      <a:pt x="162" y="10"/>
                      <a:pt x="157" y="19"/>
                      <a:pt x="157" y="19"/>
                    </a:cubicBezTo>
                    <a:cubicBezTo>
                      <a:pt x="157" y="19"/>
                      <a:pt x="146" y="13"/>
                      <a:pt x="141" y="13"/>
                    </a:cubicBezTo>
                    <a:cubicBezTo>
                      <a:pt x="136" y="13"/>
                      <a:pt x="121" y="26"/>
                      <a:pt x="119" y="31"/>
                    </a:cubicBezTo>
                    <a:cubicBezTo>
                      <a:pt x="117" y="36"/>
                      <a:pt x="133" y="46"/>
                      <a:pt x="133" y="46"/>
                    </a:cubicBezTo>
                    <a:cubicBezTo>
                      <a:pt x="133" y="46"/>
                      <a:pt x="126" y="52"/>
                      <a:pt x="120" y="52"/>
                    </a:cubicBezTo>
                    <a:cubicBezTo>
                      <a:pt x="114" y="52"/>
                      <a:pt x="107" y="47"/>
                      <a:pt x="107" y="47"/>
                    </a:cubicBezTo>
                    <a:cubicBezTo>
                      <a:pt x="111" y="60"/>
                      <a:pt x="111" y="60"/>
                      <a:pt x="111" y="60"/>
                    </a:cubicBezTo>
                    <a:cubicBezTo>
                      <a:pt x="111" y="60"/>
                      <a:pt x="98" y="55"/>
                      <a:pt x="96" y="62"/>
                    </a:cubicBezTo>
                    <a:cubicBezTo>
                      <a:pt x="94" y="69"/>
                      <a:pt x="98" y="77"/>
                      <a:pt x="98" y="77"/>
                    </a:cubicBezTo>
                    <a:cubicBezTo>
                      <a:pt x="98" y="77"/>
                      <a:pt x="86" y="76"/>
                      <a:pt x="91" y="84"/>
                    </a:cubicBezTo>
                    <a:cubicBezTo>
                      <a:pt x="96" y="92"/>
                      <a:pt x="103" y="103"/>
                      <a:pt x="96" y="104"/>
                    </a:cubicBezTo>
                    <a:cubicBezTo>
                      <a:pt x="89" y="105"/>
                      <a:pt x="100" y="96"/>
                      <a:pt x="90" y="96"/>
                    </a:cubicBezTo>
                    <a:cubicBezTo>
                      <a:pt x="80" y="96"/>
                      <a:pt x="72" y="103"/>
                      <a:pt x="72" y="103"/>
                    </a:cubicBezTo>
                    <a:cubicBezTo>
                      <a:pt x="68" y="111"/>
                      <a:pt x="68" y="111"/>
                      <a:pt x="68" y="111"/>
                    </a:cubicBezTo>
                    <a:cubicBezTo>
                      <a:pt x="60" y="103"/>
                      <a:pt x="60" y="103"/>
                      <a:pt x="60" y="103"/>
                    </a:cubicBezTo>
                    <a:cubicBezTo>
                      <a:pt x="58" y="113"/>
                      <a:pt x="58" y="113"/>
                      <a:pt x="58" y="113"/>
                    </a:cubicBezTo>
                    <a:cubicBezTo>
                      <a:pt x="40" y="113"/>
                      <a:pt x="40" y="113"/>
                      <a:pt x="40" y="113"/>
                    </a:cubicBezTo>
                    <a:cubicBezTo>
                      <a:pt x="40" y="113"/>
                      <a:pt x="38" y="107"/>
                      <a:pt x="30" y="108"/>
                    </a:cubicBezTo>
                    <a:cubicBezTo>
                      <a:pt x="22" y="109"/>
                      <a:pt x="6" y="113"/>
                      <a:pt x="6" y="113"/>
                    </a:cubicBezTo>
                    <a:cubicBezTo>
                      <a:pt x="6" y="113"/>
                      <a:pt x="14" y="126"/>
                      <a:pt x="14" y="131"/>
                    </a:cubicBezTo>
                    <a:cubicBezTo>
                      <a:pt x="14" y="136"/>
                      <a:pt x="25" y="145"/>
                      <a:pt x="25" y="145"/>
                    </a:cubicBezTo>
                    <a:cubicBezTo>
                      <a:pt x="25" y="145"/>
                      <a:pt x="33" y="157"/>
                      <a:pt x="31" y="161"/>
                    </a:cubicBezTo>
                    <a:cubicBezTo>
                      <a:pt x="29" y="165"/>
                      <a:pt x="27" y="173"/>
                      <a:pt x="27" y="173"/>
                    </a:cubicBezTo>
                    <a:cubicBezTo>
                      <a:pt x="13" y="178"/>
                      <a:pt x="13" y="178"/>
                      <a:pt x="13" y="178"/>
                    </a:cubicBezTo>
                    <a:cubicBezTo>
                      <a:pt x="13" y="178"/>
                      <a:pt x="15" y="190"/>
                      <a:pt x="12" y="190"/>
                    </a:cubicBezTo>
                    <a:cubicBezTo>
                      <a:pt x="9" y="190"/>
                      <a:pt x="0" y="188"/>
                      <a:pt x="2" y="194"/>
                    </a:cubicBezTo>
                    <a:cubicBezTo>
                      <a:pt x="4" y="200"/>
                      <a:pt x="18" y="203"/>
                      <a:pt x="20" y="207"/>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94" name="Freeform 116">
                <a:extLst>
                  <a:ext uri="{FF2B5EF4-FFF2-40B4-BE49-F238E27FC236}">
                    <a16:creationId xmlns:a16="http://schemas.microsoft.com/office/drawing/2014/main" id="{E4FC9842-34DC-455B-8DB5-C745645DDEC4}"/>
                  </a:ext>
                </a:extLst>
              </p:cNvPr>
              <p:cNvSpPr>
                <a:spLocks/>
              </p:cNvSpPr>
              <p:nvPr>
                <p:custDataLst>
                  <p:tags r:id="rId75"/>
                </p:custDataLst>
              </p:nvPr>
            </p:nvSpPr>
            <p:spPr bwMode="gray">
              <a:xfrm>
                <a:off x="5030758" y="2668599"/>
                <a:ext cx="171449" cy="68262"/>
              </a:xfrm>
              <a:custGeom>
                <a:avLst/>
                <a:gdLst>
                  <a:gd name="T0" fmla="*/ 5 w 286"/>
                  <a:gd name="T1" fmla="*/ 97 h 123"/>
                  <a:gd name="T2" fmla="*/ 18 w 286"/>
                  <a:gd name="T3" fmla="*/ 92 h 123"/>
                  <a:gd name="T4" fmla="*/ 51 w 286"/>
                  <a:gd name="T5" fmla="*/ 86 h 123"/>
                  <a:gd name="T6" fmla="*/ 65 w 286"/>
                  <a:gd name="T7" fmla="*/ 83 h 123"/>
                  <a:gd name="T8" fmla="*/ 78 w 286"/>
                  <a:gd name="T9" fmla="*/ 90 h 123"/>
                  <a:gd name="T10" fmla="*/ 86 w 286"/>
                  <a:gd name="T11" fmla="*/ 88 h 123"/>
                  <a:gd name="T12" fmla="*/ 109 w 286"/>
                  <a:gd name="T13" fmla="*/ 94 h 123"/>
                  <a:gd name="T14" fmla="*/ 118 w 286"/>
                  <a:gd name="T15" fmla="*/ 89 h 123"/>
                  <a:gd name="T16" fmla="*/ 133 w 286"/>
                  <a:gd name="T17" fmla="*/ 93 h 123"/>
                  <a:gd name="T18" fmla="*/ 150 w 286"/>
                  <a:gd name="T19" fmla="*/ 85 h 123"/>
                  <a:gd name="T20" fmla="*/ 162 w 286"/>
                  <a:gd name="T21" fmla="*/ 98 h 123"/>
                  <a:gd name="T22" fmla="*/ 189 w 286"/>
                  <a:gd name="T23" fmla="*/ 101 h 123"/>
                  <a:gd name="T24" fmla="*/ 200 w 286"/>
                  <a:gd name="T25" fmla="*/ 111 h 123"/>
                  <a:gd name="T26" fmla="*/ 215 w 286"/>
                  <a:gd name="T27" fmla="*/ 119 h 123"/>
                  <a:gd name="T28" fmla="*/ 227 w 286"/>
                  <a:gd name="T29" fmla="*/ 123 h 123"/>
                  <a:gd name="T30" fmla="*/ 243 w 286"/>
                  <a:gd name="T31" fmla="*/ 113 h 123"/>
                  <a:gd name="T32" fmla="*/ 259 w 286"/>
                  <a:gd name="T33" fmla="*/ 119 h 123"/>
                  <a:gd name="T34" fmla="*/ 264 w 286"/>
                  <a:gd name="T35" fmla="*/ 113 h 123"/>
                  <a:gd name="T36" fmla="*/ 278 w 286"/>
                  <a:gd name="T37" fmla="*/ 100 h 123"/>
                  <a:gd name="T38" fmla="*/ 286 w 286"/>
                  <a:gd name="T39" fmla="*/ 101 h 123"/>
                  <a:gd name="T40" fmla="*/ 280 w 286"/>
                  <a:gd name="T41" fmla="*/ 82 h 123"/>
                  <a:gd name="T42" fmla="*/ 268 w 286"/>
                  <a:gd name="T43" fmla="*/ 65 h 123"/>
                  <a:gd name="T44" fmla="*/ 255 w 286"/>
                  <a:gd name="T45" fmla="*/ 61 h 123"/>
                  <a:gd name="T46" fmla="*/ 256 w 286"/>
                  <a:gd name="T47" fmla="*/ 52 h 123"/>
                  <a:gd name="T48" fmla="*/ 268 w 286"/>
                  <a:gd name="T49" fmla="*/ 45 h 123"/>
                  <a:gd name="T50" fmla="*/ 246 w 286"/>
                  <a:gd name="T51" fmla="*/ 30 h 123"/>
                  <a:gd name="T52" fmla="*/ 238 w 286"/>
                  <a:gd name="T53" fmla="*/ 31 h 123"/>
                  <a:gd name="T54" fmla="*/ 225 w 286"/>
                  <a:gd name="T55" fmla="*/ 26 h 123"/>
                  <a:gd name="T56" fmla="*/ 214 w 286"/>
                  <a:gd name="T57" fmla="*/ 32 h 123"/>
                  <a:gd name="T58" fmla="*/ 194 w 286"/>
                  <a:gd name="T59" fmla="*/ 20 h 123"/>
                  <a:gd name="T60" fmla="*/ 166 w 286"/>
                  <a:gd name="T61" fmla="*/ 3 h 123"/>
                  <a:gd name="T62" fmla="*/ 145 w 286"/>
                  <a:gd name="T63" fmla="*/ 4 h 123"/>
                  <a:gd name="T64" fmla="*/ 124 w 286"/>
                  <a:gd name="T65" fmla="*/ 10 h 123"/>
                  <a:gd name="T66" fmla="*/ 120 w 286"/>
                  <a:gd name="T67" fmla="*/ 10 h 123"/>
                  <a:gd name="T68" fmla="*/ 119 w 286"/>
                  <a:gd name="T69" fmla="*/ 12 h 123"/>
                  <a:gd name="T70" fmla="*/ 123 w 286"/>
                  <a:gd name="T71" fmla="*/ 55 h 123"/>
                  <a:gd name="T72" fmla="*/ 86 w 286"/>
                  <a:gd name="T73" fmla="*/ 52 h 123"/>
                  <a:gd name="T74" fmla="*/ 79 w 286"/>
                  <a:gd name="T75" fmla="*/ 37 h 123"/>
                  <a:gd name="T76" fmla="*/ 56 w 286"/>
                  <a:gd name="T77" fmla="*/ 18 h 123"/>
                  <a:gd name="T78" fmla="*/ 21 w 286"/>
                  <a:gd name="T79" fmla="*/ 30 h 123"/>
                  <a:gd name="T80" fmla="*/ 16 w 286"/>
                  <a:gd name="T81" fmla="*/ 46 h 123"/>
                  <a:gd name="T82" fmla="*/ 0 w 286"/>
                  <a:gd name="T83" fmla="*/ 69 h 123"/>
                  <a:gd name="T84" fmla="*/ 6 w 286"/>
                  <a:gd name="T85" fmla="*/ 104 h 123"/>
                  <a:gd name="T86" fmla="*/ 5 w 286"/>
                  <a:gd name="T87" fmla="*/ 9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6" h="123">
                    <a:moveTo>
                      <a:pt x="5" y="97"/>
                    </a:moveTo>
                    <a:cubicBezTo>
                      <a:pt x="8" y="95"/>
                      <a:pt x="12" y="93"/>
                      <a:pt x="18" y="92"/>
                    </a:cubicBezTo>
                    <a:cubicBezTo>
                      <a:pt x="38" y="89"/>
                      <a:pt x="45" y="89"/>
                      <a:pt x="51" y="86"/>
                    </a:cubicBezTo>
                    <a:cubicBezTo>
                      <a:pt x="57" y="83"/>
                      <a:pt x="59" y="81"/>
                      <a:pt x="65" y="83"/>
                    </a:cubicBezTo>
                    <a:cubicBezTo>
                      <a:pt x="71" y="85"/>
                      <a:pt x="78" y="90"/>
                      <a:pt x="78" y="90"/>
                    </a:cubicBezTo>
                    <a:cubicBezTo>
                      <a:pt x="78" y="90"/>
                      <a:pt x="83" y="89"/>
                      <a:pt x="86" y="88"/>
                    </a:cubicBezTo>
                    <a:cubicBezTo>
                      <a:pt x="89" y="87"/>
                      <a:pt x="109" y="94"/>
                      <a:pt x="109" y="94"/>
                    </a:cubicBezTo>
                    <a:cubicBezTo>
                      <a:pt x="109" y="94"/>
                      <a:pt x="113" y="89"/>
                      <a:pt x="118" y="89"/>
                    </a:cubicBezTo>
                    <a:cubicBezTo>
                      <a:pt x="123" y="89"/>
                      <a:pt x="125" y="93"/>
                      <a:pt x="133" y="93"/>
                    </a:cubicBezTo>
                    <a:cubicBezTo>
                      <a:pt x="141" y="93"/>
                      <a:pt x="144" y="85"/>
                      <a:pt x="150" y="85"/>
                    </a:cubicBezTo>
                    <a:cubicBezTo>
                      <a:pt x="156" y="85"/>
                      <a:pt x="162" y="98"/>
                      <a:pt x="162" y="98"/>
                    </a:cubicBezTo>
                    <a:cubicBezTo>
                      <a:pt x="162" y="98"/>
                      <a:pt x="183" y="99"/>
                      <a:pt x="189" y="101"/>
                    </a:cubicBezTo>
                    <a:cubicBezTo>
                      <a:pt x="195" y="103"/>
                      <a:pt x="200" y="111"/>
                      <a:pt x="200" y="111"/>
                    </a:cubicBezTo>
                    <a:cubicBezTo>
                      <a:pt x="215" y="119"/>
                      <a:pt x="215" y="119"/>
                      <a:pt x="215" y="119"/>
                    </a:cubicBezTo>
                    <a:cubicBezTo>
                      <a:pt x="227" y="123"/>
                      <a:pt x="227" y="123"/>
                      <a:pt x="227" y="123"/>
                    </a:cubicBezTo>
                    <a:cubicBezTo>
                      <a:pt x="233" y="118"/>
                      <a:pt x="240" y="113"/>
                      <a:pt x="243" y="113"/>
                    </a:cubicBezTo>
                    <a:cubicBezTo>
                      <a:pt x="248" y="113"/>
                      <a:pt x="259" y="119"/>
                      <a:pt x="259" y="119"/>
                    </a:cubicBezTo>
                    <a:cubicBezTo>
                      <a:pt x="259" y="119"/>
                      <a:pt x="264" y="110"/>
                      <a:pt x="264" y="113"/>
                    </a:cubicBezTo>
                    <a:cubicBezTo>
                      <a:pt x="264" y="116"/>
                      <a:pt x="278" y="100"/>
                      <a:pt x="278" y="100"/>
                    </a:cubicBezTo>
                    <a:cubicBezTo>
                      <a:pt x="278" y="100"/>
                      <a:pt x="282" y="101"/>
                      <a:pt x="286" y="101"/>
                    </a:cubicBezTo>
                    <a:cubicBezTo>
                      <a:pt x="286" y="97"/>
                      <a:pt x="286" y="87"/>
                      <a:pt x="280" y="82"/>
                    </a:cubicBezTo>
                    <a:cubicBezTo>
                      <a:pt x="273" y="76"/>
                      <a:pt x="268" y="65"/>
                      <a:pt x="268" y="65"/>
                    </a:cubicBezTo>
                    <a:cubicBezTo>
                      <a:pt x="255" y="61"/>
                      <a:pt x="255" y="61"/>
                      <a:pt x="255" y="61"/>
                    </a:cubicBezTo>
                    <a:cubicBezTo>
                      <a:pt x="256" y="52"/>
                      <a:pt x="256" y="52"/>
                      <a:pt x="256" y="52"/>
                    </a:cubicBezTo>
                    <a:cubicBezTo>
                      <a:pt x="256" y="52"/>
                      <a:pt x="269" y="50"/>
                      <a:pt x="268" y="45"/>
                    </a:cubicBezTo>
                    <a:cubicBezTo>
                      <a:pt x="267" y="40"/>
                      <a:pt x="246" y="30"/>
                      <a:pt x="246" y="30"/>
                    </a:cubicBezTo>
                    <a:cubicBezTo>
                      <a:pt x="238" y="31"/>
                      <a:pt x="238" y="31"/>
                      <a:pt x="238" y="31"/>
                    </a:cubicBezTo>
                    <a:cubicBezTo>
                      <a:pt x="238" y="31"/>
                      <a:pt x="228" y="27"/>
                      <a:pt x="225" y="26"/>
                    </a:cubicBezTo>
                    <a:cubicBezTo>
                      <a:pt x="222" y="25"/>
                      <a:pt x="220" y="32"/>
                      <a:pt x="214" y="32"/>
                    </a:cubicBezTo>
                    <a:cubicBezTo>
                      <a:pt x="208" y="32"/>
                      <a:pt x="205" y="29"/>
                      <a:pt x="194" y="20"/>
                    </a:cubicBezTo>
                    <a:cubicBezTo>
                      <a:pt x="183" y="11"/>
                      <a:pt x="181" y="6"/>
                      <a:pt x="166" y="3"/>
                    </a:cubicBezTo>
                    <a:cubicBezTo>
                      <a:pt x="151" y="0"/>
                      <a:pt x="145" y="4"/>
                      <a:pt x="145" y="4"/>
                    </a:cubicBezTo>
                    <a:cubicBezTo>
                      <a:pt x="124" y="10"/>
                      <a:pt x="124" y="10"/>
                      <a:pt x="124" y="10"/>
                    </a:cubicBezTo>
                    <a:cubicBezTo>
                      <a:pt x="120" y="10"/>
                      <a:pt x="120" y="10"/>
                      <a:pt x="120" y="10"/>
                    </a:cubicBezTo>
                    <a:cubicBezTo>
                      <a:pt x="119" y="12"/>
                      <a:pt x="119" y="12"/>
                      <a:pt x="119" y="12"/>
                    </a:cubicBezTo>
                    <a:cubicBezTo>
                      <a:pt x="119" y="12"/>
                      <a:pt x="136" y="55"/>
                      <a:pt x="123" y="55"/>
                    </a:cubicBezTo>
                    <a:cubicBezTo>
                      <a:pt x="110" y="55"/>
                      <a:pt x="86" y="52"/>
                      <a:pt x="86" y="52"/>
                    </a:cubicBezTo>
                    <a:cubicBezTo>
                      <a:pt x="79" y="37"/>
                      <a:pt x="79" y="37"/>
                      <a:pt x="79" y="37"/>
                    </a:cubicBezTo>
                    <a:cubicBezTo>
                      <a:pt x="56" y="18"/>
                      <a:pt x="56" y="18"/>
                      <a:pt x="56" y="18"/>
                    </a:cubicBezTo>
                    <a:cubicBezTo>
                      <a:pt x="56" y="18"/>
                      <a:pt x="24" y="23"/>
                      <a:pt x="21" y="30"/>
                    </a:cubicBezTo>
                    <a:cubicBezTo>
                      <a:pt x="18" y="37"/>
                      <a:pt x="16" y="46"/>
                      <a:pt x="16" y="46"/>
                    </a:cubicBezTo>
                    <a:cubicBezTo>
                      <a:pt x="16" y="46"/>
                      <a:pt x="0" y="64"/>
                      <a:pt x="0" y="69"/>
                    </a:cubicBezTo>
                    <a:cubicBezTo>
                      <a:pt x="0" y="74"/>
                      <a:pt x="6" y="104"/>
                      <a:pt x="6" y="104"/>
                    </a:cubicBezTo>
                    <a:cubicBezTo>
                      <a:pt x="6" y="104"/>
                      <a:pt x="5" y="101"/>
                      <a:pt x="5" y="97"/>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95" name="Freeform 117">
                <a:extLst>
                  <a:ext uri="{FF2B5EF4-FFF2-40B4-BE49-F238E27FC236}">
                    <a16:creationId xmlns:a16="http://schemas.microsoft.com/office/drawing/2014/main" id="{D95DB6C7-1E53-4D6D-B273-D473F3E14F04}"/>
                  </a:ext>
                </a:extLst>
              </p:cNvPr>
              <p:cNvSpPr>
                <a:spLocks/>
              </p:cNvSpPr>
              <p:nvPr>
                <p:custDataLst>
                  <p:tags r:id="rId76"/>
                </p:custDataLst>
              </p:nvPr>
            </p:nvSpPr>
            <p:spPr bwMode="gray">
              <a:xfrm>
                <a:off x="4995833" y="2354273"/>
                <a:ext cx="252411" cy="266701"/>
              </a:xfrm>
              <a:custGeom>
                <a:avLst/>
                <a:gdLst>
                  <a:gd name="T0" fmla="*/ 88 w 422"/>
                  <a:gd name="T1" fmla="*/ 64 h 480"/>
                  <a:gd name="T2" fmla="*/ 64 w 422"/>
                  <a:gd name="T3" fmla="*/ 59 h 480"/>
                  <a:gd name="T4" fmla="*/ 40 w 422"/>
                  <a:gd name="T5" fmla="*/ 47 h 480"/>
                  <a:gd name="T6" fmla="*/ 16 w 422"/>
                  <a:gd name="T7" fmla="*/ 36 h 480"/>
                  <a:gd name="T8" fmla="*/ 2 w 422"/>
                  <a:gd name="T9" fmla="*/ 40 h 480"/>
                  <a:gd name="T10" fmla="*/ 17 w 422"/>
                  <a:gd name="T11" fmla="*/ 56 h 480"/>
                  <a:gd name="T12" fmla="*/ 48 w 422"/>
                  <a:gd name="T13" fmla="*/ 72 h 480"/>
                  <a:gd name="T14" fmla="*/ 92 w 422"/>
                  <a:gd name="T15" fmla="*/ 85 h 480"/>
                  <a:gd name="T16" fmla="*/ 103 w 422"/>
                  <a:gd name="T17" fmla="*/ 114 h 480"/>
                  <a:gd name="T18" fmla="*/ 107 w 422"/>
                  <a:gd name="T19" fmla="*/ 132 h 480"/>
                  <a:gd name="T20" fmla="*/ 113 w 422"/>
                  <a:gd name="T21" fmla="*/ 165 h 480"/>
                  <a:gd name="T22" fmla="*/ 138 w 422"/>
                  <a:gd name="T23" fmla="*/ 204 h 480"/>
                  <a:gd name="T24" fmla="*/ 179 w 422"/>
                  <a:gd name="T25" fmla="*/ 217 h 480"/>
                  <a:gd name="T26" fmla="*/ 167 w 422"/>
                  <a:gd name="T27" fmla="*/ 234 h 480"/>
                  <a:gd name="T28" fmla="*/ 119 w 422"/>
                  <a:gd name="T29" fmla="*/ 283 h 480"/>
                  <a:gd name="T30" fmla="*/ 81 w 422"/>
                  <a:gd name="T31" fmla="*/ 309 h 480"/>
                  <a:gd name="T32" fmla="*/ 45 w 422"/>
                  <a:gd name="T33" fmla="*/ 336 h 480"/>
                  <a:gd name="T34" fmla="*/ 49 w 422"/>
                  <a:gd name="T35" fmla="*/ 364 h 480"/>
                  <a:gd name="T36" fmla="*/ 62 w 422"/>
                  <a:gd name="T37" fmla="*/ 393 h 480"/>
                  <a:gd name="T38" fmla="*/ 71 w 422"/>
                  <a:gd name="T39" fmla="*/ 452 h 480"/>
                  <a:gd name="T40" fmla="*/ 114 w 422"/>
                  <a:gd name="T41" fmla="*/ 460 h 480"/>
                  <a:gd name="T42" fmla="*/ 180 w 422"/>
                  <a:gd name="T43" fmla="*/ 475 h 480"/>
                  <a:gd name="T44" fmla="*/ 222 w 422"/>
                  <a:gd name="T45" fmla="*/ 465 h 480"/>
                  <a:gd name="T46" fmla="*/ 304 w 422"/>
                  <a:gd name="T47" fmla="*/ 451 h 480"/>
                  <a:gd name="T48" fmla="*/ 305 w 422"/>
                  <a:gd name="T49" fmla="*/ 441 h 480"/>
                  <a:gd name="T50" fmla="*/ 382 w 422"/>
                  <a:gd name="T51" fmla="*/ 381 h 480"/>
                  <a:gd name="T52" fmla="*/ 421 w 422"/>
                  <a:gd name="T53" fmla="*/ 340 h 480"/>
                  <a:gd name="T54" fmla="*/ 360 w 422"/>
                  <a:gd name="T55" fmla="*/ 295 h 480"/>
                  <a:gd name="T56" fmla="*/ 368 w 422"/>
                  <a:gd name="T57" fmla="*/ 265 h 480"/>
                  <a:gd name="T58" fmla="*/ 359 w 422"/>
                  <a:gd name="T59" fmla="*/ 247 h 480"/>
                  <a:gd name="T60" fmla="*/ 339 w 422"/>
                  <a:gd name="T61" fmla="*/ 228 h 480"/>
                  <a:gd name="T62" fmla="*/ 337 w 422"/>
                  <a:gd name="T63" fmla="*/ 202 h 480"/>
                  <a:gd name="T64" fmla="*/ 312 w 422"/>
                  <a:gd name="T65" fmla="*/ 156 h 480"/>
                  <a:gd name="T66" fmla="*/ 316 w 422"/>
                  <a:gd name="T67" fmla="*/ 133 h 480"/>
                  <a:gd name="T68" fmla="*/ 312 w 422"/>
                  <a:gd name="T69" fmla="*/ 98 h 480"/>
                  <a:gd name="T70" fmla="*/ 275 w 422"/>
                  <a:gd name="T71" fmla="*/ 82 h 480"/>
                  <a:gd name="T72" fmla="*/ 282 w 422"/>
                  <a:gd name="T73" fmla="*/ 62 h 480"/>
                  <a:gd name="T74" fmla="*/ 280 w 422"/>
                  <a:gd name="T75" fmla="*/ 36 h 480"/>
                  <a:gd name="T76" fmla="*/ 271 w 422"/>
                  <a:gd name="T77" fmla="*/ 13 h 480"/>
                  <a:gd name="T78" fmla="*/ 240 w 422"/>
                  <a:gd name="T79" fmla="*/ 1 h 480"/>
                  <a:gd name="T80" fmla="*/ 198 w 422"/>
                  <a:gd name="T81" fmla="*/ 5 h 480"/>
                  <a:gd name="T82" fmla="*/ 173 w 422"/>
                  <a:gd name="T83" fmla="*/ 30 h 480"/>
                  <a:gd name="T84" fmla="*/ 157 w 422"/>
                  <a:gd name="T85" fmla="*/ 50 h 480"/>
                  <a:gd name="T86" fmla="*/ 123 w 422"/>
                  <a:gd name="T87" fmla="*/ 56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2" h="480">
                    <a:moveTo>
                      <a:pt x="107" y="59"/>
                    </a:moveTo>
                    <a:cubicBezTo>
                      <a:pt x="107" y="59"/>
                      <a:pt x="98" y="67"/>
                      <a:pt x="88" y="64"/>
                    </a:cubicBezTo>
                    <a:cubicBezTo>
                      <a:pt x="78" y="61"/>
                      <a:pt x="78" y="61"/>
                      <a:pt x="78" y="61"/>
                    </a:cubicBezTo>
                    <a:cubicBezTo>
                      <a:pt x="78" y="61"/>
                      <a:pt x="78" y="60"/>
                      <a:pt x="64" y="59"/>
                    </a:cubicBezTo>
                    <a:cubicBezTo>
                      <a:pt x="50" y="58"/>
                      <a:pt x="49" y="48"/>
                      <a:pt x="49" y="48"/>
                    </a:cubicBezTo>
                    <a:cubicBezTo>
                      <a:pt x="40" y="47"/>
                      <a:pt x="40" y="47"/>
                      <a:pt x="40" y="47"/>
                    </a:cubicBezTo>
                    <a:cubicBezTo>
                      <a:pt x="40" y="47"/>
                      <a:pt x="31" y="33"/>
                      <a:pt x="27" y="33"/>
                    </a:cubicBezTo>
                    <a:cubicBezTo>
                      <a:pt x="23" y="33"/>
                      <a:pt x="16" y="36"/>
                      <a:pt x="16" y="36"/>
                    </a:cubicBezTo>
                    <a:cubicBezTo>
                      <a:pt x="14" y="45"/>
                      <a:pt x="14" y="45"/>
                      <a:pt x="14" y="45"/>
                    </a:cubicBezTo>
                    <a:cubicBezTo>
                      <a:pt x="2" y="40"/>
                      <a:pt x="2" y="40"/>
                      <a:pt x="2" y="40"/>
                    </a:cubicBezTo>
                    <a:cubicBezTo>
                      <a:pt x="0" y="45"/>
                      <a:pt x="0" y="45"/>
                      <a:pt x="0" y="45"/>
                    </a:cubicBezTo>
                    <a:cubicBezTo>
                      <a:pt x="0" y="45"/>
                      <a:pt x="7" y="52"/>
                      <a:pt x="17" y="56"/>
                    </a:cubicBezTo>
                    <a:cubicBezTo>
                      <a:pt x="27" y="60"/>
                      <a:pt x="40" y="64"/>
                      <a:pt x="40" y="64"/>
                    </a:cubicBezTo>
                    <a:cubicBezTo>
                      <a:pt x="48" y="72"/>
                      <a:pt x="48" y="72"/>
                      <a:pt x="48" y="72"/>
                    </a:cubicBezTo>
                    <a:cubicBezTo>
                      <a:pt x="70" y="73"/>
                      <a:pt x="70" y="73"/>
                      <a:pt x="70" y="73"/>
                    </a:cubicBezTo>
                    <a:cubicBezTo>
                      <a:pt x="92" y="85"/>
                      <a:pt x="92" y="85"/>
                      <a:pt x="92" y="85"/>
                    </a:cubicBezTo>
                    <a:cubicBezTo>
                      <a:pt x="92" y="85"/>
                      <a:pt x="110" y="90"/>
                      <a:pt x="109" y="95"/>
                    </a:cubicBezTo>
                    <a:cubicBezTo>
                      <a:pt x="108" y="100"/>
                      <a:pt x="103" y="114"/>
                      <a:pt x="103" y="114"/>
                    </a:cubicBezTo>
                    <a:cubicBezTo>
                      <a:pt x="111" y="119"/>
                      <a:pt x="111" y="119"/>
                      <a:pt x="111" y="119"/>
                    </a:cubicBezTo>
                    <a:cubicBezTo>
                      <a:pt x="107" y="132"/>
                      <a:pt x="107" y="132"/>
                      <a:pt x="107" y="132"/>
                    </a:cubicBezTo>
                    <a:cubicBezTo>
                      <a:pt x="124" y="142"/>
                      <a:pt x="124" y="142"/>
                      <a:pt x="124" y="142"/>
                    </a:cubicBezTo>
                    <a:cubicBezTo>
                      <a:pt x="124" y="142"/>
                      <a:pt x="111" y="157"/>
                      <a:pt x="113" y="165"/>
                    </a:cubicBezTo>
                    <a:cubicBezTo>
                      <a:pt x="115" y="173"/>
                      <a:pt x="130" y="183"/>
                      <a:pt x="130" y="183"/>
                    </a:cubicBezTo>
                    <a:cubicBezTo>
                      <a:pt x="138" y="204"/>
                      <a:pt x="138" y="204"/>
                      <a:pt x="138" y="204"/>
                    </a:cubicBezTo>
                    <a:cubicBezTo>
                      <a:pt x="148" y="198"/>
                      <a:pt x="148" y="198"/>
                      <a:pt x="148" y="198"/>
                    </a:cubicBezTo>
                    <a:cubicBezTo>
                      <a:pt x="148" y="198"/>
                      <a:pt x="177" y="205"/>
                      <a:pt x="179" y="217"/>
                    </a:cubicBezTo>
                    <a:cubicBezTo>
                      <a:pt x="181" y="229"/>
                      <a:pt x="182" y="239"/>
                      <a:pt x="182" y="239"/>
                    </a:cubicBezTo>
                    <a:cubicBezTo>
                      <a:pt x="182" y="239"/>
                      <a:pt x="170" y="233"/>
                      <a:pt x="167" y="234"/>
                    </a:cubicBezTo>
                    <a:cubicBezTo>
                      <a:pt x="164" y="235"/>
                      <a:pt x="142" y="260"/>
                      <a:pt x="142" y="260"/>
                    </a:cubicBezTo>
                    <a:cubicBezTo>
                      <a:pt x="119" y="283"/>
                      <a:pt x="119" y="283"/>
                      <a:pt x="119" y="283"/>
                    </a:cubicBezTo>
                    <a:cubicBezTo>
                      <a:pt x="96" y="288"/>
                      <a:pt x="96" y="288"/>
                      <a:pt x="96" y="288"/>
                    </a:cubicBezTo>
                    <a:cubicBezTo>
                      <a:pt x="96" y="288"/>
                      <a:pt x="81" y="300"/>
                      <a:pt x="81" y="309"/>
                    </a:cubicBezTo>
                    <a:cubicBezTo>
                      <a:pt x="81" y="318"/>
                      <a:pt x="61" y="318"/>
                      <a:pt x="61" y="318"/>
                    </a:cubicBezTo>
                    <a:cubicBezTo>
                      <a:pt x="45" y="336"/>
                      <a:pt x="45" y="336"/>
                      <a:pt x="45" y="336"/>
                    </a:cubicBezTo>
                    <a:cubicBezTo>
                      <a:pt x="45" y="336"/>
                      <a:pt x="41" y="348"/>
                      <a:pt x="43" y="352"/>
                    </a:cubicBezTo>
                    <a:cubicBezTo>
                      <a:pt x="45" y="356"/>
                      <a:pt x="49" y="364"/>
                      <a:pt x="49" y="364"/>
                    </a:cubicBezTo>
                    <a:cubicBezTo>
                      <a:pt x="47" y="380"/>
                      <a:pt x="47" y="380"/>
                      <a:pt x="47" y="380"/>
                    </a:cubicBezTo>
                    <a:cubicBezTo>
                      <a:pt x="62" y="393"/>
                      <a:pt x="62" y="393"/>
                      <a:pt x="62" y="393"/>
                    </a:cubicBezTo>
                    <a:cubicBezTo>
                      <a:pt x="62" y="393"/>
                      <a:pt x="52" y="425"/>
                      <a:pt x="56" y="434"/>
                    </a:cubicBezTo>
                    <a:cubicBezTo>
                      <a:pt x="60" y="443"/>
                      <a:pt x="71" y="452"/>
                      <a:pt x="71" y="452"/>
                    </a:cubicBezTo>
                    <a:cubicBezTo>
                      <a:pt x="86" y="463"/>
                      <a:pt x="86" y="463"/>
                      <a:pt x="86" y="463"/>
                    </a:cubicBezTo>
                    <a:cubicBezTo>
                      <a:pt x="114" y="460"/>
                      <a:pt x="114" y="460"/>
                      <a:pt x="114" y="460"/>
                    </a:cubicBezTo>
                    <a:cubicBezTo>
                      <a:pt x="114" y="460"/>
                      <a:pt x="105" y="476"/>
                      <a:pt x="125" y="478"/>
                    </a:cubicBezTo>
                    <a:cubicBezTo>
                      <a:pt x="145" y="480"/>
                      <a:pt x="180" y="475"/>
                      <a:pt x="180" y="475"/>
                    </a:cubicBezTo>
                    <a:cubicBezTo>
                      <a:pt x="199" y="465"/>
                      <a:pt x="199" y="465"/>
                      <a:pt x="199" y="465"/>
                    </a:cubicBezTo>
                    <a:cubicBezTo>
                      <a:pt x="222" y="465"/>
                      <a:pt x="222" y="465"/>
                      <a:pt x="222" y="465"/>
                    </a:cubicBezTo>
                    <a:cubicBezTo>
                      <a:pt x="255" y="448"/>
                      <a:pt x="255" y="448"/>
                      <a:pt x="255" y="448"/>
                    </a:cubicBezTo>
                    <a:cubicBezTo>
                      <a:pt x="304" y="451"/>
                      <a:pt x="304" y="451"/>
                      <a:pt x="304" y="451"/>
                    </a:cubicBezTo>
                    <a:cubicBezTo>
                      <a:pt x="309" y="448"/>
                      <a:pt x="309" y="448"/>
                      <a:pt x="309" y="448"/>
                    </a:cubicBezTo>
                    <a:cubicBezTo>
                      <a:pt x="305" y="441"/>
                      <a:pt x="305" y="441"/>
                      <a:pt x="305" y="441"/>
                    </a:cubicBezTo>
                    <a:cubicBezTo>
                      <a:pt x="305" y="441"/>
                      <a:pt x="346" y="417"/>
                      <a:pt x="350" y="412"/>
                    </a:cubicBezTo>
                    <a:cubicBezTo>
                      <a:pt x="354" y="407"/>
                      <a:pt x="382" y="381"/>
                      <a:pt x="382" y="381"/>
                    </a:cubicBezTo>
                    <a:cubicBezTo>
                      <a:pt x="382" y="381"/>
                      <a:pt x="403" y="369"/>
                      <a:pt x="407" y="362"/>
                    </a:cubicBezTo>
                    <a:cubicBezTo>
                      <a:pt x="411" y="355"/>
                      <a:pt x="420" y="348"/>
                      <a:pt x="421" y="340"/>
                    </a:cubicBezTo>
                    <a:cubicBezTo>
                      <a:pt x="422" y="332"/>
                      <a:pt x="399" y="313"/>
                      <a:pt x="399" y="313"/>
                    </a:cubicBezTo>
                    <a:cubicBezTo>
                      <a:pt x="360" y="295"/>
                      <a:pt x="360" y="295"/>
                      <a:pt x="360" y="295"/>
                    </a:cubicBezTo>
                    <a:cubicBezTo>
                      <a:pt x="360" y="295"/>
                      <a:pt x="381" y="281"/>
                      <a:pt x="380" y="277"/>
                    </a:cubicBezTo>
                    <a:cubicBezTo>
                      <a:pt x="379" y="273"/>
                      <a:pt x="368" y="265"/>
                      <a:pt x="368" y="265"/>
                    </a:cubicBezTo>
                    <a:cubicBezTo>
                      <a:pt x="353" y="262"/>
                      <a:pt x="353" y="262"/>
                      <a:pt x="353" y="262"/>
                    </a:cubicBezTo>
                    <a:cubicBezTo>
                      <a:pt x="353" y="262"/>
                      <a:pt x="360" y="251"/>
                      <a:pt x="359" y="247"/>
                    </a:cubicBezTo>
                    <a:cubicBezTo>
                      <a:pt x="358" y="243"/>
                      <a:pt x="339" y="238"/>
                      <a:pt x="339" y="238"/>
                    </a:cubicBezTo>
                    <a:cubicBezTo>
                      <a:pt x="339" y="228"/>
                      <a:pt x="339" y="228"/>
                      <a:pt x="339" y="228"/>
                    </a:cubicBezTo>
                    <a:cubicBezTo>
                      <a:pt x="332" y="222"/>
                      <a:pt x="332" y="222"/>
                      <a:pt x="332" y="222"/>
                    </a:cubicBezTo>
                    <a:cubicBezTo>
                      <a:pt x="337" y="202"/>
                      <a:pt x="337" y="202"/>
                      <a:pt x="337" y="202"/>
                    </a:cubicBezTo>
                    <a:cubicBezTo>
                      <a:pt x="337" y="202"/>
                      <a:pt x="365" y="208"/>
                      <a:pt x="359" y="198"/>
                    </a:cubicBezTo>
                    <a:cubicBezTo>
                      <a:pt x="353" y="188"/>
                      <a:pt x="312" y="156"/>
                      <a:pt x="312" y="156"/>
                    </a:cubicBezTo>
                    <a:cubicBezTo>
                      <a:pt x="299" y="145"/>
                      <a:pt x="299" y="145"/>
                      <a:pt x="299" y="145"/>
                    </a:cubicBezTo>
                    <a:cubicBezTo>
                      <a:pt x="299" y="145"/>
                      <a:pt x="316" y="138"/>
                      <a:pt x="316" y="133"/>
                    </a:cubicBezTo>
                    <a:cubicBezTo>
                      <a:pt x="316" y="128"/>
                      <a:pt x="340" y="126"/>
                      <a:pt x="331" y="116"/>
                    </a:cubicBezTo>
                    <a:cubicBezTo>
                      <a:pt x="322" y="106"/>
                      <a:pt x="316" y="103"/>
                      <a:pt x="312" y="98"/>
                    </a:cubicBezTo>
                    <a:cubicBezTo>
                      <a:pt x="308" y="93"/>
                      <a:pt x="303" y="86"/>
                      <a:pt x="297" y="86"/>
                    </a:cubicBezTo>
                    <a:cubicBezTo>
                      <a:pt x="291" y="86"/>
                      <a:pt x="277" y="94"/>
                      <a:pt x="275" y="82"/>
                    </a:cubicBezTo>
                    <a:cubicBezTo>
                      <a:pt x="273" y="70"/>
                      <a:pt x="270" y="67"/>
                      <a:pt x="270" y="67"/>
                    </a:cubicBezTo>
                    <a:cubicBezTo>
                      <a:pt x="270" y="67"/>
                      <a:pt x="283" y="65"/>
                      <a:pt x="282" y="62"/>
                    </a:cubicBezTo>
                    <a:cubicBezTo>
                      <a:pt x="281" y="59"/>
                      <a:pt x="277" y="53"/>
                      <a:pt x="277" y="53"/>
                    </a:cubicBezTo>
                    <a:cubicBezTo>
                      <a:pt x="280" y="36"/>
                      <a:pt x="280" y="36"/>
                      <a:pt x="280" y="36"/>
                    </a:cubicBezTo>
                    <a:cubicBezTo>
                      <a:pt x="280" y="36"/>
                      <a:pt x="293" y="48"/>
                      <a:pt x="289" y="31"/>
                    </a:cubicBezTo>
                    <a:cubicBezTo>
                      <a:pt x="285" y="14"/>
                      <a:pt x="271" y="13"/>
                      <a:pt x="271" y="13"/>
                    </a:cubicBezTo>
                    <a:cubicBezTo>
                      <a:pt x="248" y="8"/>
                      <a:pt x="248" y="8"/>
                      <a:pt x="248" y="8"/>
                    </a:cubicBezTo>
                    <a:cubicBezTo>
                      <a:pt x="248" y="8"/>
                      <a:pt x="255" y="2"/>
                      <a:pt x="240" y="1"/>
                    </a:cubicBezTo>
                    <a:cubicBezTo>
                      <a:pt x="225" y="0"/>
                      <a:pt x="214" y="7"/>
                      <a:pt x="214" y="7"/>
                    </a:cubicBezTo>
                    <a:cubicBezTo>
                      <a:pt x="214" y="7"/>
                      <a:pt x="203" y="6"/>
                      <a:pt x="198" y="5"/>
                    </a:cubicBezTo>
                    <a:cubicBezTo>
                      <a:pt x="193" y="4"/>
                      <a:pt x="176" y="13"/>
                      <a:pt x="176" y="13"/>
                    </a:cubicBezTo>
                    <a:cubicBezTo>
                      <a:pt x="176" y="13"/>
                      <a:pt x="172" y="26"/>
                      <a:pt x="173" y="30"/>
                    </a:cubicBezTo>
                    <a:cubicBezTo>
                      <a:pt x="174" y="34"/>
                      <a:pt x="173" y="50"/>
                      <a:pt x="173" y="50"/>
                    </a:cubicBezTo>
                    <a:cubicBezTo>
                      <a:pt x="173" y="50"/>
                      <a:pt x="164" y="45"/>
                      <a:pt x="157" y="50"/>
                    </a:cubicBezTo>
                    <a:cubicBezTo>
                      <a:pt x="150" y="55"/>
                      <a:pt x="156" y="65"/>
                      <a:pt x="148" y="65"/>
                    </a:cubicBezTo>
                    <a:cubicBezTo>
                      <a:pt x="140" y="65"/>
                      <a:pt x="128" y="57"/>
                      <a:pt x="123" y="56"/>
                    </a:cubicBezTo>
                    <a:cubicBezTo>
                      <a:pt x="118" y="55"/>
                      <a:pt x="107" y="59"/>
                      <a:pt x="107" y="59"/>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96" name="Freeform 118">
                <a:extLst>
                  <a:ext uri="{FF2B5EF4-FFF2-40B4-BE49-F238E27FC236}">
                    <a16:creationId xmlns:a16="http://schemas.microsoft.com/office/drawing/2014/main" id="{9697ADAC-FD53-4DAE-A3CF-064DF7CDD007}"/>
                  </a:ext>
                </a:extLst>
              </p:cNvPr>
              <p:cNvSpPr>
                <a:spLocks noEditPoints="1"/>
              </p:cNvSpPr>
              <p:nvPr>
                <p:custDataLst>
                  <p:tags r:id="rId77"/>
                </p:custDataLst>
              </p:nvPr>
            </p:nvSpPr>
            <p:spPr bwMode="gray">
              <a:xfrm>
                <a:off x="4802160" y="2379672"/>
                <a:ext cx="276223" cy="368301"/>
              </a:xfrm>
              <a:custGeom>
                <a:avLst/>
                <a:gdLst>
                  <a:gd name="T0" fmla="*/ 445 w 459"/>
                  <a:gd name="T1" fmla="*/ 95 h 664"/>
                  <a:gd name="T2" fmla="*/ 424 w 459"/>
                  <a:gd name="T3" fmla="*/ 67 h 664"/>
                  <a:gd name="T4" fmla="*/ 391 w 459"/>
                  <a:gd name="T5" fmla="*/ 26 h 664"/>
                  <a:gd name="T6" fmla="*/ 338 w 459"/>
                  <a:gd name="T7" fmla="*/ 9 h 664"/>
                  <a:gd name="T8" fmla="*/ 305 w 459"/>
                  <a:gd name="T9" fmla="*/ 14 h 664"/>
                  <a:gd name="T10" fmla="*/ 284 w 459"/>
                  <a:gd name="T11" fmla="*/ 25 h 664"/>
                  <a:gd name="T12" fmla="*/ 243 w 459"/>
                  <a:gd name="T13" fmla="*/ 25 h 664"/>
                  <a:gd name="T14" fmla="*/ 216 w 459"/>
                  <a:gd name="T15" fmla="*/ 45 h 664"/>
                  <a:gd name="T16" fmla="*/ 165 w 459"/>
                  <a:gd name="T17" fmla="*/ 71 h 664"/>
                  <a:gd name="T18" fmla="*/ 161 w 459"/>
                  <a:gd name="T19" fmla="*/ 99 h 664"/>
                  <a:gd name="T20" fmla="*/ 146 w 459"/>
                  <a:gd name="T21" fmla="*/ 128 h 664"/>
                  <a:gd name="T22" fmla="*/ 118 w 459"/>
                  <a:gd name="T23" fmla="*/ 144 h 664"/>
                  <a:gd name="T24" fmla="*/ 96 w 459"/>
                  <a:gd name="T25" fmla="*/ 194 h 664"/>
                  <a:gd name="T26" fmla="*/ 68 w 459"/>
                  <a:gd name="T27" fmla="*/ 227 h 664"/>
                  <a:gd name="T28" fmla="*/ 28 w 459"/>
                  <a:gd name="T29" fmla="*/ 260 h 664"/>
                  <a:gd name="T30" fmla="*/ 21 w 459"/>
                  <a:gd name="T31" fmla="*/ 290 h 664"/>
                  <a:gd name="T32" fmla="*/ 33 w 459"/>
                  <a:gd name="T33" fmla="*/ 334 h 664"/>
                  <a:gd name="T34" fmla="*/ 50 w 459"/>
                  <a:gd name="T35" fmla="*/ 374 h 664"/>
                  <a:gd name="T36" fmla="*/ 51 w 459"/>
                  <a:gd name="T37" fmla="*/ 409 h 664"/>
                  <a:gd name="T38" fmla="*/ 36 w 459"/>
                  <a:gd name="T39" fmla="*/ 431 h 664"/>
                  <a:gd name="T40" fmla="*/ 15 w 459"/>
                  <a:gd name="T41" fmla="*/ 452 h 664"/>
                  <a:gd name="T42" fmla="*/ 0 w 459"/>
                  <a:gd name="T43" fmla="*/ 469 h 664"/>
                  <a:gd name="T44" fmla="*/ 19 w 459"/>
                  <a:gd name="T45" fmla="*/ 515 h 664"/>
                  <a:gd name="T46" fmla="*/ 49 w 459"/>
                  <a:gd name="T47" fmla="*/ 586 h 664"/>
                  <a:gd name="T48" fmla="*/ 53 w 459"/>
                  <a:gd name="T49" fmla="*/ 607 h 664"/>
                  <a:gd name="T50" fmla="*/ 69 w 459"/>
                  <a:gd name="T51" fmla="*/ 656 h 664"/>
                  <a:gd name="T52" fmla="*/ 120 w 459"/>
                  <a:gd name="T53" fmla="*/ 631 h 664"/>
                  <a:gd name="T54" fmla="*/ 176 w 459"/>
                  <a:gd name="T55" fmla="*/ 618 h 664"/>
                  <a:gd name="T56" fmla="*/ 206 w 459"/>
                  <a:gd name="T57" fmla="*/ 549 h 664"/>
                  <a:gd name="T58" fmla="*/ 196 w 459"/>
                  <a:gd name="T59" fmla="*/ 507 h 664"/>
                  <a:gd name="T60" fmla="*/ 237 w 459"/>
                  <a:gd name="T61" fmla="*/ 489 h 664"/>
                  <a:gd name="T62" fmla="*/ 270 w 459"/>
                  <a:gd name="T63" fmla="*/ 456 h 664"/>
                  <a:gd name="T64" fmla="*/ 271 w 459"/>
                  <a:gd name="T65" fmla="*/ 409 h 664"/>
                  <a:gd name="T66" fmla="*/ 217 w 459"/>
                  <a:gd name="T67" fmla="*/ 350 h 664"/>
                  <a:gd name="T68" fmla="*/ 237 w 459"/>
                  <a:gd name="T69" fmla="*/ 303 h 664"/>
                  <a:gd name="T70" fmla="*/ 271 w 459"/>
                  <a:gd name="T71" fmla="*/ 270 h 664"/>
                  <a:gd name="T72" fmla="*/ 340 w 459"/>
                  <a:gd name="T73" fmla="*/ 249 h 664"/>
                  <a:gd name="T74" fmla="*/ 372 w 459"/>
                  <a:gd name="T75" fmla="*/ 175 h 664"/>
                  <a:gd name="T76" fmla="*/ 396 w 459"/>
                  <a:gd name="T77" fmla="*/ 144 h 664"/>
                  <a:gd name="T78" fmla="*/ 459 w 459"/>
                  <a:gd name="T79" fmla="*/ 157 h 664"/>
                  <a:gd name="T80" fmla="*/ 271 w 459"/>
                  <a:gd name="T81" fmla="*/ 583 h 664"/>
                  <a:gd name="T82" fmla="*/ 290 w 459"/>
                  <a:gd name="T83" fmla="*/ 543 h 664"/>
                  <a:gd name="T84" fmla="*/ 200 w 459"/>
                  <a:gd name="T85" fmla="*/ 597 h 664"/>
                  <a:gd name="T86" fmla="*/ 230 w 459"/>
                  <a:gd name="T87" fmla="*/ 570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59" h="664">
                    <a:moveTo>
                      <a:pt x="451" y="136"/>
                    </a:moveTo>
                    <a:cubicBezTo>
                      <a:pt x="451" y="136"/>
                      <a:pt x="436" y="126"/>
                      <a:pt x="434" y="118"/>
                    </a:cubicBezTo>
                    <a:cubicBezTo>
                      <a:pt x="432" y="110"/>
                      <a:pt x="445" y="95"/>
                      <a:pt x="445" y="95"/>
                    </a:cubicBezTo>
                    <a:cubicBezTo>
                      <a:pt x="428" y="85"/>
                      <a:pt x="428" y="85"/>
                      <a:pt x="428" y="85"/>
                    </a:cubicBezTo>
                    <a:cubicBezTo>
                      <a:pt x="432" y="72"/>
                      <a:pt x="432" y="72"/>
                      <a:pt x="432" y="72"/>
                    </a:cubicBezTo>
                    <a:cubicBezTo>
                      <a:pt x="424" y="67"/>
                      <a:pt x="424" y="67"/>
                      <a:pt x="424" y="67"/>
                    </a:cubicBezTo>
                    <a:cubicBezTo>
                      <a:pt x="424" y="67"/>
                      <a:pt x="429" y="53"/>
                      <a:pt x="430" y="48"/>
                    </a:cubicBezTo>
                    <a:cubicBezTo>
                      <a:pt x="431" y="43"/>
                      <a:pt x="413" y="38"/>
                      <a:pt x="413" y="38"/>
                    </a:cubicBezTo>
                    <a:cubicBezTo>
                      <a:pt x="391" y="26"/>
                      <a:pt x="391" y="26"/>
                      <a:pt x="391" y="26"/>
                    </a:cubicBezTo>
                    <a:cubicBezTo>
                      <a:pt x="369" y="25"/>
                      <a:pt x="369" y="25"/>
                      <a:pt x="369" y="25"/>
                    </a:cubicBezTo>
                    <a:cubicBezTo>
                      <a:pt x="361" y="17"/>
                      <a:pt x="361" y="17"/>
                      <a:pt x="361" y="17"/>
                    </a:cubicBezTo>
                    <a:cubicBezTo>
                      <a:pt x="361" y="17"/>
                      <a:pt x="348" y="13"/>
                      <a:pt x="338" y="9"/>
                    </a:cubicBezTo>
                    <a:cubicBezTo>
                      <a:pt x="332" y="7"/>
                      <a:pt x="327" y="3"/>
                      <a:pt x="324" y="1"/>
                    </a:cubicBezTo>
                    <a:cubicBezTo>
                      <a:pt x="304" y="0"/>
                      <a:pt x="304" y="0"/>
                      <a:pt x="304" y="0"/>
                    </a:cubicBezTo>
                    <a:cubicBezTo>
                      <a:pt x="305" y="14"/>
                      <a:pt x="305" y="14"/>
                      <a:pt x="305" y="14"/>
                    </a:cubicBezTo>
                    <a:cubicBezTo>
                      <a:pt x="305" y="14"/>
                      <a:pt x="298" y="11"/>
                      <a:pt x="298" y="16"/>
                    </a:cubicBezTo>
                    <a:cubicBezTo>
                      <a:pt x="298" y="21"/>
                      <a:pt x="311" y="27"/>
                      <a:pt x="303" y="29"/>
                    </a:cubicBezTo>
                    <a:cubicBezTo>
                      <a:pt x="295" y="31"/>
                      <a:pt x="284" y="25"/>
                      <a:pt x="284" y="25"/>
                    </a:cubicBezTo>
                    <a:cubicBezTo>
                      <a:pt x="275" y="25"/>
                      <a:pt x="275" y="25"/>
                      <a:pt x="275" y="25"/>
                    </a:cubicBezTo>
                    <a:cubicBezTo>
                      <a:pt x="262" y="21"/>
                      <a:pt x="262" y="21"/>
                      <a:pt x="262" y="21"/>
                    </a:cubicBezTo>
                    <a:cubicBezTo>
                      <a:pt x="243" y="25"/>
                      <a:pt x="243" y="25"/>
                      <a:pt x="243" y="25"/>
                    </a:cubicBezTo>
                    <a:cubicBezTo>
                      <a:pt x="243" y="25"/>
                      <a:pt x="243" y="12"/>
                      <a:pt x="235" y="18"/>
                    </a:cubicBezTo>
                    <a:cubicBezTo>
                      <a:pt x="227" y="24"/>
                      <a:pt x="237" y="35"/>
                      <a:pt x="234" y="40"/>
                    </a:cubicBezTo>
                    <a:cubicBezTo>
                      <a:pt x="231" y="45"/>
                      <a:pt x="216" y="45"/>
                      <a:pt x="216" y="45"/>
                    </a:cubicBezTo>
                    <a:cubicBezTo>
                      <a:pt x="190" y="49"/>
                      <a:pt x="190" y="49"/>
                      <a:pt x="190" y="49"/>
                    </a:cubicBezTo>
                    <a:cubicBezTo>
                      <a:pt x="181" y="59"/>
                      <a:pt x="181" y="59"/>
                      <a:pt x="181" y="59"/>
                    </a:cubicBezTo>
                    <a:cubicBezTo>
                      <a:pt x="181" y="59"/>
                      <a:pt x="164" y="67"/>
                      <a:pt x="165" y="71"/>
                    </a:cubicBezTo>
                    <a:cubicBezTo>
                      <a:pt x="166" y="75"/>
                      <a:pt x="177" y="83"/>
                      <a:pt x="177" y="83"/>
                    </a:cubicBezTo>
                    <a:cubicBezTo>
                      <a:pt x="172" y="93"/>
                      <a:pt x="172" y="93"/>
                      <a:pt x="172" y="93"/>
                    </a:cubicBezTo>
                    <a:cubicBezTo>
                      <a:pt x="172" y="93"/>
                      <a:pt x="167" y="94"/>
                      <a:pt x="161" y="99"/>
                    </a:cubicBezTo>
                    <a:cubicBezTo>
                      <a:pt x="155" y="104"/>
                      <a:pt x="153" y="111"/>
                      <a:pt x="153" y="111"/>
                    </a:cubicBezTo>
                    <a:cubicBezTo>
                      <a:pt x="139" y="112"/>
                      <a:pt x="139" y="112"/>
                      <a:pt x="139" y="112"/>
                    </a:cubicBezTo>
                    <a:cubicBezTo>
                      <a:pt x="139" y="112"/>
                      <a:pt x="153" y="126"/>
                      <a:pt x="146" y="128"/>
                    </a:cubicBezTo>
                    <a:cubicBezTo>
                      <a:pt x="139" y="130"/>
                      <a:pt x="130" y="135"/>
                      <a:pt x="130" y="135"/>
                    </a:cubicBezTo>
                    <a:cubicBezTo>
                      <a:pt x="116" y="128"/>
                      <a:pt x="116" y="128"/>
                      <a:pt x="116" y="128"/>
                    </a:cubicBezTo>
                    <a:cubicBezTo>
                      <a:pt x="118" y="144"/>
                      <a:pt x="118" y="144"/>
                      <a:pt x="118" y="144"/>
                    </a:cubicBezTo>
                    <a:cubicBezTo>
                      <a:pt x="115" y="149"/>
                      <a:pt x="115" y="149"/>
                      <a:pt x="115" y="149"/>
                    </a:cubicBezTo>
                    <a:cubicBezTo>
                      <a:pt x="111" y="178"/>
                      <a:pt x="111" y="178"/>
                      <a:pt x="111" y="178"/>
                    </a:cubicBezTo>
                    <a:cubicBezTo>
                      <a:pt x="111" y="178"/>
                      <a:pt x="101" y="190"/>
                      <a:pt x="96" y="194"/>
                    </a:cubicBezTo>
                    <a:cubicBezTo>
                      <a:pt x="91" y="198"/>
                      <a:pt x="82" y="204"/>
                      <a:pt x="82" y="204"/>
                    </a:cubicBezTo>
                    <a:cubicBezTo>
                      <a:pt x="82" y="204"/>
                      <a:pt x="103" y="214"/>
                      <a:pt x="99" y="223"/>
                    </a:cubicBezTo>
                    <a:cubicBezTo>
                      <a:pt x="95" y="232"/>
                      <a:pt x="68" y="227"/>
                      <a:pt x="68" y="227"/>
                    </a:cubicBezTo>
                    <a:cubicBezTo>
                      <a:pt x="68" y="227"/>
                      <a:pt x="53" y="239"/>
                      <a:pt x="46" y="244"/>
                    </a:cubicBezTo>
                    <a:cubicBezTo>
                      <a:pt x="39" y="249"/>
                      <a:pt x="33" y="254"/>
                      <a:pt x="33" y="254"/>
                    </a:cubicBezTo>
                    <a:cubicBezTo>
                      <a:pt x="28" y="260"/>
                      <a:pt x="28" y="260"/>
                      <a:pt x="28" y="260"/>
                    </a:cubicBezTo>
                    <a:cubicBezTo>
                      <a:pt x="28" y="260"/>
                      <a:pt x="22" y="265"/>
                      <a:pt x="22" y="268"/>
                    </a:cubicBezTo>
                    <a:cubicBezTo>
                      <a:pt x="22" y="271"/>
                      <a:pt x="40" y="271"/>
                      <a:pt x="34" y="277"/>
                    </a:cubicBezTo>
                    <a:cubicBezTo>
                      <a:pt x="28" y="283"/>
                      <a:pt x="19" y="285"/>
                      <a:pt x="21" y="290"/>
                    </a:cubicBezTo>
                    <a:cubicBezTo>
                      <a:pt x="23" y="295"/>
                      <a:pt x="29" y="303"/>
                      <a:pt x="29" y="303"/>
                    </a:cubicBezTo>
                    <a:cubicBezTo>
                      <a:pt x="29" y="303"/>
                      <a:pt x="40" y="310"/>
                      <a:pt x="39" y="315"/>
                    </a:cubicBezTo>
                    <a:cubicBezTo>
                      <a:pt x="38" y="320"/>
                      <a:pt x="32" y="327"/>
                      <a:pt x="33" y="334"/>
                    </a:cubicBezTo>
                    <a:cubicBezTo>
                      <a:pt x="34" y="341"/>
                      <a:pt x="42" y="348"/>
                      <a:pt x="42" y="348"/>
                    </a:cubicBezTo>
                    <a:cubicBezTo>
                      <a:pt x="42" y="348"/>
                      <a:pt x="61" y="354"/>
                      <a:pt x="59" y="361"/>
                    </a:cubicBezTo>
                    <a:cubicBezTo>
                      <a:pt x="57" y="368"/>
                      <a:pt x="50" y="374"/>
                      <a:pt x="50" y="374"/>
                    </a:cubicBezTo>
                    <a:cubicBezTo>
                      <a:pt x="35" y="377"/>
                      <a:pt x="35" y="377"/>
                      <a:pt x="35" y="377"/>
                    </a:cubicBezTo>
                    <a:cubicBezTo>
                      <a:pt x="35" y="377"/>
                      <a:pt x="41" y="394"/>
                      <a:pt x="44" y="397"/>
                    </a:cubicBezTo>
                    <a:cubicBezTo>
                      <a:pt x="47" y="400"/>
                      <a:pt x="51" y="409"/>
                      <a:pt x="51" y="409"/>
                    </a:cubicBezTo>
                    <a:cubicBezTo>
                      <a:pt x="44" y="409"/>
                      <a:pt x="44" y="409"/>
                      <a:pt x="44" y="409"/>
                    </a:cubicBezTo>
                    <a:cubicBezTo>
                      <a:pt x="44" y="426"/>
                      <a:pt x="44" y="426"/>
                      <a:pt x="44" y="426"/>
                    </a:cubicBezTo>
                    <a:cubicBezTo>
                      <a:pt x="44" y="426"/>
                      <a:pt x="41" y="431"/>
                      <a:pt x="36" y="431"/>
                    </a:cubicBezTo>
                    <a:cubicBezTo>
                      <a:pt x="31" y="431"/>
                      <a:pt x="17" y="425"/>
                      <a:pt x="19" y="431"/>
                    </a:cubicBezTo>
                    <a:cubicBezTo>
                      <a:pt x="21" y="437"/>
                      <a:pt x="21" y="441"/>
                      <a:pt x="21" y="441"/>
                    </a:cubicBezTo>
                    <a:cubicBezTo>
                      <a:pt x="21" y="441"/>
                      <a:pt x="12" y="444"/>
                      <a:pt x="15" y="452"/>
                    </a:cubicBezTo>
                    <a:cubicBezTo>
                      <a:pt x="18" y="460"/>
                      <a:pt x="24" y="461"/>
                      <a:pt x="22" y="466"/>
                    </a:cubicBezTo>
                    <a:cubicBezTo>
                      <a:pt x="20" y="471"/>
                      <a:pt x="14" y="482"/>
                      <a:pt x="14" y="482"/>
                    </a:cubicBezTo>
                    <a:cubicBezTo>
                      <a:pt x="0" y="469"/>
                      <a:pt x="0" y="469"/>
                      <a:pt x="0" y="469"/>
                    </a:cubicBezTo>
                    <a:cubicBezTo>
                      <a:pt x="2" y="510"/>
                      <a:pt x="2" y="510"/>
                      <a:pt x="2" y="510"/>
                    </a:cubicBezTo>
                    <a:cubicBezTo>
                      <a:pt x="2" y="510"/>
                      <a:pt x="16" y="499"/>
                      <a:pt x="23" y="511"/>
                    </a:cubicBezTo>
                    <a:cubicBezTo>
                      <a:pt x="30" y="523"/>
                      <a:pt x="19" y="515"/>
                      <a:pt x="19" y="515"/>
                    </a:cubicBezTo>
                    <a:cubicBezTo>
                      <a:pt x="19" y="515"/>
                      <a:pt x="14" y="549"/>
                      <a:pt x="18" y="553"/>
                    </a:cubicBezTo>
                    <a:cubicBezTo>
                      <a:pt x="22" y="557"/>
                      <a:pt x="34" y="562"/>
                      <a:pt x="34" y="562"/>
                    </a:cubicBezTo>
                    <a:cubicBezTo>
                      <a:pt x="34" y="562"/>
                      <a:pt x="43" y="579"/>
                      <a:pt x="49" y="586"/>
                    </a:cubicBezTo>
                    <a:cubicBezTo>
                      <a:pt x="55" y="593"/>
                      <a:pt x="66" y="597"/>
                      <a:pt x="66" y="597"/>
                    </a:cubicBezTo>
                    <a:cubicBezTo>
                      <a:pt x="65" y="605"/>
                      <a:pt x="65" y="605"/>
                      <a:pt x="65" y="605"/>
                    </a:cubicBezTo>
                    <a:cubicBezTo>
                      <a:pt x="53" y="607"/>
                      <a:pt x="53" y="607"/>
                      <a:pt x="53" y="607"/>
                    </a:cubicBezTo>
                    <a:cubicBezTo>
                      <a:pt x="53" y="607"/>
                      <a:pt x="51" y="615"/>
                      <a:pt x="52" y="621"/>
                    </a:cubicBezTo>
                    <a:cubicBezTo>
                      <a:pt x="53" y="627"/>
                      <a:pt x="68" y="640"/>
                      <a:pt x="68" y="640"/>
                    </a:cubicBezTo>
                    <a:cubicBezTo>
                      <a:pt x="68" y="640"/>
                      <a:pt x="64" y="653"/>
                      <a:pt x="69" y="656"/>
                    </a:cubicBezTo>
                    <a:cubicBezTo>
                      <a:pt x="74" y="659"/>
                      <a:pt x="94" y="657"/>
                      <a:pt x="94" y="657"/>
                    </a:cubicBezTo>
                    <a:cubicBezTo>
                      <a:pt x="94" y="657"/>
                      <a:pt x="122" y="664"/>
                      <a:pt x="121" y="655"/>
                    </a:cubicBezTo>
                    <a:cubicBezTo>
                      <a:pt x="120" y="646"/>
                      <a:pt x="120" y="631"/>
                      <a:pt x="120" y="631"/>
                    </a:cubicBezTo>
                    <a:cubicBezTo>
                      <a:pt x="132" y="625"/>
                      <a:pt x="132" y="625"/>
                      <a:pt x="132" y="625"/>
                    </a:cubicBezTo>
                    <a:cubicBezTo>
                      <a:pt x="133" y="615"/>
                      <a:pt x="133" y="615"/>
                      <a:pt x="133" y="615"/>
                    </a:cubicBezTo>
                    <a:cubicBezTo>
                      <a:pt x="176" y="618"/>
                      <a:pt x="176" y="618"/>
                      <a:pt x="176" y="618"/>
                    </a:cubicBezTo>
                    <a:cubicBezTo>
                      <a:pt x="185" y="623"/>
                      <a:pt x="185" y="623"/>
                      <a:pt x="185" y="623"/>
                    </a:cubicBezTo>
                    <a:cubicBezTo>
                      <a:pt x="199" y="581"/>
                      <a:pt x="199" y="581"/>
                      <a:pt x="199" y="581"/>
                    </a:cubicBezTo>
                    <a:cubicBezTo>
                      <a:pt x="199" y="581"/>
                      <a:pt x="208" y="555"/>
                      <a:pt x="206" y="549"/>
                    </a:cubicBezTo>
                    <a:cubicBezTo>
                      <a:pt x="204" y="543"/>
                      <a:pt x="198" y="532"/>
                      <a:pt x="198" y="532"/>
                    </a:cubicBezTo>
                    <a:cubicBezTo>
                      <a:pt x="198" y="532"/>
                      <a:pt x="219" y="529"/>
                      <a:pt x="217" y="518"/>
                    </a:cubicBezTo>
                    <a:cubicBezTo>
                      <a:pt x="215" y="507"/>
                      <a:pt x="196" y="507"/>
                      <a:pt x="196" y="507"/>
                    </a:cubicBezTo>
                    <a:cubicBezTo>
                      <a:pt x="209" y="502"/>
                      <a:pt x="209" y="502"/>
                      <a:pt x="209" y="502"/>
                    </a:cubicBezTo>
                    <a:cubicBezTo>
                      <a:pt x="200" y="498"/>
                      <a:pt x="200" y="498"/>
                      <a:pt x="200" y="498"/>
                    </a:cubicBezTo>
                    <a:cubicBezTo>
                      <a:pt x="200" y="498"/>
                      <a:pt x="234" y="500"/>
                      <a:pt x="237" y="489"/>
                    </a:cubicBezTo>
                    <a:cubicBezTo>
                      <a:pt x="240" y="478"/>
                      <a:pt x="245" y="472"/>
                      <a:pt x="245" y="472"/>
                    </a:cubicBezTo>
                    <a:cubicBezTo>
                      <a:pt x="245" y="472"/>
                      <a:pt x="256" y="490"/>
                      <a:pt x="266" y="478"/>
                    </a:cubicBezTo>
                    <a:cubicBezTo>
                      <a:pt x="276" y="466"/>
                      <a:pt x="270" y="456"/>
                      <a:pt x="270" y="456"/>
                    </a:cubicBezTo>
                    <a:cubicBezTo>
                      <a:pt x="270" y="456"/>
                      <a:pt x="297" y="451"/>
                      <a:pt x="290" y="437"/>
                    </a:cubicBezTo>
                    <a:cubicBezTo>
                      <a:pt x="283" y="423"/>
                      <a:pt x="271" y="420"/>
                      <a:pt x="271" y="420"/>
                    </a:cubicBezTo>
                    <a:cubicBezTo>
                      <a:pt x="271" y="409"/>
                      <a:pt x="271" y="409"/>
                      <a:pt x="271" y="409"/>
                    </a:cubicBezTo>
                    <a:cubicBezTo>
                      <a:pt x="247" y="399"/>
                      <a:pt x="247" y="399"/>
                      <a:pt x="247" y="399"/>
                    </a:cubicBezTo>
                    <a:cubicBezTo>
                      <a:pt x="247" y="399"/>
                      <a:pt x="236" y="406"/>
                      <a:pt x="228" y="399"/>
                    </a:cubicBezTo>
                    <a:cubicBezTo>
                      <a:pt x="220" y="392"/>
                      <a:pt x="217" y="350"/>
                      <a:pt x="217" y="350"/>
                    </a:cubicBezTo>
                    <a:cubicBezTo>
                      <a:pt x="217" y="350"/>
                      <a:pt x="228" y="340"/>
                      <a:pt x="229" y="329"/>
                    </a:cubicBezTo>
                    <a:cubicBezTo>
                      <a:pt x="230" y="318"/>
                      <a:pt x="219" y="308"/>
                      <a:pt x="219" y="308"/>
                    </a:cubicBezTo>
                    <a:cubicBezTo>
                      <a:pt x="219" y="308"/>
                      <a:pt x="233" y="311"/>
                      <a:pt x="237" y="303"/>
                    </a:cubicBezTo>
                    <a:cubicBezTo>
                      <a:pt x="241" y="295"/>
                      <a:pt x="232" y="283"/>
                      <a:pt x="232" y="283"/>
                    </a:cubicBezTo>
                    <a:cubicBezTo>
                      <a:pt x="232" y="283"/>
                      <a:pt x="249" y="292"/>
                      <a:pt x="254" y="287"/>
                    </a:cubicBezTo>
                    <a:cubicBezTo>
                      <a:pt x="259" y="282"/>
                      <a:pt x="271" y="270"/>
                      <a:pt x="271" y="270"/>
                    </a:cubicBezTo>
                    <a:cubicBezTo>
                      <a:pt x="291" y="273"/>
                      <a:pt x="291" y="273"/>
                      <a:pt x="291" y="273"/>
                    </a:cubicBezTo>
                    <a:cubicBezTo>
                      <a:pt x="299" y="258"/>
                      <a:pt x="299" y="258"/>
                      <a:pt x="299" y="258"/>
                    </a:cubicBezTo>
                    <a:cubicBezTo>
                      <a:pt x="299" y="258"/>
                      <a:pt x="330" y="259"/>
                      <a:pt x="340" y="249"/>
                    </a:cubicBezTo>
                    <a:cubicBezTo>
                      <a:pt x="350" y="239"/>
                      <a:pt x="364" y="213"/>
                      <a:pt x="364" y="213"/>
                    </a:cubicBezTo>
                    <a:cubicBezTo>
                      <a:pt x="352" y="198"/>
                      <a:pt x="352" y="198"/>
                      <a:pt x="352" y="198"/>
                    </a:cubicBezTo>
                    <a:cubicBezTo>
                      <a:pt x="372" y="175"/>
                      <a:pt x="372" y="175"/>
                      <a:pt x="372" y="175"/>
                    </a:cubicBezTo>
                    <a:cubicBezTo>
                      <a:pt x="361" y="162"/>
                      <a:pt x="361" y="162"/>
                      <a:pt x="361" y="162"/>
                    </a:cubicBezTo>
                    <a:cubicBezTo>
                      <a:pt x="386" y="156"/>
                      <a:pt x="386" y="156"/>
                      <a:pt x="386" y="156"/>
                    </a:cubicBezTo>
                    <a:cubicBezTo>
                      <a:pt x="396" y="144"/>
                      <a:pt x="396" y="144"/>
                      <a:pt x="396" y="144"/>
                    </a:cubicBezTo>
                    <a:cubicBezTo>
                      <a:pt x="449" y="146"/>
                      <a:pt x="449" y="146"/>
                      <a:pt x="449" y="146"/>
                    </a:cubicBezTo>
                    <a:cubicBezTo>
                      <a:pt x="457" y="159"/>
                      <a:pt x="457" y="159"/>
                      <a:pt x="457" y="159"/>
                    </a:cubicBezTo>
                    <a:cubicBezTo>
                      <a:pt x="459" y="157"/>
                      <a:pt x="459" y="157"/>
                      <a:pt x="459" y="157"/>
                    </a:cubicBezTo>
                    <a:lnTo>
                      <a:pt x="451" y="136"/>
                    </a:lnTo>
                    <a:close/>
                    <a:moveTo>
                      <a:pt x="262" y="549"/>
                    </a:moveTo>
                    <a:cubicBezTo>
                      <a:pt x="259" y="560"/>
                      <a:pt x="271" y="583"/>
                      <a:pt x="271" y="583"/>
                    </a:cubicBezTo>
                    <a:cubicBezTo>
                      <a:pt x="279" y="566"/>
                      <a:pt x="279" y="566"/>
                      <a:pt x="279" y="566"/>
                    </a:cubicBezTo>
                    <a:cubicBezTo>
                      <a:pt x="279" y="566"/>
                      <a:pt x="285" y="569"/>
                      <a:pt x="290" y="560"/>
                    </a:cubicBezTo>
                    <a:cubicBezTo>
                      <a:pt x="296" y="552"/>
                      <a:pt x="290" y="543"/>
                      <a:pt x="290" y="543"/>
                    </a:cubicBezTo>
                    <a:cubicBezTo>
                      <a:pt x="302" y="531"/>
                      <a:pt x="302" y="531"/>
                      <a:pt x="302" y="531"/>
                    </a:cubicBezTo>
                    <a:cubicBezTo>
                      <a:pt x="302" y="531"/>
                      <a:pt x="265" y="538"/>
                      <a:pt x="262" y="549"/>
                    </a:cubicBezTo>
                    <a:close/>
                    <a:moveTo>
                      <a:pt x="200" y="597"/>
                    </a:moveTo>
                    <a:cubicBezTo>
                      <a:pt x="200" y="602"/>
                      <a:pt x="199" y="615"/>
                      <a:pt x="199" y="615"/>
                    </a:cubicBezTo>
                    <a:cubicBezTo>
                      <a:pt x="207" y="615"/>
                      <a:pt x="216" y="584"/>
                      <a:pt x="216" y="584"/>
                    </a:cubicBezTo>
                    <a:cubicBezTo>
                      <a:pt x="230" y="570"/>
                      <a:pt x="230" y="570"/>
                      <a:pt x="230" y="570"/>
                    </a:cubicBezTo>
                    <a:cubicBezTo>
                      <a:pt x="226" y="557"/>
                      <a:pt x="226" y="557"/>
                      <a:pt x="226" y="557"/>
                    </a:cubicBezTo>
                    <a:cubicBezTo>
                      <a:pt x="226" y="557"/>
                      <a:pt x="200" y="591"/>
                      <a:pt x="200" y="597"/>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97" name="Freeform 119">
                <a:extLst>
                  <a:ext uri="{FF2B5EF4-FFF2-40B4-BE49-F238E27FC236}">
                    <a16:creationId xmlns:a16="http://schemas.microsoft.com/office/drawing/2014/main" id="{41D527A7-A595-4BDD-9C2F-684DD79200BE}"/>
                  </a:ext>
                </a:extLst>
              </p:cNvPr>
              <p:cNvSpPr>
                <a:spLocks noEditPoints="1"/>
              </p:cNvSpPr>
              <p:nvPr>
                <p:custDataLst>
                  <p:tags r:id="rId78"/>
                </p:custDataLst>
              </p:nvPr>
            </p:nvSpPr>
            <p:spPr bwMode="gray">
              <a:xfrm>
                <a:off x="4660873" y="2112972"/>
                <a:ext cx="546097" cy="561977"/>
              </a:xfrm>
              <a:custGeom>
                <a:avLst/>
                <a:gdLst>
                  <a:gd name="T0" fmla="*/ 453 w 905"/>
                  <a:gd name="T1" fmla="*/ 40 h 1010"/>
                  <a:gd name="T2" fmla="*/ 653 w 905"/>
                  <a:gd name="T3" fmla="*/ 48 h 1010"/>
                  <a:gd name="T4" fmla="*/ 558 w 905"/>
                  <a:gd name="T5" fmla="*/ 4 h 1010"/>
                  <a:gd name="T6" fmla="*/ 429 w 905"/>
                  <a:gd name="T7" fmla="*/ 28 h 1010"/>
                  <a:gd name="T8" fmla="*/ 281 w 905"/>
                  <a:gd name="T9" fmla="*/ 93 h 1010"/>
                  <a:gd name="T10" fmla="*/ 345 w 905"/>
                  <a:gd name="T11" fmla="*/ 111 h 1010"/>
                  <a:gd name="T12" fmla="*/ 432 w 905"/>
                  <a:gd name="T13" fmla="*/ 100 h 1010"/>
                  <a:gd name="T14" fmla="*/ 515 w 905"/>
                  <a:gd name="T15" fmla="*/ 123 h 1010"/>
                  <a:gd name="T16" fmla="*/ 551 w 905"/>
                  <a:gd name="T17" fmla="*/ 82 h 1010"/>
                  <a:gd name="T18" fmla="*/ 453 w 905"/>
                  <a:gd name="T19" fmla="*/ 54 h 1010"/>
                  <a:gd name="T20" fmla="*/ 328 w 905"/>
                  <a:gd name="T21" fmla="*/ 27 h 1010"/>
                  <a:gd name="T22" fmla="*/ 240 w 905"/>
                  <a:gd name="T23" fmla="*/ 24 h 1010"/>
                  <a:gd name="T24" fmla="*/ 417 w 905"/>
                  <a:gd name="T25" fmla="*/ 467 h 1010"/>
                  <a:gd name="T26" fmla="*/ 363 w 905"/>
                  <a:gd name="T27" fmla="*/ 482 h 1010"/>
                  <a:gd name="T28" fmla="*/ 611 w 905"/>
                  <a:gd name="T29" fmla="*/ 404 h 1010"/>
                  <a:gd name="T30" fmla="*/ 320 w 905"/>
                  <a:gd name="T31" fmla="*/ 509 h 1010"/>
                  <a:gd name="T32" fmla="*/ 902 w 905"/>
                  <a:gd name="T33" fmla="*/ 421 h 1010"/>
                  <a:gd name="T34" fmla="*/ 749 w 905"/>
                  <a:gd name="T35" fmla="*/ 425 h 1010"/>
                  <a:gd name="T36" fmla="*/ 683 w 905"/>
                  <a:gd name="T37" fmla="*/ 393 h 1010"/>
                  <a:gd name="T38" fmla="*/ 593 w 905"/>
                  <a:gd name="T39" fmla="*/ 446 h 1010"/>
                  <a:gd name="T40" fmla="*/ 507 w 905"/>
                  <a:gd name="T41" fmla="*/ 444 h 1010"/>
                  <a:gd name="T42" fmla="*/ 494 w 905"/>
                  <a:gd name="T43" fmla="*/ 437 h 1010"/>
                  <a:gd name="T44" fmla="*/ 446 w 905"/>
                  <a:gd name="T45" fmla="*/ 491 h 1010"/>
                  <a:gd name="T46" fmla="*/ 399 w 905"/>
                  <a:gd name="T47" fmla="*/ 505 h 1010"/>
                  <a:gd name="T48" fmla="*/ 360 w 905"/>
                  <a:gd name="T49" fmla="*/ 526 h 1010"/>
                  <a:gd name="T50" fmla="*/ 365 w 905"/>
                  <a:gd name="T51" fmla="*/ 561 h 1010"/>
                  <a:gd name="T52" fmla="*/ 293 w 905"/>
                  <a:gd name="T53" fmla="*/ 606 h 1010"/>
                  <a:gd name="T54" fmla="*/ 266 w 905"/>
                  <a:gd name="T55" fmla="*/ 642 h 1010"/>
                  <a:gd name="T56" fmla="*/ 237 w 905"/>
                  <a:gd name="T57" fmla="*/ 689 h 1010"/>
                  <a:gd name="T58" fmla="*/ 180 w 905"/>
                  <a:gd name="T59" fmla="*/ 715 h 1010"/>
                  <a:gd name="T60" fmla="*/ 118 w 905"/>
                  <a:gd name="T61" fmla="*/ 741 h 1010"/>
                  <a:gd name="T62" fmla="*/ 111 w 905"/>
                  <a:gd name="T63" fmla="*/ 775 h 1010"/>
                  <a:gd name="T64" fmla="*/ 72 w 905"/>
                  <a:gd name="T65" fmla="*/ 808 h 1010"/>
                  <a:gd name="T66" fmla="*/ 20 w 905"/>
                  <a:gd name="T67" fmla="*/ 804 h 1010"/>
                  <a:gd name="T68" fmla="*/ 21 w 905"/>
                  <a:gd name="T69" fmla="*/ 834 h 1010"/>
                  <a:gd name="T70" fmla="*/ 71 w 905"/>
                  <a:gd name="T71" fmla="*/ 854 h 1010"/>
                  <a:gd name="T72" fmla="*/ 0 w 905"/>
                  <a:gd name="T73" fmla="*/ 858 h 1010"/>
                  <a:gd name="T74" fmla="*/ 65 w 905"/>
                  <a:gd name="T75" fmla="*/ 884 h 1010"/>
                  <a:gd name="T76" fmla="*/ 14 w 905"/>
                  <a:gd name="T77" fmla="*/ 926 h 1010"/>
                  <a:gd name="T78" fmla="*/ 36 w 905"/>
                  <a:gd name="T79" fmla="*/ 967 h 1010"/>
                  <a:gd name="T80" fmla="*/ 103 w 905"/>
                  <a:gd name="T81" fmla="*/ 1004 h 1010"/>
                  <a:gd name="T82" fmla="*/ 207 w 905"/>
                  <a:gd name="T83" fmla="*/ 942 h 1010"/>
                  <a:gd name="T84" fmla="*/ 252 w 905"/>
                  <a:gd name="T85" fmla="*/ 911 h 1010"/>
                  <a:gd name="T86" fmla="*/ 268 w 905"/>
                  <a:gd name="T87" fmla="*/ 857 h 1010"/>
                  <a:gd name="T88" fmla="*/ 262 w 905"/>
                  <a:gd name="T89" fmla="*/ 783 h 1010"/>
                  <a:gd name="T90" fmla="*/ 279 w 905"/>
                  <a:gd name="T91" fmla="*/ 724 h 1010"/>
                  <a:gd name="T92" fmla="*/ 348 w 905"/>
                  <a:gd name="T93" fmla="*/ 629 h 1010"/>
                  <a:gd name="T94" fmla="*/ 386 w 905"/>
                  <a:gd name="T95" fmla="*/ 591 h 1010"/>
                  <a:gd name="T96" fmla="*/ 423 w 905"/>
                  <a:gd name="T97" fmla="*/ 529 h 1010"/>
                  <a:gd name="T98" fmla="*/ 508 w 905"/>
                  <a:gd name="T99" fmla="*/ 505 h 1010"/>
                  <a:gd name="T100" fmla="*/ 557 w 905"/>
                  <a:gd name="T101" fmla="*/ 481 h 1010"/>
                  <a:gd name="T102" fmla="*/ 594 w 905"/>
                  <a:gd name="T103" fmla="*/ 480 h 1010"/>
                  <a:gd name="T104" fmla="*/ 677 w 905"/>
                  <a:gd name="T105" fmla="*/ 489 h 1010"/>
                  <a:gd name="T106" fmla="*/ 752 w 905"/>
                  <a:gd name="T107" fmla="*/ 438 h 1010"/>
                  <a:gd name="T108" fmla="*/ 834 w 905"/>
                  <a:gd name="T109" fmla="*/ 469 h 1010"/>
                  <a:gd name="T110" fmla="*/ 891 w 905"/>
                  <a:gd name="T111" fmla="*/ 456 h 1010"/>
                  <a:gd name="T112" fmla="*/ 380 w 905"/>
                  <a:gd name="T113" fmla="*/ 512 h 1010"/>
                  <a:gd name="T114" fmla="*/ 346 w 905"/>
                  <a:gd name="T115" fmla="*/ 483 h 1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5" h="1010">
                    <a:moveTo>
                      <a:pt x="215" y="87"/>
                    </a:moveTo>
                    <a:cubicBezTo>
                      <a:pt x="229" y="97"/>
                      <a:pt x="250" y="93"/>
                      <a:pt x="250" y="93"/>
                    </a:cubicBezTo>
                    <a:cubicBezTo>
                      <a:pt x="228" y="82"/>
                      <a:pt x="228" y="82"/>
                      <a:pt x="228" y="82"/>
                    </a:cubicBezTo>
                    <a:cubicBezTo>
                      <a:pt x="195" y="65"/>
                      <a:pt x="195" y="65"/>
                      <a:pt x="195" y="65"/>
                    </a:cubicBezTo>
                    <a:cubicBezTo>
                      <a:pt x="191" y="78"/>
                      <a:pt x="201" y="78"/>
                      <a:pt x="215" y="87"/>
                    </a:cubicBezTo>
                    <a:close/>
                    <a:moveTo>
                      <a:pt x="453" y="40"/>
                    </a:moveTo>
                    <a:cubicBezTo>
                      <a:pt x="481" y="40"/>
                      <a:pt x="481" y="40"/>
                      <a:pt x="481" y="40"/>
                    </a:cubicBezTo>
                    <a:cubicBezTo>
                      <a:pt x="481" y="40"/>
                      <a:pt x="512" y="51"/>
                      <a:pt x="516" y="49"/>
                    </a:cubicBezTo>
                    <a:cubicBezTo>
                      <a:pt x="520" y="48"/>
                      <a:pt x="542" y="44"/>
                      <a:pt x="547" y="44"/>
                    </a:cubicBezTo>
                    <a:cubicBezTo>
                      <a:pt x="553" y="44"/>
                      <a:pt x="599" y="62"/>
                      <a:pt x="599" y="62"/>
                    </a:cubicBezTo>
                    <a:cubicBezTo>
                      <a:pt x="613" y="47"/>
                      <a:pt x="613" y="47"/>
                      <a:pt x="613" y="47"/>
                    </a:cubicBezTo>
                    <a:cubicBezTo>
                      <a:pt x="653" y="48"/>
                      <a:pt x="653" y="48"/>
                      <a:pt x="653" y="48"/>
                    </a:cubicBezTo>
                    <a:cubicBezTo>
                      <a:pt x="656" y="35"/>
                      <a:pt x="656" y="35"/>
                      <a:pt x="656" y="35"/>
                    </a:cubicBezTo>
                    <a:cubicBezTo>
                      <a:pt x="656" y="35"/>
                      <a:pt x="677" y="42"/>
                      <a:pt x="688" y="21"/>
                    </a:cubicBezTo>
                    <a:cubicBezTo>
                      <a:pt x="699" y="0"/>
                      <a:pt x="653" y="17"/>
                      <a:pt x="653" y="17"/>
                    </a:cubicBezTo>
                    <a:cubicBezTo>
                      <a:pt x="653" y="17"/>
                      <a:pt x="650" y="7"/>
                      <a:pt x="626" y="7"/>
                    </a:cubicBezTo>
                    <a:cubicBezTo>
                      <a:pt x="602" y="7"/>
                      <a:pt x="585" y="19"/>
                      <a:pt x="578" y="17"/>
                    </a:cubicBezTo>
                    <a:cubicBezTo>
                      <a:pt x="571" y="16"/>
                      <a:pt x="577" y="4"/>
                      <a:pt x="558" y="4"/>
                    </a:cubicBezTo>
                    <a:cubicBezTo>
                      <a:pt x="540" y="4"/>
                      <a:pt x="535" y="20"/>
                      <a:pt x="535" y="20"/>
                    </a:cubicBezTo>
                    <a:cubicBezTo>
                      <a:pt x="491" y="4"/>
                      <a:pt x="491" y="4"/>
                      <a:pt x="491" y="4"/>
                    </a:cubicBezTo>
                    <a:cubicBezTo>
                      <a:pt x="491" y="4"/>
                      <a:pt x="470" y="11"/>
                      <a:pt x="447" y="16"/>
                    </a:cubicBezTo>
                    <a:cubicBezTo>
                      <a:pt x="425" y="20"/>
                      <a:pt x="440" y="4"/>
                      <a:pt x="440" y="4"/>
                    </a:cubicBezTo>
                    <a:cubicBezTo>
                      <a:pt x="419" y="14"/>
                      <a:pt x="419" y="14"/>
                      <a:pt x="419" y="14"/>
                    </a:cubicBezTo>
                    <a:cubicBezTo>
                      <a:pt x="429" y="28"/>
                      <a:pt x="429" y="28"/>
                      <a:pt x="429" y="28"/>
                    </a:cubicBezTo>
                    <a:lnTo>
                      <a:pt x="453" y="40"/>
                    </a:lnTo>
                    <a:close/>
                    <a:moveTo>
                      <a:pt x="214" y="49"/>
                    </a:moveTo>
                    <a:cubicBezTo>
                      <a:pt x="221" y="54"/>
                      <a:pt x="236" y="51"/>
                      <a:pt x="239" y="55"/>
                    </a:cubicBezTo>
                    <a:cubicBezTo>
                      <a:pt x="242" y="59"/>
                      <a:pt x="223" y="69"/>
                      <a:pt x="223" y="69"/>
                    </a:cubicBezTo>
                    <a:cubicBezTo>
                      <a:pt x="252" y="80"/>
                      <a:pt x="252" y="80"/>
                      <a:pt x="252" y="80"/>
                    </a:cubicBezTo>
                    <a:cubicBezTo>
                      <a:pt x="252" y="80"/>
                      <a:pt x="267" y="90"/>
                      <a:pt x="281" y="93"/>
                    </a:cubicBezTo>
                    <a:cubicBezTo>
                      <a:pt x="295" y="96"/>
                      <a:pt x="305" y="76"/>
                      <a:pt x="305" y="76"/>
                    </a:cubicBezTo>
                    <a:cubicBezTo>
                      <a:pt x="333" y="71"/>
                      <a:pt x="333" y="71"/>
                      <a:pt x="333" y="71"/>
                    </a:cubicBezTo>
                    <a:cubicBezTo>
                      <a:pt x="356" y="85"/>
                      <a:pt x="356" y="85"/>
                      <a:pt x="356" y="85"/>
                    </a:cubicBezTo>
                    <a:cubicBezTo>
                      <a:pt x="356" y="85"/>
                      <a:pt x="337" y="90"/>
                      <a:pt x="319" y="94"/>
                    </a:cubicBezTo>
                    <a:cubicBezTo>
                      <a:pt x="301" y="99"/>
                      <a:pt x="302" y="106"/>
                      <a:pt x="302" y="106"/>
                    </a:cubicBezTo>
                    <a:cubicBezTo>
                      <a:pt x="302" y="106"/>
                      <a:pt x="352" y="110"/>
                      <a:pt x="345" y="111"/>
                    </a:cubicBezTo>
                    <a:cubicBezTo>
                      <a:pt x="337" y="113"/>
                      <a:pt x="307" y="125"/>
                      <a:pt x="307" y="125"/>
                    </a:cubicBezTo>
                    <a:cubicBezTo>
                      <a:pt x="340" y="137"/>
                      <a:pt x="340" y="137"/>
                      <a:pt x="340" y="137"/>
                    </a:cubicBezTo>
                    <a:cubicBezTo>
                      <a:pt x="340" y="137"/>
                      <a:pt x="370" y="152"/>
                      <a:pt x="395" y="148"/>
                    </a:cubicBezTo>
                    <a:cubicBezTo>
                      <a:pt x="421" y="144"/>
                      <a:pt x="402" y="128"/>
                      <a:pt x="402" y="121"/>
                    </a:cubicBezTo>
                    <a:cubicBezTo>
                      <a:pt x="402" y="114"/>
                      <a:pt x="432" y="114"/>
                      <a:pt x="432" y="114"/>
                    </a:cubicBezTo>
                    <a:cubicBezTo>
                      <a:pt x="432" y="100"/>
                      <a:pt x="432" y="100"/>
                      <a:pt x="432" y="100"/>
                    </a:cubicBezTo>
                    <a:cubicBezTo>
                      <a:pt x="451" y="96"/>
                      <a:pt x="451" y="96"/>
                      <a:pt x="451" y="96"/>
                    </a:cubicBezTo>
                    <a:cubicBezTo>
                      <a:pt x="460" y="75"/>
                      <a:pt x="460" y="75"/>
                      <a:pt x="460" y="75"/>
                    </a:cubicBezTo>
                    <a:cubicBezTo>
                      <a:pt x="473" y="82"/>
                      <a:pt x="473" y="82"/>
                      <a:pt x="473" y="82"/>
                    </a:cubicBezTo>
                    <a:cubicBezTo>
                      <a:pt x="489" y="73"/>
                      <a:pt x="489" y="73"/>
                      <a:pt x="489" y="73"/>
                    </a:cubicBezTo>
                    <a:cubicBezTo>
                      <a:pt x="489" y="73"/>
                      <a:pt x="498" y="87"/>
                      <a:pt x="518" y="92"/>
                    </a:cubicBezTo>
                    <a:cubicBezTo>
                      <a:pt x="537" y="96"/>
                      <a:pt x="515" y="123"/>
                      <a:pt x="515" y="123"/>
                    </a:cubicBezTo>
                    <a:cubicBezTo>
                      <a:pt x="551" y="121"/>
                      <a:pt x="551" y="121"/>
                      <a:pt x="551" y="121"/>
                    </a:cubicBezTo>
                    <a:cubicBezTo>
                      <a:pt x="551" y="121"/>
                      <a:pt x="570" y="137"/>
                      <a:pt x="571" y="132"/>
                    </a:cubicBezTo>
                    <a:cubicBezTo>
                      <a:pt x="572" y="128"/>
                      <a:pt x="623" y="114"/>
                      <a:pt x="627" y="106"/>
                    </a:cubicBezTo>
                    <a:cubicBezTo>
                      <a:pt x="632" y="97"/>
                      <a:pt x="589" y="99"/>
                      <a:pt x="589" y="99"/>
                    </a:cubicBezTo>
                    <a:cubicBezTo>
                      <a:pt x="587" y="87"/>
                      <a:pt x="587" y="87"/>
                      <a:pt x="587" y="87"/>
                    </a:cubicBezTo>
                    <a:cubicBezTo>
                      <a:pt x="551" y="82"/>
                      <a:pt x="551" y="82"/>
                      <a:pt x="551" y="82"/>
                    </a:cubicBezTo>
                    <a:cubicBezTo>
                      <a:pt x="550" y="71"/>
                      <a:pt x="550" y="71"/>
                      <a:pt x="550" y="71"/>
                    </a:cubicBezTo>
                    <a:cubicBezTo>
                      <a:pt x="529" y="73"/>
                      <a:pt x="529" y="73"/>
                      <a:pt x="529" y="73"/>
                    </a:cubicBezTo>
                    <a:cubicBezTo>
                      <a:pt x="532" y="61"/>
                      <a:pt x="532" y="61"/>
                      <a:pt x="532" y="61"/>
                    </a:cubicBezTo>
                    <a:cubicBezTo>
                      <a:pt x="481" y="62"/>
                      <a:pt x="481" y="62"/>
                      <a:pt x="481" y="62"/>
                    </a:cubicBezTo>
                    <a:cubicBezTo>
                      <a:pt x="477" y="54"/>
                      <a:pt x="477" y="54"/>
                      <a:pt x="477" y="54"/>
                    </a:cubicBezTo>
                    <a:cubicBezTo>
                      <a:pt x="453" y="54"/>
                      <a:pt x="453" y="54"/>
                      <a:pt x="453" y="54"/>
                    </a:cubicBezTo>
                    <a:cubicBezTo>
                      <a:pt x="453" y="54"/>
                      <a:pt x="450" y="41"/>
                      <a:pt x="435" y="37"/>
                    </a:cubicBezTo>
                    <a:cubicBezTo>
                      <a:pt x="419" y="33"/>
                      <a:pt x="412" y="38"/>
                      <a:pt x="412" y="38"/>
                    </a:cubicBezTo>
                    <a:cubicBezTo>
                      <a:pt x="415" y="26"/>
                      <a:pt x="415" y="26"/>
                      <a:pt x="415" y="26"/>
                    </a:cubicBezTo>
                    <a:cubicBezTo>
                      <a:pt x="415" y="26"/>
                      <a:pt x="394" y="20"/>
                      <a:pt x="366" y="21"/>
                    </a:cubicBezTo>
                    <a:cubicBezTo>
                      <a:pt x="337" y="23"/>
                      <a:pt x="374" y="55"/>
                      <a:pt x="374" y="55"/>
                    </a:cubicBezTo>
                    <a:cubicBezTo>
                      <a:pt x="374" y="55"/>
                      <a:pt x="343" y="30"/>
                      <a:pt x="328" y="27"/>
                    </a:cubicBezTo>
                    <a:cubicBezTo>
                      <a:pt x="312" y="24"/>
                      <a:pt x="307" y="44"/>
                      <a:pt x="307" y="44"/>
                    </a:cubicBezTo>
                    <a:cubicBezTo>
                      <a:pt x="307" y="44"/>
                      <a:pt x="284" y="40"/>
                      <a:pt x="278" y="37"/>
                    </a:cubicBezTo>
                    <a:cubicBezTo>
                      <a:pt x="273" y="34"/>
                      <a:pt x="291" y="24"/>
                      <a:pt x="291" y="24"/>
                    </a:cubicBezTo>
                    <a:cubicBezTo>
                      <a:pt x="254" y="27"/>
                      <a:pt x="254" y="27"/>
                      <a:pt x="254" y="27"/>
                    </a:cubicBezTo>
                    <a:cubicBezTo>
                      <a:pt x="245" y="35"/>
                      <a:pt x="245" y="35"/>
                      <a:pt x="245" y="35"/>
                    </a:cubicBezTo>
                    <a:cubicBezTo>
                      <a:pt x="240" y="24"/>
                      <a:pt x="240" y="24"/>
                      <a:pt x="240" y="24"/>
                    </a:cubicBezTo>
                    <a:cubicBezTo>
                      <a:pt x="240" y="24"/>
                      <a:pt x="216" y="31"/>
                      <a:pt x="208" y="38"/>
                    </a:cubicBezTo>
                    <a:cubicBezTo>
                      <a:pt x="208" y="38"/>
                      <a:pt x="207" y="45"/>
                      <a:pt x="214" y="49"/>
                    </a:cubicBezTo>
                    <a:close/>
                    <a:moveTo>
                      <a:pt x="425" y="477"/>
                    </a:moveTo>
                    <a:cubicBezTo>
                      <a:pt x="441" y="474"/>
                      <a:pt x="440" y="464"/>
                      <a:pt x="447" y="464"/>
                    </a:cubicBezTo>
                    <a:cubicBezTo>
                      <a:pt x="453" y="464"/>
                      <a:pt x="447" y="453"/>
                      <a:pt x="447" y="453"/>
                    </a:cubicBezTo>
                    <a:cubicBezTo>
                      <a:pt x="417" y="467"/>
                      <a:pt x="417" y="467"/>
                      <a:pt x="417" y="467"/>
                    </a:cubicBezTo>
                    <a:lnTo>
                      <a:pt x="425" y="477"/>
                    </a:lnTo>
                    <a:close/>
                    <a:moveTo>
                      <a:pt x="513" y="437"/>
                    </a:moveTo>
                    <a:cubicBezTo>
                      <a:pt x="522" y="434"/>
                      <a:pt x="535" y="424"/>
                      <a:pt x="517" y="423"/>
                    </a:cubicBezTo>
                    <a:cubicBezTo>
                      <a:pt x="500" y="422"/>
                      <a:pt x="513" y="437"/>
                      <a:pt x="513" y="437"/>
                    </a:cubicBezTo>
                    <a:close/>
                    <a:moveTo>
                      <a:pt x="392" y="470"/>
                    </a:moveTo>
                    <a:cubicBezTo>
                      <a:pt x="373" y="465"/>
                      <a:pt x="363" y="482"/>
                      <a:pt x="363" y="482"/>
                    </a:cubicBezTo>
                    <a:cubicBezTo>
                      <a:pt x="379" y="486"/>
                      <a:pt x="379" y="486"/>
                      <a:pt x="379" y="486"/>
                    </a:cubicBezTo>
                    <a:cubicBezTo>
                      <a:pt x="385" y="482"/>
                      <a:pt x="411" y="474"/>
                      <a:pt x="392" y="470"/>
                    </a:cubicBezTo>
                    <a:close/>
                    <a:moveTo>
                      <a:pt x="610" y="414"/>
                    </a:moveTo>
                    <a:cubicBezTo>
                      <a:pt x="623" y="417"/>
                      <a:pt x="623" y="417"/>
                      <a:pt x="623" y="417"/>
                    </a:cubicBezTo>
                    <a:cubicBezTo>
                      <a:pt x="631" y="408"/>
                      <a:pt x="631" y="402"/>
                      <a:pt x="631" y="402"/>
                    </a:cubicBezTo>
                    <a:cubicBezTo>
                      <a:pt x="611" y="404"/>
                      <a:pt x="611" y="404"/>
                      <a:pt x="611" y="404"/>
                    </a:cubicBezTo>
                    <a:lnTo>
                      <a:pt x="610" y="414"/>
                    </a:lnTo>
                    <a:close/>
                    <a:moveTo>
                      <a:pt x="320" y="509"/>
                    </a:moveTo>
                    <a:cubicBezTo>
                      <a:pt x="304" y="509"/>
                      <a:pt x="279" y="528"/>
                      <a:pt x="285" y="532"/>
                    </a:cubicBezTo>
                    <a:cubicBezTo>
                      <a:pt x="290" y="535"/>
                      <a:pt x="315" y="520"/>
                      <a:pt x="315" y="520"/>
                    </a:cubicBezTo>
                    <a:cubicBezTo>
                      <a:pt x="338" y="516"/>
                      <a:pt x="338" y="516"/>
                      <a:pt x="338" y="516"/>
                    </a:cubicBezTo>
                    <a:cubicBezTo>
                      <a:pt x="335" y="516"/>
                      <a:pt x="336" y="509"/>
                      <a:pt x="320" y="509"/>
                    </a:cubicBezTo>
                    <a:close/>
                    <a:moveTo>
                      <a:pt x="901" y="448"/>
                    </a:moveTo>
                    <a:cubicBezTo>
                      <a:pt x="884" y="451"/>
                      <a:pt x="884" y="451"/>
                      <a:pt x="884" y="451"/>
                    </a:cubicBezTo>
                    <a:cubicBezTo>
                      <a:pt x="856" y="444"/>
                      <a:pt x="856" y="444"/>
                      <a:pt x="856" y="444"/>
                    </a:cubicBezTo>
                    <a:cubicBezTo>
                      <a:pt x="836" y="433"/>
                      <a:pt x="836" y="433"/>
                      <a:pt x="836" y="433"/>
                    </a:cubicBezTo>
                    <a:cubicBezTo>
                      <a:pt x="836" y="433"/>
                      <a:pt x="862" y="437"/>
                      <a:pt x="873" y="432"/>
                    </a:cubicBezTo>
                    <a:cubicBezTo>
                      <a:pt x="884" y="427"/>
                      <a:pt x="902" y="421"/>
                      <a:pt x="902" y="421"/>
                    </a:cubicBezTo>
                    <a:cubicBezTo>
                      <a:pt x="902" y="421"/>
                      <a:pt x="876" y="406"/>
                      <a:pt x="862" y="406"/>
                    </a:cubicBezTo>
                    <a:cubicBezTo>
                      <a:pt x="848" y="406"/>
                      <a:pt x="827" y="395"/>
                      <a:pt x="827" y="395"/>
                    </a:cubicBezTo>
                    <a:cubicBezTo>
                      <a:pt x="827" y="395"/>
                      <a:pt x="819" y="421"/>
                      <a:pt x="803" y="418"/>
                    </a:cubicBezTo>
                    <a:cubicBezTo>
                      <a:pt x="787" y="415"/>
                      <a:pt x="815" y="397"/>
                      <a:pt x="815" y="397"/>
                    </a:cubicBezTo>
                    <a:cubicBezTo>
                      <a:pt x="771" y="382"/>
                      <a:pt x="771" y="382"/>
                      <a:pt x="771" y="382"/>
                    </a:cubicBezTo>
                    <a:cubicBezTo>
                      <a:pt x="771" y="382"/>
                      <a:pt x="763" y="431"/>
                      <a:pt x="749" y="425"/>
                    </a:cubicBezTo>
                    <a:cubicBezTo>
                      <a:pt x="735" y="419"/>
                      <a:pt x="746" y="393"/>
                      <a:pt x="746" y="393"/>
                    </a:cubicBezTo>
                    <a:cubicBezTo>
                      <a:pt x="746" y="393"/>
                      <a:pt x="708" y="437"/>
                      <a:pt x="698" y="430"/>
                    </a:cubicBezTo>
                    <a:cubicBezTo>
                      <a:pt x="688" y="423"/>
                      <a:pt x="734" y="387"/>
                      <a:pt x="734" y="387"/>
                    </a:cubicBezTo>
                    <a:cubicBezTo>
                      <a:pt x="711" y="385"/>
                      <a:pt x="711" y="385"/>
                      <a:pt x="711" y="385"/>
                    </a:cubicBezTo>
                    <a:cubicBezTo>
                      <a:pt x="699" y="395"/>
                      <a:pt x="699" y="395"/>
                      <a:pt x="699" y="395"/>
                    </a:cubicBezTo>
                    <a:cubicBezTo>
                      <a:pt x="683" y="393"/>
                      <a:pt x="683" y="393"/>
                      <a:pt x="683" y="393"/>
                    </a:cubicBezTo>
                    <a:cubicBezTo>
                      <a:pt x="653" y="411"/>
                      <a:pt x="653" y="411"/>
                      <a:pt x="653" y="411"/>
                    </a:cubicBezTo>
                    <a:cubicBezTo>
                      <a:pt x="637" y="412"/>
                      <a:pt x="637" y="412"/>
                      <a:pt x="637" y="412"/>
                    </a:cubicBezTo>
                    <a:cubicBezTo>
                      <a:pt x="635" y="432"/>
                      <a:pt x="635" y="432"/>
                      <a:pt x="635" y="432"/>
                    </a:cubicBezTo>
                    <a:cubicBezTo>
                      <a:pt x="611" y="423"/>
                      <a:pt x="611" y="423"/>
                      <a:pt x="611" y="423"/>
                    </a:cubicBezTo>
                    <a:cubicBezTo>
                      <a:pt x="585" y="428"/>
                      <a:pt x="585" y="428"/>
                      <a:pt x="585" y="428"/>
                    </a:cubicBezTo>
                    <a:cubicBezTo>
                      <a:pt x="593" y="446"/>
                      <a:pt x="593" y="446"/>
                      <a:pt x="593" y="446"/>
                    </a:cubicBezTo>
                    <a:cubicBezTo>
                      <a:pt x="562" y="437"/>
                      <a:pt x="562" y="437"/>
                      <a:pt x="562" y="437"/>
                    </a:cubicBezTo>
                    <a:cubicBezTo>
                      <a:pt x="551" y="443"/>
                      <a:pt x="551" y="443"/>
                      <a:pt x="551" y="443"/>
                    </a:cubicBezTo>
                    <a:cubicBezTo>
                      <a:pt x="554" y="459"/>
                      <a:pt x="554" y="459"/>
                      <a:pt x="554" y="459"/>
                    </a:cubicBezTo>
                    <a:cubicBezTo>
                      <a:pt x="524" y="465"/>
                      <a:pt x="524" y="465"/>
                      <a:pt x="524" y="465"/>
                    </a:cubicBezTo>
                    <a:cubicBezTo>
                      <a:pt x="527" y="444"/>
                      <a:pt x="527" y="444"/>
                      <a:pt x="527" y="444"/>
                    </a:cubicBezTo>
                    <a:cubicBezTo>
                      <a:pt x="507" y="444"/>
                      <a:pt x="507" y="444"/>
                      <a:pt x="507" y="444"/>
                    </a:cubicBezTo>
                    <a:cubicBezTo>
                      <a:pt x="513" y="457"/>
                      <a:pt x="513" y="457"/>
                      <a:pt x="513" y="457"/>
                    </a:cubicBezTo>
                    <a:cubicBezTo>
                      <a:pt x="497" y="447"/>
                      <a:pt x="497" y="447"/>
                      <a:pt x="497" y="447"/>
                    </a:cubicBezTo>
                    <a:cubicBezTo>
                      <a:pt x="499" y="467"/>
                      <a:pt x="499" y="467"/>
                      <a:pt x="499" y="467"/>
                    </a:cubicBezTo>
                    <a:cubicBezTo>
                      <a:pt x="482" y="466"/>
                      <a:pt x="482" y="466"/>
                      <a:pt x="482" y="466"/>
                    </a:cubicBezTo>
                    <a:cubicBezTo>
                      <a:pt x="482" y="466"/>
                      <a:pt x="479" y="453"/>
                      <a:pt x="481" y="450"/>
                    </a:cubicBezTo>
                    <a:cubicBezTo>
                      <a:pt x="483" y="447"/>
                      <a:pt x="494" y="437"/>
                      <a:pt x="494" y="437"/>
                    </a:cubicBezTo>
                    <a:cubicBezTo>
                      <a:pt x="471" y="434"/>
                      <a:pt x="471" y="434"/>
                      <a:pt x="471" y="434"/>
                    </a:cubicBezTo>
                    <a:cubicBezTo>
                      <a:pt x="468" y="463"/>
                      <a:pt x="468" y="463"/>
                      <a:pt x="468" y="463"/>
                    </a:cubicBezTo>
                    <a:cubicBezTo>
                      <a:pt x="450" y="472"/>
                      <a:pt x="450" y="472"/>
                      <a:pt x="450" y="472"/>
                    </a:cubicBezTo>
                    <a:cubicBezTo>
                      <a:pt x="460" y="480"/>
                      <a:pt x="460" y="480"/>
                      <a:pt x="460" y="480"/>
                    </a:cubicBezTo>
                    <a:cubicBezTo>
                      <a:pt x="438" y="483"/>
                      <a:pt x="438" y="483"/>
                      <a:pt x="438" y="483"/>
                    </a:cubicBezTo>
                    <a:cubicBezTo>
                      <a:pt x="446" y="491"/>
                      <a:pt x="446" y="491"/>
                      <a:pt x="446" y="491"/>
                    </a:cubicBezTo>
                    <a:cubicBezTo>
                      <a:pt x="418" y="492"/>
                      <a:pt x="418" y="492"/>
                      <a:pt x="418" y="492"/>
                    </a:cubicBezTo>
                    <a:cubicBezTo>
                      <a:pt x="418" y="500"/>
                      <a:pt x="418" y="500"/>
                      <a:pt x="418" y="500"/>
                    </a:cubicBezTo>
                    <a:cubicBezTo>
                      <a:pt x="439" y="505"/>
                      <a:pt x="439" y="505"/>
                      <a:pt x="439" y="505"/>
                    </a:cubicBezTo>
                    <a:cubicBezTo>
                      <a:pt x="432" y="514"/>
                      <a:pt x="432" y="514"/>
                      <a:pt x="432" y="514"/>
                    </a:cubicBezTo>
                    <a:cubicBezTo>
                      <a:pt x="408" y="504"/>
                      <a:pt x="408" y="504"/>
                      <a:pt x="408" y="504"/>
                    </a:cubicBezTo>
                    <a:cubicBezTo>
                      <a:pt x="399" y="505"/>
                      <a:pt x="399" y="505"/>
                      <a:pt x="399" y="505"/>
                    </a:cubicBezTo>
                    <a:cubicBezTo>
                      <a:pt x="415" y="516"/>
                      <a:pt x="415" y="516"/>
                      <a:pt x="415" y="516"/>
                    </a:cubicBezTo>
                    <a:cubicBezTo>
                      <a:pt x="400" y="527"/>
                      <a:pt x="400" y="527"/>
                      <a:pt x="400" y="527"/>
                    </a:cubicBezTo>
                    <a:cubicBezTo>
                      <a:pt x="392" y="514"/>
                      <a:pt x="392" y="514"/>
                      <a:pt x="392" y="514"/>
                    </a:cubicBezTo>
                    <a:cubicBezTo>
                      <a:pt x="382" y="520"/>
                      <a:pt x="382" y="520"/>
                      <a:pt x="382" y="520"/>
                    </a:cubicBezTo>
                    <a:cubicBezTo>
                      <a:pt x="383" y="525"/>
                      <a:pt x="383" y="525"/>
                      <a:pt x="383" y="525"/>
                    </a:cubicBezTo>
                    <a:cubicBezTo>
                      <a:pt x="360" y="526"/>
                      <a:pt x="360" y="526"/>
                      <a:pt x="360" y="526"/>
                    </a:cubicBezTo>
                    <a:cubicBezTo>
                      <a:pt x="357" y="535"/>
                      <a:pt x="357" y="535"/>
                      <a:pt x="357" y="535"/>
                    </a:cubicBezTo>
                    <a:cubicBezTo>
                      <a:pt x="374" y="544"/>
                      <a:pt x="374" y="544"/>
                      <a:pt x="374" y="544"/>
                    </a:cubicBezTo>
                    <a:cubicBezTo>
                      <a:pt x="372" y="554"/>
                      <a:pt x="372" y="554"/>
                      <a:pt x="372" y="554"/>
                    </a:cubicBezTo>
                    <a:cubicBezTo>
                      <a:pt x="350" y="546"/>
                      <a:pt x="350" y="546"/>
                      <a:pt x="350" y="546"/>
                    </a:cubicBezTo>
                    <a:cubicBezTo>
                      <a:pt x="347" y="556"/>
                      <a:pt x="347" y="556"/>
                      <a:pt x="347" y="556"/>
                    </a:cubicBezTo>
                    <a:cubicBezTo>
                      <a:pt x="365" y="561"/>
                      <a:pt x="365" y="561"/>
                      <a:pt x="365" y="561"/>
                    </a:cubicBezTo>
                    <a:cubicBezTo>
                      <a:pt x="365" y="561"/>
                      <a:pt x="344" y="562"/>
                      <a:pt x="337" y="563"/>
                    </a:cubicBezTo>
                    <a:cubicBezTo>
                      <a:pt x="330" y="564"/>
                      <a:pt x="334" y="574"/>
                      <a:pt x="334" y="574"/>
                    </a:cubicBezTo>
                    <a:cubicBezTo>
                      <a:pt x="334" y="574"/>
                      <a:pt x="321" y="567"/>
                      <a:pt x="313" y="573"/>
                    </a:cubicBezTo>
                    <a:cubicBezTo>
                      <a:pt x="305" y="579"/>
                      <a:pt x="298" y="584"/>
                      <a:pt x="303" y="587"/>
                    </a:cubicBezTo>
                    <a:cubicBezTo>
                      <a:pt x="308" y="590"/>
                      <a:pt x="297" y="596"/>
                      <a:pt x="297" y="596"/>
                    </a:cubicBezTo>
                    <a:cubicBezTo>
                      <a:pt x="297" y="596"/>
                      <a:pt x="290" y="605"/>
                      <a:pt x="293" y="606"/>
                    </a:cubicBezTo>
                    <a:cubicBezTo>
                      <a:pt x="296" y="607"/>
                      <a:pt x="316" y="608"/>
                      <a:pt x="316" y="608"/>
                    </a:cubicBezTo>
                    <a:cubicBezTo>
                      <a:pt x="309" y="616"/>
                      <a:pt x="309" y="616"/>
                      <a:pt x="309" y="616"/>
                    </a:cubicBezTo>
                    <a:cubicBezTo>
                      <a:pt x="286" y="612"/>
                      <a:pt x="286" y="612"/>
                      <a:pt x="286" y="612"/>
                    </a:cubicBezTo>
                    <a:cubicBezTo>
                      <a:pt x="286" y="612"/>
                      <a:pt x="273" y="614"/>
                      <a:pt x="273" y="622"/>
                    </a:cubicBezTo>
                    <a:cubicBezTo>
                      <a:pt x="273" y="630"/>
                      <a:pt x="283" y="636"/>
                      <a:pt x="279" y="639"/>
                    </a:cubicBezTo>
                    <a:cubicBezTo>
                      <a:pt x="275" y="642"/>
                      <a:pt x="271" y="642"/>
                      <a:pt x="266" y="642"/>
                    </a:cubicBezTo>
                    <a:cubicBezTo>
                      <a:pt x="261" y="642"/>
                      <a:pt x="255" y="643"/>
                      <a:pt x="257" y="650"/>
                    </a:cubicBezTo>
                    <a:cubicBezTo>
                      <a:pt x="259" y="657"/>
                      <a:pt x="267" y="661"/>
                      <a:pt x="267" y="661"/>
                    </a:cubicBezTo>
                    <a:cubicBezTo>
                      <a:pt x="267" y="661"/>
                      <a:pt x="273" y="672"/>
                      <a:pt x="266" y="673"/>
                    </a:cubicBezTo>
                    <a:cubicBezTo>
                      <a:pt x="259" y="674"/>
                      <a:pt x="252" y="673"/>
                      <a:pt x="249" y="673"/>
                    </a:cubicBezTo>
                    <a:cubicBezTo>
                      <a:pt x="246" y="673"/>
                      <a:pt x="243" y="674"/>
                      <a:pt x="240" y="678"/>
                    </a:cubicBezTo>
                    <a:cubicBezTo>
                      <a:pt x="237" y="682"/>
                      <a:pt x="237" y="689"/>
                      <a:pt x="237" y="689"/>
                    </a:cubicBezTo>
                    <a:cubicBezTo>
                      <a:pt x="237" y="689"/>
                      <a:pt x="239" y="696"/>
                      <a:pt x="232" y="696"/>
                    </a:cubicBezTo>
                    <a:cubicBezTo>
                      <a:pt x="225" y="696"/>
                      <a:pt x="222" y="689"/>
                      <a:pt x="216" y="690"/>
                    </a:cubicBezTo>
                    <a:cubicBezTo>
                      <a:pt x="210" y="691"/>
                      <a:pt x="212" y="691"/>
                      <a:pt x="207" y="695"/>
                    </a:cubicBezTo>
                    <a:cubicBezTo>
                      <a:pt x="202" y="699"/>
                      <a:pt x="202" y="700"/>
                      <a:pt x="199" y="704"/>
                    </a:cubicBezTo>
                    <a:cubicBezTo>
                      <a:pt x="196" y="708"/>
                      <a:pt x="187" y="708"/>
                      <a:pt x="187" y="708"/>
                    </a:cubicBezTo>
                    <a:cubicBezTo>
                      <a:pt x="187" y="708"/>
                      <a:pt x="183" y="709"/>
                      <a:pt x="180" y="715"/>
                    </a:cubicBezTo>
                    <a:cubicBezTo>
                      <a:pt x="177" y="721"/>
                      <a:pt x="186" y="725"/>
                      <a:pt x="181" y="728"/>
                    </a:cubicBezTo>
                    <a:cubicBezTo>
                      <a:pt x="176" y="731"/>
                      <a:pt x="175" y="733"/>
                      <a:pt x="170" y="733"/>
                    </a:cubicBezTo>
                    <a:cubicBezTo>
                      <a:pt x="165" y="733"/>
                      <a:pt x="156" y="728"/>
                      <a:pt x="153" y="728"/>
                    </a:cubicBezTo>
                    <a:cubicBezTo>
                      <a:pt x="150" y="728"/>
                      <a:pt x="157" y="720"/>
                      <a:pt x="144" y="727"/>
                    </a:cubicBezTo>
                    <a:cubicBezTo>
                      <a:pt x="131" y="734"/>
                      <a:pt x="130" y="735"/>
                      <a:pt x="126" y="734"/>
                    </a:cubicBezTo>
                    <a:cubicBezTo>
                      <a:pt x="122" y="733"/>
                      <a:pt x="117" y="731"/>
                      <a:pt x="118" y="741"/>
                    </a:cubicBezTo>
                    <a:cubicBezTo>
                      <a:pt x="119" y="751"/>
                      <a:pt x="125" y="750"/>
                      <a:pt x="126" y="753"/>
                    </a:cubicBezTo>
                    <a:cubicBezTo>
                      <a:pt x="127" y="756"/>
                      <a:pt x="130" y="764"/>
                      <a:pt x="122" y="760"/>
                    </a:cubicBezTo>
                    <a:cubicBezTo>
                      <a:pt x="114" y="756"/>
                      <a:pt x="113" y="747"/>
                      <a:pt x="108" y="750"/>
                    </a:cubicBezTo>
                    <a:cubicBezTo>
                      <a:pt x="103" y="753"/>
                      <a:pt x="97" y="760"/>
                      <a:pt x="102" y="763"/>
                    </a:cubicBezTo>
                    <a:cubicBezTo>
                      <a:pt x="107" y="766"/>
                      <a:pt x="122" y="762"/>
                      <a:pt x="119" y="768"/>
                    </a:cubicBezTo>
                    <a:cubicBezTo>
                      <a:pt x="116" y="774"/>
                      <a:pt x="126" y="777"/>
                      <a:pt x="111" y="775"/>
                    </a:cubicBezTo>
                    <a:cubicBezTo>
                      <a:pt x="96" y="773"/>
                      <a:pt x="92" y="773"/>
                      <a:pt x="92" y="773"/>
                    </a:cubicBezTo>
                    <a:cubicBezTo>
                      <a:pt x="92" y="773"/>
                      <a:pt x="94" y="767"/>
                      <a:pt x="88" y="772"/>
                    </a:cubicBezTo>
                    <a:cubicBezTo>
                      <a:pt x="82" y="777"/>
                      <a:pt x="84" y="786"/>
                      <a:pt x="84" y="786"/>
                    </a:cubicBezTo>
                    <a:cubicBezTo>
                      <a:pt x="84" y="786"/>
                      <a:pt x="55" y="773"/>
                      <a:pt x="59" y="781"/>
                    </a:cubicBezTo>
                    <a:cubicBezTo>
                      <a:pt x="63" y="789"/>
                      <a:pt x="85" y="794"/>
                      <a:pt x="85" y="794"/>
                    </a:cubicBezTo>
                    <a:cubicBezTo>
                      <a:pt x="72" y="808"/>
                      <a:pt x="72" y="808"/>
                      <a:pt x="72" y="808"/>
                    </a:cubicBezTo>
                    <a:cubicBezTo>
                      <a:pt x="72" y="808"/>
                      <a:pt x="73" y="798"/>
                      <a:pt x="66" y="797"/>
                    </a:cubicBezTo>
                    <a:cubicBezTo>
                      <a:pt x="59" y="796"/>
                      <a:pt x="53" y="804"/>
                      <a:pt x="53" y="804"/>
                    </a:cubicBezTo>
                    <a:cubicBezTo>
                      <a:pt x="40" y="793"/>
                      <a:pt x="40" y="793"/>
                      <a:pt x="40" y="793"/>
                    </a:cubicBezTo>
                    <a:cubicBezTo>
                      <a:pt x="34" y="802"/>
                      <a:pt x="34" y="802"/>
                      <a:pt x="34" y="802"/>
                    </a:cubicBezTo>
                    <a:cubicBezTo>
                      <a:pt x="43" y="805"/>
                      <a:pt x="43" y="805"/>
                      <a:pt x="43" y="805"/>
                    </a:cubicBezTo>
                    <a:cubicBezTo>
                      <a:pt x="20" y="804"/>
                      <a:pt x="20" y="804"/>
                      <a:pt x="20" y="804"/>
                    </a:cubicBezTo>
                    <a:cubicBezTo>
                      <a:pt x="19" y="813"/>
                      <a:pt x="19" y="813"/>
                      <a:pt x="19" y="813"/>
                    </a:cubicBezTo>
                    <a:cubicBezTo>
                      <a:pt x="52" y="815"/>
                      <a:pt x="52" y="815"/>
                      <a:pt x="52" y="815"/>
                    </a:cubicBezTo>
                    <a:cubicBezTo>
                      <a:pt x="35" y="820"/>
                      <a:pt x="35" y="820"/>
                      <a:pt x="35" y="820"/>
                    </a:cubicBezTo>
                    <a:cubicBezTo>
                      <a:pt x="11" y="814"/>
                      <a:pt x="11" y="814"/>
                      <a:pt x="11" y="814"/>
                    </a:cubicBezTo>
                    <a:cubicBezTo>
                      <a:pt x="11" y="814"/>
                      <a:pt x="3" y="821"/>
                      <a:pt x="3" y="827"/>
                    </a:cubicBezTo>
                    <a:cubicBezTo>
                      <a:pt x="3" y="833"/>
                      <a:pt x="21" y="834"/>
                      <a:pt x="21" y="834"/>
                    </a:cubicBezTo>
                    <a:cubicBezTo>
                      <a:pt x="10" y="839"/>
                      <a:pt x="10" y="839"/>
                      <a:pt x="10" y="839"/>
                    </a:cubicBezTo>
                    <a:cubicBezTo>
                      <a:pt x="10" y="839"/>
                      <a:pt x="1" y="846"/>
                      <a:pt x="10" y="847"/>
                    </a:cubicBezTo>
                    <a:cubicBezTo>
                      <a:pt x="19" y="848"/>
                      <a:pt x="42" y="848"/>
                      <a:pt x="42" y="848"/>
                    </a:cubicBezTo>
                    <a:cubicBezTo>
                      <a:pt x="52" y="854"/>
                      <a:pt x="52" y="854"/>
                      <a:pt x="52" y="854"/>
                    </a:cubicBezTo>
                    <a:cubicBezTo>
                      <a:pt x="63" y="846"/>
                      <a:pt x="63" y="846"/>
                      <a:pt x="63" y="846"/>
                    </a:cubicBezTo>
                    <a:cubicBezTo>
                      <a:pt x="71" y="854"/>
                      <a:pt x="71" y="854"/>
                      <a:pt x="71" y="854"/>
                    </a:cubicBezTo>
                    <a:cubicBezTo>
                      <a:pt x="89" y="845"/>
                      <a:pt x="89" y="845"/>
                      <a:pt x="89" y="845"/>
                    </a:cubicBezTo>
                    <a:cubicBezTo>
                      <a:pt x="89" y="845"/>
                      <a:pt x="86" y="858"/>
                      <a:pt x="80" y="858"/>
                    </a:cubicBezTo>
                    <a:cubicBezTo>
                      <a:pt x="74" y="858"/>
                      <a:pt x="62" y="857"/>
                      <a:pt x="62" y="857"/>
                    </a:cubicBezTo>
                    <a:cubicBezTo>
                      <a:pt x="44" y="858"/>
                      <a:pt x="44" y="858"/>
                      <a:pt x="44" y="858"/>
                    </a:cubicBezTo>
                    <a:cubicBezTo>
                      <a:pt x="44" y="858"/>
                      <a:pt x="28" y="856"/>
                      <a:pt x="25" y="856"/>
                    </a:cubicBezTo>
                    <a:cubicBezTo>
                      <a:pt x="22" y="856"/>
                      <a:pt x="0" y="858"/>
                      <a:pt x="0" y="858"/>
                    </a:cubicBezTo>
                    <a:cubicBezTo>
                      <a:pt x="0" y="858"/>
                      <a:pt x="2" y="870"/>
                      <a:pt x="7" y="872"/>
                    </a:cubicBezTo>
                    <a:cubicBezTo>
                      <a:pt x="12" y="874"/>
                      <a:pt x="20" y="874"/>
                      <a:pt x="20" y="874"/>
                    </a:cubicBezTo>
                    <a:cubicBezTo>
                      <a:pt x="20" y="874"/>
                      <a:pt x="7" y="884"/>
                      <a:pt x="13" y="891"/>
                    </a:cubicBezTo>
                    <a:cubicBezTo>
                      <a:pt x="19" y="898"/>
                      <a:pt x="29" y="899"/>
                      <a:pt x="29" y="899"/>
                    </a:cubicBezTo>
                    <a:cubicBezTo>
                      <a:pt x="47" y="888"/>
                      <a:pt x="47" y="888"/>
                      <a:pt x="47" y="888"/>
                    </a:cubicBezTo>
                    <a:cubicBezTo>
                      <a:pt x="65" y="884"/>
                      <a:pt x="65" y="884"/>
                      <a:pt x="65" y="884"/>
                    </a:cubicBezTo>
                    <a:cubicBezTo>
                      <a:pt x="59" y="898"/>
                      <a:pt x="59" y="898"/>
                      <a:pt x="59" y="898"/>
                    </a:cubicBezTo>
                    <a:cubicBezTo>
                      <a:pt x="49" y="895"/>
                      <a:pt x="49" y="895"/>
                      <a:pt x="49" y="895"/>
                    </a:cubicBezTo>
                    <a:cubicBezTo>
                      <a:pt x="43" y="907"/>
                      <a:pt x="43" y="907"/>
                      <a:pt x="43" y="907"/>
                    </a:cubicBezTo>
                    <a:cubicBezTo>
                      <a:pt x="43" y="907"/>
                      <a:pt x="13" y="901"/>
                      <a:pt x="17" y="908"/>
                    </a:cubicBezTo>
                    <a:cubicBezTo>
                      <a:pt x="21" y="915"/>
                      <a:pt x="30" y="918"/>
                      <a:pt x="30" y="918"/>
                    </a:cubicBezTo>
                    <a:cubicBezTo>
                      <a:pt x="14" y="926"/>
                      <a:pt x="14" y="926"/>
                      <a:pt x="14" y="926"/>
                    </a:cubicBezTo>
                    <a:cubicBezTo>
                      <a:pt x="2" y="926"/>
                      <a:pt x="2" y="926"/>
                      <a:pt x="2" y="926"/>
                    </a:cubicBezTo>
                    <a:cubicBezTo>
                      <a:pt x="2" y="926"/>
                      <a:pt x="4" y="938"/>
                      <a:pt x="7" y="938"/>
                    </a:cubicBezTo>
                    <a:cubicBezTo>
                      <a:pt x="10" y="938"/>
                      <a:pt x="42" y="939"/>
                      <a:pt x="42" y="939"/>
                    </a:cubicBezTo>
                    <a:cubicBezTo>
                      <a:pt x="33" y="953"/>
                      <a:pt x="33" y="953"/>
                      <a:pt x="33" y="953"/>
                    </a:cubicBezTo>
                    <a:cubicBezTo>
                      <a:pt x="41" y="955"/>
                      <a:pt x="41" y="955"/>
                      <a:pt x="41" y="955"/>
                    </a:cubicBezTo>
                    <a:cubicBezTo>
                      <a:pt x="36" y="967"/>
                      <a:pt x="36" y="967"/>
                      <a:pt x="36" y="967"/>
                    </a:cubicBezTo>
                    <a:cubicBezTo>
                      <a:pt x="36" y="967"/>
                      <a:pt x="10" y="954"/>
                      <a:pt x="11" y="962"/>
                    </a:cubicBezTo>
                    <a:cubicBezTo>
                      <a:pt x="12" y="970"/>
                      <a:pt x="23" y="981"/>
                      <a:pt x="23" y="981"/>
                    </a:cubicBezTo>
                    <a:cubicBezTo>
                      <a:pt x="55" y="995"/>
                      <a:pt x="55" y="995"/>
                      <a:pt x="55" y="995"/>
                    </a:cubicBezTo>
                    <a:cubicBezTo>
                      <a:pt x="55" y="995"/>
                      <a:pt x="48" y="1000"/>
                      <a:pt x="55" y="1003"/>
                    </a:cubicBezTo>
                    <a:cubicBezTo>
                      <a:pt x="62" y="1006"/>
                      <a:pt x="83" y="1001"/>
                      <a:pt x="83" y="1001"/>
                    </a:cubicBezTo>
                    <a:cubicBezTo>
                      <a:pt x="83" y="1001"/>
                      <a:pt x="86" y="1010"/>
                      <a:pt x="103" y="1004"/>
                    </a:cubicBezTo>
                    <a:cubicBezTo>
                      <a:pt x="120" y="998"/>
                      <a:pt x="148" y="973"/>
                      <a:pt x="148" y="973"/>
                    </a:cubicBezTo>
                    <a:cubicBezTo>
                      <a:pt x="172" y="954"/>
                      <a:pt x="172" y="954"/>
                      <a:pt x="172" y="954"/>
                    </a:cubicBezTo>
                    <a:cubicBezTo>
                      <a:pt x="172" y="954"/>
                      <a:pt x="183" y="959"/>
                      <a:pt x="193" y="950"/>
                    </a:cubicBezTo>
                    <a:cubicBezTo>
                      <a:pt x="203" y="941"/>
                      <a:pt x="193" y="922"/>
                      <a:pt x="193" y="922"/>
                    </a:cubicBezTo>
                    <a:cubicBezTo>
                      <a:pt x="205" y="920"/>
                      <a:pt x="205" y="920"/>
                      <a:pt x="205" y="920"/>
                    </a:cubicBezTo>
                    <a:cubicBezTo>
                      <a:pt x="205" y="920"/>
                      <a:pt x="192" y="937"/>
                      <a:pt x="207" y="942"/>
                    </a:cubicBezTo>
                    <a:cubicBezTo>
                      <a:pt x="222" y="947"/>
                      <a:pt x="233" y="949"/>
                      <a:pt x="233" y="949"/>
                    </a:cubicBezTo>
                    <a:cubicBezTo>
                      <a:pt x="247" y="962"/>
                      <a:pt x="247" y="962"/>
                      <a:pt x="247" y="962"/>
                    </a:cubicBezTo>
                    <a:cubicBezTo>
                      <a:pt x="247" y="962"/>
                      <a:pt x="253" y="951"/>
                      <a:pt x="255" y="946"/>
                    </a:cubicBezTo>
                    <a:cubicBezTo>
                      <a:pt x="257" y="941"/>
                      <a:pt x="251" y="940"/>
                      <a:pt x="248" y="932"/>
                    </a:cubicBezTo>
                    <a:cubicBezTo>
                      <a:pt x="245" y="924"/>
                      <a:pt x="254" y="921"/>
                      <a:pt x="254" y="921"/>
                    </a:cubicBezTo>
                    <a:cubicBezTo>
                      <a:pt x="254" y="921"/>
                      <a:pt x="254" y="917"/>
                      <a:pt x="252" y="911"/>
                    </a:cubicBezTo>
                    <a:cubicBezTo>
                      <a:pt x="250" y="905"/>
                      <a:pt x="264" y="911"/>
                      <a:pt x="269" y="911"/>
                    </a:cubicBezTo>
                    <a:cubicBezTo>
                      <a:pt x="274" y="911"/>
                      <a:pt x="277" y="906"/>
                      <a:pt x="277" y="906"/>
                    </a:cubicBezTo>
                    <a:cubicBezTo>
                      <a:pt x="277" y="889"/>
                      <a:pt x="277" y="889"/>
                      <a:pt x="277" y="889"/>
                    </a:cubicBezTo>
                    <a:cubicBezTo>
                      <a:pt x="284" y="889"/>
                      <a:pt x="284" y="889"/>
                      <a:pt x="284" y="889"/>
                    </a:cubicBezTo>
                    <a:cubicBezTo>
                      <a:pt x="284" y="889"/>
                      <a:pt x="280" y="880"/>
                      <a:pt x="277" y="877"/>
                    </a:cubicBezTo>
                    <a:cubicBezTo>
                      <a:pt x="274" y="874"/>
                      <a:pt x="268" y="857"/>
                      <a:pt x="268" y="857"/>
                    </a:cubicBezTo>
                    <a:cubicBezTo>
                      <a:pt x="283" y="854"/>
                      <a:pt x="283" y="854"/>
                      <a:pt x="283" y="854"/>
                    </a:cubicBezTo>
                    <a:cubicBezTo>
                      <a:pt x="283" y="854"/>
                      <a:pt x="290" y="848"/>
                      <a:pt x="292" y="841"/>
                    </a:cubicBezTo>
                    <a:cubicBezTo>
                      <a:pt x="294" y="834"/>
                      <a:pt x="275" y="828"/>
                      <a:pt x="275" y="828"/>
                    </a:cubicBezTo>
                    <a:cubicBezTo>
                      <a:pt x="275" y="828"/>
                      <a:pt x="267" y="821"/>
                      <a:pt x="266" y="814"/>
                    </a:cubicBezTo>
                    <a:cubicBezTo>
                      <a:pt x="265" y="807"/>
                      <a:pt x="271" y="800"/>
                      <a:pt x="272" y="795"/>
                    </a:cubicBezTo>
                    <a:cubicBezTo>
                      <a:pt x="273" y="790"/>
                      <a:pt x="262" y="783"/>
                      <a:pt x="262" y="783"/>
                    </a:cubicBezTo>
                    <a:cubicBezTo>
                      <a:pt x="262" y="783"/>
                      <a:pt x="256" y="775"/>
                      <a:pt x="254" y="770"/>
                    </a:cubicBezTo>
                    <a:cubicBezTo>
                      <a:pt x="252" y="765"/>
                      <a:pt x="261" y="763"/>
                      <a:pt x="267" y="757"/>
                    </a:cubicBezTo>
                    <a:cubicBezTo>
                      <a:pt x="273" y="751"/>
                      <a:pt x="255" y="751"/>
                      <a:pt x="255" y="748"/>
                    </a:cubicBezTo>
                    <a:cubicBezTo>
                      <a:pt x="255" y="745"/>
                      <a:pt x="261" y="740"/>
                      <a:pt x="261" y="740"/>
                    </a:cubicBezTo>
                    <a:cubicBezTo>
                      <a:pt x="266" y="734"/>
                      <a:pt x="266" y="734"/>
                      <a:pt x="266" y="734"/>
                    </a:cubicBezTo>
                    <a:cubicBezTo>
                      <a:pt x="266" y="734"/>
                      <a:pt x="272" y="729"/>
                      <a:pt x="279" y="724"/>
                    </a:cubicBezTo>
                    <a:cubicBezTo>
                      <a:pt x="286" y="719"/>
                      <a:pt x="301" y="707"/>
                      <a:pt x="301" y="707"/>
                    </a:cubicBezTo>
                    <a:cubicBezTo>
                      <a:pt x="301" y="707"/>
                      <a:pt x="328" y="712"/>
                      <a:pt x="332" y="703"/>
                    </a:cubicBezTo>
                    <a:cubicBezTo>
                      <a:pt x="336" y="694"/>
                      <a:pt x="315" y="684"/>
                      <a:pt x="315" y="684"/>
                    </a:cubicBezTo>
                    <a:cubicBezTo>
                      <a:pt x="315" y="684"/>
                      <a:pt x="324" y="678"/>
                      <a:pt x="329" y="674"/>
                    </a:cubicBezTo>
                    <a:cubicBezTo>
                      <a:pt x="334" y="670"/>
                      <a:pt x="344" y="658"/>
                      <a:pt x="344" y="658"/>
                    </a:cubicBezTo>
                    <a:cubicBezTo>
                      <a:pt x="348" y="629"/>
                      <a:pt x="348" y="629"/>
                      <a:pt x="348" y="629"/>
                    </a:cubicBezTo>
                    <a:cubicBezTo>
                      <a:pt x="351" y="624"/>
                      <a:pt x="351" y="624"/>
                      <a:pt x="351" y="624"/>
                    </a:cubicBezTo>
                    <a:cubicBezTo>
                      <a:pt x="349" y="608"/>
                      <a:pt x="349" y="608"/>
                      <a:pt x="349" y="608"/>
                    </a:cubicBezTo>
                    <a:cubicBezTo>
                      <a:pt x="363" y="615"/>
                      <a:pt x="363" y="615"/>
                      <a:pt x="363" y="615"/>
                    </a:cubicBezTo>
                    <a:cubicBezTo>
                      <a:pt x="363" y="615"/>
                      <a:pt x="372" y="610"/>
                      <a:pt x="379" y="608"/>
                    </a:cubicBezTo>
                    <a:cubicBezTo>
                      <a:pt x="386" y="606"/>
                      <a:pt x="372" y="592"/>
                      <a:pt x="372" y="592"/>
                    </a:cubicBezTo>
                    <a:cubicBezTo>
                      <a:pt x="386" y="591"/>
                      <a:pt x="386" y="591"/>
                      <a:pt x="386" y="591"/>
                    </a:cubicBezTo>
                    <a:cubicBezTo>
                      <a:pt x="386" y="591"/>
                      <a:pt x="388" y="584"/>
                      <a:pt x="394" y="579"/>
                    </a:cubicBezTo>
                    <a:cubicBezTo>
                      <a:pt x="400" y="574"/>
                      <a:pt x="405" y="573"/>
                      <a:pt x="405" y="573"/>
                    </a:cubicBezTo>
                    <a:cubicBezTo>
                      <a:pt x="410" y="563"/>
                      <a:pt x="410" y="563"/>
                      <a:pt x="410" y="563"/>
                    </a:cubicBezTo>
                    <a:cubicBezTo>
                      <a:pt x="410" y="563"/>
                      <a:pt x="399" y="555"/>
                      <a:pt x="398" y="551"/>
                    </a:cubicBezTo>
                    <a:cubicBezTo>
                      <a:pt x="397" y="547"/>
                      <a:pt x="414" y="539"/>
                      <a:pt x="414" y="539"/>
                    </a:cubicBezTo>
                    <a:cubicBezTo>
                      <a:pt x="423" y="529"/>
                      <a:pt x="423" y="529"/>
                      <a:pt x="423" y="529"/>
                    </a:cubicBezTo>
                    <a:cubicBezTo>
                      <a:pt x="449" y="525"/>
                      <a:pt x="449" y="525"/>
                      <a:pt x="449" y="525"/>
                    </a:cubicBezTo>
                    <a:cubicBezTo>
                      <a:pt x="449" y="525"/>
                      <a:pt x="464" y="525"/>
                      <a:pt x="467" y="520"/>
                    </a:cubicBezTo>
                    <a:cubicBezTo>
                      <a:pt x="470" y="515"/>
                      <a:pt x="460" y="504"/>
                      <a:pt x="468" y="498"/>
                    </a:cubicBezTo>
                    <a:cubicBezTo>
                      <a:pt x="476" y="492"/>
                      <a:pt x="476" y="505"/>
                      <a:pt x="476" y="505"/>
                    </a:cubicBezTo>
                    <a:cubicBezTo>
                      <a:pt x="495" y="501"/>
                      <a:pt x="495" y="501"/>
                      <a:pt x="495" y="501"/>
                    </a:cubicBezTo>
                    <a:cubicBezTo>
                      <a:pt x="508" y="505"/>
                      <a:pt x="508" y="505"/>
                      <a:pt x="508" y="505"/>
                    </a:cubicBezTo>
                    <a:cubicBezTo>
                      <a:pt x="517" y="505"/>
                      <a:pt x="517" y="505"/>
                      <a:pt x="517" y="505"/>
                    </a:cubicBezTo>
                    <a:cubicBezTo>
                      <a:pt x="517" y="505"/>
                      <a:pt x="528" y="511"/>
                      <a:pt x="536" y="509"/>
                    </a:cubicBezTo>
                    <a:cubicBezTo>
                      <a:pt x="544" y="507"/>
                      <a:pt x="531" y="501"/>
                      <a:pt x="531" y="496"/>
                    </a:cubicBezTo>
                    <a:cubicBezTo>
                      <a:pt x="531" y="491"/>
                      <a:pt x="538" y="494"/>
                      <a:pt x="538" y="494"/>
                    </a:cubicBezTo>
                    <a:cubicBezTo>
                      <a:pt x="537" y="480"/>
                      <a:pt x="537" y="480"/>
                      <a:pt x="537" y="480"/>
                    </a:cubicBezTo>
                    <a:cubicBezTo>
                      <a:pt x="557" y="481"/>
                      <a:pt x="557" y="481"/>
                      <a:pt x="557" y="481"/>
                    </a:cubicBezTo>
                    <a:cubicBezTo>
                      <a:pt x="555" y="479"/>
                      <a:pt x="554" y="478"/>
                      <a:pt x="554" y="478"/>
                    </a:cubicBezTo>
                    <a:cubicBezTo>
                      <a:pt x="556" y="473"/>
                      <a:pt x="556" y="473"/>
                      <a:pt x="556" y="473"/>
                    </a:cubicBezTo>
                    <a:cubicBezTo>
                      <a:pt x="568" y="478"/>
                      <a:pt x="568" y="478"/>
                      <a:pt x="568" y="478"/>
                    </a:cubicBezTo>
                    <a:cubicBezTo>
                      <a:pt x="570" y="469"/>
                      <a:pt x="570" y="469"/>
                      <a:pt x="570" y="469"/>
                    </a:cubicBezTo>
                    <a:cubicBezTo>
                      <a:pt x="570" y="469"/>
                      <a:pt x="577" y="466"/>
                      <a:pt x="581" y="466"/>
                    </a:cubicBezTo>
                    <a:cubicBezTo>
                      <a:pt x="585" y="466"/>
                      <a:pt x="594" y="480"/>
                      <a:pt x="594" y="480"/>
                    </a:cubicBezTo>
                    <a:cubicBezTo>
                      <a:pt x="603" y="481"/>
                      <a:pt x="603" y="481"/>
                      <a:pt x="603" y="481"/>
                    </a:cubicBezTo>
                    <a:cubicBezTo>
                      <a:pt x="603" y="481"/>
                      <a:pt x="604" y="491"/>
                      <a:pt x="618" y="492"/>
                    </a:cubicBezTo>
                    <a:cubicBezTo>
                      <a:pt x="632" y="493"/>
                      <a:pt x="632" y="494"/>
                      <a:pt x="632" y="494"/>
                    </a:cubicBezTo>
                    <a:cubicBezTo>
                      <a:pt x="632" y="494"/>
                      <a:pt x="632" y="494"/>
                      <a:pt x="642" y="497"/>
                    </a:cubicBezTo>
                    <a:cubicBezTo>
                      <a:pt x="652" y="500"/>
                      <a:pt x="661" y="492"/>
                      <a:pt x="661" y="492"/>
                    </a:cubicBezTo>
                    <a:cubicBezTo>
                      <a:pt x="661" y="492"/>
                      <a:pt x="672" y="488"/>
                      <a:pt x="677" y="489"/>
                    </a:cubicBezTo>
                    <a:cubicBezTo>
                      <a:pt x="682" y="490"/>
                      <a:pt x="694" y="498"/>
                      <a:pt x="702" y="498"/>
                    </a:cubicBezTo>
                    <a:cubicBezTo>
                      <a:pt x="710" y="498"/>
                      <a:pt x="704" y="488"/>
                      <a:pt x="711" y="483"/>
                    </a:cubicBezTo>
                    <a:cubicBezTo>
                      <a:pt x="718" y="478"/>
                      <a:pt x="727" y="483"/>
                      <a:pt x="727" y="483"/>
                    </a:cubicBezTo>
                    <a:cubicBezTo>
                      <a:pt x="727" y="483"/>
                      <a:pt x="728" y="467"/>
                      <a:pt x="727" y="463"/>
                    </a:cubicBezTo>
                    <a:cubicBezTo>
                      <a:pt x="726" y="459"/>
                      <a:pt x="730" y="446"/>
                      <a:pt x="730" y="446"/>
                    </a:cubicBezTo>
                    <a:cubicBezTo>
                      <a:pt x="730" y="446"/>
                      <a:pt x="747" y="437"/>
                      <a:pt x="752" y="438"/>
                    </a:cubicBezTo>
                    <a:cubicBezTo>
                      <a:pt x="757" y="439"/>
                      <a:pt x="768" y="440"/>
                      <a:pt x="768" y="440"/>
                    </a:cubicBezTo>
                    <a:cubicBezTo>
                      <a:pt x="768" y="440"/>
                      <a:pt x="779" y="433"/>
                      <a:pt x="794" y="434"/>
                    </a:cubicBezTo>
                    <a:cubicBezTo>
                      <a:pt x="809" y="435"/>
                      <a:pt x="802" y="441"/>
                      <a:pt x="802" y="441"/>
                    </a:cubicBezTo>
                    <a:cubicBezTo>
                      <a:pt x="825" y="446"/>
                      <a:pt x="825" y="446"/>
                      <a:pt x="825" y="446"/>
                    </a:cubicBezTo>
                    <a:cubicBezTo>
                      <a:pt x="825" y="446"/>
                      <a:pt x="839" y="447"/>
                      <a:pt x="843" y="464"/>
                    </a:cubicBezTo>
                    <a:cubicBezTo>
                      <a:pt x="847" y="481"/>
                      <a:pt x="834" y="469"/>
                      <a:pt x="834" y="469"/>
                    </a:cubicBezTo>
                    <a:cubicBezTo>
                      <a:pt x="832" y="477"/>
                      <a:pt x="832" y="477"/>
                      <a:pt x="832" y="477"/>
                    </a:cubicBezTo>
                    <a:cubicBezTo>
                      <a:pt x="836" y="479"/>
                      <a:pt x="840" y="480"/>
                      <a:pt x="845" y="480"/>
                    </a:cubicBezTo>
                    <a:cubicBezTo>
                      <a:pt x="854" y="479"/>
                      <a:pt x="855" y="465"/>
                      <a:pt x="855" y="465"/>
                    </a:cubicBezTo>
                    <a:cubicBezTo>
                      <a:pt x="870" y="464"/>
                      <a:pt x="870" y="464"/>
                      <a:pt x="870" y="464"/>
                    </a:cubicBezTo>
                    <a:cubicBezTo>
                      <a:pt x="874" y="456"/>
                      <a:pt x="874" y="456"/>
                      <a:pt x="874" y="456"/>
                    </a:cubicBezTo>
                    <a:cubicBezTo>
                      <a:pt x="874" y="456"/>
                      <a:pt x="873" y="459"/>
                      <a:pt x="891" y="456"/>
                    </a:cubicBezTo>
                    <a:cubicBezTo>
                      <a:pt x="899" y="455"/>
                      <a:pt x="903" y="451"/>
                      <a:pt x="905" y="448"/>
                    </a:cubicBezTo>
                    <a:lnTo>
                      <a:pt x="901" y="448"/>
                    </a:lnTo>
                    <a:close/>
                    <a:moveTo>
                      <a:pt x="372" y="489"/>
                    </a:moveTo>
                    <a:cubicBezTo>
                      <a:pt x="357" y="498"/>
                      <a:pt x="357" y="498"/>
                      <a:pt x="357" y="498"/>
                    </a:cubicBezTo>
                    <a:cubicBezTo>
                      <a:pt x="362" y="511"/>
                      <a:pt x="362" y="511"/>
                      <a:pt x="362" y="511"/>
                    </a:cubicBezTo>
                    <a:cubicBezTo>
                      <a:pt x="380" y="512"/>
                      <a:pt x="380" y="512"/>
                      <a:pt x="380" y="512"/>
                    </a:cubicBezTo>
                    <a:cubicBezTo>
                      <a:pt x="376" y="499"/>
                      <a:pt x="376" y="499"/>
                      <a:pt x="376" y="499"/>
                    </a:cubicBezTo>
                    <a:lnTo>
                      <a:pt x="372" y="489"/>
                    </a:lnTo>
                    <a:close/>
                    <a:moveTo>
                      <a:pt x="346" y="483"/>
                    </a:moveTo>
                    <a:cubicBezTo>
                      <a:pt x="335" y="487"/>
                      <a:pt x="339" y="504"/>
                      <a:pt x="339" y="504"/>
                    </a:cubicBezTo>
                    <a:cubicBezTo>
                      <a:pt x="351" y="516"/>
                      <a:pt x="351" y="516"/>
                      <a:pt x="351" y="516"/>
                    </a:cubicBezTo>
                    <a:cubicBezTo>
                      <a:pt x="351" y="516"/>
                      <a:pt x="357" y="479"/>
                      <a:pt x="346" y="483"/>
                    </a:cubicBezTo>
                    <a:close/>
                    <a:moveTo>
                      <a:pt x="403" y="498"/>
                    </a:moveTo>
                    <a:cubicBezTo>
                      <a:pt x="412" y="493"/>
                      <a:pt x="427" y="490"/>
                      <a:pt x="408" y="486"/>
                    </a:cubicBezTo>
                    <a:cubicBezTo>
                      <a:pt x="389" y="483"/>
                      <a:pt x="380" y="494"/>
                      <a:pt x="380" y="494"/>
                    </a:cubicBezTo>
                    <a:cubicBezTo>
                      <a:pt x="386" y="501"/>
                      <a:pt x="386" y="501"/>
                      <a:pt x="386" y="501"/>
                    </a:cubicBezTo>
                    <a:lnTo>
                      <a:pt x="403" y="498"/>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98" name="Freeform 120">
                <a:extLst>
                  <a:ext uri="{FF2B5EF4-FFF2-40B4-BE49-F238E27FC236}">
                    <a16:creationId xmlns:a16="http://schemas.microsoft.com/office/drawing/2014/main" id="{EF25A75D-C96F-4407-A9C8-BCA3F3AB2BB0}"/>
                  </a:ext>
                </a:extLst>
              </p:cNvPr>
              <p:cNvSpPr>
                <a:spLocks noEditPoints="1"/>
              </p:cNvSpPr>
              <p:nvPr>
                <p:custDataLst>
                  <p:tags r:id="rId79"/>
                </p:custDataLst>
              </p:nvPr>
            </p:nvSpPr>
            <p:spPr bwMode="gray">
              <a:xfrm>
                <a:off x="4270350" y="3081350"/>
                <a:ext cx="355598" cy="227013"/>
              </a:xfrm>
              <a:custGeom>
                <a:avLst/>
                <a:gdLst>
                  <a:gd name="T0" fmla="*/ 527 w 591"/>
                  <a:gd name="T1" fmla="*/ 205 h 413"/>
                  <a:gd name="T2" fmla="*/ 511 w 591"/>
                  <a:gd name="T3" fmla="*/ 226 h 413"/>
                  <a:gd name="T4" fmla="*/ 531 w 591"/>
                  <a:gd name="T5" fmla="*/ 237 h 413"/>
                  <a:gd name="T6" fmla="*/ 536 w 591"/>
                  <a:gd name="T7" fmla="*/ 212 h 413"/>
                  <a:gd name="T8" fmla="*/ 461 w 591"/>
                  <a:gd name="T9" fmla="*/ 249 h 413"/>
                  <a:gd name="T10" fmla="*/ 560 w 591"/>
                  <a:gd name="T11" fmla="*/ 198 h 413"/>
                  <a:gd name="T12" fmla="*/ 560 w 591"/>
                  <a:gd name="T13" fmla="*/ 198 h 413"/>
                  <a:gd name="T14" fmla="*/ 534 w 591"/>
                  <a:gd name="T15" fmla="*/ 86 h 413"/>
                  <a:gd name="T16" fmla="*/ 527 w 591"/>
                  <a:gd name="T17" fmla="*/ 67 h 413"/>
                  <a:gd name="T18" fmla="*/ 514 w 591"/>
                  <a:gd name="T19" fmla="*/ 77 h 413"/>
                  <a:gd name="T20" fmla="*/ 496 w 591"/>
                  <a:gd name="T21" fmla="*/ 70 h 413"/>
                  <a:gd name="T22" fmla="*/ 479 w 591"/>
                  <a:gd name="T23" fmla="*/ 68 h 413"/>
                  <a:gd name="T24" fmla="*/ 459 w 591"/>
                  <a:gd name="T25" fmla="*/ 56 h 413"/>
                  <a:gd name="T26" fmla="*/ 437 w 591"/>
                  <a:gd name="T27" fmla="*/ 48 h 413"/>
                  <a:gd name="T28" fmla="*/ 417 w 591"/>
                  <a:gd name="T29" fmla="*/ 63 h 413"/>
                  <a:gd name="T30" fmla="*/ 395 w 591"/>
                  <a:gd name="T31" fmla="*/ 54 h 413"/>
                  <a:gd name="T32" fmla="*/ 376 w 591"/>
                  <a:gd name="T33" fmla="*/ 51 h 413"/>
                  <a:gd name="T34" fmla="*/ 342 w 591"/>
                  <a:gd name="T35" fmla="*/ 38 h 413"/>
                  <a:gd name="T36" fmla="*/ 327 w 591"/>
                  <a:gd name="T37" fmla="*/ 29 h 413"/>
                  <a:gd name="T38" fmla="*/ 320 w 591"/>
                  <a:gd name="T39" fmla="*/ 23 h 413"/>
                  <a:gd name="T40" fmla="*/ 234 w 591"/>
                  <a:gd name="T41" fmla="*/ 22 h 413"/>
                  <a:gd name="T42" fmla="*/ 156 w 591"/>
                  <a:gd name="T43" fmla="*/ 7 h 413"/>
                  <a:gd name="T44" fmla="*/ 91 w 591"/>
                  <a:gd name="T45" fmla="*/ 8 h 413"/>
                  <a:gd name="T46" fmla="*/ 49 w 591"/>
                  <a:gd name="T47" fmla="*/ 18 h 413"/>
                  <a:gd name="T48" fmla="*/ 21 w 591"/>
                  <a:gd name="T49" fmla="*/ 67 h 413"/>
                  <a:gd name="T50" fmla="*/ 15 w 591"/>
                  <a:gd name="T51" fmla="*/ 101 h 413"/>
                  <a:gd name="T52" fmla="*/ 50 w 591"/>
                  <a:gd name="T53" fmla="*/ 94 h 413"/>
                  <a:gd name="T54" fmla="*/ 61 w 591"/>
                  <a:gd name="T55" fmla="*/ 99 h 413"/>
                  <a:gd name="T56" fmla="*/ 85 w 591"/>
                  <a:gd name="T57" fmla="*/ 96 h 413"/>
                  <a:gd name="T58" fmla="*/ 115 w 591"/>
                  <a:gd name="T59" fmla="*/ 108 h 413"/>
                  <a:gd name="T60" fmla="*/ 94 w 591"/>
                  <a:gd name="T61" fmla="*/ 144 h 413"/>
                  <a:gd name="T62" fmla="*/ 96 w 591"/>
                  <a:gd name="T63" fmla="*/ 181 h 413"/>
                  <a:gd name="T64" fmla="*/ 94 w 591"/>
                  <a:gd name="T65" fmla="*/ 205 h 413"/>
                  <a:gd name="T66" fmla="*/ 61 w 591"/>
                  <a:gd name="T67" fmla="*/ 217 h 413"/>
                  <a:gd name="T68" fmla="*/ 77 w 591"/>
                  <a:gd name="T69" fmla="*/ 240 h 413"/>
                  <a:gd name="T70" fmla="*/ 66 w 591"/>
                  <a:gd name="T71" fmla="*/ 276 h 413"/>
                  <a:gd name="T72" fmla="*/ 84 w 591"/>
                  <a:gd name="T73" fmla="*/ 301 h 413"/>
                  <a:gd name="T74" fmla="*/ 60 w 591"/>
                  <a:gd name="T75" fmla="*/ 325 h 413"/>
                  <a:gd name="T76" fmla="*/ 61 w 591"/>
                  <a:gd name="T77" fmla="*/ 351 h 413"/>
                  <a:gd name="T78" fmla="*/ 81 w 591"/>
                  <a:gd name="T79" fmla="*/ 350 h 413"/>
                  <a:gd name="T80" fmla="*/ 109 w 591"/>
                  <a:gd name="T81" fmla="*/ 365 h 413"/>
                  <a:gd name="T82" fmla="*/ 110 w 591"/>
                  <a:gd name="T83" fmla="*/ 383 h 413"/>
                  <a:gd name="T84" fmla="*/ 136 w 591"/>
                  <a:gd name="T85" fmla="*/ 413 h 413"/>
                  <a:gd name="T86" fmla="*/ 177 w 591"/>
                  <a:gd name="T87" fmla="*/ 389 h 413"/>
                  <a:gd name="T88" fmla="*/ 235 w 591"/>
                  <a:gd name="T89" fmla="*/ 377 h 413"/>
                  <a:gd name="T90" fmla="*/ 265 w 591"/>
                  <a:gd name="T91" fmla="*/ 378 h 413"/>
                  <a:gd name="T92" fmla="*/ 297 w 591"/>
                  <a:gd name="T93" fmla="*/ 374 h 413"/>
                  <a:gd name="T94" fmla="*/ 331 w 591"/>
                  <a:gd name="T95" fmla="*/ 329 h 413"/>
                  <a:gd name="T96" fmla="*/ 356 w 591"/>
                  <a:gd name="T97" fmla="*/ 315 h 413"/>
                  <a:gd name="T98" fmla="*/ 401 w 591"/>
                  <a:gd name="T99" fmla="*/ 270 h 413"/>
                  <a:gd name="T100" fmla="*/ 385 w 591"/>
                  <a:gd name="T101" fmla="*/ 215 h 413"/>
                  <a:gd name="T102" fmla="*/ 424 w 591"/>
                  <a:gd name="T103" fmla="*/ 172 h 413"/>
                  <a:gd name="T104" fmla="*/ 438 w 591"/>
                  <a:gd name="T105" fmla="*/ 146 h 413"/>
                  <a:gd name="T106" fmla="*/ 514 w 591"/>
                  <a:gd name="T107" fmla="*/ 1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91" h="413">
                    <a:moveTo>
                      <a:pt x="536" y="212"/>
                    </a:moveTo>
                    <a:cubicBezTo>
                      <a:pt x="536" y="212"/>
                      <a:pt x="533" y="205"/>
                      <a:pt x="527" y="205"/>
                    </a:cubicBezTo>
                    <a:cubicBezTo>
                      <a:pt x="521" y="205"/>
                      <a:pt x="498" y="218"/>
                      <a:pt x="501" y="223"/>
                    </a:cubicBezTo>
                    <a:cubicBezTo>
                      <a:pt x="504" y="228"/>
                      <a:pt x="511" y="226"/>
                      <a:pt x="511" y="226"/>
                    </a:cubicBezTo>
                    <a:cubicBezTo>
                      <a:pt x="511" y="226"/>
                      <a:pt x="515" y="235"/>
                      <a:pt x="519" y="236"/>
                    </a:cubicBezTo>
                    <a:cubicBezTo>
                      <a:pt x="523" y="237"/>
                      <a:pt x="531" y="237"/>
                      <a:pt x="531" y="237"/>
                    </a:cubicBezTo>
                    <a:cubicBezTo>
                      <a:pt x="537" y="235"/>
                      <a:pt x="547" y="225"/>
                      <a:pt x="546" y="218"/>
                    </a:cubicBezTo>
                    <a:cubicBezTo>
                      <a:pt x="545" y="211"/>
                      <a:pt x="536" y="212"/>
                      <a:pt x="536" y="212"/>
                    </a:cubicBezTo>
                    <a:close/>
                    <a:moveTo>
                      <a:pt x="447" y="261"/>
                    </a:moveTo>
                    <a:cubicBezTo>
                      <a:pt x="456" y="270"/>
                      <a:pt x="466" y="259"/>
                      <a:pt x="461" y="249"/>
                    </a:cubicBezTo>
                    <a:cubicBezTo>
                      <a:pt x="456" y="239"/>
                      <a:pt x="447" y="261"/>
                      <a:pt x="447" y="261"/>
                    </a:cubicBezTo>
                    <a:close/>
                    <a:moveTo>
                      <a:pt x="560" y="198"/>
                    </a:moveTo>
                    <a:cubicBezTo>
                      <a:pt x="560" y="198"/>
                      <a:pt x="573" y="218"/>
                      <a:pt x="582" y="213"/>
                    </a:cubicBezTo>
                    <a:cubicBezTo>
                      <a:pt x="591" y="208"/>
                      <a:pt x="570" y="191"/>
                      <a:pt x="560" y="198"/>
                    </a:cubicBezTo>
                    <a:close/>
                    <a:moveTo>
                      <a:pt x="535" y="101"/>
                    </a:moveTo>
                    <a:cubicBezTo>
                      <a:pt x="536" y="98"/>
                      <a:pt x="534" y="86"/>
                      <a:pt x="534" y="86"/>
                    </a:cubicBezTo>
                    <a:cubicBezTo>
                      <a:pt x="542" y="81"/>
                      <a:pt x="542" y="81"/>
                      <a:pt x="542" y="81"/>
                    </a:cubicBezTo>
                    <a:cubicBezTo>
                      <a:pt x="542" y="81"/>
                      <a:pt x="530" y="75"/>
                      <a:pt x="527" y="67"/>
                    </a:cubicBezTo>
                    <a:cubicBezTo>
                      <a:pt x="521" y="67"/>
                      <a:pt x="521" y="67"/>
                      <a:pt x="521" y="67"/>
                    </a:cubicBezTo>
                    <a:cubicBezTo>
                      <a:pt x="521" y="67"/>
                      <a:pt x="521" y="77"/>
                      <a:pt x="514" y="77"/>
                    </a:cubicBezTo>
                    <a:cubicBezTo>
                      <a:pt x="507" y="77"/>
                      <a:pt x="506" y="77"/>
                      <a:pt x="506" y="77"/>
                    </a:cubicBezTo>
                    <a:cubicBezTo>
                      <a:pt x="506" y="77"/>
                      <a:pt x="499" y="69"/>
                      <a:pt x="496" y="70"/>
                    </a:cubicBezTo>
                    <a:cubicBezTo>
                      <a:pt x="493" y="71"/>
                      <a:pt x="486" y="73"/>
                      <a:pt x="486" y="73"/>
                    </a:cubicBezTo>
                    <a:cubicBezTo>
                      <a:pt x="486" y="73"/>
                      <a:pt x="483" y="67"/>
                      <a:pt x="479" y="68"/>
                    </a:cubicBezTo>
                    <a:cubicBezTo>
                      <a:pt x="475" y="69"/>
                      <a:pt x="466" y="71"/>
                      <a:pt x="466" y="71"/>
                    </a:cubicBezTo>
                    <a:cubicBezTo>
                      <a:pt x="459" y="56"/>
                      <a:pt x="459" y="56"/>
                      <a:pt x="459" y="56"/>
                    </a:cubicBezTo>
                    <a:cubicBezTo>
                      <a:pt x="450" y="55"/>
                      <a:pt x="450" y="55"/>
                      <a:pt x="450" y="55"/>
                    </a:cubicBezTo>
                    <a:cubicBezTo>
                      <a:pt x="450" y="55"/>
                      <a:pt x="450" y="48"/>
                      <a:pt x="437" y="48"/>
                    </a:cubicBezTo>
                    <a:cubicBezTo>
                      <a:pt x="424" y="48"/>
                      <a:pt x="430" y="60"/>
                      <a:pt x="430" y="60"/>
                    </a:cubicBezTo>
                    <a:cubicBezTo>
                      <a:pt x="417" y="63"/>
                      <a:pt x="417" y="63"/>
                      <a:pt x="417" y="63"/>
                    </a:cubicBezTo>
                    <a:cubicBezTo>
                      <a:pt x="415" y="55"/>
                      <a:pt x="415" y="55"/>
                      <a:pt x="415" y="55"/>
                    </a:cubicBezTo>
                    <a:cubicBezTo>
                      <a:pt x="395" y="54"/>
                      <a:pt x="395" y="54"/>
                      <a:pt x="395" y="54"/>
                    </a:cubicBezTo>
                    <a:cubicBezTo>
                      <a:pt x="395" y="54"/>
                      <a:pt x="394" y="51"/>
                      <a:pt x="390" y="49"/>
                    </a:cubicBezTo>
                    <a:cubicBezTo>
                      <a:pt x="386" y="47"/>
                      <a:pt x="376" y="51"/>
                      <a:pt x="376" y="51"/>
                    </a:cubicBezTo>
                    <a:cubicBezTo>
                      <a:pt x="376" y="51"/>
                      <a:pt x="370" y="42"/>
                      <a:pt x="363" y="41"/>
                    </a:cubicBezTo>
                    <a:cubicBezTo>
                      <a:pt x="356" y="40"/>
                      <a:pt x="342" y="38"/>
                      <a:pt x="342" y="38"/>
                    </a:cubicBezTo>
                    <a:cubicBezTo>
                      <a:pt x="342" y="38"/>
                      <a:pt x="348" y="35"/>
                      <a:pt x="342" y="28"/>
                    </a:cubicBezTo>
                    <a:cubicBezTo>
                      <a:pt x="336" y="21"/>
                      <a:pt x="327" y="29"/>
                      <a:pt x="327" y="29"/>
                    </a:cubicBezTo>
                    <a:cubicBezTo>
                      <a:pt x="326" y="23"/>
                      <a:pt x="326" y="23"/>
                      <a:pt x="326" y="23"/>
                    </a:cubicBezTo>
                    <a:cubicBezTo>
                      <a:pt x="324" y="23"/>
                      <a:pt x="322" y="23"/>
                      <a:pt x="320" y="23"/>
                    </a:cubicBezTo>
                    <a:cubicBezTo>
                      <a:pt x="301" y="23"/>
                      <a:pt x="254" y="14"/>
                      <a:pt x="254" y="14"/>
                    </a:cubicBezTo>
                    <a:cubicBezTo>
                      <a:pt x="234" y="22"/>
                      <a:pt x="234" y="22"/>
                      <a:pt x="234" y="22"/>
                    </a:cubicBezTo>
                    <a:cubicBezTo>
                      <a:pt x="196" y="18"/>
                      <a:pt x="196" y="18"/>
                      <a:pt x="196" y="18"/>
                    </a:cubicBezTo>
                    <a:cubicBezTo>
                      <a:pt x="196" y="18"/>
                      <a:pt x="171" y="4"/>
                      <a:pt x="156" y="7"/>
                    </a:cubicBezTo>
                    <a:cubicBezTo>
                      <a:pt x="141" y="10"/>
                      <a:pt x="120" y="11"/>
                      <a:pt x="115" y="11"/>
                    </a:cubicBezTo>
                    <a:cubicBezTo>
                      <a:pt x="110" y="11"/>
                      <a:pt x="91" y="8"/>
                      <a:pt x="91" y="8"/>
                    </a:cubicBezTo>
                    <a:cubicBezTo>
                      <a:pt x="91" y="8"/>
                      <a:pt x="81" y="0"/>
                      <a:pt x="75" y="0"/>
                    </a:cubicBezTo>
                    <a:cubicBezTo>
                      <a:pt x="69" y="0"/>
                      <a:pt x="49" y="18"/>
                      <a:pt x="49" y="18"/>
                    </a:cubicBezTo>
                    <a:cubicBezTo>
                      <a:pt x="49" y="18"/>
                      <a:pt x="4" y="25"/>
                      <a:pt x="2" y="38"/>
                    </a:cubicBezTo>
                    <a:cubicBezTo>
                      <a:pt x="0" y="51"/>
                      <a:pt x="21" y="67"/>
                      <a:pt x="21" y="67"/>
                    </a:cubicBezTo>
                    <a:cubicBezTo>
                      <a:pt x="13" y="90"/>
                      <a:pt x="13" y="90"/>
                      <a:pt x="13" y="90"/>
                    </a:cubicBezTo>
                    <a:cubicBezTo>
                      <a:pt x="13" y="90"/>
                      <a:pt x="14" y="94"/>
                      <a:pt x="15" y="101"/>
                    </a:cubicBezTo>
                    <a:cubicBezTo>
                      <a:pt x="20" y="95"/>
                      <a:pt x="27" y="88"/>
                      <a:pt x="36" y="88"/>
                    </a:cubicBezTo>
                    <a:cubicBezTo>
                      <a:pt x="50" y="88"/>
                      <a:pt x="55" y="89"/>
                      <a:pt x="50" y="94"/>
                    </a:cubicBezTo>
                    <a:cubicBezTo>
                      <a:pt x="45" y="99"/>
                      <a:pt x="38" y="103"/>
                      <a:pt x="44" y="103"/>
                    </a:cubicBezTo>
                    <a:cubicBezTo>
                      <a:pt x="50" y="103"/>
                      <a:pt x="54" y="99"/>
                      <a:pt x="61" y="99"/>
                    </a:cubicBezTo>
                    <a:cubicBezTo>
                      <a:pt x="68" y="99"/>
                      <a:pt x="70" y="108"/>
                      <a:pt x="78" y="104"/>
                    </a:cubicBezTo>
                    <a:cubicBezTo>
                      <a:pt x="86" y="100"/>
                      <a:pt x="76" y="96"/>
                      <a:pt x="85" y="96"/>
                    </a:cubicBezTo>
                    <a:cubicBezTo>
                      <a:pt x="94" y="96"/>
                      <a:pt x="110" y="93"/>
                      <a:pt x="114" y="95"/>
                    </a:cubicBezTo>
                    <a:cubicBezTo>
                      <a:pt x="118" y="97"/>
                      <a:pt x="115" y="108"/>
                      <a:pt x="115" y="108"/>
                    </a:cubicBezTo>
                    <a:cubicBezTo>
                      <a:pt x="115" y="108"/>
                      <a:pt x="129" y="109"/>
                      <a:pt x="128" y="117"/>
                    </a:cubicBezTo>
                    <a:cubicBezTo>
                      <a:pt x="127" y="125"/>
                      <a:pt x="95" y="140"/>
                      <a:pt x="94" y="144"/>
                    </a:cubicBezTo>
                    <a:cubicBezTo>
                      <a:pt x="93" y="148"/>
                      <a:pt x="102" y="153"/>
                      <a:pt x="102" y="153"/>
                    </a:cubicBezTo>
                    <a:cubicBezTo>
                      <a:pt x="102" y="153"/>
                      <a:pt x="97" y="178"/>
                      <a:pt x="96" y="181"/>
                    </a:cubicBezTo>
                    <a:cubicBezTo>
                      <a:pt x="95" y="184"/>
                      <a:pt x="90" y="188"/>
                      <a:pt x="90" y="188"/>
                    </a:cubicBezTo>
                    <a:cubicBezTo>
                      <a:pt x="90" y="188"/>
                      <a:pt x="94" y="202"/>
                      <a:pt x="94" y="205"/>
                    </a:cubicBezTo>
                    <a:cubicBezTo>
                      <a:pt x="94" y="208"/>
                      <a:pt x="86" y="215"/>
                      <a:pt x="82" y="216"/>
                    </a:cubicBezTo>
                    <a:cubicBezTo>
                      <a:pt x="78" y="217"/>
                      <a:pt x="61" y="217"/>
                      <a:pt x="61" y="217"/>
                    </a:cubicBezTo>
                    <a:cubicBezTo>
                      <a:pt x="77" y="231"/>
                      <a:pt x="77" y="231"/>
                      <a:pt x="77" y="231"/>
                    </a:cubicBezTo>
                    <a:cubicBezTo>
                      <a:pt x="77" y="240"/>
                      <a:pt x="77" y="240"/>
                      <a:pt x="77" y="240"/>
                    </a:cubicBezTo>
                    <a:cubicBezTo>
                      <a:pt x="77" y="240"/>
                      <a:pt x="90" y="242"/>
                      <a:pt x="88" y="250"/>
                    </a:cubicBezTo>
                    <a:cubicBezTo>
                      <a:pt x="86" y="258"/>
                      <a:pt x="62" y="272"/>
                      <a:pt x="66" y="276"/>
                    </a:cubicBezTo>
                    <a:cubicBezTo>
                      <a:pt x="70" y="280"/>
                      <a:pt x="75" y="294"/>
                      <a:pt x="75" y="294"/>
                    </a:cubicBezTo>
                    <a:cubicBezTo>
                      <a:pt x="75" y="294"/>
                      <a:pt x="88" y="295"/>
                      <a:pt x="84" y="301"/>
                    </a:cubicBezTo>
                    <a:cubicBezTo>
                      <a:pt x="80" y="307"/>
                      <a:pt x="70" y="308"/>
                      <a:pt x="70" y="308"/>
                    </a:cubicBezTo>
                    <a:cubicBezTo>
                      <a:pt x="70" y="308"/>
                      <a:pt x="62" y="318"/>
                      <a:pt x="60" y="325"/>
                    </a:cubicBezTo>
                    <a:cubicBezTo>
                      <a:pt x="58" y="332"/>
                      <a:pt x="59" y="340"/>
                      <a:pt x="59" y="340"/>
                    </a:cubicBezTo>
                    <a:cubicBezTo>
                      <a:pt x="61" y="351"/>
                      <a:pt x="61" y="351"/>
                      <a:pt x="61" y="351"/>
                    </a:cubicBezTo>
                    <a:cubicBezTo>
                      <a:pt x="62" y="351"/>
                      <a:pt x="62" y="351"/>
                      <a:pt x="62" y="351"/>
                    </a:cubicBezTo>
                    <a:cubicBezTo>
                      <a:pt x="81" y="350"/>
                      <a:pt x="81" y="350"/>
                      <a:pt x="81" y="350"/>
                    </a:cubicBezTo>
                    <a:cubicBezTo>
                      <a:pt x="97" y="365"/>
                      <a:pt x="97" y="365"/>
                      <a:pt x="97" y="365"/>
                    </a:cubicBezTo>
                    <a:cubicBezTo>
                      <a:pt x="109" y="365"/>
                      <a:pt x="109" y="365"/>
                      <a:pt x="109" y="365"/>
                    </a:cubicBezTo>
                    <a:cubicBezTo>
                      <a:pt x="103" y="382"/>
                      <a:pt x="103" y="382"/>
                      <a:pt x="103" y="382"/>
                    </a:cubicBezTo>
                    <a:cubicBezTo>
                      <a:pt x="110" y="383"/>
                      <a:pt x="110" y="383"/>
                      <a:pt x="110" y="383"/>
                    </a:cubicBezTo>
                    <a:cubicBezTo>
                      <a:pt x="110" y="383"/>
                      <a:pt x="110" y="403"/>
                      <a:pt x="117" y="406"/>
                    </a:cubicBezTo>
                    <a:cubicBezTo>
                      <a:pt x="124" y="409"/>
                      <a:pt x="136" y="413"/>
                      <a:pt x="136" y="413"/>
                    </a:cubicBezTo>
                    <a:cubicBezTo>
                      <a:pt x="136" y="413"/>
                      <a:pt x="153" y="401"/>
                      <a:pt x="156" y="395"/>
                    </a:cubicBezTo>
                    <a:cubicBezTo>
                      <a:pt x="159" y="389"/>
                      <a:pt x="177" y="389"/>
                      <a:pt x="177" y="389"/>
                    </a:cubicBezTo>
                    <a:cubicBezTo>
                      <a:pt x="196" y="377"/>
                      <a:pt x="196" y="377"/>
                      <a:pt x="196" y="377"/>
                    </a:cubicBezTo>
                    <a:cubicBezTo>
                      <a:pt x="196" y="377"/>
                      <a:pt x="229" y="379"/>
                      <a:pt x="235" y="377"/>
                    </a:cubicBezTo>
                    <a:cubicBezTo>
                      <a:pt x="241" y="375"/>
                      <a:pt x="251" y="371"/>
                      <a:pt x="251" y="371"/>
                    </a:cubicBezTo>
                    <a:cubicBezTo>
                      <a:pt x="251" y="371"/>
                      <a:pt x="259" y="379"/>
                      <a:pt x="265" y="378"/>
                    </a:cubicBezTo>
                    <a:cubicBezTo>
                      <a:pt x="271" y="377"/>
                      <a:pt x="287" y="370"/>
                      <a:pt x="287" y="370"/>
                    </a:cubicBezTo>
                    <a:cubicBezTo>
                      <a:pt x="287" y="370"/>
                      <a:pt x="286" y="382"/>
                      <a:pt x="297" y="374"/>
                    </a:cubicBezTo>
                    <a:cubicBezTo>
                      <a:pt x="308" y="366"/>
                      <a:pt x="310" y="347"/>
                      <a:pt x="310" y="347"/>
                    </a:cubicBezTo>
                    <a:cubicBezTo>
                      <a:pt x="331" y="329"/>
                      <a:pt x="331" y="329"/>
                      <a:pt x="331" y="329"/>
                    </a:cubicBezTo>
                    <a:cubicBezTo>
                      <a:pt x="354" y="328"/>
                      <a:pt x="354" y="328"/>
                      <a:pt x="354" y="328"/>
                    </a:cubicBezTo>
                    <a:cubicBezTo>
                      <a:pt x="356" y="315"/>
                      <a:pt x="356" y="315"/>
                      <a:pt x="356" y="315"/>
                    </a:cubicBezTo>
                    <a:cubicBezTo>
                      <a:pt x="356" y="315"/>
                      <a:pt x="367" y="286"/>
                      <a:pt x="370" y="284"/>
                    </a:cubicBezTo>
                    <a:cubicBezTo>
                      <a:pt x="373" y="282"/>
                      <a:pt x="400" y="279"/>
                      <a:pt x="401" y="270"/>
                    </a:cubicBezTo>
                    <a:cubicBezTo>
                      <a:pt x="402" y="261"/>
                      <a:pt x="379" y="249"/>
                      <a:pt x="379" y="249"/>
                    </a:cubicBezTo>
                    <a:cubicBezTo>
                      <a:pt x="379" y="249"/>
                      <a:pt x="377" y="226"/>
                      <a:pt x="385" y="215"/>
                    </a:cubicBezTo>
                    <a:cubicBezTo>
                      <a:pt x="393" y="204"/>
                      <a:pt x="404" y="191"/>
                      <a:pt x="404" y="191"/>
                    </a:cubicBezTo>
                    <a:cubicBezTo>
                      <a:pt x="404" y="191"/>
                      <a:pt x="421" y="173"/>
                      <a:pt x="424" y="172"/>
                    </a:cubicBezTo>
                    <a:cubicBezTo>
                      <a:pt x="427" y="171"/>
                      <a:pt x="439" y="163"/>
                      <a:pt x="436" y="161"/>
                    </a:cubicBezTo>
                    <a:cubicBezTo>
                      <a:pt x="433" y="159"/>
                      <a:pt x="428" y="151"/>
                      <a:pt x="438" y="146"/>
                    </a:cubicBezTo>
                    <a:cubicBezTo>
                      <a:pt x="448" y="141"/>
                      <a:pt x="472" y="136"/>
                      <a:pt x="485" y="131"/>
                    </a:cubicBezTo>
                    <a:cubicBezTo>
                      <a:pt x="498" y="126"/>
                      <a:pt x="514" y="113"/>
                      <a:pt x="514" y="113"/>
                    </a:cubicBezTo>
                    <a:cubicBezTo>
                      <a:pt x="514" y="113"/>
                      <a:pt x="534" y="104"/>
                      <a:pt x="535" y="101"/>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99" name="Freeform 121">
                <a:extLst>
                  <a:ext uri="{FF2B5EF4-FFF2-40B4-BE49-F238E27FC236}">
                    <a16:creationId xmlns:a16="http://schemas.microsoft.com/office/drawing/2014/main" id="{92B8E725-04A5-413B-92CE-11181F657E12}"/>
                  </a:ext>
                </a:extLst>
              </p:cNvPr>
              <p:cNvSpPr>
                <a:spLocks/>
              </p:cNvSpPr>
              <p:nvPr>
                <p:custDataLst>
                  <p:tags r:id="rId80"/>
                </p:custDataLst>
              </p:nvPr>
            </p:nvSpPr>
            <p:spPr bwMode="gray">
              <a:xfrm>
                <a:off x="4254474" y="3128975"/>
                <a:ext cx="93662" cy="153987"/>
              </a:xfrm>
              <a:custGeom>
                <a:avLst/>
                <a:gdLst>
                  <a:gd name="T0" fmla="*/ 141 w 155"/>
                  <a:gd name="T1" fmla="*/ 20 h 277"/>
                  <a:gd name="T2" fmla="*/ 140 w 155"/>
                  <a:gd name="T3" fmla="*/ 7 h 277"/>
                  <a:gd name="T4" fmla="*/ 111 w 155"/>
                  <a:gd name="T5" fmla="*/ 8 h 277"/>
                  <a:gd name="T6" fmla="*/ 104 w 155"/>
                  <a:gd name="T7" fmla="*/ 16 h 277"/>
                  <a:gd name="T8" fmla="*/ 87 w 155"/>
                  <a:gd name="T9" fmla="*/ 11 h 277"/>
                  <a:gd name="T10" fmla="*/ 70 w 155"/>
                  <a:gd name="T11" fmla="*/ 15 h 277"/>
                  <a:gd name="T12" fmla="*/ 76 w 155"/>
                  <a:gd name="T13" fmla="*/ 6 h 277"/>
                  <a:gd name="T14" fmla="*/ 62 w 155"/>
                  <a:gd name="T15" fmla="*/ 0 h 277"/>
                  <a:gd name="T16" fmla="*/ 41 w 155"/>
                  <a:gd name="T17" fmla="*/ 13 h 277"/>
                  <a:gd name="T18" fmla="*/ 46 w 155"/>
                  <a:gd name="T19" fmla="*/ 53 h 277"/>
                  <a:gd name="T20" fmla="*/ 23 w 155"/>
                  <a:gd name="T21" fmla="*/ 114 h 277"/>
                  <a:gd name="T22" fmla="*/ 9 w 155"/>
                  <a:gd name="T23" fmla="*/ 146 h 277"/>
                  <a:gd name="T24" fmla="*/ 6 w 155"/>
                  <a:gd name="T25" fmla="*/ 180 h 277"/>
                  <a:gd name="T26" fmla="*/ 23 w 155"/>
                  <a:gd name="T27" fmla="*/ 191 h 277"/>
                  <a:gd name="T28" fmla="*/ 30 w 155"/>
                  <a:gd name="T29" fmla="*/ 228 h 277"/>
                  <a:gd name="T30" fmla="*/ 20 w 155"/>
                  <a:gd name="T31" fmla="*/ 271 h 277"/>
                  <a:gd name="T32" fmla="*/ 52 w 155"/>
                  <a:gd name="T33" fmla="*/ 268 h 277"/>
                  <a:gd name="T34" fmla="*/ 62 w 155"/>
                  <a:gd name="T35" fmla="*/ 276 h 277"/>
                  <a:gd name="T36" fmla="*/ 87 w 155"/>
                  <a:gd name="T37" fmla="*/ 263 h 277"/>
                  <a:gd name="T38" fmla="*/ 85 w 155"/>
                  <a:gd name="T39" fmla="*/ 252 h 277"/>
                  <a:gd name="T40" fmla="*/ 86 w 155"/>
                  <a:gd name="T41" fmla="*/ 237 h 277"/>
                  <a:gd name="T42" fmla="*/ 96 w 155"/>
                  <a:gd name="T43" fmla="*/ 220 h 277"/>
                  <a:gd name="T44" fmla="*/ 110 w 155"/>
                  <a:gd name="T45" fmla="*/ 213 h 277"/>
                  <a:gd name="T46" fmla="*/ 101 w 155"/>
                  <a:gd name="T47" fmla="*/ 206 h 277"/>
                  <a:gd name="T48" fmla="*/ 92 w 155"/>
                  <a:gd name="T49" fmla="*/ 188 h 277"/>
                  <a:gd name="T50" fmla="*/ 114 w 155"/>
                  <a:gd name="T51" fmla="*/ 162 h 277"/>
                  <a:gd name="T52" fmla="*/ 103 w 155"/>
                  <a:gd name="T53" fmla="*/ 152 h 277"/>
                  <a:gd name="T54" fmla="*/ 103 w 155"/>
                  <a:gd name="T55" fmla="*/ 143 h 277"/>
                  <a:gd name="T56" fmla="*/ 87 w 155"/>
                  <a:gd name="T57" fmla="*/ 129 h 277"/>
                  <a:gd name="T58" fmla="*/ 108 w 155"/>
                  <a:gd name="T59" fmla="*/ 128 h 277"/>
                  <a:gd name="T60" fmla="*/ 120 w 155"/>
                  <a:gd name="T61" fmla="*/ 117 h 277"/>
                  <a:gd name="T62" fmla="*/ 116 w 155"/>
                  <a:gd name="T63" fmla="*/ 100 h 277"/>
                  <a:gd name="T64" fmla="*/ 122 w 155"/>
                  <a:gd name="T65" fmla="*/ 93 h 277"/>
                  <a:gd name="T66" fmla="*/ 128 w 155"/>
                  <a:gd name="T67" fmla="*/ 65 h 277"/>
                  <a:gd name="T68" fmla="*/ 120 w 155"/>
                  <a:gd name="T69" fmla="*/ 56 h 277"/>
                  <a:gd name="T70" fmla="*/ 154 w 155"/>
                  <a:gd name="T71" fmla="*/ 29 h 277"/>
                  <a:gd name="T72" fmla="*/ 141 w 155"/>
                  <a:gd name="T73" fmla="*/ 2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5" h="277">
                    <a:moveTo>
                      <a:pt x="141" y="20"/>
                    </a:moveTo>
                    <a:cubicBezTo>
                      <a:pt x="141" y="20"/>
                      <a:pt x="144" y="9"/>
                      <a:pt x="140" y="7"/>
                    </a:cubicBezTo>
                    <a:cubicBezTo>
                      <a:pt x="136" y="5"/>
                      <a:pt x="120" y="8"/>
                      <a:pt x="111" y="8"/>
                    </a:cubicBezTo>
                    <a:cubicBezTo>
                      <a:pt x="102" y="8"/>
                      <a:pt x="112" y="12"/>
                      <a:pt x="104" y="16"/>
                    </a:cubicBezTo>
                    <a:cubicBezTo>
                      <a:pt x="96" y="20"/>
                      <a:pt x="94" y="11"/>
                      <a:pt x="87" y="11"/>
                    </a:cubicBezTo>
                    <a:cubicBezTo>
                      <a:pt x="80" y="11"/>
                      <a:pt x="76" y="15"/>
                      <a:pt x="70" y="15"/>
                    </a:cubicBezTo>
                    <a:cubicBezTo>
                      <a:pt x="64" y="15"/>
                      <a:pt x="71" y="11"/>
                      <a:pt x="76" y="6"/>
                    </a:cubicBezTo>
                    <a:cubicBezTo>
                      <a:pt x="81" y="1"/>
                      <a:pt x="76" y="0"/>
                      <a:pt x="62" y="0"/>
                    </a:cubicBezTo>
                    <a:cubicBezTo>
                      <a:pt x="53" y="0"/>
                      <a:pt x="46" y="7"/>
                      <a:pt x="41" y="13"/>
                    </a:cubicBezTo>
                    <a:cubicBezTo>
                      <a:pt x="44" y="23"/>
                      <a:pt x="47" y="40"/>
                      <a:pt x="46" y="53"/>
                    </a:cubicBezTo>
                    <a:cubicBezTo>
                      <a:pt x="45" y="74"/>
                      <a:pt x="23" y="114"/>
                      <a:pt x="23" y="114"/>
                    </a:cubicBezTo>
                    <a:cubicBezTo>
                      <a:pt x="9" y="146"/>
                      <a:pt x="9" y="146"/>
                      <a:pt x="9" y="146"/>
                    </a:cubicBezTo>
                    <a:cubicBezTo>
                      <a:pt x="9" y="146"/>
                      <a:pt x="0" y="173"/>
                      <a:pt x="6" y="180"/>
                    </a:cubicBezTo>
                    <a:cubicBezTo>
                      <a:pt x="12" y="187"/>
                      <a:pt x="23" y="191"/>
                      <a:pt x="23" y="191"/>
                    </a:cubicBezTo>
                    <a:cubicBezTo>
                      <a:pt x="30" y="228"/>
                      <a:pt x="30" y="228"/>
                      <a:pt x="30" y="228"/>
                    </a:cubicBezTo>
                    <a:cubicBezTo>
                      <a:pt x="30" y="228"/>
                      <a:pt x="14" y="270"/>
                      <a:pt x="20" y="271"/>
                    </a:cubicBezTo>
                    <a:cubicBezTo>
                      <a:pt x="26" y="272"/>
                      <a:pt x="52" y="268"/>
                      <a:pt x="52" y="268"/>
                    </a:cubicBezTo>
                    <a:cubicBezTo>
                      <a:pt x="52" y="268"/>
                      <a:pt x="56" y="277"/>
                      <a:pt x="62" y="276"/>
                    </a:cubicBezTo>
                    <a:cubicBezTo>
                      <a:pt x="67" y="275"/>
                      <a:pt x="84" y="265"/>
                      <a:pt x="87" y="263"/>
                    </a:cubicBezTo>
                    <a:cubicBezTo>
                      <a:pt x="85" y="252"/>
                      <a:pt x="85" y="252"/>
                      <a:pt x="85" y="252"/>
                    </a:cubicBezTo>
                    <a:cubicBezTo>
                      <a:pt x="85" y="252"/>
                      <a:pt x="84" y="244"/>
                      <a:pt x="86" y="237"/>
                    </a:cubicBezTo>
                    <a:cubicBezTo>
                      <a:pt x="88" y="230"/>
                      <a:pt x="96" y="220"/>
                      <a:pt x="96" y="220"/>
                    </a:cubicBezTo>
                    <a:cubicBezTo>
                      <a:pt x="96" y="220"/>
                      <a:pt x="106" y="219"/>
                      <a:pt x="110" y="213"/>
                    </a:cubicBezTo>
                    <a:cubicBezTo>
                      <a:pt x="114" y="207"/>
                      <a:pt x="101" y="206"/>
                      <a:pt x="101" y="206"/>
                    </a:cubicBezTo>
                    <a:cubicBezTo>
                      <a:pt x="101" y="206"/>
                      <a:pt x="96" y="192"/>
                      <a:pt x="92" y="188"/>
                    </a:cubicBezTo>
                    <a:cubicBezTo>
                      <a:pt x="88" y="184"/>
                      <a:pt x="112" y="170"/>
                      <a:pt x="114" y="162"/>
                    </a:cubicBezTo>
                    <a:cubicBezTo>
                      <a:pt x="116" y="154"/>
                      <a:pt x="103" y="152"/>
                      <a:pt x="103" y="152"/>
                    </a:cubicBezTo>
                    <a:cubicBezTo>
                      <a:pt x="103" y="143"/>
                      <a:pt x="103" y="143"/>
                      <a:pt x="103" y="143"/>
                    </a:cubicBezTo>
                    <a:cubicBezTo>
                      <a:pt x="87" y="129"/>
                      <a:pt x="87" y="129"/>
                      <a:pt x="87" y="129"/>
                    </a:cubicBezTo>
                    <a:cubicBezTo>
                      <a:pt x="87" y="129"/>
                      <a:pt x="104" y="129"/>
                      <a:pt x="108" y="128"/>
                    </a:cubicBezTo>
                    <a:cubicBezTo>
                      <a:pt x="112" y="127"/>
                      <a:pt x="120" y="120"/>
                      <a:pt x="120" y="117"/>
                    </a:cubicBezTo>
                    <a:cubicBezTo>
                      <a:pt x="120" y="114"/>
                      <a:pt x="116" y="100"/>
                      <a:pt x="116" y="100"/>
                    </a:cubicBezTo>
                    <a:cubicBezTo>
                      <a:pt x="116" y="100"/>
                      <a:pt x="121" y="96"/>
                      <a:pt x="122" y="93"/>
                    </a:cubicBezTo>
                    <a:cubicBezTo>
                      <a:pt x="123" y="90"/>
                      <a:pt x="128" y="65"/>
                      <a:pt x="128" y="65"/>
                    </a:cubicBezTo>
                    <a:cubicBezTo>
                      <a:pt x="128" y="65"/>
                      <a:pt x="119" y="60"/>
                      <a:pt x="120" y="56"/>
                    </a:cubicBezTo>
                    <a:cubicBezTo>
                      <a:pt x="121" y="52"/>
                      <a:pt x="153" y="37"/>
                      <a:pt x="154" y="29"/>
                    </a:cubicBezTo>
                    <a:cubicBezTo>
                      <a:pt x="155" y="21"/>
                      <a:pt x="141" y="20"/>
                      <a:pt x="141" y="20"/>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00" name="Freeform 122">
                <a:extLst>
                  <a:ext uri="{FF2B5EF4-FFF2-40B4-BE49-F238E27FC236}">
                    <a16:creationId xmlns:a16="http://schemas.microsoft.com/office/drawing/2014/main" id="{411927EB-2606-4DC0-AE58-1DAC378E85D6}"/>
                  </a:ext>
                </a:extLst>
              </p:cNvPr>
              <p:cNvSpPr>
                <a:spLocks noEditPoints="1"/>
              </p:cNvSpPr>
              <p:nvPr>
                <p:custDataLst>
                  <p:tags r:id="rId81"/>
                </p:custDataLst>
              </p:nvPr>
            </p:nvSpPr>
            <p:spPr bwMode="gray">
              <a:xfrm>
                <a:off x="4330674" y="2593985"/>
                <a:ext cx="238124" cy="306389"/>
              </a:xfrm>
              <a:custGeom>
                <a:avLst/>
                <a:gdLst>
                  <a:gd name="T0" fmla="*/ 118 w 395"/>
                  <a:gd name="T1" fmla="*/ 256 h 549"/>
                  <a:gd name="T2" fmla="*/ 111 w 395"/>
                  <a:gd name="T3" fmla="*/ 221 h 549"/>
                  <a:gd name="T4" fmla="*/ 98 w 395"/>
                  <a:gd name="T5" fmla="*/ 248 h 549"/>
                  <a:gd name="T6" fmla="*/ 222 w 395"/>
                  <a:gd name="T7" fmla="*/ 93 h 549"/>
                  <a:gd name="T8" fmla="*/ 97 w 395"/>
                  <a:gd name="T9" fmla="*/ 159 h 549"/>
                  <a:gd name="T10" fmla="*/ 93 w 395"/>
                  <a:gd name="T11" fmla="*/ 183 h 549"/>
                  <a:gd name="T12" fmla="*/ 325 w 395"/>
                  <a:gd name="T13" fmla="*/ 1 h 549"/>
                  <a:gd name="T14" fmla="*/ 296 w 395"/>
                  <a:gd name="T15" fmla="*/ 36 h 549"/>
                  <a:gd name="T16" fmla="*/ 301 w 395"/>
                  <a:gd name="T17" fmla="*/ 12 h 549"/>
                  <a:gd name="T18" fmla="*/ 296 w 395"/>
                  <a:gd name="T19" fmla="*/ 36 h 549"/>
                  <a:gd name="T20" fmla="*/ 246 w 395"/>
                  <a:gd name="T21" fmla="*/ 96 h 549"/>
                  <a:gd name="T22" fmla="*/ 128 w 395"/>
                  <a:gd name="T23" fmla="*/ 258 h 549"/>
                  <a:gd name="T24" fmla="*/ 331 w 395"/>
                  <a:gd name="T25" fmla="*/ 402 h 549"/>
                  <a:gd name="T26" fmla="*/ 330 w 395"/>
                  <a:gd name="T27" fmla="*/ 357 h 549"/>
                  <a:gd name="T28" fmla="*/ 291 w 395"/>
                  <a:gd name="T29" fmla="*/ 314 h 549"/>
                  <a:gd name="T30" fmla="*/ 265 w 395"/>
                  <a:gd name="T31" fmla="*/ 261 h 549"/>
                  <a:gd name="T32" fmla="*/ 191 w 395"/>
                  <a:gd name="T33" fmla="*/ 235 h 549"/>
                  <a:gd name="T34" fmla="*/ 214 w 395"/>
                  <a:gd name="T35" fmla="*/ 222 h 549"/>
                  <a:gd name="T36" fmla="*/ 261 w 395"/>
                  <a:gd name="T37" fmla="*/ 177 h 549"/>
                  <a:gd name="T38" fmla="*/ 211 w 395"/>
                  <a:gd name="T39" fmla="*/ 154 h 549"/>
                  <a:gd name="T40" fmla="*/ 179 w 395"/>
                  <a:gd name="T41" fmla="*/ 147 h 549"/>
                  <a:gd name="T42" fmla="*/ 224 w 395"/>
                  <a:gd name="T43" fmla="*/ 112 h 549"/>
                  <a:gd name="T44" fmla="*/ 153 w 395"/>
                  <a:gd name="T45" fmla="*/ 110 h 549"/>
                  <a:gd name="T46" fmla="*/ 144 w 395"/>
                  <a:gd name="T47" fmla="*/ 148 h 549"/>
                  <a:gd name="T48" fmla="*/ 121 w 395"/>
                  <a:gd name="T49" fmla="*/ 162 h 549"/>
                  <a:gd name="T50" fmla="*/ 116 w 395"/>
                  <a:gd name="T51" fmla="*/ 198 h 549"/>
                  <a:gd name="T52" fmla="*/ 134 w 395"/>
                  <a:gd name="T53" fmla="*/ 202 h 549"/>
                  <a:gd name="T54" fmla="*/ 116 w 395"/>
                  <a:gd name="T55" fmla="*/ 250 h 549"/>
                  <a:gd name="T56" fmla="*/ 144 w 395"/>
                  <a:gd name="T57" fmla="*/ 251 h 549"/>
                  <a:gd name="T58" fmla="*/ 146 w 395"/>
                  <a:gd name="T59" fmla="*/ 306 h 549"/>
                  <a:gd name="T60" fmla="*/ 211 w 395"/>
                  <a:gd name="T61" fmla="*/ 295 h 549"/>
                  <a:gd name="T62" fmla="*/ 216 w 395"/>
                  <a:gd name="T63" fmla="*/ 349 h 549"/>
                  <a:gd name="T64" fmla="*/ 162 w 395"/>
                  <a:gd name="T65" fmla="*/ 377 h 549"/>
                  <a:gd name="T66" fmla="*/ 135 w 395"/>
                  <a:gd name="T67" fmla="*/ 402 h 549"/>
                  <a:gd name="T68" fmla="*/ 117 w 395"/>
                  <a:gd name="T69" fmla="*/ 448 h 549"/>
                  <a:gd name="T70" fmla="*/ 151 w 395"/>
                  <a:gd name="T71" fmla="*/ 466 h 549"/>
                  <a:gd name="T72" fmla="*/ 202 w 395"/>
                  <a:gd name="T73" fmla="*/ 467 h 549"/>
                  <a:gd name="T74" fmla="*/ 156 w 395"/>
                  <a:gd name="T75" fmla="*/ 485 h 549"/>
                  <a:gd name="T76" fmla="*/ 129 w 395"/>
                  <a:gd name="T77" fmla="*/ 516 h 549"/>
                  <a:gd name="T78" fmla="*/ 83 w 395"/>
                  <a:gd name="T79" fmla="*/ 545 h 549"/>
                  <a:gd name="T80" fmla="*/ 147 w 395"/>
                  <a:gd name="T81" fmla="*/ 530 h 549"/>
                  <a:gd name="T82" fmla="*/ 211 w 395"/>
                  <a:gd name="T83" fmla="*/ 519 h 549"/>
                  <a:gd name="T84" fmla="*/ 273 w 395"/>
                  <a:gd name="T85" fmla="*/ 520 h 549"/>
                  <a:gd name="T86" fmla="*/ 293 w 395"/>
                  <a:gd name="T87" fmla="*/ 508 h 549"/>
                  <a:gd name="T88" fmla="*/ 340 w 395"/>
                  <a:gd name="T89" fmla="*/ 474 h 549"/>
                  <a:gd name="T90" fmla="*/ 375 w 395"/>
                  <a:gd name="T91" fmla="*/ 447 h 549"/>
                  <a:gd name="T92" fmla="*/ 157 w 395"/>
                  <a:gd name="T93" fmla="*/ 325 h 549"/>
                  <a:gd name="T94" fmla="*/ 94 w 395"/>
                  <a:gd name="T95" fmla="*/ 338 h 549"/>
                  <a:gd name="T96" fmla="*/ 110 w 395"/>
                  <a:gd name="T97" fmla="*/ 308 h 549"/>
                  <a:gd name="T98" fmla="*/ 86 w 395"/>
                  <a:gd name="T99" fmla="*/ 281 h 549"/>
                  <a:gd name="T100" fmla="*/ 58 w 395"/>
                  <a:gd name="T101" fmla="*/ 288 h 549"/>
                  <a:gd name="T102" fmla="*/ 13 w 395"/>
                  <a:gd name="T103" fmla="*/ 325 h 549"/>
                  <a:gd name="T104" fmla="*/ 67 w 395"/>
                  <a:gd name="T105" fmla="*/ 335 h 549"/>
                  <a:gd name="T106" fmla="*/ 63 w 395"/>
                  <a:gd name="T107" fmla="*/ 155 h 549"/>
                  <a:gd name="T108" fmla="*/ 63 w 395"/>
                  <a:gd name="T109" fmla="*/ 155 h 549"/>
                  <a:gd name="T110" fmla="*/ 108 w 395"/>
                  <a:gd name="T111" fmla="*/ 115 h 549"/>
                  <a:gd name="T112" fmla="*/ 72 w 395"/>
                  <a:gd name="T113" fmla="*/ 128 h 549"/>
                  <a:gd name="T114" fmla="*/ 57 w 395"/>
                  <a:gd name="T115" fmla="*/ 169 h 549"/>
                  <a:gd name="T116" fmla="*/ 57 w 395"/>
                  <a:gd name="T117" fmla="*/ 16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5" h="549">
                    <a:moveTo>
                      <a:pt x="118" y="256"/>
                    </a:moveTo>
                    <a:cubicBezTo>
                      <a:pt x="110" y="256"/>
                      <a:pt x="109" y="262"/>
                      <a:pt x="106" y="277"/>
                    </a:cubicBezTo>
                    <a:cubicBezTo>
                      <a:pt x="104" y="289"/>
                      <a:pt x="126" y="256"/>
                      <a:pt x="118" y="256"/>
                    </a:cubicBezTo>
                    <a:close/>
                    <a:moveTo>
                      <a:pt x="100" y="210"/>
                    </a:moveTo>
                    <a:cubicBezTo>
                      <a:pt x="96" y="210"/>
                      <a:pt x="90" y="222"/>
                      <a:pt x="94" y="225"/>
                    </a:cubicBezTo>
                    <a:cubicBezTo>
                      <a:pt x="98" y="228"/>
                      <a:pt x="111" y="221"/>
                      <a:pt x="111" y="221"/>
                    </a:cubicBezTo>
                    <a:cubicBezTo>
                      <a:pt x="111" y="221"/>
                      <a:pt x="104" y="210"/>
                      <a:pt x="100" y="210"/>
                    </a:cubicBezTo>
                    <a:close/>
                    <a:moveTo>
                      <a:pt x="87" y="261"/>
                    </a:moveTo>
                    <a:cubicBezTo>
                      <a:pt x="102" y="261"/>
                      <a:pt x="109" y="250"/>
                      <a:pt x="98" y="248"/>
                    </a:cubicBezTo>
                    <a:cubicBezTo>
                      <a:pt x="87" y="246"/>
                      <a:pt x="78" y="261"/>
                      <a:pt x="87" y="261"/>
                    </a:cubicBezTo>
                    <a:close/>
                    <a:moveTo>
                      <a:pt x="231" y="85"/>
                    </a:moveTo>
                    <a:cubicBezTo>
                      <a:pt x="223" y="78"/>
                      <a:pt x="222" y="93"/>
                      <a:pt x="222" y="93"/>
                    </a:cubicBezTo>
                    <a:cubicBezTo>
                      <a:pt x="229" y="99"/>
                      <a:pt x="239" y="92"/>
                      <a:pt x="231" y="85"/>
                    </a:cubicBezTo>
                    <a:close/>
                    <a:moveTo>
                      <a:pt x="103" y="176"/>
                    </a:moveTo>
                    <a:cubicBezTo>
                      <a:pt x="103" y="176"/>
                      <a:pt x="107" y="159"/>
                      <a:pt x="97" y="159"/>
                    </a:cubicBezTo>
                    <a:cubicBezTo>
                      <a:pt x="87" y="159"/>
                      <a:pt x="93" y="169"/>
                      <a:pt x="93" y="169"/>
                    </a:cubicBezTo>
                    <a:cubicBezTo>
                      <a:pt x="93" y="169"/>
                      <a:pt x="85" y="166"/>
                      <a:pt x="82" y="169"/>
                    </a:cubicBezTo>
                    <a:cubicBezTo>
                      <a:pt x="79" y="172"/>
                      <a:pt x="91" y="179"/>
                      <a:pt x="93" y="183"/>
                    </a:cubicBezTo>
                    <a:cubicBezTo>
                      <a:pt x="95" y="187"/>
                      <a:pt x="110" y="184"/>
                      <a:pt x="110" y="184"/>
                    </a:cubicBezTo>
                    <a:lnTo>
                      <a:pt x="103" y="176"/>
                    </a:lnTo>
                    <a:close/>
                    <a:moveTo>
                      <a:pt x="325" y="1"/>
                    </a:moveTo>
                    <a:cubicBezTo>
                      <a:pt x="318" y="2"/>
                      <a:pt x="316" y="11"/>
                      <a:pt x="316" y="11"/>
                    </a:cubicBezTo>
                    <a:cubicBezTo>
                      <a:pt x="327" y="16"/>
                      <a:pt x="332" y="0"/>
                      <a:pt x="325" y="1"/>
                    </a:cubicBezTo>
                    <a:close/>
                    <a:moveTo>
                      <a:pt x="296" y="36"/>
                    </a:moveTo>
                    <a:cubicBezTo>
                      <a:pt x="300" y="45"/>
                      <a:pt x="300" y="45"/>
                      <a:pt x="300" y="45"/>
                    </a:cubicBezTo>
                    <a:cubicBezTo>
                      <a:pt x="305" y="49"/>
                      <a:pt x="312" y="28"/>
                      <a:pt x="311" y="24"/>
                    </a:cubicBezTo>
                    <a:cubicBezTo>
                      <a:pt x="310" y="20"/>
                      <a:pt x="301" y="12"/>
                      <a:pt x="301" y="12"/>
                    </a:cubicBezTo>
                    <a:cubicBezTo>
                      <a:pt x="300" y="21"/>
                      <a:pt x="300" y="21"/>
                      <a:pt x="300" y="21"/>
                    </a:cubicBezTo>
                    <a:cubicBezTo>
                      <a:pt x="300" y="21"/>
                      <a:pt x="287" y="25"/>
                      <a:pt x="288" y="29"/>
                    </a:cubicBezTo>
                    <a:cubicBezTo>
                      <a:pt x="289" y="33"/>
                      <a:pt x="296" y="36"/>
                      <a:pt x="296" y="36"/>
                    </a:cubicBezTo>
                    <a:close/>
                    <a:moveTo>
                      <a:pt x="239" y="94"/>
                    </a:moveTo>
                    <a:cubicBezTo>
                      <a:pt x="237" y="104"/>
                      <a:pt x="237" y="104"/>
                      <a:pt x="237" y="104"/>
                    </a:cubicBezTo>
                    <a:cubicBezTo>
                      <a:pt x="246" y="96"/>
                      <a:pt x="246" y="96"/>
                      <a:pt x="246" y="96"/>
                    </a:cubicBezTo>
                    <a:lnTo>
                      <a:pt x="239" y="94"/>
                    </a:lnTo>
                    <a:close/>
                    <a:moveTo>
                      <a:pt x="137" y="269"/>
                    </a:moveTo>
                    <a:cubicBezTo>
                      <a:pt x="143" y="265"/>
                      <a:pt x="134" y="252"/>
                      <a:pt x="128" y="258"/>
                    </a:cubicBezTo>
                    <a:cubicBezTo>
                      <a:pt x="122" y="264"/>
                      <a:pt x="130" y="273"/>
                      <a:pt x="137" y="269"/>
                    </a:cubicBezTo>
                    <a:close/>
                    <a:moveTo>
                      <a:pt x="346" y="395"/>
                    </a:moveTo>
                    <a:cubicBezTo>
                      <a:pt x="346" y="395"/>
                      <a:pt x="341" y="409"/>
                      <a:pt x="331" y="402"/>
                    </a:cubicBezTo>
                    <a:cubicBezTo>
                      <a:pt x="321" y="394"/>
                      <a:pt x="341" y="387"/>
                      <a:pt x="340" y="378"/>
                    </a:cubicBezTo>
                    <a:cubicBezTo>
                      <a:pt x="339" y="369"/>
                      <a:pt x="308" y="364"/>
                      <a:pt x="308" y="359"/>
                    </a:cubicBezTo>
                    <a:cubicBezTo>
                      <a:pt x="308" y="354"/>
                      <a:pt x="330" y="357"/>
                      <a:pt x="330" y="357"/>
                    </a:cubicBezTo>
                    <a:cubicBezTo>
                      <a:pt x="321" y="349"/>
                      <a:pt x="321" y="349"/>
                      <a:pt x="321" y="349"/>
                    </a:cubicBezTo>
                    <a:cubicBezTo>
                      <a:pt x="321" y="349"/>
                      <a:pt x="312" y="328"/>
                      <a:pt x="308" y="321"/>
                    </a:cubicBezTo>
                    <a:cubicBezTo>
                      <a:pt x="304" y="314"/>
                      <a:pt x="291" y="314"/>
                      <a:pt x="291" y="314"/>
                    </a:cubicBezTo>
                    <a:cubicBezTo>
                      <a:pt x="291" y="314"/>
                      <a:pt x="283" y="305"/>
                      <a:pt x="275" y="299"/>
                    </a:cubicBezTo>
                    <a:cubicBezTo>
                      <a:pt x="267" y="293"/>
                      <a:pt x="273" y="261"/>
                      <a:pt x="273" y="261"/>
                    </a:cubicBezTo>
                    <a:cubicBezTo>
                      <a:pt x="265" y="261"/>
                      <a:pt x="265" y="261"/>
                      <a:pt x="265" y="261"/>
                    </a:cubicBezTo>
                    <a:cubicBezTo>
                      <a:pt x="265" y="261"/>
                      <a:pt x="264" y="255"/>
                      <a:pt x="250" y="245"/>
                    </a:cubicBezTo>
                    <a:cubicBezTo>
                      <a:pt x="235" y="235"/>
                      <a:pt x="216" y="245"/>
                      <a:pt x="208" y="246"/>
                    </a:cubicBezTo>
                    <a:cubicBezTo>
                      <a:pt x="200" y="247"/>
                      <a:pt x="191" y="235"/>
                      <a:pt x="191" y="235"/>
                    </a:cubicBezTo>
                    <a:cubicBezTo>
                      <a:pt x="191" y="235"/>
                      <a:pt x="205" y="240"/>
                      <a:pt x="209" y="239"/>
                    </a:cubicBezTo>
                    <a:cubicBezTo>
                      <a:pt x="213" y="238"/>
                      <a:pt x="231" y="234"/>
                      <a:pt x="232" y="228"/>
                    </a:cubicBezTo>
                    <a:cubicBezTo>
                      <a:pt x="233" y="223"/>
                      <a:pt x="214" y="222"/>
                      <a:pt x="214" y="222"/>
                    </a:cubicBezTo>
                    <a:cubicBezTo>
                      <a:pt x="230" y="218"/>
                      <a:pt x="230" y="218"/>
                      <a:pt x="230" y="218"/>
                    </a:cubicBezTo>
                    <a:cubicBezTo>
                      <a:pt x="230" y="218"/>
                      <a:pt x="239" y="211"/>
                      <a:pt x="245" y="206"/>
                    </a:cubicBezTo>
                    <a:cubicBezTo>
                      <a:pt x="250" y="201"/>
                      <a:pt x="261" y="177"/>
                      <a:pt x="261" y="177"/>
                    </a:cubicBezTo>
                    <a:cubicBezTo>
                      <a:pt x="261" y="177"/>
                      <a:pt x="276" y="168"/>
                      <a:pt x="276" y="161"/>
                    </a:cubicBezTo>
                    <a:cubicBezTo>
                      <a:pt x="276" y="154"/>
                      <a:pt x="222" y="159"/>
                      <a:pt x="222" y="159"/>
                    </a:cubicBezTo>
                    <a:cubicBezTo>
                      <a:pt x="222" y="159"/>
                      <a:pt x="223" y="154"/>
                      <a:pt x="211" y="154"/>
                    </a:cubicBezTo>
                    <a:cubicBezTo>
                      <a:pt x="199" y="154"/>
                      <a:pt x="177" y="162"/>
                      <a:pt x="177" y="162"/>
                    </a:cubicBezTo>
                    <a:cubicBezTo>
                      <a:pt x="185" y="155"/>
                      <a:pt x="185" y="155"/>
                      <a:pt x="185" y="155"/>
                    </a:cubicBezTo>
                    <a:cubicBezTo>
                      <a:pt x="179" y="147"/>
                      <a:pt x="179" y="147"/>
                      <a:pt x="179" y="147"/>
                    </a:cubicBezTo>
                    <a:cubicBezTo>
                      <a:pt x="191" y="145"/>
                      <a:pt x="191" y="145"/>
                      <a:pt x="191" y="145"/>
                    </a:cubicBezTo>
                    <a:cubicBezTo>
                      <a:pt x="212" y="132"/>
                      <a:pt x="212" y="132"/>
                      <a:pt x="212" y="132"/>
                    </a:cubicBezTo>
                    <a:cubicBezTo>
                      <a:pt x="212" y="132"/>
                      <a:pt x="223" y="123"/>
                      <a:pt x="224" y="112"/>
                    </a:cubicBezTo>
                    <a:cubicBezTo>
                      <a:pt x="225" y="105"/>
                      <a:pt x="211" y="107"/>
                      <a:pt x="203" y="108"/>
                    </a:cubicBezTo>
                    <a:cubicBezTo>
                      <a:pt x="195" y="109"/>
                      <a:pt x="183" y="115"/>
                      <a:pt x="175" y="115"/>
                    </a:cubicBezTo>
                    <a:cubicBezTo>
                      <a:pt x="167" y="115"/>
                      <a:pt x="160" y="106"/>
                      <a:pt x="153" y="110"/>
                    </a:cubicBezTo>
                    <a:cubicBezTo>
                      <a:pt x="146" y="114"/>
                      <a:pt x="153" y="124"/>
                      <a:pt x="153" y="124"/>
                    </a:cubicBezTo>
                    <a:cubicBezTo>
                      <a:pt x="153" y="124"/>
                      <a:pt x="146" y="125"/>
                      <a:pt x="141" y="129"/>
                    </a:cubicBezTo>
                    <a:cubicBezTo>
                      <a:pt x="136" y="133"/>
                      <a:pt x="144" y="148"/>
                      <a:pt x="144" y="148"/>
                    </a:cubicBezTo>
                    <a:cubicBezTo>
                      <a:pt x="115" y="151"/>
                      <a:pt x="115" y="151"/>
                      <a:pt x="115" y="151"/>
                    </a:cubicBezTo>
                    <a:cubicBezTo>
                      <a:pt x="115" y="157"/>
                      <a:pt x="115" y="157"/>
                      <a:pt x="115" y="157"/>
                    </a:cubicBezTo>
                    <a:cubicBezTo>
                      <a:pt x="121" y="162"/>
                      <a:pt x="121" y="162"/>
                      <a:pt x="121" y="162"/>
                    </a:cubicBezTo>
                    <a:cubicBezTo>
                      <a:pt x="130" y="180"/>
                      <a:pt x="130" y="180"/>
                      <a:pt x="130" y="180"/>
                    </a:cubicBezTo>
                    <a:cubicBezTo>
                      <a:pt x="130" y="180"/>
                      <a:pt x="124" y="185"/>
                      <a:pt x="121" y="188"/>
                    </a:cubicBezTo>
                    <a:cubicBezTo>
                      <a:pt x="118" y="191"/>
                      <a:pt x="116" y="198"/>
                      <a:pt x="116" y="198"/>
                    </a:cubicBezTo>
                    <a:cubicBezTo>
                      <a:pt x="105" y="203"/>
                      <a:pt x="105" y="203"/>
                      <a:pt x="105" y="203"/>
                    </a:cubicBezTo>
                    <a:cubicBezTo>
                      <a:pt x="105" y="203"/>
                      <a:pt x="111" y="212"/>
                      <a:pt x="119" y="211"/>
                    </a:cubicBezTo>
                    <a:cubicBezTo>
                      <a:pt x="127" y="210"/>
                      <a:pt x="134" y="202"/>
                      <a:pt x="134" y="202"/>
                    </a:cubicBezTo>
                    <a:cubicBezTo>
                      <a:pt x="133" y="214"/>
                      <a:pt x="133" y="214"/>
                      <a:pt x="133" y="214"/>
                    </a:cubicBezTo>
                    <a:cubicBezTo>
                      <a:pt x="133" y="214"/>
                      <a:pt x="120" y="220"/>
                      <a:pt x="115" y="228"/>
                    </a:cubicBezTo>
                    <a:cubicBezTo>
                      <a:pt x="110" y="237"/>
                      <a:pt x="116" y="250"/>
                      <a:pt x="116" y="250"/>
                    </a:cubicBezTo>
                    <a:cubicBezTo>
                      <a:pt x="116" y="250"/>
                      <a:pt x="127" y="242"/>
                      <a:pt x="134" y="247"/>
                    </a:cubicBezTo>
                    <a:cubicBezTo>
                      <a:pt x="140" y="252"/>
                      <a:pt x="153" y="241"/>
                      <a:pt x="153" y="241"/>
                    </a:cubicBezTo>
                    <a:cubicBezTo>
                      <a:pt x="144" y="251"/>
                      <a:pt x="144" y="251"/>
                      <a:pt x="144" y="251"/>
                    </a:cubicBezTo>
                    <a:cubicBezTo>
                      <a:pt x="149" y="269"/>
                      <a:pt x="149" y="269"/>
                      <a:pt x="149" y="269"/>
                    </a:cubicBezTo>
                    <a:cubicBezTo>
                      <a:pt x="149" y="269"/>
                      <a:pt x="138" y="282"/>
                      <a:pt x="130" y="296"/>
                    </a:cubicBezTo>
                    <a:cubicBezTo>
                      <a:pt x="123" y="309"/>
                      <a:pt x="146" y="306"/>
                      <a:pt x="146" y="306"/>
                    </a:cubicBezTo>
                    <a:cubicBezTo>
                      <a:pt x="146" y="306"/>
                      <a:pt x="159" y="300"/>
                      <a:pt x="166" y="303"/>
                    </a:cubicBezTo>
                    <a:cubicBezTo>
                      <a:pt x="173" y="306"/>
                      <a:pt x="189" y="293"/>
                      <a:pt x="189" y="293"/>
                    </a:cubicBezTo>
                    <a:cubicBezTo>
                      <a:pt x="211" y="295"/>
                      <a:pt x="211" y="295"/>
                      <a:pt x="211" y="295"/>
                    </a:cubicBezTo>
                    <a:cubicBezTo>
                      <a:pt x="211" y="295"/>
                      <a:pt x="188" y="308"/>
                      <a:pt x="186" y="318"/>
                    </a:cubicBezTo>
                    <a:cubicBezTo>
                      <a:pt x="185" y="328"/>
                      <a:pt x="215" y="335"/>
                      <a:pt x="215" y="335"/>
                    </a:cubicBezTo>
                    <a:cubicBezTo>
                      <a:pt x="216" y="349"/>
                      <a:pt x="216" y="349"/>
                      <a:pt x="216" y="349"/>
                    </a:cubicBezTo>
                    <a:cubicBezTo>
                      <a:pt x="208" y="361"/>
                      <a:pt x="208" y="361"/>
                      <a:pt x="208" y="361"/>
                    </a:cubicBezTo>
                    <a:cubicBezTo>
                      <a:pt x="208" y="361"/>
                      <a:pt x="210" y="375"/>
                      <a:pt x="207" y="379"/>
                    </a:cubicBezTo>
                    <a:cubicBezTo>
                      <a:pt x="204" y="383"/>
                      <a:pt x="162" y="377"/>
                      <a:pt x="162" y="377"/>
                    </a:cubicBezTo>
                    <a:cubicBezTo>
                      <a:pt x="162" y="377"/>
                      <a:pt x="152" y="374"/>
                      <a:pt x="143" y="376"/>
                    </a:cubicBezTo>
                    <a:cubicBezTo>
                      <a:pt x="134" y="378"/>
                      <a:pt x="149" y="389"/>
                      <a:pt x="149" y="389"/>
                    </a:cubicBezTo>
                    <a:cubicBezTo>
                      <a:pt x="135" y="402"/>
                      <a:pt x="135" y="402"/>
                      <a:pt x="135" y="402"/>
                    </a:cubicBezTo>
                    <a:cubicBezTo>
                      <a:pt x="163" y="400"/>
                      <a:pt x="163" y="400"/>
                      <a:pt x="163" y="400"/>
                    </a:cubicBezTo>
                    <a:cubicBezTo>
                      <a:pt x="163" y="400"/>
                      <a:pt x="163" y="423"/>
                      <a:pt x="156" y="430"/>
                    </a:cubicBezTo>
                    <a:cubicBezTo>
                      <a:pt x="149" y="437"/>
                      <a:pt x="121" y="445"/>
                      <a:pt x="117" y="448"/>
                    </a:cubicBezTo>
                    <a:cubicBezTo>
                      <a:pt x="113" y="451"/>
                      <a:pt x="118" y="466"/>
                      <a:pt x="122" y="468"/>
                    </a:cubicBezTo>
                    <a:cubicBezTo>
                      <a:pt x="126" y="470"/>
                      <a:pt x="144" y="456"/>
                      <a:pt x="144" y="456"/>
                    </a:cubicBezTo>
                    <a:cubicBezTo>
                      <a:pt x="144" y="456"/>
                      <a:pt x="147" y="462"/>
                      <a:pt x="151" y="466"/>
                    </a:cubicBezTo>
                    <a:cubicBezTo>
                      <a:pt x="155" y="470"/>
                      <a:pt x="165" y="466"/>
                      <a:pt x="165" y="466"/>
                    </a:cubicBezTo>
                    <a:cubicBezTo>
                      <a:pt x="165" y="466"/>
                      <a:pt x="173" y="475"/>
                      <a:pt x="181" y="476"/>
                    </a:cubicBezTo>
                    <a:cubicBezTo>
                      <a:pt x="190" y="477"/>
                      <a:pt x="197" y="472"/>
                      <a:pt x="202" y="467"/>
                    </a:cubicBezTo>
                    <a:cubicBezTo>
                      <a:pt x="207" y="462"/>
                      <a:pt x="220" y="463"/>
                      <a:pt x="220" y="463"/>
                    </a:cubicBezTo>
                    <a:cubicBezTo>
                      <a:pt x="220" y="463"/>
                      <a:pt x="204" y="478"/>
                      <a:pt x="194" y="485"/>
                    </a:cubicBezTo>
                    <a:cubicBezTo>
                      <a:pt x="183" y="492"/>
                      <a:pt x="163" y="485"/>
                      <a:pt x="156" y="485"/>
                    </a:cubicBezTo>
                    <a:cubicBezTo>
                      <a:pt x="149" y="485"/>
                      <a:pt x="151" y="495"/>
                      <a:pt x="151" y="495"/>
                    </a:cubicBezTo>
                    <a:cubicBezTo>
                      <a:pt x="151" y="495"/>
                      <a:pt x="142" y="495"/>
                      <a:pt x="135" y="498"/>
                    </a:cubicBezTo>
                    <a:cubicBezTo>
                      <a:pt x="127" y="501"/>
                      <a:pt x="135" y="507"/>
                      <a:pt x="129" y="516"/>
                    </a:cubicBezTo>
                    <a:cubicBezTo>
                      <a:pt x="124" y="524"/>
                      <a:pt x="117" y="520"/>
                      <a:pt x="110" y="520"/>
                    </a:cubicBezTo>
                    <a:cubicBezTo>
                      <a:pt x="103" y="520"/>
                      <a:pt x="106" y="530"/>
                      <a:pt x="99" y="536"/>
                    </a:cubicBezTo>
                    <a:cubicBezTo>
                      <a:pt x="92" y="542"/>
                      <a:pt x="83" y="541"/>
                      <a:pt x="83" y="545"/>
                    </a:cubicBezTo>
                    <a:cubicBezTo>
                      <a:pt x="83" y="549"/>
                      <a:pt x="102" y="549"/>
                      <a:pt x="105" y="549"/>
                    </a:cubicBezTo>
                    <a:cubicBezTo>
                      <a:pt x="108" y="549"/>
                      <a:pt x="116" y="539"/>
                      <a:pt x="122" y="534"/>
                    </a:cubicBezTo>
                    <a:cubicBezTo>
                      <a:pt x="128" y="529"/>
                      <a:pt x="138" y="530"/>
                      <a:pt x="147" y="530"/>
                    </a:cubicBezTo>
                    <a:cubicBezTo>
                      <a:pt x="156" y="530"/>
                      <a:pt x="159" y="540"/>
                      <a:pt x="165" y="540"/>
                    </a:cubicBezTo>
                    <a:cubicBezTo>
                      <a:pt x="171" y="540"/>
                      <a:pt x="184" y="515"/>
                      <a:pt x="191" y="512"/>
                    </a:cubicBezTo>
                    <a:cubicBezTo>
                      <a:pt x="197" y="508"/>
                      <a:pt x="211" y="519"/>
                      <a:pt x="211" y="519"/>
                    </a:cubicBezTo>
                    <a:cubicBezTo>
                      <a:pt x="228" y="520"/>
                      <a:pt x="228" y="520"/>
                      <a:pt x="228" y="520"/>
                    </a:cubicBezTo>
                    <a:cubicBezTo>
                      <a:pt x="248" y="512"/>
                      <a:pt x="248" y="512"/>
                      <a:pt x="248" y="512"/>
                    </a:cubicBezTo>
                    <a:cubicBezTo>
                      <a:pt x="248" y="512"/>
                      <a:pt x="267" y="521"/>
                      <a:pt x="273" y="520"/>
                    </a:cubicBezTo>
                    <a:cubicBezTo>
                      <a:pt x="279" y="519"/>
                      <a:pt x="265" y="508"/>
                      <a:pt x="271" y="503"/>
                    </a:cubicBezTo>
                    <a:cubicBezTo>
                      <a:pt x="277" y="498"/>
                      <a:pt x="286" y="513"/>
                      <a:pt x="286" y="513"/>
                    </a:cubicBezTo>
                    <a:cubicBezTo>
                      <a:pt x="293" y="508"/>
                      <a:pt x="293" y="508"/>
                      <a:pt x="293" y="508"/>
                    </a:cubicBezTo>
                    <a:cubicBezTo>
                      <a:pt x="293" y="508"/>
                      <a:pt x="346" y="508"/>
                      <a:pt x="359" y="501"/>
                    </a:cubicBezTo>
                    <a:cubicBezTo>
                      <a:pt x="371" y="494"/>
                      <a:pt x="379" y="479"/>
                      <a:pt x="379" y="479"/>
                    </a:cubicBezTo>
                    <a:cubicBezTo>
                      <a:pt x="340" y="474"/>
                      <a:pt x="340" y="474"/>
                      <a:pt x="340" y="474"/>
                    </a:cubicBezTo>
                    <a:cubicBezTo>
                      <a:pt x="358" y="471"/>
                      <a:pt x="358" y="471"/>
                      <a:pt x="358" y="471"/>
                    </a:cubicBezTo>
                    <a:cubicBezTo>
                      <a:pt x="354" y="461"/>
                      <a:pt x="354" y="461"/>
                      <a:pt x="354" y="461"/>
                    </a:cubicBezTo>
                    <a:cubicBezTo>
                      <a:pt x="354" y="461"/>
                      <a:pt x="368" y="448"/>
                      <a:pt x="375" y="447"/>
                    </a:cubicBezTo>
                    <a:cubicBezTo>
                      <a:pt x="382" y="446"/>
                      <a:pt x="393" y="435"/>
                      <a:pt x="394" y="415"/>
                    </a:cubicBezTo>
                    <a:cubicBezTo>
                      <a:pt x="395" y="394"/>
                      <a:pt x="346" y="395"/>
                      <a:pt x="346" y="395"/>
                    </a:cubicBezTo>
                    <a:close/>
                    <a:moveTo>
                      <a:pt x="157" y="325"/>
                    </a:moveTo>
                    <a:cubicBezTo>
                      <a:pt x="152" y="310"/>
                      <a:pt x="147" y="330"/>
                      <a:pt x="138" y="338"/>
                    </a:cubicBezTo>
                    <a:cubicBezTo>
                      <a:pt x="138" y="338"/>
                      <a:pt x="162" y="340"/>
                      <a:pt x="157" y="325"/>
                    </a:cubicBezTo>
                    <a:close/>
                    <a:moveTo>
                      <a:pt x="94" y="338"/>
                    </a:moveTo>
                    <a:cubicBezTo>
                      <a:pt x="97" y="335"/>
                      <a:pt x="99" y="329"/>
                      <a:pt x="99" y="329"/>
                    </a:cubicBezTo>
                    <a:cubicBezTo>
                      <a:pt x="99" y="329"/>
                      <a:pt x="104" y="336"/>
                      <a:pt x="107" y="330"/>
                    </a:cubicBezTo>
                    <a:cubicBezTo>
                      <a:pt x="110" y="324"/>
                      <a:pt x="117" y="314"/>
                      <a:pt x="110" y="308"/>
                    </a:cubicBezTo>
                    <a:cubicBezTo>
                      <a:pt x="103" y="302"/>
                      <a:pt x="103" y="293"/>
                      <a:pt x="103" y="293"/>
                    </a:cubicBezTo>
                    <a:cubicBezTo>
                      <a:pt x="98" y="295"/>
                      <a:pt x="98" y="295"/>
                      <a:pt x="98" y="295"/>
                    </a:cubicBezTo>
                    <a:cubicBezTo>
                      <a:pt x="98" y="295"/>
                      <a:pt x="93" y="283"/>
                      <a:pt x="86" y="281"/>
                    </a:cubicBezTo>
                    <a:cubicBezTo>
                      <a:pt x="79" y="279"/>
                      <a:pt x="61" y="282"/>
                      <a:pt x="61" y="282"/>
                    </a:cubicBezTo>
                    <a:cubicBezTo>
                      <a:pt x="61" y="282"/>
                      <a:pt x="61" y="282"/>
                      <a:pt x="61" y="281"/>
                    </a:cubicBezTo>
                    <a:cubicBezTo>
                      <a:pt x="58" y="288"/>
                      <a:pt x="58" y="288"/>
                      <a:pt x="58" y="288"/>
                    </a:cubicBezTo>
                    <a:cubicBezTo>
                      <a:pt x="28" y="302"/>
                      <a:pt x="28" y="302"/>
                      <a:pt x="28" y="302"/>
                    </a:cubicBezTo>
                    <a:cubicBezTo>
                      <a:pt x="29" y="312"/>
                      <a:pt x="29" y="312"/>
                      <a:pt x="29" y="312"/>
                    </a:cubicBezTo>
                    <a:cubicBezTo>
                      <a:pt x="29" y="312"/>
                      <a:pt x="0" y="318"/>
                      <a:pt x="13" y="325"/>
                    </a:cubicBezTo>
                    <a:cubicBezTo>
                      <a:pt x="26" y="333"/>
                      <a:pt x="38" y="335"/>
                      <a:pt x="38" y="335"/>
                    </a:cubicBezTo>
                    <a:cubicBezTo>
                      <a:pt x="55" y="319"/>
                      <a:pt x="55" y="319"/>
                      <a:pt x="55" y="319"/>
                    </a:cubicBezTo>
                    <a:cubicBezTo>
                      <a:pt x="67" y="335"/>
                      <a:pt x="67" y="335"/>
                      <a:pt x="67" y="335"/>
                    </a:cubicBezTo>
                    <a:cubicBezTo>
                      <a:pt x="89" y="340"/>
                      <a:pt x="89" y="340"/>
                      <a:pt x="89" y="340"/>
                    </a:cubicBezTo>
                    <a:cubicBezTo>
                      <a:pt x="91" y="340"/>
                      <a:pt x="93" y="339"/>
                      <a:pt x="94" y="338"/>
                    </a:cubicBezTo>
                    <a:close/>
                    <a:moveTo>
                      <a:pt x="63" y="155"/>
                    </a:moveTo>
                    <a:cubicBezTo>
                      <a:pt x="57" y="155"/>
                      <a:pt x="54" y="155"/>
                      <a:pt x="52" y="163"/>
                    </a:cubicBezTo>
                    <a:cubicBezTo>
                      <a:pt x="66" y="163"/>
                      <a:pt x="66" y="163"/>
                      <a:pt x="66" y="163"/>
                    </a:cubicBezTo>
                    <a:cubicBezTo>
                      <a:pt x="66" y="163"/>
                      <a:pt x="69" y="155"/>
                      <a:pt x="63" y="155"/>
                    </a:cubicBezTo>
                    <a:close/>
                    <a:moveTo>
                      <a:pt x="82" y="144"/>
                    </a:moveTo>
                    <a:cubicBezTo>
                      <a:pt x="82" y="144"/>
                      <a:pt x="88" y="146"/>
                      <a:pt x="94" y="145"/>
                    </a:cubicBezTo>
                    <a:cubicBezTo>
                      <a:pt x="100" y="144"/>
                      <a:pt x="108" y="115"/>
                      <a:pt x="108" y="115"/>
                    </a:cubicBezTo>
                    <a:cubicBezTo>
                      <a:pt x="108" y="115"/>
                      <a:pt x="100" y="117"/>
                      <a:pt x="94" y="122"/>
                    </a:cubicBezTo>
                    <a:cubicBezTo>
                      <a:pt x="88" y="126"/>
                      <a:pt x="86" y="133"/>
                      <a:pt x="86" y="133"/>
                    </a:cubicBezTo>
                    <a:cubicBezTo>
                      <a:pt x="86" y="133"/>
                      <a:pt x="78" y="125"/>
                      <a:pt x="72" y="128"/>
                    </a:cubicBezTo>
                    <a:cubicBezTo>
                      <a:pt x="67" y="131"/>
                      <a:pt x="73" y="153"/>
                      <a:pt x="73" y="153"/>
                    </a:cubicBezTo>
                    <a:lnTo>
                      <a:pt x="82" y="144"/>
                    </a:lnTo>
                    <a:close/>
                    <a:moveTo>
                      <a:pt x="57" y="169"/>
                    </a:moveTo>
                    <a:cubicBezTo>
                      <a:pt x="51" y="191"/>
                      <a:pt x="51" y="191"/>
                      <a:pt x="51" y="191"/>
                    </a:cubicBezTo>
                    <a:cubicBezTo>
                      <a:pt x="62" y="177"/>
                      <a:pt x="62" y="177"/>
                      <a:pt x="62" y="177"/>
                    </a:cubicBezTo>
                    <a:lnTo>
                      <a:pt x="57" y="169"/>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01" name="Freeform 123">
                <a:extLst>
                  <a:ext uri="{FF2B5EF4-FFF2-40B4-BE49-F238E27FC236}">
                    <a16:creationId xmlns:a16="http://schemas.microsoft.com/office/drawing/2014/main" id="{5C72CA47-6DD7-4BF0-A39D-ADE25CE136BD}"/>
                  </a:ext>
                </a:extLst>
              </p:cNvPr>
              <p:cNvSpPr>
                <a:spLocks/>
              </p:cNvSpPr>
              <p:nvPr>
                <p:custDataLst>
                  <p:tags r:id="rId82"/>
                </p:custDataLst>
              </p:nvPr>
            </p:nvSpPr>
            <p:spPr bwMode="gray">
              <a:xfrm>
                <a:off x="4271938" y="2746385"/>
                <a:ext cx="112712" cy="112713"/>
              </a:xfrm>
              <a:custGeom>
                <a:avLst/>
                <a:gdLst>
                  <a:gd name="T0" fmla="*/ 186 w 189"/>
                  <a:gd name="T1" fmla="*/ 104 h 202"/>
                  <a:gd name="T2" fmla="*/ 177 w 189"/>
                  <a:gd name="T3" fmla="*/ 87 h 202"/>
                  <a:gd name="T4" fmla="*/ 175 w 189"/>
                  <a:gd name="T5" fmla="*/ 73 h 202"/>
                  <a:gd name="T6" fmla="*/ 189 w 189"/>
                  <a:gd name="T7" fmla="*/ 66 h 202"/>
                  <a:gd name="T8" fmla="*/ 167 w 189"/>
                  <a:gd name="T9" fmla="*/ 61 h 202"/>
                  <a:gd name="T10" fmla="*/ 155 w 189"/>
                  <a:gd name="T11" fmla="*/ 45 h 202"/>
                  <a:gd name="T12" fmla="*/ 138 w 189"/>
                  <a:gd name="T13" fmla="*/ 61 h 202"/>
                  <a:gd name="T14" fmla="*/ 113 w 189"/>
                  <a:gd name="T15" fmla="*/ 51 h 202"/>
                  <a:gd name="T16" fmla="*/ 129 w 189"/>
                  <a:gd name="T17" fmla="*/ 38 h 202"/>
                  <a:gd name="T18" fmla="*/ 128 w 189"/>
                  <a:gd name="T19" fmla="*/ 28 h 202"/>
                  <a:gd name="T20" fmla="*/ 158 w 189"/>
                  <a:gd name="T21" fmla="*/ 14 h 202"/>
                  <a:gd name="T22" fmla="*/ 161 w 189"/>
                  <a:gd name="T23" fmla="*/ 7 h 202"/>
                  <a:gd name="T24" fmla="*/ 153 w 189"/>
                  <a:gd name="T25" fmla="*/ 2 h 202"/>
                  <a:gd name="T26" fmla="*/ 138 w 189"/>
                  <a:gd name="T27" fmla="*/ 14 h 202"/>
                  <a:gd name="T28" fmla="*/ 134 w 189"/>
                  <a:gd name="T29" fmla="*/ 4 h 202"/>
                  <a:gd name="T30" fmla="*/ 107 w 189"/>
                  <a:gd name="T31" fmla="*/ 9 h 202"/>
                  <a:gd name="T32" fmla="*/ 99 w 189"/>
                  <a:gd name="T33" fmla="*/ 30 h 202"/>
                  <a:gd name="T34" fmla="*/ 84 w 189"/>
                  <a:gd name="T35" fmla="*/ 35 h 202"/>
                  <a:gd name="T36" fmla="*/ 102 w 189"/>
                  <a:gd name="T37" fmla="*/ 44 h 202"/>
                  <a:gd name="T38" fmla="*/ 92 w 189"/>
                  <a:gd name="T39" fmla="*/ 50 h 202"/>
                  <a:gd name="T40" fmla="*/ 87 w 189"/>
                  <a:gd name="T41" fmla="*/ 57 h 202"/>
                  <a:gd name="T42" fmla="*/ 69 w 189"/>
                  <a:gd name="T43" fmla="*/ 56 h 202"/>
                  <a:gd name="T44" fmla="*/ 69 w 189"/>
                  <a:gd name="T45" fmla="*/ 61 h 202"/>
                  <a:gd name="T46" fmla="*/ 48 w 189"/>
                  <a:gd name="T47" fmla="*/ 51 h 202"/>
                  <a:gd name="T48" fmla="*/ 30 w 189"/>
                  <a:gd name="T49" fmla="*/ 54 h 202"/>
                  <a:gd name="T50" fmla="*/ 33 w 189"/>
                  <a:gd name="T51" fmla="*/ 71 h 202"/>
                  <a:gd name="T52" fmla="*/ 42 w 189"/>
                  <a:gd name="T53" fmla="*/ 79 h 202"/>
                  <a:gd name="T54" fmla="*/ 31 w 189"/>
                  <a:gd name="T55" fmla="*/ 86 h 202"/>
                  <a:gd name="T56" fmla="*/ 25 w 189"/>
                  <a:gd name="T57" fmla="*/ 98 h 202"/>
                  <a:gd name="T58" fmla="*/ 48 w 189"/>
                  <a:gd name="T59" fmla="*/ 107 h 202"/>
                  <a:gd name="T60" fmla="*/ 66 w 189"/>
                  <a:gd name="T61" fmla="*/ 107 h 202"/>
                  <a:gd name="T62" fmla="*/ 50 w 189"/>
                  <a:gd name="T63" fmla="*/ 116 h 202"/>
                  <a:gd name="T64" fmla="*/ 50 w 189"/>
                  <a:gd name="T65" fmla="*/ 130 h 202"/>
                  <a:gd name="T66" fmla="*/ 35 w 189"/>
                  <a:gd name="T67" fmla="*/ 134 h 202"/>
                  <a:gd name="T68" fmla="*/ 30 w 189"/>
                  <a:gd name="T69" fmla="*/ 156 h 202"/>
                  <a:gd name="T70" fmla="*/ 4 w 189"/>
                  <a:gd name="T71" fmla="*/ 161 h 202"/>
                  <a:gd name="T72" fmla="*/ 15 w 189"/>
                  <a:gd name="T73" fmla="*/ 167 h 202"/>
                  <a:gd name="T74" fmla="*/ 0 w 189"/>
                  <a:gd name="T75" fmla="*/ 176 h 202"/>
                  <a:gd name="T76" fmla="*/ 7 w 189"/>
                  <a:gd name="T77" fmla="*/ 183 h 202"/>
                  <a:gd name="T78" fmla="*/ 30 w 189"/>
                  <a:gd name="T79" fmla="*/ 180 h 202"/>
                  <a:gd name="T80" fmla="*/ 19 w 189"/>
                  <a:gd name="T81" fmla="*/ 192 h 202"/>
                  <a:gd name="T82" fmla="*/ 35 w 189"/>
                  <a:gd name="T83" fmla="*/ 190 h 202"/>
                  <a:gd name="T84" fmla="*/ 29 w 189"/>
                  <a:gd name="T85" fmla="*/ 202 h 202"/>
                  <a:gd name="T86" fmla="*/ 74 w 189"/>
                  <a:gd name="T87" fmla="*/ 191 h 202"/>
                  <a:gd name="T88" fmla="*/ 83 w 189"/>
                  <a:gd name="T89" fmla="*/ 178 h 202"/>
                  <a:gd name="T90" fmla="*/ 102 w 189"/>
                  <a:gd name="T91" fmla="*/ 178 h 202"/>
                  <a:gd name="T92" fmla="*/ 124 w 189"/>
                  <a:gd name="T93" fmla="*/ 166 h 202"/>
                  <a:gd name="T94" fmla="*/ 140 w 189"/>
                  <a:gd name="T95" fmla="*/ 165 h 202"/>
                  <a:gd name="T96" fmla="*/ 143 w 189"/>
                  <a:gd name="T97" fmla="*/ 159 h 202"/>
                  <a:gd name="T98" fmla="*/ 168 w 189"/>
                  <a:gd name="T99" fmla="*/ 160 h 202"/>
                  <a:gd name="T100" fmla="*/ 167 w 189"/>
                  <a:gd name="T101" fmla="*/ 148 h 202"/>
                  <a:gd name="T102" fmla="*/ 179 w 189"/>
                  <a:gd name="T103" fmla="*/ 146 h 202"/>
                  <a:gd name="T104" fmla="*/ 178 w 189"/>
                  <a:gd name="T105" fmla="*/ 133 h 202"/>
                  <a:gd name="T106" fmla="*/ 186 w 189"/>
                  <a:gd name="T107" fmla="*/ 104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202">
                    <a:moveTo>
                      <a:pt x="186" y="104"/>
                    </a:moveTo>
                    <a:cubicBezTo>
                      <a:pt x="186" y="94"/>
                      <a:pt x="177" y="87"/>
                      <a:pt x="177" y="87"/>
                    </a:cubicBezTo>
                    <a:cubicBezTo>
                      <a:pt x="177" y="87"/>
                      <a:pt x="177" y="78"/>
                      <a:pt x="175" y="73"/>
                    </a:cubicBezTo>
                    <a:cubicBezTo>
                      <a:pt x="175" y="69"/>
                      <a:pt x="184" y="68"/>
                      <a:pt x="189" y="66"/>
                    </a:cubicBezTo>
                    <a:cubicBezTo>
                      <a:pt x="167" y="61"/>
                      <a:pt x="167" y="61"/>
                      <a:pt x="167" y="61"/>
                    </a:cubicBezTo>
                    <a:cubicBezTo>
                      <a:pt x="155" y="45"/>
                      <a:pt x="155" y="45"/>
                      <a:pt x="155" y="45"/>
                    </a:cubicBezTo>
                    <a:cubicBezTo>
                      <a:pt x="138" y="61"/>
                      <a:pt x="138" y="61"/>
                      <a:pt x="138" y="61"/>
                    </a:cubicBezTo>
                    <a:cubicBezTo>
                      <a:pt x="138" y="61"/>
                      <a:pt x="126" y="59"/>
                      <a:pt x="113" y="51"/>
                    </a:cubicBezTo>
                    <a:cubicBezTo>
                      <a:pt x="100" y="44"/>
                      <a:pt x="129" y="38"/>
                      <a:pt x="129" y="38"/>
                    </a:cubicBezTo>
                    <a:cubicBezTo>
                      <a:pt x="128" y="28"/>
                      <a:pt x="128" y="28"/>
                      <a:pt x="128" y="28"/>
                    </a:cubicBezTo>
                    <a:cubicBezTo>
                      <a:pt x="158" y="14"/>
                      <a:pt x="158" y="14"/>
                      <a:pt x="158" y="14"/>
                    </a:cubicBezTo>
                    <a:cubicBezTo>
                      <a:pt x="161" y="7"/>
                      <a:pt x="161" y="7"/>
                      <a:pt x="161" y="7"/>
                    </a:cubicBezTo>
                    <a:cubicBezTo>
                      <a:pt x="160" y="6"/>
                      <a:pt x="158" y="4"/>
                      <a:pt x="153" y="2"/>
                    </a:cubicBezTo>
                    <a:cubicBezTo>
                      <a:pt x="146" y="0"/>
                      <a:pt x="138" y="14"/>
                      <a:pt x="138" y="14"/>
                    </a:cubicBezTo>
                    <a:cubicBezTo>
                      <a:pt x="134" y="4"/>
                      <a:pt x="134" y="4"/>
                      <a:pt x="134" y="4"/>
                    </a:cubicBezTo>
                    <a:cubicBezTo>
                      <a:pt x="134" y="4"/>
                      <a:pt x="111" y="4"/>
                      <a:pt x="107" y="9"/>
                    </a:cubicBezTo>
                    <a:cubicBezTo>
                      <a:pt x="103" y="15"/>
                      <a:pt x="99" y="30"/>
                      <a:pt x="99" y="30"/>
                    </a:cubicBezTo>
                    <a:cubicBezTo>
                      <a:pt x="99" y="30"/>
                      <a:pt x="84" y="29"/>
                      <a:pt x="84" y="35"/>
                    </a:cubicBezTo>
                    <a:cubicBezTo>
                      <a:pt x="84" y="41"/>
                      <a:pt x="106" y="37"/>
                      <a:pt x="102" y="44"/>
                    </a:cubicBezTo>
                    <a:cubicBezTo>
                      <a:pt x="98" y="51"/>
                      <a:pt x="94" y="47"/>
                      <a:pt x="92" y="50"/>
                    </a:cubicBezTo>
                    <a:cubicBezTo>
                      <a:pt x="90" y="53"/>
                      <a:pt x="87" y="57"/>
                      <a:pt x="87" y="57"/>
                    </a:cubicBezTo>
                    <a:cubicBezTo>
                      <a:pt x="69" y="56"/>
                      <a:pt x="69" y="56"/>
                      <a:pt x="69" y="56"/>
                    </a:cubicBezTo>
                    <a:cubicBezTo>
                      <a:pt x="69" y="61"/>
                      <a:pt x="69" y="61"/>
                      <a:pt x="69" y="61"/>
                    </a:cubicBezTo>
                    <a:cubicBezTo>
                      <a:pt x="69" y="61"/>
                      <a:pt x="56" y="47"/>
                      <a:pt x="48" y="51"/>
                    </a:cubicBezTo>
                    <a:cubicBezTo>
                      <a:pt x="40" y="55"/>
                      <a:pt x="30" y="54"/>
                      <a:pt x="30" y="54"/>
                    </a:cubicBezTo>
                    <a:cubicBezTo>
                      <a:pt x="30" y="54"/>
                      <a:pt x="28" y="71"/>
                      <a:pt x="33" y="71"/>
                    </a:cubicBezTo>
                    <a:cubicBezTo>
                      <a:pt x="38" y="71"/>
                      <a:pt x="42" y="79"/>
                      <a:pt x="42" y="79"/>
                    </a:cubicBezTo>
                    <a:cubicBezTo>
                      <a:pt x="31" y="86"/>
                      <a:pt x="31" y="86"/>
                      <a:pt x="31" y="86"/>
                    </a:cubicBezTo>
                    <a:cubicBezTo>
                      <a:pt x="31" y="86"/>
                      <a:pt x="20" y="90"/>
                      <a:pt x="25" y="98"/>
                    </a:cubicBezTo>
                    <a:cubicBezTo>
                      <a:pt x="30" y="106"/>
                      <a:pt x="48" y="107"/>
                      <a:pt x="48" y="107"/>
                    </a:cubicBezTo>
                    <a:cubicBezTo>
                      <a:pt x="48" y="107"/>
                      <a:pt x="67" y="99"/>
                      <a:pt x="66" y="107"/>
                    </a:cubicBezTo>
                    <a:cubicBezTo>
                      <a:pt x="65" y="115"/>
                      <a:pt x="50" y="116"/>
                      <a:pt x="50" y="116"/>
                    </a:cubicBezTo>
                    <a:cubicBezTo>
                      <a:pt x="50" y="130"/>
                      <a:pt x="50" y="130"/>
                      <a:pt x="50" y="130"/>
                    </a:cubicBezTo>
                    <a:cubicBezTo>
                      <a:pt x="50" y="130"/>
                      <a:pt x="37" y="125"/>
                      <a:pt x="35" y="134"/>
                    </a:cubicBezTo>
                    <a:cubicBezTo>
                      <a:pt x="33" y="143"/>
                      <a:pt x="30" y="156"/>
                      <a:pt x="30" y="156"/>
                    </a:cubicBezTo>
                    <a:cubicBezTo>
                      <a:pt x="30" y="156"/>
                      <a:pt x="5" y="156"/>
                      <a:pt x="4" y="161"/>
                    </a:cubicBezTo>
                    <a:cubicBezTo>
                      <a:pt x="3" y="166"/>
                      <a:pt x="15" y="167"/>
                      <a:pt x="15" y="167"/>
                    </a:cubicBezTo>
                    <a:cubicBezTo>
                      <a:pt x="15" y="167"/>
                      <a:pt x="0" y="169"/>
                      <a:pt x="0" y="176"/>
                    </a:cubicBezTo>
                    <a:cubicBezTo>
                      <a:pt x="0" y="184"/>
                      <a:pt x="7" y="183"/>
                      <a:pt x="7" y="183"/>
                    </a:cubicBezTo>
                    <a:cubicBezTo>
                      <a:pt x="30" y="180"/>
                      <a:pt x="30" y="180"/>
                      <a:pt x="30" y="180"/>
                    </a:cubicBezTo>
                    <a:cubicBezTo>
                      <a:pt x="19" y="192"/>
                      <a:pt x="19" y="192"/>
                      <a:pt x="19" y="192"/>
                    </a:cubicBezTo>
                    <a:cubicBezTo>
                      <a:pt x="19" y="192"/>
                      <a:pt x="36" y="187"/>
                      <a:pt x="35" y="190"/>
                    </a:cubicBezTo>
                    <a:cubicBezTo>
                      <a:pt x="34" y="193"/>
                      <a:pt x="14" y="202"/>
                      <a:pt x="29" y="202"/>
                    </a:cubicBezTo>
                    <a:cubicBezTo>
                      <a:pt x="44" y="202"/>
                      <a:pt x="65" y="196"/>
                      <a:pt x="74" y="191"/>
                    </a:cubicBezTo>
                    <a:cubicBezTo>
                      <a:pt x="83" y="186"/>
                      <a:pt x="83" y="178"/>
                      <a:pt x="83" y="178"/>
                    </a:cubicBezTo>
                    <a:cubicBezTo>
                      <a:pt x="83" y="178"/>
                      <a:pt x="93" y="184"/>
                      <a:pt x="102" y="178"/>
                    </a:cubicBezTo>
                    <a:cubicBezTo>
                      <a:pt x="111" y="173"/>
                      <a:pt x="112" y="167"/>
                      <a:pt x="124" y="166"/>
                    </a:cubicBezTo>
                    <a:cubicBezTo>
                      <a:pt x="135" y="165"/>
                      <a:pt x="140" y="165"/>
                      <a:pt x="140" y="165"/>
                    </a:cubicBezTo>
                    <a:cubicBezTo>
                      <a:pt x="143" y="159"/>
                      <a:pt x="143" y="159"/>
                      <a:pt x="143" y="159"/>
                    </a:cubicBezTo>
                    <a:cubicBezTo>
                      <a:pt x="168" y="160"/>
                      <a:pt x="168" y="160"/>
                      <a:pt x="168" y="160"/>
                    </a:cubicBezTo>
                    <a:cubicBezTo>
                      <a:pt x="167" y="148"/>
                      <a:pt x="167" y="148"/>
                      <a:pt x="167" y="148"/>
                    </a:cubicBezTo>
                    <a:cubicBezTo>
                      <a:pt x="167" y="148"/>
                      <a:pt x="179" y="150"/>
                      <a:pt x="179" y="146"/>
                    </a:cubicBezTo>
                    <a:cubicBezTo>
                      <a:pt x="179" y="142"/>
                      <a:pt x="174" y="138"/>
                      <a:pt x="178" y="133"/>
                    </a:cubicBezTo>
                    <a:cubicBezTo>
                      <a:pt x="181" y="128"/>
                      <a:pt x="186" y="114"/>
                      <a:pt x="186" y="104"/>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02" name="Freeform 124">
                <a:extLst>
                  <a:ext uri="{FF2B5EF4-FFF2-40B4-BE49-F238E27FC236}">
                    <a16:creationId xmlns:a16="http://schemas.microsoft.com/office/drawing/2014/main" id="{CBE44116-688A-495C-8363-BE93192B0070}"/>
                  </a:ext>
                </a:extLst>
              </p:cNvPr>
              <p:cNvSpPr>
                <a:spLocks noEditPoints="1"/>
              </p:cNvSpPr>
              <p:nvPr>
                <p:custDataLst>
                  <p:tags r:id="rId83"/>
                </p:custDataLst>
              </p:nvPr>
            </p:nvSpPr>
            <p:spPr bwMode="gray">
              <a:xfrm>
                <a:off x="3251181" y="2057408"/>
                <a:ext cx="1590666" cy="711203"/>
              </a:xfrm>
              <a:custGeom>
                <a:avLst/>
                <a:gdLst>
                  <a:gd name="T0" fmla="*/ 1565 w 2644"/>
                  <a:gd name="T1" fmla="*/ 52 h 1282"/>
                  <a:gd name="T2" fmla="*/ 1392 w 2644"/>
                  <a:gd name="T3" fmla="*/ 47 h 1282"/>
                  <a:gd name="T4" fmla="*/ 1490 w 2644"/>
                  <a:gd name="T5" fmla="*/ 10 h 1282"/>
                  <a:gd name="T6" fmla="*/ 1129 w 2644"/>
                  <a:gd name="T7" fmla="*/ 20 h 1282"/>
                  <a:gd name="T8" fmla="*/ 1006 w 2644"/>
                  <a:gd name="T9" fmla="*/ 38 h 1282"/>
                  <a:gd name="T10" fmla="*/ 728 w 2644"/>
                  <a:gd name="T11" fmla="*/ 51 h 1282"/>
                  <a:gd name="T12" fmla="*/ 452 w 2644"/>
                  <a:gd name="T13" fmla="*/ 80 h 1282"/>
                  <a:gd name="T14" fmla="*/ 236 w 2644"/>
                  <a:gd name="T15" fmla="*/ 157 h 1282"/>
                  <a:gd name="T16" fmla="*/ 83 w 2644"/>
                  <a:gd name="T17" fmla="*/ 219 h 1282"/>
                  <a:gd name="T18" fmla="*/ 96 w 2644"/>
                  <a:gd name="T19" fmla="*/ 231 h 1282"/>
                  <a:gd name="T20" fmla="*/ 106 w 2644"/>
                  <a:gd name="T21" fmla="*/ 266 h 1282"/>
                  <a:gd name="T22" fmla="*/ 313 w 2644"/>
                  <a:gd name="T23" fmla="*/ 274 h 1282"/>
                  <a:gd name="T24" fmla="*/ 399 w 2644"/>
                  <a:gd name="T25" fmla="*/ 369 h 1282"/>
                  <a:gd name="T26" fmla="*/ 370 w 2644"/>
                  <a:gd name="T27" fmla="*/ 445 h 1282"/>
                  <a:gd name="T28" fmla="*/ 438 w 2644"/>
                  <a:gd name="T29" fmla="*/ 447 h 1282"/>
                  <a:gd name="T30" fmla="*/ 432 w 2644"/>
                  <a:gd name="T31" fmla="*/ 517 h 1282"/>
                  <a:gd name="T32" fmla="*/ 456 w 2644"/>
                  <a:gd name="T33" fmla="*/ 542 h 1282"/>
                  <a:gd name="T34" fmla="*/ 421 w 2644"/>
                  <a:gd name="T35" fmla="*/ 578 h 1282"/>
                  <a:gd name="T36" fmla="*/ 408 w 2644"/>
                  <a:gd name="T37" fmla="*/ 639 h 1282"/>
                  <a:gd name="T38" fmla="*/ 354 w 2644"/>
                  <a:gd name="T39" fmla="*/ 640 h 1282"/>
                  <a:gd name="T40" fmla="*/ 276 w 2644"/>
                  <a:gd name="T41" fmla="*/ 668 h 1282"/>
                  <a:gd name="T42" fmla="*/ 273 w 2644"/>
                  <a:gd name="T43" fmla="*/ 727 h 1282"/>
                  <a:gd name="T44" fmla="*/ 270 w 2644"/>
                  <a:gd name="T45" fmla="*/ 802 h 1282"/>
                  <a:gd name="T46" fmla="*/ 328 w 2644"/>
                  <a:gd name="T47" fmla="*/ 798 h 1282"/>
                  <a:gd name="T48" fmla="*/ 286 w 2644"/>
                  <a:gd name="T49" fmla="*/ 851 h 1282"/>
                  <a:gd name="T50" fmla="*/ 322 w 2644"/>
                  <a:gd name="T51" fmla="*/ 925 h 1282"/>
                  <a:gd name="T52" fmla="*/ 398 w 2644"/>
                  <a:gd name="T53" fmla="*/ 969 h 1282"/>
                  <a:gd name="T54" fmla="*/ 443 w 2644"/>
                  <a:gd name="T55" fmla="*/ 1000 h 1282"/>
                  <a:gd name="T56" fmla="*/ 540 w 2644"/>
                  <a:gd name="T57" fmla="*/ 948 h 1282"/>
                  <a:gd name="T58" fmla="*/ 585 w 2644"/>
                  <a:gd name="T59" fmla="*/ 903 h 1282"/>
                  <a:gd name="T60" fmla="*/ 625 w 2644"/>
                  <a:gd name="T61" fmla="*/ 858 h 1282"/>
                  <a:gd name="T62" fmla="*/ 673 w 2644"/>
                  <a:gd name="T63" fmla="*/ 802 h 1282"/>
                  <a:gd name="T64" fmla="*/ 752 w 2644"/>
                  <a:gd name="T65" fmla="*/ 741 h 1282"/>
                  <a:gd name="T66" fmla="*/ 841 w 2644"/>
                  <a:gd name="T67" fmla="*/ 727 h 1282"/>
                  <a:gd name="T68" fmla="*/ 1053 w 2644"/>
                  <a:gd name="T69" fmla="*/ 599 h 1282"/>
                  <a:gd name="T70" fmla="*/ 1317 w 2644"/>
                  <a:gd name="T71" fmla="*/ 578 h 1282"/>
                  <a:gd name="T72" fmla="*/ 1303 w 2644"/>
                  <a:gd name="T73" fmla="*/ 524 h 1282"/>
                  <a:gd name="T74" fmla="*/ 1217 w 2644"/>
                  <a:gd name="T75" fmla="*/ 512 h 1282"/>
                  <a:gd name="T76" fmla="*/ 1271 w 2644"/>
                  <a:gd name="T77" fmla="*/ 465 h 1282"/>
                  <a:gd name="T78" fmla="*/ 1427 w 2644"/>
                  <a:gd name="T79" fmla="*/ 502 h 1282"/>
                  <a:gd name="T80" fmla="*/ 1425 w 2644"/>
                  <a:gd name="T81" fmla="*/ 459 h 1282"/>
                  <a:gd name="T82" fmla="*/ 1303 w 2644"/>
                  <a:gd name="T83" fmla="*/ 412 h 1282"/>
                  <a:gd name="T84" fmla="*/ 1471 w 2644"/>
                  <a:gd name="T85" fmla="*/ 404 h 1282"/>
                  <a:gd name="T86" fmla="*/ 1535 w 2644"/>
                  <a:gd name="T87" fmla="*/ 368 h 1282"/>
                  <a:gd name="T88" fmla="*/ 1546 w 2644"/>
                  <a:gd name="T89" fmla="*/ 334 h 1282"/>
                  <a:gd name="T90" fmla="*/ 1594 w 2644"/>
                  <a:gd name="T91" fmla="*/ 289 h 1282"/>
                  <a:gd name="T92" fmla="*/ 1590 w 2644"/>
                  <a:gd name="T93" fmla="*/ 221 h 1282"/>
                  <a:gd name="T94" fmla="*/ 1627 w 2644"/>
                  <a:gd name="T95" fmla="*/ 165 h 1282"/>
                  <a:gd name="T96" fmla="*/ 1659 w 2644"/>
                  <a:gd name="T97" fmla="*/ 111 h 1282"/>
                  <a:gd name="T98" fmla="*/ 1807 w 2644"/>
                  <a:gd name="T99" fmla="*/ 79 h 1282"/>
                  <a:gd name="T100" fmla="*/ 371 w 2644"/>
                  <a:gd name="T101" fmla="*/ 534 h 1282"/>
                  <a:gd name="T102" fmla="*/ 2531 w 2644"/>
                  <a:gd name="T103" fmla="*/ 1160 h 1282"/>
                  <a:gd name="T104" fmla="*/ 2458 w 2644"/>
                  <a:gd name="T105" fmla="*/ 1164 h 1282"/>
                  <a:gd name="T106" fmla="*/ 2471 w 2644"/>
                  <a:gd name="T107" fmla="*/ 1249 h 1282"/>
                  <a:gd name="T108" fmla="*/ 2517 w 2644"/>
                  <a:gd name="T109" fmla="*/ 1268 h 1282"/>
                  <a:gd name="T110" fmla="*/ 2531 w 2644"/>
                  <a:gd name="T111" fmla="*/ 1179 h 1282"/>
                  <a:gd name="T112" fmla="*/ 2577 w 2644"/>
                  <a:gd name="T113" fmla="*/ 1240 h 1282"/>
                  <a:gd name="T114" fmla="*/ 2624 w 2644"/>
                  <a:gd name="T115" fmla="*/ 1211 h 1282"/>
                  <a:gd name="T116" fmla="*/ 2629 w 2644"/>
                  <a:gd name="T117" fmla="*/ 1260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44" h="1282">
                    <a:moveTo>
                      <a:pt x="1845" y="57"/>
                    </a:moveTo>
                    <a:cubicBezTo>
                      <a:pt x="1825" y="57"/>
                      <a:pt x="1757" y="51"/>
                      <a:pt x="1752" y="57"/>
                    </a:cubicBezTo>
                    <a:cubicBezTo>
                      <a:pt x="1747" y="63"/>
                      <a:pt x="1722" y="69"/>
                      <a:pt x="1711" y="69"/>
                    </a:cubicBezTo>
                    <a:cubicBezTo>
                      <a:pt x="1700" y="69"/>
                      <a:pt x="1655" y="60"/>
                      <a:pt x="1647" y="64"/>
                    </a:cubicBezTo>
                    <a:cubicBezTo>
                      <a:pt x="1639" y="68"/>
                      <a:pt x="1587" y="83"/>
                      <a:pt x="1581" y="86"/>
                    </a:cubicBezTo>
                    <a:cubicBezTo>
                      <a:pt x="1575" y="89"/>
                      <a:pt x="1523" y="101"/>
                      <a:pt x="1532" y="94"/>
                    </a:cubicBezTo>
                    <a:cubicBezTo>
                      <a:pt x="1541" y="87"/>
                      <a:pt x="1615" y="71"/>
                      <a:pt x="1610" y="61"/>
                    </a:cubicBezTo>
                    <a:cubicBezTo>
                      <a:pt x="1605" y="51"/>
                      <a:pt x="1576" y="48"/>
                      <a:pt x="1565" y="52"/>
                    </a:cubicBezTo>
                    <a:cubicBezTo>
                      <a:pt x="1554" y="56"/>
                      <a:pt x="1536" y="63"/>
                      <a:pt x="1536" y="63"/>
                    </a:cubicBezTo>
                    <a:cubicBezTo>
                      <a:pt x="1457" y="73"/>
                      <a:pt x="1457" y="73"/>
                      <a:pt x="1457" y="73"/>
                    </a:cubicBezTo>
                    <a:cubicBezTo>
                      <a:pt x="1457" y="73"/>
                      <a:pt x="1531" y="55"/>
                      <a:pt x="1513" y="54"/>
                    </a:cubicBezTo>
                    <a:cubicBezTo>
                      <a:pt x="1495" y="53"/>
                      <a:pt x="1427" y="52"/>
                      <a:pt x="1427" y="52"/>
                    </a:cubicBezTo>
                    <a:cubicBezTo>
                      <a:pt x="1403" y="57"/>
                      <a:pt x="1403" y="57"/>
                      <a:pt x="1403" y="57"/>
                    </a:cubicBezTo>
                    <a:cubicBezTo>
                      <a:pt x="1358" y="53"/>
                      <a:pt x="1358" y="53"/>
                      <a:pt x="1358" y="53"/>
                    </a:cubicBezTo>
                    <a:cubicBezTo>
                      <a:pt x="1358" y="53"/>
                      <a:pt x="1307" y="68"/>
                      <a:pt x="1309" y="61"/>
                    </a:cubicBezTo>
                    <a:cubicBezTo>
                      <a:pt x="1311" y="54"/>
                      <a:pt x="1371" y="47"/>
                      <a:pt x="1392" y="47"/>
                    </a:cubicBezTo>
                    <a:cubicBezTo>
                      <a:pt x="1413" y="47"/>
                      <a:pt x="1548" y="45"/>
                      <a:pt x="1557" y="45"/>
                    </a:cubicBezTo>
                    <a:cubicBezTo>
                      <a:pt x="1566" y="45"/>
                      <a:pt x="1645" y="43"/>
                      <a:pt x="1636" y="35"/>
                    </a:cubicBezTo>
                    <a:cubicBezTo>
                      <a:pt x="1627" y="27"/>
                      <a:pt x="1577" y="24"/>
                      <a:pt x="1558" y="27"/>
                    </a:cubicBezTo>
                    <a:cubicBezTo>
                      <a:pt x="1539" y="30"/>
                      <a:pt x="1526" y="29"/>
                      <a:pt x="1526" y="29"/>
                    </a:cubicBezTo>
                    <a:cubicBezTo>
                      <a:pt x="1526" y="29"/>
                      <a:pt x="1551" y="18"/>
                      <a:pt x="1535" y="17"/>
                    </a:cubicBezTo>
                    <a:cubicBezTo>
                      <a:pt x="1519" y="16"/>
                      <a:pt x="1492" y="19"/>
                      <a:pt x="1492" y="19"/>
                    </a:cubicBezTo>
                    <a:cubicBezTo>
                      <a:pt x="1492" y="19"/>
                      <a:pt x="1462" y="18"/>
                      <a:pt x="1455" y="16"/>
                    </a:cubicBezTo>
                    <a:cubicBezTo>
                      <a:pt x="1448" y="14"/>
                      <a:pt x="1483" y="17"/>
                      <a:pt x="1490" y="10"/>
                    </a:cubicBezTo>
                    <a:cubicBezTo>
                      <a:pt x="1497" y="3"/>
                      <a:pt x="1454" y="5"/>
                      <a:pt x="1432" y="5"/>
                    </a:cubicBezTo>
                    <a:cubicBezTo>
                      <a:pt x="1410" y="5"/>
                      <a:pt x="1355" y="8"/>
                      <a:pt x="1355" y="8"/>
                    </a:cubicBezTo>
                    <a:cubicBezTo>
                      <a:pt x="1355" y="8"/>
                      <a:pt x="1315" y="4"/>
                      <a:pt x="1292" y="2"/>
                    </a:cubicBezTo>
                    <a:cubicBezTo>
                      <a:pt x="1269" y="0"/>
                      <a:pt x="1246" y="5"/>
                      <a:pt x="1237" y="6"/>
                    </a:cubicBezTo>
                    <a:cubicBezTo>
                      <a:pt x="1228" y="7"/>
                      <a:pt x="1210" y="7"/>
                      <a:pt x="1188" y="6"/>
                    </a:cubicBezTo>
                    <a:cubicBezTo>
                      <a:pt x="1166" y="5"/>
                      <a:pt x="1144" y="5"/>
                      <a:pt x="1146" y="10"/>
                    </a:cubicBezTo>
                    <a:cubicBezTo>
                      <a:pt x="1148" y="15"/>
                      <a:pt x="1177" y="16"/>
                      <a:pt x="1177" y="16"/>
                    </a:cubicBezTo>
                    <a:cubicBezTo>
                      <a:pt x="1177" y="16"/>
                      <a:pt x="1142" y="21"/>
                      <a:pt x="1129" y="20"/>
                    </a:cubicBezTo>
                    <a:cubicBezTo>
                      <a:pt x="1116" y="19"/>
                      <a:pt x="1061" y="13"/>
                      <a:pt x="1047" y="11"/>
                    </a:cubicBezTo>
                    <a:cubicBezTo>
                      <a:pt x="1033" y="9"/>
                      <a:pt x="995" y="13"/>
                      <a:pt x="990" y="13"/>
                    </a:cubicBezTo>
                    <a:cubicBezTo>
                      <a:pt x="985" y="13"/>
                      <a:pt x="935" y="19"/>
                      <a:pt x="956" y="24"/>
                    </a:cubicBezTo>
                    <a:cubicBezTo>
                      <a:pt x="977" y="29"/>
                      <a:pt x="1046" y="31"/>
                      <a:pt x="1046" y="31"/>
                    </a:cubicBezTo>
                    <a:cubicBezTo>
                      <a:pt x="1103" y="38"/>
                      <a:pt x="1103" y="38"/>
                      <a:pt x="1103" y="38"/>
                    </a:cubicBezTo>
                    <a:cubicBezTo>
                      <a:pt x="1103" y="38"/>
                      <a:pt x="1048" y="40"/>
                      <a:pt x="1040" y="40"/>
                    </a:cubicBezTo>
                    <a:cubicBezTo>
                      <a:pt x="1032" y="40"/>
                      <a:pt x="984" y="27"/>
                      <a:pt x="985" y="31"/>
                    </a:cubicBezTo>
                    <a:cubicBezTo>
                      <a:pt x="986" y="35"/>
                      <a:pt x="1006" y="38"/>
                      <a:pt x="1006" y="38"/>
                    </a:cubicBezTo>
                    <a:cubicBezTo>
                      <a:pt x="975" y="41"/>
                      <a:pt x="975" y="41"/>
                      <a:pt x="975" y="41"/>
                    </a:cubicBezTo>
                    <a:cubicBezTo>
                      <a:pt x="975" y="41"/>
                      <a:pt x="958" y="55"/>
                      <a:pt x="962" y="59"/>
                    </a:cubicBezTo>
                    <a:cubicBezTo>
                      <a:pt x="966" y="63"/>
                      <a:pt x="938" y="64"/>
                      <a:pt x="925" y="56"/>
                    </a:cubicBezTo>
                    <a:cubicBezTo>
                      <a:pt x="912" y="48"/>
                      <a:pt x="885" y="42"/>
                      <a:pt x="859" y="40"/>
                    </a:cubicBezTo>
                    <a:cubicBezTo>
                      <a:pt x="833" y="38"/>
                      <a:pt x="804" y="38"/>
                      <a:pt x="804" y="38"/>
                    </a:cubicBezTo>
                    <a:cubicBezTo>
                      <a:pt x="806" y="58"/>
                      <a:pt x="806" y="58"/>
                      <a:pt x="806" y="58"/>
                    </a:cubicBezTo>
                    <a:cubicBezTo>
                      <a:pt x="806" y="58"/>
                      <a:pt x="786" y="61"/>
                      <a:pt x="773" y="59"/>
                    </a:cubicBezTo>
                    <a:cubicBezTo>
                      <a:pt x="760" y="57"/>
                      <a:pt x="736" y="49"/>
                      <a:pt x="728" y="51"/>
                    </a:cubicBezTo>
                    <a:cubicBezTo>
                      <a:pt x="720" y="53"/>
                      <a:pt x="702" y="62"/>
                      <a:pt x="702" y="62"/>
                    </a:cubicBezTo>
                    <a:cubicBezTo>
                      <a:pt x="702" y="62"/>
                      <a:pt x="713" y="44"/>
                      <a:pt x="700" y="44"/>
                    </a:cubicBezTo>
                    <a:cubicBezTo>
                      <a:pt x="687" y="44"/>
                      <a:pt x="616" y="45"/>
                      <a:pt x="597" y="48"/>
                    </a:cubicBezTo>
                    <a:cubicBezTo>
                      <a:pt x="578" y="51"/>
                      <a:pt x="545" y="44"/>
                      <a:pt x="550" y="49"/>
                    </a:cubicBezTo>
                    <a:cubicBezTo>
                      <a:pt x="555" y="54"/>
                      <a:pt x="590" y="71"/>
                      <a:pt x="590" y="71"/>
                    </a:cubicBezTo>
                    <a:cubicBezTo>
                      <a:pt x="590" y="71"/>
                      <a:pt x="536" y="54"/>
                      <a:pt x="527" y="54"/>
                    </a:cubicBezTo>
                    <a:cubicBezTo>
                      <a:pt x="518" y="54"/>
                      <a:pt x="491" y="49"/>
                      <a:pt x="487" y="59"/>
                    </a:cubicBezTo>
                    <a:cubicBezTo>
                      <a:pt x="483" y="69"/>
                      <a:pt x="465" y="80"/>
                      <a:pt x="452" y="80"/>
                    </a:cubicBezTo>
                    <a:cubicBezTo>
                      <a:pt x="439" y="80"/>
                      <a:pt x="402" y="80"/>
                      <a:pt x="402" y="80"/>
                    </a:cubicBezTo>
                    <a:cubicBezTo>
                      <a:pt x="402" y="80"/>
                      <a:pt x="328" y="94"/>
                      <a:pt x="324" y="95"/>
                    </a:cubicBezTo>
                    <a:cubicBezTo>
                      <a:pt x="320" y="96"/>
                      <a:pt x="248" y="106"/>
                      <a:pt x="259" y="113"/>
                    </a:cubicBezTo>
                    <a:cubicBezTo>
                      <a:pt x="270" y="120"/>
                      <a:pt x="310" y="122"/>
                      <a:pt x="315" y="121"/>
                    </a:cubicBezTo>
                    <a:cubicBezTo>
                      <a:pt x="320" y="120"/>
                      <a:pt x="335" y="118"/>
                      <a:pt x="335" y="118"/>
                    </a:cubicBezTo>
                    <a:cubicBezTo>
                      <a:pt x="311" y="128"/>
                      <a:pt x="311" y="128"/>
                      <a:pt x="311" y="128"/>
                    </a:cubicBezTo>
                    <a:cubicBezTo>
                      <a:pt x="300" y="139"/>
                      <a:pt x="300" y="139"/>
                      <a:pt x="300" y="139"/>
                    </a:cubicBezTo>
                    <a:cubicBezTo>
                      <a:pt x="300" y="139"/>
                      <a:pt x="253" y="157"/>
                      <a:pt x="236" y="157"/>
                    </a:cubicBezTo>
                    <a:cubicBezTo>
                      <a:pt x="219" y="157"/>
                      <a:pt x="151" y="157"/>
                      <a:pt x="137" y="169"/>
                    </a:cubicBezTo>
                    <a:cubicBezTo>
                      <a:pt x="123" y="181"/>
                      <a:pt x="112" y="167"/>
                      <a:pt x="112" y="167"/>
                    </a:cubicBezTo>
                    <a:cubicBezTo>
                      <a:pt x="90" y="176"/>
                      <a:pt x="90" y="176"/>
                      <a:pt x="90" y="176"/>
                    </a:cubicBezTo>
                    <a:cubicBezTo>
                      <a:pt x="57" y="175"/>
                      <a:pt x="57" y="175"/>
                      <a:pt x="57" y="175"/>
                    </a:cubicBezTo>
                    <a:cubicBezTo>
                      <a:pt x="57" y="175"/>
                      <a:pt x="0" y="181"/>
                      <a:pt x="14" y="191"/>
                    </a:cubicBezTo>
                    <a:cubicBezTo>
                      <a:pt x="28" y="201"/>
                      <a:pt x="51" y="212"/>
                      <a:pt x="51" y="212"/>
                    </a:cubicBezTo>
                    <a:cubicBezTo>
                      <a:pt x="71" y="204"/>
                      <a:pt x="71" y="204"/>
                      <a:pt x="71" y="204"/>
                    </a:cubicBezTo>
                    <a:cubicBezTo>
                      <a:pt x="71" y="204"/>
                      <a:pt x="73" y="216"/>
                      <a:pt x="83" y="219"/>
                    </a:cubicBezTo>
                    <a:cubicBezTo>
                      <a:pt x="93" y="222"/>
                      <a:pt x="116" y="209"/>
                      <a:pt x="116" y="209"/>
                    </a:cubicBezTo>
                    <a:cubicBezTo>
                      <a:pt x="116" y="209"/>
                      <a:pt x="112" y="220"/>
                      <a:pt x="122" y="220"/>
                    </a:cubicBezTo>
                    <a:cubicBezTo>
                      <a:pt x="132" y="220"/>
                      <a:pt x="169" y="204"/>
                      <a:pt x="176" y="209"/>
                    </a:cubicBezTo>
                    <a:cubicBezTo>
                      <a:pt x="183" y="214"/>
                      <a:pt x="181" y="220"/>
                      <a:pt x="181" y="220"/>
                    </a:cubicBezTo>
                    <a:cubicBezTo>
                      <a:pt x="170" y="221"/>
                      <a:pt x="170" y="221"/>
                      <a:pt x="170" y="221"/>
                    </a:cubicBezTo>
                    <a:cubicBezTo>
                      <a:pt x="170" y="221"/>
                      <a:pt x="162" y="232"/>
                      <a:pt x="155" y="232"/>
                    </a:cubicBezTo>
                    <a:cubicBezTo>
                      <a:pt x="148" y="232"/>
                      <a:pt x="152" y="226"/>
                      <a:pt x="141" y="226"/>
                    </a:cubicBezTo>
                    <a:cubicBezTo>
                      <a:pt x="130" y="226"/>
                      <a:pt x="96" y="231"/>
                      <a:pt x="96" y="231"/>
                    </a:cubicBezTo>
                    <a:cubicBezTo>
                      <a:pt x="69" y="228"/>
                      <a:pt x="69" y="228"/>
                      <a:pt x="69" y="228"/>
                    </a:cubicBezTo>
                    <a:cubicBezTo>
                      <a:pt x="69" y="228"/>
                      <a:pt x="31" y="208"/>
                      <a:pt x="20" y="227"/>
                    </a:cubicBezTo>
                    <a:cubicBezTo>
                      <a:pt x="9" y="246"/>
                      <a:pt x="36" y="252"/>
                      <a:pt x="44" y="251"/>
                    </a:cubicBezTo>
                    <a:cubicBezTo>
                      <a:pt x="52" y="250"/>
                      <a:pt x="79" y="251"/>
                      <a:pt x="79" y="251"/>
                    </a:cubicBezTo>
                    <a:cubicBezTo>
                      <a:pt x="79" y="251"/>
                      <a:pt x="36" y="254"/>
                      <a:pt x="41" y="261"/>
                    </a:cubicBezTo>
                    <a:cubicBezTo>
                      <a:pt x="46" y="268"/>
                      <a:pt x="74" y="274"/>
                      <a:pt x="74" y="274"/>
                    </a:cubicBezTo>
                    <a:cubicBezTo>
                      <a:pt x="98" y="277"/>
                      <a:pt x="98" y="277"/>
                      <a:pt x="98" y="277"/>
                    </a:cubicBezTo>
                    <a:cubicBezTo>
                      <a:pt x="98" y="277"/>
                      <a:pt x="99" y="267"/>
                      <a:pt x="106" y="266"/>
                    </a:cubicBezTo>
                    <a:cubicBezTo>
                      <a:pt x="113" y="265"/>
                      <a:pt x="121" y="276"/>
                      <a:pt x="121" y="276"/>
                    </a:cubicBezTo>
                    <a:cubicBezTo>
                      <a:pt x="144" y="267"/>
                      <a:pt x="144" y="267"/>
                      <a:pt x="144" y="267"/>
                    </a:cubicBezTo>
                    <a:cubicBezTo>
                      <a:pt x="144" y="267"/>
                      <a:pt x="148" y="277"/>
                      <a:pt x="151" y="277"/>
                    </a:cubicBezTo>
                    <a:cubicBezTo>
                      <a:pt x="154" y="277"/>
                      <a:pt x="184" y="263"/>
                      <a:pt x="193" y="265"/>
                    </a:cubicBezTo>
                    <a:cubicBezTo>
                      <a:pt x="202" y="267"/>
                      <a:pt x="209" y="271"/>
                      <a:pt x="214" y="271"/>
                    </a:cubicBezTo>
                    <a:cubicBezTo>
                      <a:pt x="219" y="271"/>
                      <a:pt x="230" y="262"/>
                      <a:pt x="236" y="262"/>
                    </a:cubicBezTo>
                    <a:cubicBezTo>
                      <a:pt x="242" y="262"/>
                      <a:pt x="259" y="273"/>
                      <a:pt x="259" y="273"/>
                    </a:cubicBezTo>
                    <a:cubicBezTo>
                      <a:pt x="259" y="273"/>
                      <a:pt x="291" y="268"/>
                      <a:pt x="313" y="274"/>
                    </a:cubicBezTo>
                    <a:cubicBezTo>
                      <a:pt x="335" y="280"/>
                      <a:pt x="339" y="291"/>
                      <a:pt x="339" y="291"/>
                    </a:cubicBezTo>
                    <a:cubicBezTo>
                      <a:pt x="339" y="291"/>
                      <a:pt x="361" y="286"/>
                      <a:pt x="361" y="291"/>
                    </a:cubicBezTo>
                    <a:cubicBezTo>
                      <a:pt x="361" y="296"/>
                      <a:pt x="351" y="306"/>
                      <a:pt x="351" y="306"/>
                    </a:cubicBezTo>
                    <a:cubicBezTo>
                      <a:pt x="357" y="315"/>
                      <a:pt x="357" y="315"/>
                      <a:pt x="357" y="315"/>
                    </a:cubicBezTo>
                    <a:cubicBezTo>
                      <a:pt x="357" y="315"/>
                      <a:pt x="390" y="321"/>
                      <a:pt x="390" y="330"/>
                    </a:cubicBezTo>
                    <a:cubicBezTo>
                      <a:pt x="390" y="339"/>
                      <a:pt x="374" y="343"/>
                      <a:pt x="374" y="343"/>
                    </a:cubicBezTo>
                    <a:cubicBezTo>
                      <a:pt x="383" y="359"/>
                      <a:pt x="383" y="359"/>
                      <a:pt x="383" y="359"/>
                    </a:cubicBezTo>
                    <a:cubicBezTo>
                      <a:pt x="399" y="369"/>
                      <a:pt x="399" y="369"/>
                      <a:pt x="399" y="369"/>
                    </a:cubicBezTo>
                    <a:cubicBezTo>
                      <a:pt x="385" y="374"/>
                      <a:pt x="385" y="374"/>
                      <a:pt x="385" y="374"/>
                    </a:cubicBezTo>
                    <a:cubicBezTo>
                      <a:pt x="395" y="387"/>
                      <a:pt x="395" y="387"/>
                      <a:pt x="395" y="387"/>
                    </a:cubicBezTo>
                    <a:cubicBezTo>
                      <a:pt x="395" y="387"/>
                      <a:pt x="383" y="386"/>
                      <a:pt x="383" y="395"/>
                    </a:cubicBezTo>
                    <a:cubicBezTo>
                      <a:pt x="383" y="404"/>
                      <a:pt x="405" y="407"/>
                      <a:pt x="402" y="412"/>
                    </a:cubicBezTo>
                    <a:cubicBezTo>
                      <a:pt x="399" y="417"/>
                      <a:pt x="380" y="426"/>
                      <a:pt x="380" y="426"/>
                    </a:cubicBezTo>
                    <a:cubicBezTo>
                      <a:pt x="388" y="433"/>
                      <a:pt x="388" y="433"/>
                      <a:pt x="388" y="433"/>
                    </a:cubicBezTo>
                    <a:cubicBezTo>
                      <a:pt x="388" y="433"/>
                      <a:pt x="347" y="438"/>
                      <a:pt x="348" y="441"/>
                    </a:cubicBezTo>
                    <a:cubicBezTo>
                      <a:pt x="349" y="444"/>
                      <a:pt x="357" y="446"/>
                      <a:pt x="370" y="445"/>
                    </a:cubicBezTo>
                    <a:cubicBezTo>
                      <a:pt x="383" y="444"/>
                      <a:pt x="367" y="455"/>
                      <a:pt x="367" y="455"/>
                    </a:cubicBezTo>
                    <a:cubicBezTo>
                      <a:pt x="367" y="455"/>
                      <a:pt x="316" y="456"/>
                      <a:pt x="328" y="465"/>
                    </a:cubicBezTo>
                    <a:cubicBezTo>
                      <a:pt x="340" y="474"/>
                      <a:pt x="353" y="479"/>
                      <a:pt x="369" y="478"/>
                    </a:cubicBezTo>
                    <a:cubicBezTo>
                      <a:pt x="385" y="477"/>
                      <a:pt x="389" y="467"/>
                      <a:pt x="389" y="467"/>
                    </a:cubicBezTo>
                    <a:cubicBezTo>
                      <a:pt x="389" y="467"/>
                      <a:pt x="416" y="469"/>
                      <a:pt x="414" y="460"/>
                    </a:cubicBezTo>
                    <a:cubicBezTo>
                      <a:pt x="412" y="451"/>
                      <a:pt x="419" y="439"/>
                      <a:pt x="419" y="439"/>
                    </a:cubicBezTo>
                    <a:cubicBezTo>
                      <a:pt x="421" y="458"/>
                      <a:pt x="421" y="458"/>
                      <a:pt x="421" y="458"/>
                    </a:cubicBezTo>
                    <a:cubicBezTo>
                      <a:pt x="438" y="447"/>
                      <a:pt x="438" y="447"/>
                      <a:pt x="438" y="447"/>
                    </a:cubicBezTo>
                    <a:cubicBezTo>
                      <a:pt x="438" y="447"/>
                      <a:pt x="430" y="453"/>
                      <a:pt x="434" y="458"/>
                    </a:cubicBezTo>
                    <a:cubicBezTo>
                      <a:pt x="438" y="463"/>
                      <a:pt x="463" y="465"/>
                      <a:pt x="463" y="465"/>
                    </a:cubicBezTo>
                    <a:cubicBezTo>
                      <a:pt x="454" y="471"/>
                      <a:pt x="454" y="471"/>
                      <a:pt x="454" y="471"/>
                    </a:cubicBezTo>
                    <a:cubicBezTo>
                      <a:pt x="454" y="471"/>
                      <a:pt x="448" y="484"/>
                      <a:pt x="457" y="487"/>
                    </a:cubicBezTo>
                    <a:cubicBezTo>
                      <a:pt x="466" y="490"/>
                      <a:pt x="479" y="504"/>
                      <a:pt x="473" y="510"/>
                    </a:cubicBezTo>
                    <a:cubicBezTo>
                      <a:pt x="467" y="516"/>
                      <a:pt x="456" y="513"/>
                      <a:pt x="456" y="513"/>
                    </a:cubicBezTo>
                    <a:cubicBezTo>
                      <a:pt x="456" y="519"/>
                      <a:pt x="456" y="519"/>
                      <a:pt x="456" y="519"/>
                    </a:cubicBezTo>
                    <a:cubicBezTo>
                      <a:pt x="456" y="519"/>
                      <a:pt x="441" y="518"/>
                      <a:pt x="432" y="517"/>
                    </a:cubicBezTo>
                    <a:cubicBezTo>
                      <a:pt x="423" y="516"/>
                      <a:pt x="415" y="506"/>
                      <a:pt x="415" y="506"/>
                    </a:cubicBezTo>
                    <a:cubicBezTo>
                      <a:pt x="375" y="505"/>
                      <a:pt x="375" y="505"/>
                      <a:pt x="375" y="505"/>
                    </a:cubicBezTo>
                    <a:cubicBezTo>
                      <a:pt x="375" y="505"/>
                      <a:pt x="351" y="483"/>
                      <a:pt x="345" y="505"/>
                    </a:cubicBezTo>
                    <a:cubicBezTo>
                      <a:pt x="343" y="514"/>
                      <a:pt x="355" y="520"/>
                      <a:pt x="362" y="521"/>
                    </a:cubicBezTo>
                    <a:cubicBezTo>
                      <a:pt x="369" y="522"/>
                      <a:pt x="374" y="518"/>
                      <a:pt x="383" y="522"/>
                    </a:cubicBezTo>
                    <a:cubicBezTo>
                      <a:pt x="392" y="526"/>
                      <a:pt x="400" y="540"/>
                      <a:pt x="415" y="540"/>
                    </a:cubicBezTo>
                    <a:cubicBezTo>
                      <a:pt x="430" y="540"/>
                      <a:pt x="441" y="534"/>
                      <a:pt x="441" y="534"/>
                    </a:cubicBezTo>
                    <a:cubicBezTo>
                      <a:pt x="456" y="542"/>
                      <a:pt x="456" y="542"/>
                      <a:pt x="456" y="542"/>
                    </a:cubicBezTo>
                    <a:cubicBezTo>
                      <a:pt x="470" y="533"/>
                      <a:pt x="470" y="533"/>
                      <a:pt x="470" y="533"/>
                    </a:cubicBezTo>
                    <a:cubicBezTo>
                      <a:pt x="467" y="547"/>
                      <a:pt x="467" y="547"/>
                      <a:pt x="467" y="547"/>
                    </a:cubicBezTo>
                    <a:cubicBezTo>
                      <a:pt x="467" y="547"/>
                      <a:pt x="452" y="540"/>
                      <a:pt x="450" y="547"/>
                    </a:cubicBezTo>
                    <a:cubicBezTo>
                      <a:pt x="448" y="554"/>
                      <a:pt x="459" y="561"/>
                      <a:pt x="459" y="561"/>
                    </a:cubicBezTo>
                    <a:cubicBezTo>
                      <a:pt x="459" y="561"/>
                      <a:pt x="432" y="561"/>
                      <a:pt x="433" y="566"/>
                    </a:cubicBezTo>
                    <a:cubicBezTo>
                      <a:pt x="434" y="571"/>
                      <a:pt x="454" y="572"/>
                      <a:pt x="454" y="572"/>
                    </a:cubicBezTo>
                    <a:cubicBezTo>
                      <a:pt x="454" y="572"/>
                      <a:pt x="451" y="581"/>
                      <a:pt x="446" y="583"/>
                    </a:cubicBezTo>
                    <a:cubicBezTo>
                      <a:pt x="441" y="585"/>
                      <a:pt x="425" y="572"/>
                      <a:pt x="421" y="578"/>
                    </a:cubicBezTo>
                    <a:cubicBezTo>
                      <a:pt x="417" y="584"/>
                      <a:pt x="427" y="592"/>
                      <a:pt x="427" y="592"/>
                    </a:cubicBezTo>
                    <a:cubicBezTo>
                      <a:pt x="411" y="591"/>
                      <a:pt x="411" y="591"/>
                      <a:pt x="411" y="591"/>
                    </a:cubicBezTo>
                    <a:cubicBezTo>
                      <a:pt x="416" y="605"/>
                      <a:pt x="416" y="605"/>
                      <a:pt x="416" y="605"/>
                    </a:cubicBezTo>
                    <a:cubicBezTo>
                      <a:pt x="416" y="605"/>
                      <a:pt x="395" y="606"/>
                      <a:pt x="398" y="616"/>
                    </a:cubicBezTo>
                    <a:cubicBezTo>
                      <a:pt x="401" y="626"/>
                      <a:pt x="420" y="628"/>
                      <a:pt x="420" y="628"/>
                    </a:cubicBezTo>
                    <a:cubicBezTo>
                      <a:pt x="420" y="628"/>
                      <a:pt x="422" y="639"/>
                      <a:pt x="415" y="639"/>
                    </a:cubicBezTo>
                    <a:cubicBezTo>
                      <a:pt x="408" y="639"/>
                      <a:pt x="413" y="647"/>
                      <a:pt x="413" y="647"/>
                    </a:cubicBezTo>
                    <a:cubicBezTo>
                      <a:pt x="413" y="647"/>
                      <a:pt x="411" y="649"/>
                      <a:pt x="408" y="639"/>
                    </a:cubicBezTo>
                    <a:cubicBezTo>
                      <a:pt x="405" y="629"/>
                      <a:pt x="394" y="624"/>
                      <a:pt x="394" y="624"/>
                    </a:cubicBezTo>
                    <a:cubicBezTo>
                      <a:pt x="394" y="624"/>
                      <a:pt x="377" y="593"/>
                      <a:pt x="367" y="595"/>
                    </a:cubicBezTo>
                    <a:cubicBezTo>
                      <a:pt x="357" y="597"/>
                      <a:pt x="331" y="609"/>
                      <a:pt x="345" y="617"/>
                    </a:cubicBezTo>
                    <a:cubicBezTo>
                      <a:pt x="359" y="625"/>
                      <a:pt x="381" y="628"/>
                      <a:pt x="381" y="628"/>
                    </a:cubicBezTo>
                    <a:cubicBezTo>
                      <a:pt x="381" y="628"/>
                      <a:pt x="364" y="630"/>
                      <a:pt x="353" y="630"/>
                    </a:cubicBezTo>
                    <a:cubicBezTo>
                      <a:pt x="342" y="630"/>
                      <a:pt x="328" y="625"/>
                      <a:pt x="320" y="630"/>
                    </a:cubicBezTo>
                    <a:cubicBezTo>
                      <a:pt x="312" y="635"/>
                      <a:pt x="289" y="640"/>
                      <a:pt x="296" y="643"/>
                    </a:cubicBezTo>
                    <a:cubicBezTo>
                      <a:pt x="303" y="646"/>
                      <a:pt x="344" y="639"/>
                      <a:pt x="354" y="640"/>
                    </a:cubicBezTo>
                    <a:cubicBezTo>
                      <a:pt x="364" y="641"/>
                      <a:pt x="388" y="643"/>
                      <a:pt x="388" y="643"/>
                    </a:cubicBezTo>
                    <a:cubicBezTo>
                      <a:pt x="388" y="643"/>
                      <a:pt x="368" y="644"/>
                      <a:pt x="362" y="644"/>
                    </a:cubicBezTo>
                    <a:cubicBezTo>
                      <a:pt x="356" y="644"/>
                      <a:pt x="290" y="649"/>
                      <a:pt x="284" y="654"/>
                    </a:cubicBezTo>
                    <a:cubicBezTo>
                      <a:pt x="278" y="659"/>
                      <a:pt x="278" y="663"/>
                      <a:pt x="294" y="662"/>
                    </a:cubicBezTo>
                    <a:cubicBezTo>
                      <a:pt x="310" y="661"/>
                      <a:pt x="348" y="657"/>
                      <a:pt x="348" y="657"/>
                    </a:cubicBezTo>
                    <a:cubicBezTo>
                      <a:pt x="348" y="657"/>
                      <a:pt x="375" y="656"/>
                      <a:pt x="376" y="659"/>
                    </a:cubicBezTo>
                    <a:cubicBezTo>
                      <a:pt x="377" y="662"/>
                      <a:pt x="330" y="664"/>
                      <a:pt x="330" y="664"/>
                    </a:cubicBezTo>
                    <a:cubicBezTo>
                      <a:pt x="330" y="664"/>
                      <a:pt x="275" y="666"/>
                      <a:pt x="276" y="668"/>
                    </a:cubicBezTo>
                    <a:cubicBezTo>
                      <a:pt x="277" y="670"/>
                      <a:pt x="286" y="675"/>
                      <a:pt x="295" y="675"/>
                    </a:cubicBezTo>
                    <a:cubicBezTo>
                      <a:pt x="304" y="675"/>
                      <a:pt x="318" y="682"/>
                      <a:pt x="318" y="682"/>
                    </a:cubicBezTo>
                    <a:cubicBezTo>
                      <a:pt x="318" y="682"/>
                      <a:pt x="294" y="676"/>
                      <a:pt x="289" y="682"/>
                    </a:cubicBezTo>
                    <a:cubicBezTo>
                      <a:pt x="284" y="688"/>
                      <a:pt x="289" y="690"/>
                      <a:pt x="289" y="690"/>
                    </a:cubicBezTo>
                    <a:cubicBezTo>
                      <a:pt x="289" y="690"/>
                      <a:pt x="258" y="699"/>
                      <a:pt x="262" y="705"/>
                    </a:cubicBezTo>
                    <a:cubicBezTo>
                      <a:pt x="287" y="706"/>
                      <a:pt x="287" y="706"/>
                      <a:pt x="287" y="706"/>
                    </a:cubicBezTo>
                    <a:cubicBezTo>
                      <a:pt x="264" y="716"/>
                      <a:pt x="264" y="716"/>
                      <a:pt x="264" y="716"/>
                    </a:cubicBezTo>
                    <a:cubicBezTo>
                      <a:pt x="264" y="716"/>
                      <a:pt x="263" y="729"/>
                      <a:pt x="273" y="727"/>
                    </a:cubicBezTo>
                    <a:cubicBezTo>
                      <a:pt x="283" y="725"/>
                      <a:pt x="306" y="725"/>
                      <a:pt x="306" y="725"/>
                    </a:cubicBezTo>
                    <a:cubicBezTo>
                      <a:pt x="306" y="725"/>
                      <a:pt x="267" y="736"/>
                      <a:pt x="274" y="744"/>
                    </a:cubicBezTo>
                    <a:cubicBezTo>
                      <a:pt x="281" y="752"/>
                      <a:pt x="304" y="740"/>
                      <a:pt x="304" y="740"/>
                    </a:cubicBezTo>
                    <a:cubicBezTo>
                      <a:pt x="304" y="740"/>
                      <a:pt x="287" y="755"/>
                      <a:pt x="285" y="762"/>
                    </a:cubicBezTo>
                    <a:cubicBezTo>
                      <a:pt x="283" y="769"/>
                      <a:pt x="280" y="775"/>
                      <a:pt x="286" y="775"/>
                    </a:cubicBezTo>
                    <a:cubicBezTo>
                      <a:pt x="292" y="775"/>
                      <a:pt x="303" y="767"/>
                      <a:pt x="303" y="767"/>
                    </a:cubicBezTo>
                    <a:cubicBezTo>
                      <a:pt x="303" y="767"/>
                      <a:pt x="298" y="783"/>
                      <a:pt x="291" y="783"/>
                    </a:cubicBezTo>
                    <a:cubicBezTo>
                      <a:pt x="284" y="783"/>
                      <a:pt x="269" y="792"/>
                      <a:pt x="270" y="802"/>
                    </a:cubicBezTo>
                    <a:cubicBezTo>
                      <a:pt x="271" y="812"/>
                      <a:pt x="294" y="793"/>
                      <a:pt x="294" y="793"/>
                    </a:cubicBezTo>
                    <a:cubicBezTo>
                      <a:pt x="294" y="793"/>
                      <a:pt x="309" y="776"/>
                      <a:pt x="313" y="780"/>
                    </a:cubicBezTo>
                    <a:cubicBezTo>
                      <a:pt x="317" y="784"/>
                      <a:pt x="341" y="774"/>
                      <a:pt x="341" y="774"/>
                    </a:cubicBezTo>
                    <a:cubicBezTo>
                      <a:pt x="338" y="784"/>
                      <a:pt x="338" y="784"/>
                      <a:pt x="338" y="784"/>
                    </a:cubicBezTo>
                    <a:cubicBezTo>
                      <a:pt x="352" y="774"/>
                      <a:pt x="352" y="774"/>
                      <a:pt x="352" y="774"/>
                    </a:cubicBezTo>
                    <a:cubicBezTo>
                      <a:pt x="338" y="791"/>
                      <a:pt x="338" y="791"/>
                      <a:pt x="338" y="791"/>
                    </a:cubicBezTo>
                    <a:cubicBezTo>
                      <a:pt x="360" y="794"/>
                      <a:pt x="360" y="794"/>
                      <a:pt x="360" y="794"/>
                    </a:cubicBezTo>
                    <a:cubicBezTo>
                      <a:pt x="360" y="794"/>
                      <a:pt x="330" y="794"/>
                      <a:pt x="328" y="798"/>
                    </a:cubicBezTo>
                    <a:cubicBezTo>
                      <a:pt x="326" y="802"/>
                      <a:pt x="335" y="804"/>
                      <a:pt x="335" y="804"/>
                    </a:cubicBezTo>
                    <a:cubicBezTo>
                      <a:pt x="335" y="804"/>
                      <a:pt x="312" y="809"/>
                      <a:pt x="306" y="810"/>
                    </a:cubicBezTo>
                    <a:cubicBezTo>
                      <a:pt x="300" y="811"/>
                      <a:pt x="307" y="816"/>
                      <a:pt x="307" y="816"/>
                    </a:cubicBezTo>
                    <a:cubicBezTo>
                      <a:pt x="307" y="816"/>
                      <a:pt x="283" y="821"/>
                      <a:pt x="281" y="826"/>
                    </a:cubicBezTo>
                    <a:cubicBezTo>
                      <a:pt x="279" y="831"/>
                      <a:pt x="305" y="829"/>
                      <a:pt x="305" y="829"/>
                    </a:cubicBezTo>
                    <a:cubicBezTo>
                      <a:pt x="305" y="829"/>
                      <a:pt x="284" y="833"/>
                      <a:pt x="284" y="836"/>
                    </a:cubicBezTo>
                    <a:cubicBezTo>
                      <a:pt x="284" y="839"/>
                      <a:pt x="304" y="844"/>
                      <a:pt x="304" y="844"/>
                    </a:cubicBezTo>
                    <a:cubicBezTo>
                      <a:pt x="304" y="844"/>
                      <a:pt x="287" y="844"/>
                      <a:pt x="286" y="851"/>
                    </a:cubicBezTo>
                    <a:cubicBezTo>
                      <a:pt x="285" y="858"/>
                      <a:pt x="310" y="855"/>
                      <a:pt x="310" y="855"/>
                    </a:cubicBezTo>
                    <a:cubicBezTo>
                      <a:pt x="298" y="870"/>
                      <a:pt x="298" y="870"/>
                      <a:pt x="298" y="870"/>
                    </a:cubicBezTo>
                    <a:cubicBezTo>
                      <a:pt x="317" y="867"/>
                      <a:pt x="317" y="867"/>
                      <a:pt x="317" y="867"/>
                    </a:cubicBezTo>
                    <a:cubicBezTo>
                      <a:pt x="317" y="867"/>
                      <a:pt x="295" y="880"/>
                      <a:pt x="298" y="891"/>
                    </a:cubicBezTo>
                    <a:cubicBezTo>
                      <a:pt x="301" y="902"/>
                      <a:pt x="324" y="900"/>
                      <a:pt x="324" y="900"/>
                    </a:cubicBezTo>
                    <a:cubicBezTo>
                      <a:pt x="313" y="915"/>
                      <a:pt x="313" y="915"/>
                      <a:pt x="313" y="915"/>
                    </a:cubicBezTo>
                    <a:cubicBezTo>
                      <a:pt x="334" y="908"/>
                      <a:pt x="334" y="908"/>
                      <a:pt x="334" y="908"/>
                    </a:cubicBezTo>
                    <a:cubicBezTo>
                      <a:pt x="334" y="908"/>
                      <a:pt x="319" y="920"/>
                      <a:pt x="322" y="925"/>
                    </a:cubicBezTo>
                    <a:cubicBezTo>
                      <a:pt x="325" y="930"/>
                      <a:pt x="344" y="931"/>
                      <a:pt x="344" y="931"/>
                    </a:cubicBezTo>
                    <a:cubicBezTo>
                      <a:pt x="344" y="931"/>
                      <a:pt x="334" y="934"/>
                      <a:pt x="337" y="940"/>
                    </a:cubicBezTo>
                    <a:cubicBezTo>
                      <a:pt x="340" y="946"/>
                      <a:pt x="351" y="943"/>
                      <a:pt x="351" y="943"/>
                    </a:cubicBezTo>
                    <a:cubicBezTo>
                      <a:pt x="351" y="943"/>
                      <a:pt x="336" y="955"/>
                      <a:pt x="339" y="959"/>
                    </a:cubicBezTo>
                    <a:cubicBezTo>
                      <a:pt x="342" y="963"/>
                      <a:pt x="358" y="961"/>
                      <a:pt x="358" y="961"/>
                    </a:cubicBezTo>
                    <a:cubicBezTo>
                      <a:pt x="356" y="969"/>
                      <a:pt x="356" y="969"/>
                      <a:pt x="356" y="969"/>
                    </a:cubicBezTo>
                    <a:cubicBezTo>
                      <a:pt x="382" y="963"/>
                      <a:pt x="382" y="963"/>
                      <a:pt x="382" y="963"/>
                    </a:cubicBezTo>
                    <a:cubicBezTo>
                      <a:pt x="382" y="963"/>
                      <a:pt x="390" y="976"/>
                      <a:pt x="398" y="969"/>
                    </a:cubicBezTo>
                    <a:cubicBezTo>
                      <a:pt x="406" y="962"/>
                      <a:pt x="431" y="946"/>
                      <a:pt x="435" y="948"/>
                    </a:cubicBezTo>
                    <a:cubicBezTo>
                      <a:pt x="439" y="950"/>
                      <a:pt x="428" y="958"/>
                      <a:pt x="428" y="958"/>
                    </a:cubicBezTo>
                    <a:cubicBezTo>
                      <a:pt x="443" y="962"/>
                      <a:pt x="443" y="962"/>
                      <a:pt x="443" y="962"/>
                    </a:cubicBezTo>
                    <a:cubicBezTo>
                      <a:pt x="457" y="955"/>
                      <a:pt x="457" y="955"/>
                      <a:pt x="457" y="955"/>
                    </a:cubicBezTo>
                    <a:cubicBezTo>
                      <a:pt x="457" y="955"/>
                      <a:pt x="436" y="968"/>
                      <a:pt x="431" y="973"/>
                    </a:cubicBezTo>
                    <a:cubicBezTo>
                      <a:pt x="426" y="978"/>
                      <a:pt x="422" y="983"/>
                      <a:pt x="430" y="983"/>
                    </a:cubicBezTo>
                    <a:cubicBezTo>
                      <a:pt x="438" y="983"/>
                      <a:pt x="465" y="978"/>
                      <a:pt x="465" y="978"/>
                    </a:cubicBezTo>
                    <a:cubicBezTo>
                      <a:pt x="465" y="978"/>
                      <a:pt x="434" y="994"/>
                      <a:pt x="443" y="1000"/>
                    </a:cubicBezTo>
                    <a:cubicBezTo>
                      <a:pt x="452" y="1006"/>
                      <a:pt x="471" y="1000"/>
                      <a:pt x="471" y="1000"/>
                    </a:cubicBezTo>
                    <a:cubicBezTo>
                      <a:pt x="471" y="1000"/>
                      <a:pt x="481" y="1019"/>
                      <a:pt x="493" y="1012"/>
                    </a:cubicBezTo>
                    <a:cubicBezTo>
                      <a:pt x="505" y="1005"/>
                      <a:pt x="511" y="998"/>
                      <a:pt x="511" y="998"/>
                    </a:cubicBezTo>
                    <a:cubicBezTo>
                      <a:pt x="511" y="998"/>
                      <a:pt x="506" y="995"/>
                      <a:pt x="502" y="989"/>
                    </a:cubicBezTo>
                    <a:cubicBezTo>
                      <a:pt x="498" y="983"/>
                      <a:pt x="515" y="990"/>
                      <a:pt x="520" y="985"/>
                    </a:cubicBezTo>
                    <a:cubicBezTo>
                      <a:pt x="525" y="980"/>
                      <a:pt x="524" y="964"/>
                      <a:pt x="524" y="964"/>
                    </a:cubicBezTo>
                    <a:cubicBezTo>
                      <a:pt x="524" y="964"/>
                      <a:pt x="546" y="974"/>
                      <a:pt x="545" y="964"/>
                    </a:cubicBezTo>
                    <a:cubicBezTo>
                      <a:pt x="544" y="954"/>
                      <a:pt x="540" y="948"/>
                      <a:pt x="540" y="948"/>
                    </a:cubicBezTo>
                    <a:cubicBezTo>
                      <a:pt x="540" y="948"/>
                      <a:pt x="546" y="957"/>
                      <a:pt x="552" y="958"/>
                    </a:cubicBezTo>
                    <a:cubicBezTo>
                      <a:pt x="557" y="958"/>
                      <a:pt x="562" y="949"/>
                      <a:pt x="559" y="944"/>
                    </a:cubicBezTo>
                    <a:cubicBezTo>
                      <a:pt x="553" y="934"/>
                      <a:pt x="547" y="931"/>
                      <a:pt x="547" y="931"/>
                    </a:cubicBezTo>
                    <a:cubicBezTo>
                      <a:pt x="547" y="931"/>
                      <a:pt x="569" y="937"/>
                      <a:pt x="569" y="933"/>
                    </a:cubicBezTo>
                    <a:cubicBezTo>
                      <a:pt x="569" y="929"/>
                      <a:pt x="564" y="923"/>
                      <a:pt x="564" y="923"/>
                    </a:cubicBezTo>
                    <a:cubicBezTo>
                      <a:pt x="582" y="922"/>
                      <a:pt x="582" y="922"/>
                      <a:pt x="582" y="922"/>
                    </a:cubicBezTo>
                    <a:cubicBezTo>
                      <a:pt x="574" y="908"/>
                      <a:pt x="574" y="908"/>
                      <a:pt x="574" y="908"/>
                    </a:cubicBezTo>
                    <a:cubicBezTo>
                      <a:pt x="585" y="903"/>
                      <a:pt x="585" y="903"/>
                      <a:pt x="585" y="903"/>
                    </a:cubicBezTo>
                    <a:cubicBezTo>
                      <a:pt x="585" y="903"/>
                      <a:pt x="572" y="894"/>
                      <a:pt x="569" y="893"/>
                    </a:cubicBezTo>
                    <a:cubicBezTo>
                      <a:pt x="566" y="892"/>
                      <a:pt x="580" y="887"/>
                      <a:pt x="580" y="887"/>
                    </a:cubicBezTo>
                    <a:cubicBezTo>
                      <a:pt x="566" y="873"/>
                      <a:pt x="566" y="873"/>
                      <a:pt x="566" y="873"/>
                    </a:cubicBezTo>
                    <a:cubicBezTo>
                      <a:pt x="566" y="873"/>
                      <a:pt x="580" y="885"/>
                      <a:pt x="584" y="882"/>
                    </a:cubicBezTo>
                    <a:cubicBezTo>
                      <a:pt x="588" y="879"/>
                      <a:pt x="596" y="873"/>
                      <a:pt x="596" y="873"/>
                    </a:cubicBezTo>
                    <a:cubicBezTo>
                      <a:pt x="596" y="873"/>
                      <a:pt x="612" y="875"/>
                      <a:pt x="615" y="872"/>
                    </a:cubicBezTo>
                    <a:cubicBezTo>
                      <a:pt x="618" y="869"/>
                      <a:pt x="611" y="859"/>
                      <a:pt x="611" y="859"/>
                    </a:cubicBezTo>
                    <a:cubicBezTo>
                      <a:pt x="625" y="858"/>
                      <a:pt x="625" y="858"/>
                      <a:pt x="625" y="858"/>
                    </a:cubicBezTo>
                    <a:cubicBezTo>
                      <a:pt x="630" y="841"/>
                      <a:pt x="630" y="841"/>
                      <a:pt x="630" y="841"/>
                    </a:cubicBezTo>
                    <a:cubicBezTo>
                      <a:pt x="630" y="841"/>
                      <a:pt x="650" y="848"/>
                      <a:pt x="656" y="843"/>
                    </a:cubicBezTo>
                    <a:cubicBezTo>
                      <a:pt x="662" y="838"/>
                      <a:pt x="657" y="829"/>
                      <a:pt x="657" y="829"/>
                    </a:cubicBezTo>
                    <a:cubicBezTo>
                      <a:pt x="657" y="829"/>
                      <a:pt x="664" y="839"/>
                      <a:pt x="671" y="839"/>
                    </a:cubicBezTo>
                    <a:cubicBezTo>
                      <a:pt x="675" y="839"/>
                      <a:pt x="678" y="830"/>
                      <a:pt x="680" y="828"/>
                    </a:cubicBezTo>
                    <a:cubicBezTo>
                      <a:pt x="685" y="821"/>
                      <a:pt x="680" y="811"/>
                      <a:pt x="680" y="811"/>
                    </a:cubicBezTo>
                    <a:cubicBezTo>
                      <a:pt x="655" y="807"/>
                      <a:pt x="655" y="807"/>
                      <a:pt x="655" y="807"/>
                    </a:cubicBezTo>
                    <a:cubicBezTo>
                      <a:pt x="673" y="802"/>
                      <a:pt x="673" y="802"/>
                      <a:pt x="673" y="802"/>
                    </a:cubicBezTo>
                    <a:cubicBezTo>
                      <a:pt x="693" y="794"/>
                      <a:pt x="693" y="794"/>
                      <a:pt x="693" y="794"/>
                    </a:cubicBezTo>
                    <a:cubicBezTo>
                      <a:pt x="694" y="780"/>
                      <a:pt x="694" y="780"/>
                      <a:pt x="694" y="780"/>
                    </a:cubicBezTo>
                    <a:cubicBezTo>
                      <a:pt x="681" y="777"/>
                      <a:pt x="681" y="777"/>
                      <a:pt x="681" y="777"/>
                    </a:cubicBezTo>
                    <a:cubicBezTo>
                      <a:pt x="686" y="765"/>
                      <a:pt x="686" y="765"/>
                      <a:pt x="686" y="765"/>
                    </a:cubicBezTo>
                    <a:cubicBezTo>
                      <a:pt x="707" y="765"/>
                      <a:pt x="707" y="765"/>
                      <a:pt x="707" y="765"/>
                    </a:cubicBezTo>
                    <a:cubicBezTo>
                      <a:pt x="707" y="765"/>
                      <a:pt x="721" y="769"/>
                      <a:pt x="728" y="763"/>
                    </a:cubicBezTo>
                    <a:cubicBezTo>
                      <a:pt x="735" y="757"/>
                      <a:pt x="730" y="745"/>
                      <a:pt x="730" y="745"/>
                    </a:cubicBezTo>
                    <a:cubicBezTo>
                      <a:pt x="752" y="741"/>
                      <a:pt x="752" y="741"/>
                      <a:pt x="752" y="741"/>
                    </a:cubicBezTo>
                    <a:cubicBezTo>
                      <a:pt x="752" y="741"/>
                      <a:pt x="783" y="747"/>
                      <a:pt x="791" y="740"/>
                    </a:cubicBezTo>
                    <a:cubicBezTo>
                      <a:pt x="799" y="733"/>
                      <a:pt x="802" y="726"/>
                      <a:pt x="802" y="726"/>
                    </a:cubicBezTo>
                    <a:cubicBezTo>
                      <a:pt x="811" y="721"/>
                      <a:pt x="811" y="721"/>
                      <a:pt x="811" y="721"/>
                    </a:cubicBezTo>
                    <a:cubicBezTo>
                      <a:pt x="811" y="721"/>
                      <a:pt x="813" y="710"/>
                      <a:pt x="824" y="708"/>
                    </a:cubicBezTo>
                    <a:cubicBezTo>
                      <a:pt x="835" y="706"/>
                      <a:pt x="804" y="740"/>
                      <a:pt x="812" y="740"/>
                    </a:cubicBezTo>
                    <a:cubicBezTo>
                      <a:pt x="820" y="740"/>
                      <a:pt x="828" y="738"/>
                      <a:pt x="828" y="738"/>
                    </a:cubicBezTo>
                    <a:cubicBezTo>
                      <a:pt x="832" y="725"/>
                      <a:pt x="832" y="725"/>
                      <a:pt x="832" y="725"/>
                    </a:cubicBezTo>
                    <a:cubicBezTo>
                      <a:pt x="841" y="727"/>
                      <a:pt x="841" y="727"/>
                      <a:pt x="841" y="727"/>
                    </a:cubicBezTo>
                    <a:cubicBezTo>
                      <a:pt x="849" y="718"/>
                      <a:pt x="849" y="718"/>
                      <a:pt x="849" y="718"/>
                    </a:cubicBezTo>
                    <a:cubicBezTo>
                      <a:pt x="849" y="718"/>
                      <a:pt x="866" y="733"/>
                      <a:pt x="878" y="725"/>
                    </a:cubicBezTo>
                    <a:cubicBezTo>
                      <a:pt x="890" y="717"/>
                      <a:pt x="907" y="704"/>
                      <a:pt x="907" y="704"/>
                    </a:cubicBezTo>
                    <a:cubicBezTo>
                      <a:pt x="907" y="704"/>
                      <a:pt x="923" y="709"/>
                      <a:pt x="950" y="698"/>
                    </a:cubicBezTo>
                    <a:cubicBezTo>
                      <a:pt x="977" y="687"/>
                      <a:pt x="974" y="670"/>
                      <a:pt x="992" y="658"/>
                    </a:cubicBezTo>
                    <a:cubicBezTo>
                      <a:pt x="1010" y="646"/>
                      <a:pt x="1052" y="634"/>
                      <a:pt x="1052" y="634"/>
                    </a:cubicBezTo>
                    <a:cubicBezTo>
                      <a:pt x="1052" y="634"/>
                      <a:pt x="1055" y="625"/>
                      <a:pt x="1054" y="619"/>
                    </a:cubicBezTo>
                    <a:cubicBezTo>
                      <a:pt x="1053" y="613"/>
                      <a:pt x="1046" y="601"/>
                      <a:pt x="1053" y="599"/>
                    </a:cubicBezTo>
                    <a:cubicBezTo>
                      <a:pt x="1060" y="597"/>
                      <a:pt x="1071" y="625"/>
                      <a:pt x="1082" y="625"/>
                    </a:cubicBezTo>
                    <a:cubicBezTo>
                      <a:pt x="1082" y="625"/>
                      <a:pt x="1124" y="624"/>
                      <a:pt x="1135" y="622"/>
                    </a:cubicBezTo>
                    <a:cubicBezTo>
                      <a:pt x="1146" y="620"/>
                      <a:pt x="1167" y="609"/>
                      <a:pt x="1190" y="606"/>
                    </a:cubicBezTo>
                    <a:cubicBezTo>
                      <a:pt x="1213" y="603"/>
                      <a:pt x="1253" y="600"/>
                      <a:pt x="1260" y="598"/>
                    </a:cubicBezTo>
                    <a:cubicBezTo>
                      <a:pt x="1267" y="596"/>
                      <a:pt x="1273" y="589"/>
                      <a:pt x="1273" y="589"/>
                    </a:cubicBezTo>
                    <a:cubicBezTo>
                      <a:pt x="1291" y="589"/>
                      <a:pt x="1291" y="589"/>
                      <a:pt x="1291" y="589"/>
                    </a:cubicBezTo>
                    <a:cubicBezTo>
                      <a:pt x="1300" y="578"/>
                      <a:pt x="1300" y="578"/>
                      <a:pt x="1300" y="578"/>
                    </a:cubicBezTo>
                    <a:cubicBezTo>
                      <a:pt x="1317" y="578"/>
                      <a:pt x="1317" y="578"/>
                      <a:pt x="1317" y="578"/>
                    </a:cubicBezTo>
                    <a:cubicBezTo>
                      <a:pt x="1317" y="578"/>
                      <a:pt x="1335" y="561"/>
                      <a:pt x="1339" y="558"/>
                    </a:cubicBezTo>
                    <a:cubicBezTo>
                      <a:pt x="1343" y="555"/>
                      <a:pt x="1369" y="553"/>
                      <a:pt x="1369" y="553"/>
                    </a:cubicBezTo>
                    <a:cubicBezTo>
                      <a:pt x="1401" y="542"/>
                      <a:pt x="1401" y="542"/>
                      <a:pt x="1401" y="542"/>
                    </a:cubicBezTo>
                    <a:cubicBezTo>
                      <a:pt x="1422" y="537"/>
                      <a:pt x="1422" y="537"/>
                      <a:pt x="1422" y="537"/>
                    </a:cubicBezTo>
                    <a:cubicBezTo>
                      <a:pt x="1427" y="529"/>
                      <a:pt x="1427" y="529"/>
                      <a:pt x="1427" y="529"/>
                    </a:cubicBezTo>
                    <a:cubicBezTo>
                      <a:pt x="1427" y="529"/>
                      <a:pt x="1407" y="531"/>
                      <a:pt x="1395" y="531"/>
                    </a:cubicBezTo>
                    <a:cubicBezTo>
                      <a:pt x="1383" y="531"/>
                      <a:pt x="1375" y="524"/>
                      <a:pt x="1360" y="522"/>
                    </a:cubicBezTo>
                    <a:cubicBezTo>
                      <a:pt x="1345" y="520"/>
                      <a:pt x="1317" y="520"/>
                      <a:pt x="1303" y="524"/>
                    </a:cubicBezTo>
                    <a:cubicBezTo>
                      <a:pt x="1289" y="528"/>
                      <a:pt x="1269" y="528"/>
                      <a:pt x="1269" y="528"/>
                    </a:cubicBezTo>
                    <a:cubicBezTo>
                      <a:pt x="1259" y="537"/>
                      <a:pt x="1259" y="537"/>
                      <a:pt x="1259" y="537"/>
                    </a:cubicBezTo>
                    <a:cubicBezTo>
                      <a:pt x="1259" y="537"/>
                      <a:pt x="1214" y="541"/>
                      <a:pt x="1221" y="535"/>
                    </a:cubicBezTo>
                    <a:cubicBezTo>
                      <a:pt x="1228" y="529"/>
                      <a:pt x="1288" y="520"/>
                      <a:pt x="1288" y="520"/>
                    </a:cubicBezTo>
                    <a:cubicBezTo>
                      <a:pt x="1288" y="520"/>
                      <a:pt x="1348" y="508"/>
                      <a:pt x="1333" y="499"/>
                    </a:cubicBezTo>
                    <a:cubicBezTo>
                      <a:pt x="1318" y="490"/>
                      <a:pt x="1310" y="490"/>
                      <a:pt x="1310" y="490"/>
                    </a:cubicBezTo>
                    <a:cubicBezTo>
                      <a:pt x="1310" y="490"/>
                      <a:pt x="1255" y="508"/>
                      <a:pt x="1249" y="511"/>
                    </a:cubicBezTo>
                    <a:cubicBezTo>
                      <a:pt x="1243" y="514"/>
                      <a:pt x="1217" y="512"/>
                      <a:pt x="1217" y="512"/>
                    </a:cubicBezTo>
                    <a:cubicBezTo>
                      <a:pt x="1241" y="500"/>
                      <a:pt x="1241" y="500"/>
                      <a:pt x="1241" y="500"/>
                    </a:cubicBezTo>
                    <a:cubicBezTo>
                      <a:pt x="1255" y="489"/>
                      <a:pt x="1255" y="489"/>
                      <a:pt x="1255" y="489"/>
                    </a:cubicBezTo>
                    <a:cubicBezTo>
                      <a:pt x="1255" y="489"/>
                      <a:pt x="1279" y="493"/>
                      <a:pt x="1286" y="491"/>
                    </a:cubicBezTo>
                    <a:cubicBezTo>
                      <a:pt x="1293" y="489"/>
                      <a:pt x="1311" y="485"/>
                      <a:pt x="1319" y="485"/>
                    </a:cubicBezTo>
                    <a:cubicBezTo>
                      <a:pt x="1327" y="485"/>
                      <a:pt x="1349" y="483"/>
                      <a:pt x="1337" y="477"/>
                    </a:cubicBezTo>
                    <a:cubicBezTo>
                      <a:pt x="1325" y="471"/>
                      <a:pt x="1287" y="470"/>
                      <a:pt x="1287" y="470"/>
                    </a:cubicBezTo>
                    <a:cubicBezTo>
                      <a:pt x="1255" y="472"/>
                      <a:pt x="1255" y="472"/>
                      <a:pt x="1255" y="472"/>
                    </a:cubicBezTo>
                    <a:cubicBezTo>
                      <a:pt x="1271" y="465"/>
                      <a:pt x="1271" y="465"/>
                      <a:pt x="1271" y="465"/>
                    </a:cubicBezTo>
                    <a:cubicBezTo>
                      <a:pt x="1255" y="455"/>
                      <a:pt x="1255" y="455"/>
                      <a:pt x="1255" y="455"/>
                    </a:cubicBezTo>
                    <a:cubicBezTo>
                      <a:pt x="1255" y="455"/>
                      <a:pt x="1253" y="446"/>
                      <a:pt x="1257" y="446"/>
                    </a:cubicBezTo>
                    <a:cubicBezTo>
                      <a:pt x="1261" y="446"/>
                      <a:pt x="1281" y="463"/>
                      <a:pt x="1294" y="464"/>
                    </a:cubicBezTo>
                    <a:cubicBezTo>
                      <a:pt x="1307" y="465"/>
                      <a:pt x="1348" y="477"/>
                      <a:pt x="1348" y="477"/>
                    </a:cubicBezTo>
                    <a:cubicBezTo>
                      <a:pt x="1348" y="477"/>
                      <a:pt x="1366" y="469"/>
                      <a:pt x="1367" y="478"/>
                    </a:cubicBezTo>
                    <a:cubicBezTo>
                      <a:pt x="1368" y="487"/>
                      <a:pt x="1356" y="501"/>
                      <a:pt x="1377" y="507"/>
                    </a:cubicBezTo>
                    <a:cubicBezTo>
                      <a:pt x="1398" y="513"/>
                      <a:pt x="1421" y="514"/>
                      <a:pt x="1421" y="514"/>
                    </a:cubicBezTo>
                    <a:cubicBezTo>
                      <a:pt x="1421" y="514"/>
                      <a:pt x="1423" y="499"/>
                      <a:pt x="1427" y="502"/>
                    </a:cubicBezTo>
                    <a:cubicBezTo>
                      <a:pt x="1431" y="505"/>
                      <a:pt x="1427" y="520"/>
                      <a:pt x="1436" y="520"/>
                    </a:cubicBezTo>
                    <a:cubicBezTo>
                      <a:pt x="1445" y="520"/>
                      <a:pt x="1457" y="510"/>
                      <a:pt x="1457" y="510"/>
                    </a:cubicBezTo>
                    <a:cubicBezTo>
                      <a:pt x="1457" y="494"/>
                      <a:pt x="1457" y="494"/>
                      <a:pt x="1457" y="494"/>
                    </a:cubicBezTo>
                    <a:cubicBezTo>
                      <a:pt x="1451" y="492"/>
                      <a:pt x="1451" y="492"/>
                      <a:pt x="1451" y="492"/>
                    </a:cubicBezTo>
                    <a:cubicBezTo>
                      <a:pt x="1451" y="492"/>
                      <a:pt x="1465" y="481"/>
                      <a:pt x="1459" y="476"/>
                    </a:cubicBezTo>
                    <a:cubicBezTo>
                      <a:pt x="1453" y="471"/>
                      <a:pt x="1442" y="477"/>
                      <a:pt x="1442" y="477"/>
                    </a:cubicBezTo>
                    <a:cubicBezTo>
                      <a:pt x="1436" y="462"/>
                      <a:pt x="1436" y="462"/>
                      <a:pt x="1436" y="462"/>
                    </a:cubicBezTo>
                    <a:cubicBezTo>
                      <a:pt x="1425" y="459"/>
                      <a:pt x="1425" y="459"/>
                      <a:pt x="1425" y="459"/>
                    </a:cubicBezTo>
                    <a:cubicBezTo>
                      <a:pt x="1428" y="449"/>
                      <a:pt x="1428" y="449"/>
                      <a:pt x="1428" y="449"/>
                    </a:cubicBezTo>
                    <a:cubicBezTo>
                      <a:pt x="1380" y="430"/>
                      <a:pt x="1380" y="430"/>
                      <a:pt x="1380" y="430"/>
                    </a:cubicBezTo>
                    <a:cubicBezTo>
                      <a:pt x="1353" y="437"/>
                      <a:pt x="1353" y="437"/>
                      <a:pt x="1353" y="437"/>
                    </a:cubicBezTo>
                    <a:cubicBezTo>
                      <a:pt x="1347" y="434"/>
                      <a:pt x="1347" y="434"/>
                      <a:pt x="1347" y="434"/>
                    </a:cubicBezTo>
                    <a:cubicBezTo>
                      <a:pt x="1369" y="427"/>
                      <a:pt x="1369" y="427"/>
                      <a:pt x="1369" y="427"/>
                    </a:cubicBezTo>
                    <a:cubicBezTo>
                      <a:pt x="1371" y="424"/>
                      <a:pt x="1371" y="424"/>
                      <a:pt x="1371" y="424"/>
                    </a:cubicBezTo>
                    <a:cubicBezTo>
                      <a:pt x="1371" y="424"/>
                      <a:pt x="1370" y="415"/>
                      <a:pt x="1353" y="415"/>
                    </a:cubicBezTo>
                    <a:cubicBezTo>
                      <a:pt x="1336" y="415"/>
                      <a:pt x="1303" y="412"/>
                      <a:pt x="1303" y="412"/>
                    </a:cubicBezTo>
                    <a:cubicBezTo>
                      <a:pt x="1314" y="398"/>
                      <a:pt x="1314" y="398"/>
                      <a:pt x="1314" y="398"/>
                    </a:cubicBezTo>
                    <a:cubicBezTo>
                      <a:pt x="1314" y="398"/>
                      <a:pt x="1327" y="396"/>
                      <a:pt x="1337" y="400"/>
                    </a:cubicBezTo>
                    <a:cubicBezTo>
                      <a:pt x="1347" y="404"/>
                      <a:pt x="1363" y="393"/>
                      <a:pt x="1363" y="393"/>
                    </a:cubicBezTo>
                    <a:cubicBezTo>
                      <a:pt x="1381" y="390"/>
                      <a:pt x="1381" y="390"/>
                      <a:pt x="1381" y="390"/>
                    </a:cubicBezTo>
                    <a:cubicBezTo>
                      <a:pt x="1413" y="400"/>
                      <a:pt x="1413" y="400"/>
                      <a:pt x="1413" y="400"/>
                    </a:cubicBezTo>
                    <a:cubicBezTo>
                      <a:pt x="1427" y="397"/>
                      <a:pt x="1427" y="397"/>
                      <a:pt x="1427" y="397"/>
                    </a:cubicBezTo>
                    <a:cubicBezTo>
                      <a:pt x="1427" y="397"/>
                      <a:pt x="1453" y="418"/>
                      <a:pt x="1464" y="418"/>
                    </a:cubicBezTo>
                    <a:cubicBezTo>
                      <a:pt x="1475" y="418"/>
                      <a:pt x="1471" y="404"/>
                      <a:pt x="1471" y="404"/>
                    </a:cubicBezTo>
                    <a:cubicBezTo>
                      <a:pt x="1445" y="400"/>
                      <a:pt x="1445" y="400"/>
                      <a:pt x="1445" y="400"/>
                    </a:cubicBezTo>
                    <a:cubicBezTo>
                      <a:pt x="1425" y="390"/>
                      <a:pt x="1425" y="390"/>
                      <a:pt x="1425" y="390"/>
                    </a:cubicBezTo>
                    <a:cubicBezTo>
                      <a:pt x="1394" y="387"/>
                      <a:pt x="1394" y="387"/>
                      <a:pt x="1394" y="387"/>
                    </a:cubicBezTo>
                    <a:cubicBezTo>
                      <a:pt x="1394" y="387"/>
                      <a:pt x="1401" y="378"/>
                      <a:pt x="1408" y="375"/>
                    </a:cubicBezTo>
                    <a:cubicBezTo>
                      <a:pt x="1415" y="372"/>
                      <a:pt x="1432" y="390"/>
                      <a:pt x="1448" y="390"/>
                    </a:cubicBezTo>
                    <a:cubicBezTo>
                      <a:pt x="1464" y="390"/>
                      <a:pt x="1492" y="391"/>
                      <a:pt x="1492" y="391"/>
                    </a:cubicBezTo>
                    <a:cubicBezTo>
                      <a:pt x="1534" y="386"/>
                      <a:pt x="1534" y="386"/>
                      <a:pt x="1534" y="386"/>
                    </a:cubicBezTo>
                    <a:cubicBezTo>
                      <a:pt x="1535" y="368"/>
                      <a:pt x="1535" y="368"/>
                      <a:pt x="1535" y="368"/>
                    </a:cubicBezTo>
                    <a:cubicBezTo>
                      <a:pt x="1506" y="361"/>
                      <a:pt x="1506" y="361"/>
                      <a:pt x="1506" y="361"/>
                    </a:cubicBezTo>
                    <a:cubicBezTo>
                      <a:pt x="1491" y="371"/>
                      <a:pt x="1491" y="371"/>
                      <a:pt x="1491" y="371"/>
                    </a:cubicBezTo>
                    <a:cubicBezTo>
                      <a:pt x="1491" y="371"/>
                      <a:pt x="1477" y="359"/>
                      <a:pt x="1481" y="355"/>
                    </a:cubicBezTo>
                    <a:cubicBezTo>
                      <a:pt x="1485" y="351"/>
                      <a:pt x="1517" y="354"/>
                      <a:pt x="1517" y="354"/>
                    </a:cubicBezTo>
                    <a:cubicBezTo>
                      <a:pt x="1546" y="346"/>
                      <a:pt x="1546" y="346"/>
                      <a:pt x="1546" y="346"/>
                    </a:cubicBezTo>
                    <a:cubicBezTo>
                      <a:pt x="1546" y="346"/>
                      <a:pt x="1563" y="356"/>
                      <a:pt x="1576" y="352"/>
                    </a:cubicBezTo>
                    <a:cubicBezTo>
                      <a:pt x="1589" y="348"/>
                      <a:pt x="1602" y="339"/>
                      <a:pt x="1597" y="337"/>
                    </a:cubicBezTo>
                    <a:cubicBezTo>
                      <a:pt x="1592" y="335"/>
                      <a:pt x="1550" y="334"/>
                      <a:pt x="1546" y="334"/>
                    </a:cubicBezTo>
                    <a:cubicBezTo>
                      <a:pt x="1542" y="334"/>
                      <a:pt x="1550" y="326"/>
                      <a:pt x="1538" y="323"/>
                    </a:cubicBezTo>
                    <a:cubicBezTo>
                      <a:pt x="1526" y="320"/>
                      <a:pt x="1498" y="321"/>
                      <a:pt x="1498" y="321"/>
                    </a:cubicBezTo>
                    <a:cubicBezTo>
                      <a:pt x="1498" y="321"/>
                      <a:pt x="1532" y="320"/>
                      <a:pt x="1535" y="314"/>
                    </a:cubicBezTo>
                    <a:cubicBezTo>
                      <a:pt x="1538" y="308"/>
                      <a:pt x="1499" y="301"/>
                      <a:pt x="1499" y="301"/>
                    </a:cubicBezTo>
                    <a:cubicBezTo>
                      <a:pt x="1499" y="301"/>
                      <a:pt x="1521" y="296"/>
                      <a:pt x="1528" y="299"/>
                    </a:cubicBezTo>
                    <a:cubicBezTo>
                      <a:pt x="1535" y="302"/>
                      <a:pt x="1559" y="310"/>
                      <a:pt x="1565" y="308"/>
                    </a:cubicBezTo>
                    <a:cubicBezTo>
                      <a:pt x="1571" y="306"/>
                      <a:pt x="1573" y="320"/>
                      <a:pt x="1583" y="316"/>
                    </a:cubicBezTo>
                    <a:cubicBezTo>
                      <a:pt x="1593" y="312"/>
                      <a:pt x="1601" y="294"/>
                      <a:pt x="1594" y="289"/>
                    </a:cubicBezTo>
                    <a:cubicBezTo>
                      <a:pt x="1587" y="284"/>
                      <a:pt x="1570" y="272"/>
                      <a:pt x="1570" y="272"/>
                    </a:cubicBezTo>
                    <a:cubicBezTo>
                      <a:pt x="1531" y="264"/>
                      <a:pt x="1531" y="264"/>
                      <a:pt x="1531" y="264"/>
                    </a:cubicBezTo>
                    <a:cubicBezTo>
                      <a:pt x="1531" y="264"/>
                      <a:pt x="1513" y="256"/>
                      <a:pt x="1520" y="250"/>
                    </a:cubicBezTo>
                    <a:cubicBezTo>
                      <a:pt x="1527" y="244"/>
                      <a:pt x="1549" y="249"/>
                      <a:pt x="1549" y="249"/>
                    </a:cubicBezTo>
                    <a:cubicBezTo>
                      <a:pt x="1580" y="242"/>
                      <a:pt x="1580" y="242"/>
                      <a:pt x="1580" y="242"/>
                    </a:cubicBezTo>
                    <a:cubicBezTo>
                      <a:pt x="1580" y="242"/>
                      <a:pt x="1591" y="244"/>
                      <a:pt x="1623" y="246"/>
                    </a:cubicBezTo>
                    <a:cubicBezTo>
                      <a:pt x="1655" y="248"/>
                      <a:pt x="1670" y="225"/>
                      <a:pt x="1647" y="223"/>
                    </a:cubicBezTo>
                    <a:cubicBezTo>
                      <a:pt x="1624" y="221"/>
                      <a:pt x="1590" y="221"/>
                      <a:pt x="1590" y="221"/>
                    </a:cubicBezTo>
                    <a:cubicBezTo>
                      <a:pt x="1589" y="211"/>
                      <a:pt x="1589" y="211"/>
                      <a:pt x="1589" y="211"/>
                    </a:cubicBezTo>
                    <a:cubicBezTo>
                      <a:pt x="1609" y="210"/>
                      <a:pt x="1609" y="210"/>
                      <a:pt x="1609" y="210"/>
                    </a:cubicBezTo>
                    <a:cubicBezTo>
                      <a:pt x="1609" y="210"/>
                      <a:pt x="1603" y="195"/>
                      <a:pt x="1587" y="197"/>
                    </a:cubicBezTo>
                    <a:cubicBezTo>
                      <a:pt x="1571" y="199"/>
                      <a:pt x="1583" y="215"/>
                      <a:pt x="1574" y="216"/>
                    </a:cubicBezTo>
                    <a:cubicBezTo>
                      <a:pt x="1565" y="217"/>
                      <a:pt x="1540" y="204"/>
                      <a:pt x="1549" y="201"/>
                    </a:cubicBezTo>
                    <a:cubicBezTo>
                      <a:pt x="1558" y="198"/>
                      <a:pt x="1582" y="193"/>
                      <a:pt x="1585" y="185"/>
                    </a:cubicBezTo>
                    <a:cubicBezTo>
                      <a:pt x="1588" y="177"/>
                      <a:pt x="1598" y="165"/>
                      <a:pt x="1601" y="164"/>
                    </a:cubicBezTo>
                    <a:cubicBezTo>
                      <a:pt x="1604" y="163"/>
                      <a:pt x="1618" y="170"/>
                      <a:pt x="1627" y="165"/>
                    </a:cubicBezTo>
                    <a:cubicBezTo>
                      <a:pt x="1636" y="160"/>
                      <a:pt x="1649" y="151"/>
                      <a:pt x="1649" y="151"/>
                    </a:cubicBezTo>
                    <a:cubicBezTo>
                      <a:pt x="1639" y="141"/>
                      <a:pt x="1639" y="141"/>
                      <a:pt x="1639" y="141"/>
                    </a:cubicBezTo>
                    <a:cubicBezTo>
                      <a:pt x="1639" y="141"/>
                      <a:pt x="1665" y="128"/>
                      <a:pt x="1671" y="128"/>
                    </a:cubicBezTo>
                    <a:cubicBezTo>
                      <a:pt x="1677" y="128"/>
                      <a:pt x="1687" y="138"/>
                      <a:pt x="1695" y="132"/>
                    </a:cubicBezTo>
                    <a:cubicBezTo>
                      <a:pt x="1703" y="126"/>
                      <a:pt x="1723" y="122"/>
                      <a:pt x="1711" y="119"/>
                    </a:cubicBezTo>
                    <a:cubicBezTo>
                      <a:pt x="1699" y="116"/>
                      <a:pt x="1670" y="119"/>
                      <a:pt x="1670" y="119"/>
                    </a:cubicBezTo>
                    <a:cubicBezTo>
                      <a:pt x="1670" y="119"/>
                      <a:pt x="1615" y="134"/>
                      <a:pt x="1626" y="123"/>
                    </a:cubicBezTo>
                    <a:cubicBezTo>
                      <a:pt x="1637" y="112"/>
                      <a:pt x="1659" y="111"/>
                      <a:pt x="1659" y="111"/>
                    </a:cubicBezTo>
                    <a:cubicBezTo>
                      <a:pt x="1659" y="111"/>
                      <a:pt x="1700" y="113"/>
                      <a:pt x="1721" y="112"/>
                    </a:cubicBezTo>
                    <a:cubicBezTo>
                      <a:pt x="1742" y="111"/>
                      <a:pt x="1758" y="104"/>
                      <a:pt x="1758" y="104"/>
                    </a:cubicBezTo>
                    <a:cubicBezTo>
                      <a:pt x="1758" y="104"/>
                      <a:pt x="1723" y="95"/>
                      <a:pt x="1717" y="98"/>
                    </a:cubicBezTo>
                    <a:cubicBezTo>
                      <a:pt x="1711" y="101"/>
                      <a:pt x="1672" y="102"/>
                      <a:pt x="1672" y="102"/>
                    </a:cubicBezTo>
                    <a:cubicBezTo>
                      <a:pt x="1672" y="102"/>
                      <a:pt x="1625" y="105"/>
                      <a:pt x="1642" y="100"/>
                    </a:cubicBezTo>
                    <a:cubicBezTo>
                      <a:pt x="1659" y="95"/>
                      <a:pt x="1710" y="94"/>
                      <a:pt x="1710" y="94"/>
                    </a:cubicBezTo>
                    <a:cubicBezTo>
                      <a:pt x="1710" y="94"/>
                      <a:pt x="1776" y="95"/>
                      <a:pt x="1787" y="92"/>
                    </a:cubicBezTo>
                    <a:cubicBezTo>
                      <a:pt x="1798" y="89"/>
                      <a:pt x="1807" y="79"/>
                      <a:pt x="1807" y="79"/>
                    </a:cubicBezTo>
                    <a:cubicBezTo>
                      <a:pt x="1807" y="79"/>
                      <a:pt x="1834" y="80"/>
                      <a:pt x="1851" y="78"/>
                    </a:cubicBezTo>
                    <a:cubicBezTo>
                      <a:pt x="1868" y="76"/>
                      <a:pt x="1891" y="67"/>
                      <a:pt x="1891" y="67"/>
                    </a:cubicBezTo>
                    <a:cubicBezTo>
                      <a:pt x="1891" y="67"/>
                      <a:pt x="1865" y="57"/>
                      <a:pt x="1845" y="57"/>
                    </a:cubicBezTo>
                    <a:close/>
                    <a:moveTo>
                      <a:pt x="345" y="566"/>
                    </a:moveTo>
                    <a:cubicBezTo>
                      <a:pt x="353" y="568"/>
                      <a:pt x="353" y="568"/>
                      <a:pt x="353" y="568"/>
                    </a:cubicBezTo>
                    <a:cubicBezTo>
                      <a:pt x="353" y="568"/>
                      <a:pt x="371" y="564"/>
                      <a:pt x="377" y="564"/>
                    </a:cubicBezTo>
                    <a:cubicBezTo>
                      <a:pt x="383" y="564"/>
                      <a:pt x="397" y="554"/>
                      <a:pt x="395" y="546"/>
                    </a:cubicBezTo>
                    <a:cubicBezTo>
                      <a:pt x="393" y="538"/>
                      <a:pt x="371" y="534"/>
                      <a:pt x="371" y="534"/>
                    </a:cubicBezTo>
                    <a:cubicBezTo>
                      <a:pt x="371" y="534"/>
                      <a:pt x="361" y="526"/>
                      <a:pt x="351" y="526"/>
                    </a:cubicBezTo>
                    <a:cubicBezTo>
                      <a:pt x="341" y="526"/>
                      <a:pt x="337" y="532"/>
                      <a:pt x="321" y="526"/>
                    </a:cubicBezTo>
                    <a:cubicBezTo>
                      <a:pt x="317" y="542"/>
                      <a:pt x="317" y="542"/>
                      <a:pt x="317" y="542"/>
                    </a:cubicBezTo>
                    <a:cubicBezTo>
                      <a:pt x="317" y="542"/>
                      <a:pt x="309" y="546"/>
                      <a:pt x="309" y="552"/>
                    </a:cubicBezTo>
                    <a:cubicBezTo>
                      <a:pt x="309" y="558"/>
                      <a:pt x="321" y="564"/>
                      <a:pt x="321" y="564"/>
                    </a:cubicBezTo>
                    <a:cubicBezTo>
                      <a:pt x="317" y="572"/>
                      <a:pt x="317" y="572"/>
                      <a:pt x="317" y="572"/>
                    </a:cubicBezTo>
                    <a:lnTo>
                      <a:pt x="345" y="566"/>
                    </a:lnTo>
                    <a:close/>
                    <a:moveTo>
                      <a:pt x="2531" y="1160"/>
                    </a:moveTo>
                    <a:cubicBezTo>
                      <a:pt x="2535" y="1157"/>
                      <a:pt x="2548" y="1143"/>
                      <a:pt x="2545" y="1138"/>
                    </a:cubicBezTo>
                    <a:cubicBezTo>
                      <a:pt x="2542" y="1133"/>
                      <a:pt x="2538" y="1126"/>
                      <a:pt x="2538" y="1126"/>
                    </a:cubicBezTo>
                    <a:cubicBezTo>
                      <a:pt x="2538" y="1126"/>
                      <a:pt x="2520" y="1124"/>
                      <a:pt x="2519" y="1127"/>
                    </a:cubicBezTo>
                    <a:cubicBezTo>
                      <a:pt x="2518" y="1130"/>
                      <a:pt x="2498" y="1155"/>
                      <a:pt x="2498" y="1160"/>
                    </a:cubicBezTo>
                    <a:cubicBezTo>
                      <a:pt x="2498" y="1165"/>
                      <a:pt x="2501" y="1177"/>
                      <a:pt x="2501" y="1177"/>
                    </a:cubicBezTo>
                    <a:cubicBezTo>
                      <a:pt x="2488" y="1166"/>
                      <a:pt x="2488" y="1166"/>
                      <a:pt x="2488" y="1166"/>
                    </a:cubicBezTo>
                    <a:cubicBezTo>
                      <a:pt x="2482" y="1145"/>
                      <a:pt x="2482" y="1145"/>
                      <a:pt x="2482" y="1145"/>
                    </a:cubicBezTo>
                    <a:cubicBezTo>
                      <a:pt x="2482" y="1145"/>
                      <a:pt x="2457" y="1161"/>
                      <a:pt x="2458" y="1164"/>
                    </a:cubicBezTo>
                    <a:cubicBezTo>
                      <a:pt x="2459" y="1167"/>
                      <a:pt x="2472" y="1165"/>
                      <a:pt x="2473" y="1168"/>
                    </a:cubicBezTo>
                    <a:cubicBezTo>
                      <a:pt x="2474" y="1171"/>
                      <a:pt x="2483" y="1185"/>
                      <a:pt x="2483" y="1185"/>
                    </a:cubicBezTo>
                    <a:cubicBezTo>
                      <a:pt x="2460" y="1181"/>
                      <a:pt x="2460" y="1181"/>
                      <a:pt x="2460" y="1181"/>
                    </a:cubicBezTo>
                    <a:cubicBezTo>
                      <a:pt x="2460" y="1181"/>
                      <a:pt x="2448" y="1196"/>
                      <a:pt x="2449" y="1204"/>
                    </a:cubicBezTo>
                    <a:cubicBezTo>
                      <a:pt x="2450" y="1212"/>
                      <a:pt x="2466" y="1214"/>
                      <a:pt x="2466" y="1214"/>
                    </a:cubicBezTo>
                    <a:cubicBezTo>
                      <a:pt x="2466" y="1214"/>
                      <a:pt x="2452" y="1230"/>
                      <a:pt x="2455" y="1232"/>
                    </a:cubicBezTo>
                    <a:cubicBezTo>
                      <a:pt x="2458" y="1234"/>
                      <a:pt x="2472" y="1234"/>
                      <a:pt x="2472" y="1234"/>
                    </a:cubicBezTo>
                    <a:cubicBezTo>
                      <a:pt x="2471" y="1249"/>
                      <a:pt x="2471" y="1249"/>
                      <a:pt x="2471" y="1249"/>
                    </a:cubicBezTo>
                    <a:cubicBezTo>
                      <a:pt x="2463" y="1259"/>
                      <a:pt x="2463" y="1259"/>
                      <a:pt x="2463" y="1259"/>
                    </a:cubicBezTo>
                    <a:cubicBezTo>
                      <a:pt x="2473" y="1264"/>
                      <a:pt x="2473" y="1264"/>
                      <a:pt x="2473" y="1264"/>
                    </a:cubicBezTo>
                    <a:cubicBezTo>
                      <a:pt x="2473" y="1264"/>
                      <a:pt x="2480" y="1264"/>
                      <a:pt x="2484" y="1264"/>
                    </a:cubicBezTo>
                    <a:cubicBezTo>
                      <a:pt x="2488" y="1264"/>
                      <a:pt x="2496" y="1269"/>
                      <a:pt x="2496" y="1269"/>
                    </a:cubicBezTo>
                    <a:cubicBezTo>
                      <a:pt x="2496" y="1269"/>
                      <a:pt x="2498" y="1267"/>
                      <a:pt x="2506" y="1267"/>
                    </a:cubicBezTo>
                    <a:cubicBezTo>
                      <a:pt x="2513" y="1266"/>
                      <a:pt x="2514" y="1270"/>
                      <a:pt x="2514" y="1270"/>
                    </a:cubicBezTo>
                    <a:cubicBezTo>
                      <a:pt x="2514" y="1270"/>
                      <a:pt x="2515" y="1269"/>
                      <a:pt x="2517" y="1268"/>
                    </a:cubicBezTo>
                    <a:cubicBezTo>
                      <a:pt x="2517" y="1268"/>
                      <a:pt x="2517" y="1268"/>
                      <a:pt x="2517" y="1268"/>
                    </a:cubicBezTo>
                    <a:cubicBezTo>
                      <a:pt x="2513" y="1258"/>
                      <a:pt x="2510" y="1252"/>
                      <a:pt x="2510" y="1252"/>
                    </a:cubicBezTo>
                    <a:cubicBezTo>
                      <a:pt x="2521" y="1239"/>
                      <a:pt x="2521" y="1239"/>
                      <a:pt x="2521" y="1239"/>
                    </a:cubicBezTo>
                    <a:cubicBezTo>
                      <a:pt x="2521" y="1239"/>
                      <a:pt x="2503" y="1224"/>
                      <a:pt x="2513" y="1222"/>
                    </a:cubicBezTo>
                    <a:cubicBezTo>
                      <a:pt x="2523" y="1220"/>
                      <a:pt x="2531" y="1213"/>
                      <a:pt x="2531" y="1213"/>
                    </a:cubicBezTo>
                    <a:cubicBezTo>
                      <a:pt x="2535" y="1194"/>
                      <a:pt x="2535" y="1194"/>
                      <a:pt x="2535" y="1194"/>
                    </a:cubicBezTo>
                    <a:cubicBezTo>
                      <a:pt x="2549" y="1194"/>
                      <a:pt x="2549" y="1194"/>
                      <a:pt x="2549" y="1194"/>
                    </a:cubicBezTo>
                    <a:cubicBezTo>
                      <a:pt x="2554" y="1179"/>
                      <a:pt x="2554" y="1179"/>
                      <a:pt x="2554" y="1179"/>
                    </a:cubicBezTo>
                    <a:cubicBezTo>
                      <a:pt x="2531" y="1179"/>
                      <a:pt x="2531" y="1179"/>
                      <a:pt x="2531" y="1179"/>
                    </a:cubicBezTo>
                    <a:cubicBezTo>
                      <a:pt x="2531" y="1179"/>
                      <a:pt x="2527" y="1163"/>
                      <a:pt x="2531" y="1160"/>
                    </a:cubicBezTo>
                    <a:close/>
                    <a:moveTo>
                      <a:pt x="2525" y="1228"/>
                    </a:moveTo>
                    <a:cubicBezTo>
                      <a:pt x="2527" y="1252"/>
                      <a:pt x="2527" y="1252"/>
                      <a:pt x="2527" y="1252"/>
                    </a:cubicBezTo>
                    <a:cubicBezTo>
                      <a:pt x="2533" y="1252"/>
                      <a:pt x="2543" y="1262"/>
                      <a:pt x="2543" y="1262"/>
                    </a:cubicBezTo>
                    <a:cubicBezTo>
                      <a:pt x="2549" y="1244"/>
                      <a:pt x="2549" y="1244"/>
                      <a:pt x="2549" y="1244"/>
                    </a:cubicBezTo>
                    <a:cubicBezTo>
                      <a:pt x="2537" y="1230"/>
                      <a:pt x="2537" y="1230"/>
                      <a:pt x="2537" y="1230"/>
                    </a:cubicBezTo>
                    <a:lnTo>
                      <a:pt x="2525" y="1228"/>
                    </a:lnTo>
                    <a:close/>
                    <a:moveTo>
                      <a:pt x="2577" y="1240"/>
                    </a:moveTo>
                    <a:cubicBezTo>
                      <a:pt x="2576" y="1251"/>
                      <a:pt x="2567" y="1253"/>
                      <a:pt x="2579" y="1254"/>
                    </a:cubicBezTo>
                    <a:cubicBezTo>
                      <a:pt x="2591" y="1255"/>
                      <a:pt x="2596" y="1253"/>
                      <a:pt x="2596" y="1253"/>
                    </a:cubicBezTo>
                    <a:cubicBezTo>
                      <a:pt x="2596" y="1253"/>
                      <a:pt x="2604" y="1272"/>
                      <a:pt x="2605" y="1265"/>
                    </a:cubicBezTo>
                    <a:cubicBezTo>
                      <a:pt x="2607" y="1259"/>
                      <a:pt x="2617" y="1245"/>
                      <a:pt x="2619" y="1244"/>
                    </a:cubicBezTo>
                    <a:cubicBezTo>
                      <a:pt x="2621" y="1244"/>
                      <a:pt x="2630" y="1244"/>
                      <a:pt x="2622" y="1239"/>
                    </a:cubicBezTo>
                    <a:cubicBezTo>
                      <a:pt x="2614" y="1234"/>
                      <a:pt x="2607" y="1227"/>
                      <a:pt x="2610" y="1227"/>
                    </a:cubicBezTo>
                    <a:cubicBezTo>
                      <a:pt x="2613" y="1226"/>
                      <a:pt x="2620" y="1227"/>
                      <a:pt x="2615" y="1224"/>
                    </a:cubicBezTo>
                    <a:cubicBezTo>
                      <a:pt x="2610" y="1220"/>
                      <a:pt x="2624" y="1211"/>
                      <a:pt x="2624" y="1211"/>
                    </a:cubicBezTo>
                    <a:cubicBezTo>
                      <a:pt x="2624" y="1211"/>
                      <a:pt x="2616" y="1199"/>
                      <a:pt x="2615" y="1200"/>
                    </a:cubicBezTo>
                    <a:cubicBezTo>
                      <a:pt x="2614" y="1200"/>
                      <a:pt x="2601" y="1205"/>
                      <a:pt x="2601" y="1210"/>
                    </a:cubicBezTo>
                    <a:cubicBezTo>
                      <a:pt x="2601" y="1215"/>
                      <a:pt x="2601" y="1219"/>
                      <a:pt x="2601" y="1219"/>
                    </a:cubicBezTo>
                    <a:cubicBezTo>
                      <a:pt x="2601" y="1219"/>
                      <a:pt x="2592" y="1207"/>
                      <a:pt x="2590" y="1208"/>
                    </a:cubicBezTo>
                    <a:cubicBezTo>
                      <a:pt x="2588" y="1209"/>
                      <a:pt x="2585" y="1213"/>
                      <a:pt x="2585" y="1213"/>
                    </a:cubicBezTo>
                    <a:cubicBezTo>
                      <a:pt x="2569" y="1224"/>
                      <a:pt x="2569" y="1224"/>
                      <a:pt x="2569" y="1224"/>
                    </a:cubicBezTo>
                    <a:cubicBezTo>
                      <a:pt x="2569" y="1224"/>
                      <a:pt x="2578" y="1229"/>
                      <a:pt x="2577" y="1240"/>
                    </a:cubicBezTo>
                    <a:close/>
                    <a:moveTo>
                      <a:pt x="2629" y="1260"/>
                    </a:moveTo>
                    <a:cubicBezTo>
                      <a:pt x="2612" y="1266"/>
                      <a:pt x="2612" y="1266"/>
                      <a:pt x="2612" y="1266"/>
                    </a:cubicBezTo>
                    <a:cubicBezTo>
                      <a:pt x="2612" y="1266"/>
                      <a:pt x="2602" y="1270"/>
                      <a:pt x="2598" y="1269"/>
                    </a:cubicBezTo>
                    <a:cubicBezTo>
                      <a:pt x="2594" y="1269"/>
                      <a:pt x="2578" y="1262"/>
                      <a:pt x="2573" y="1262"/>
                    </a:cubicBezTo>
                    <a:cubicBezTo>
                      <a:pt x="2563" y="1262"/>
                      <a:pt x="2565" y="1273"/>
                      <a:pt x="2573" y="1272"/>
                    </a:cubicBezTo>
                    <a:cubicBezTo>
                      <a:pt x="2581" y="1270"/>
                      <a:pt x="2592" y="1282"/>
                      <a:pt x="2592" y="1282"/>
                    </a:cubicBezTo>
                    <a:cubicBezTo>
                      <a:pt x="2592" y="1282"/>
                      <a:pt x="2609" y="1279"/>
                      <a:pt x="2626" y="1275"/>
                    </a:cubicBezTo>
                    <a:cubicBezTo>
                      <a:pt x="2644" y="1272"/>
                      <a:pt x="2629" y="1260"/>
                      <a:pt x="2629" y="1260"/>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03" name="Freeform 125">
                <a:extLst>
                  <a:ext uri="{FF2B5EF4-FFF2-40B4-BE49-F238E27FC236}">
                    <a16:creationId xmlns:a16="http://schemas.microsoft.com/office/drawing/2014/main" id="{EA81078B-E7BD-44CC-9F27-E30E2F4A8A24}"/>
                  </a:ext>
                </a:extLst>
              </p:cNvPr>
              <p:cNvSpPr>
                <a:spLocks noEditPoints="1"/>
              </p:cNvSpPr>
              <p:nvPr>
                <p:custDataLst>
                  <p:tags r:id="rId84"/>
                </p:custDataLst>
              </p:nvPr>
            </p:nvSpPr>
            <p:spPr bwMode="gray">
              <a:xfrm>
                <a:off x="5041871" y="2627323"/>
                <a:ext cx="144462" cy="58737"/>
              </a:xfrm>
              <a:custGeom>
                <a:avLst/>
                <a:gdLst>
                  <a:gd name="T0" fmla="*/ 228 w 237"/>
                  <a:gd name="T1" fmla="*/ 76 h 107"/>
                  <a:gd name="T2" fmla="*/ 221 w 237"/>
                  <a:gd name="T3" fmla="*/ 74 h 107"/>
                  <a:gd name="T4" fmla="*/ 226 w 237"/>
                  <a:gd name="T5" fmla="*/ 56 h 107"/>
                  <a:gd name="T6" fmla="*/ 217 w 237"/>
                  <a:gd name="T7" fmla="*/ 52 h 107"/>
                  <a:gd name="T8" fmla="*/ 220 w 237"/>
                  <a:gd name="T9" fmla="*/ 36 h 107"/>
                  <a:gd name="T10" fmla="*/ 231 w 237"/>
                  <a:gd name="T11" fmla="*/ 30 h 107"/>
                  <a:gd name="T12" fmla="*/ 228 w 237"/>
                  <a:gd name="T13" fmla="*/ 21 h 107"/>
                  <a:gd name="T14" fmla="*/ 231 w 237"/>
                  <a:gd name="T15" fmla="*/ 11 h 107"/>
                  <a:gd name="T16" fmla="*/ 170 w 237"/>
                  <a:gd name="T17" fmla="*/ 1 h 107"/>
                  <a:gd name="T18" fmla="*/ 110 w 237"/>
                  <a:gd name="T19" fmla="*/ 6 h 107"/>
                  <a:gd name="T20" fmla="*/ 60 w 237"/>
                  <a:gd name="T21" fmla="*/ 31 h 107"/>
                  <a:gd name="T22" fmla="*/ 66 w 237"/>
                  <a:gd name="T23" fmla="*/ 56 h 107"/>
                  <a:gd name="T24" fmla="*/ 105 w 237"/>
                  <a:gd name="T25" fmla="*/ 61 h 107"/>
                  <a:gd name="T26" fmla="*/ 98 w 237"/>
                  <a:gd name="T27" fmla="*/ 85 h 107"/>
                  <a:gd name="T28" fmla="*/ 102 w 237"/>
                  <a:gd name="T29" fmla="*/ 85 h 107"/>
                  <a:gd name="T30" fmla="*/ 123 w 237"/>
                  <a:gd name="T31" fmla="*/ 79 h 107"/>
                  <a:gd name="T32" fmla="*/ 144 w 237"/>
                  <a:gd name="T33" fmla="*/ 78 h 107"/>
                  <a:gd name="T34" fmla="*/ 172 w 237"/>
                  <a:gd name="T35" fmla="*/ 95 h 107"/>
                  <a:gd name="T36" fmla="*/ 192 w 237"/>
                  <a:gd name="T37" fmla="*/ 107 h 107"/>
                  <a:gd name="T38" fmla="*/ 203 w 237"/>
                  <a:gd name="T39" fmla="*/ 101 h 107"/>
                  <a:gd name="T40" fmla="*/ 216 w 237"/>
                  <a:gd name="T41" fmla="*/ 106 h 107"/>
                  <a:gd name="T42" fmla="*/ 224 w 237"/>
                  <a:gd name="T43" fmla="*/ 105 h 107"/>
                  <a:gd name="T44" fmla="*/ 224 w 237"/>
                  <a:gd name="T45" fmla="*/ 97 h 107"/>
                  <a:gd name="T46" fmla="*/ 237 w 237"/>
                  <a:gd name="T47" fmla="*/ 88 h 107"/>
                  <a:gd name="T48" fmla="*/ 228 w 237"/>
                  <a:gd name="T49" fmla="*/ 76 h 107"/>
                  <a:gd name="T50" fmla="*/ 27 w 237"/>
                  <a:gd name="T51" fmla="*/ 53 h 107"/>
                  <a:gd name="T52" fmla="*/ 7 w 237"/>
                  <a:gd name="T53" fmla="*/ 55 h 107"/>
                  <a:gd name="T54" fmla="*/ 9 w 237"/>
                  <a:gd name="T55" fmla="*/ 74 h 107"/>
                  <a:gd name="T56" fmla="*/ 14 w 237"/>
                  <a:gd name="T57" fmla="*/ 87 h 107"/>
                  <a:gd name="T58" fmla="*/ 34 w 237"/>
                  <a:gd name="T59" fmla="*/ 74 h 107"/>
                  <a:gd name="T60" fmla="*/ 55 w 237"/>
                  <a:gd name="T61" fmla="*/ 60 h 107"/>
                  <a:gd name="T62" fmla="*/ 51 w 237"/>
                  <a:gd name="T63" fmla="*/ 49 h 107"/>
                  <a:gd name="T64" fmla="*/ 27 w 237"/>
                  <a:gd name="T65" fmla="*/ 53 h 107"/>
                  <a:gd name="T66" fmla="*/ 29 w 237"/>
                  <a:gd name="T67" fmla="*/ 45 h 107"/>
                  <a:gd name="T68" fmla="*/ 35 w 237"/>
                  <a:gd name="T69" fmla="*/ 25 h 107"/>
                  <a:gd name="T70" fmla="*/ 29 w 237"/>
                  <a:gd name="T71" fmla="*/ 4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7" h="107">
                    <a:moveTo>
                      <a:pt x="228" y="76"/>
                    </a:moveTo>
                    <a:cubicBezTo>
                      <a:pt x="221" y="74"/>
                      <a:pt x="221" y="74"/>
                      <a:pt x="221" y="74"/>
                    </a:cubicBezTo>
                    <a:cubicBezTo>
                      <a:pt x="226" y="56"/>
                      <a:pt x="226" y="56"/>
                      <a:pt x="226" y="56"/>
                    </a:cubicBezTo>
                    <a:cubicBezTo>
                      <a:pt x="217" y="52"/>
                      <a:pt x="217" y="52"/>
                      <a:pt x="217" y="52"/>
                    </a:cubicBezTo>
                    <a:cubicBezTo>
                      <a:pt x="217" y="52"/>
                      <a:pt x="216" y="38"/>
                      <a:pt x="220" y="36"/>
                    </a:cubicBezTo>
                    <a:cubicBezTo>
                      <a:pt x="224" y="34"/>
                      <a:pt x="231" y="30"/>
                      <a:pt x="231" y="30"/>
                    </a:cubicBezTo>
                    <a:cubicBezTo>
                      <a:pt x="228" y="21"/>
                      <a:pt x="228" y="21"/>
                      <a:pt x="228" y="21"/>
                    </a:cubicBezTo>
                    <a:cubicBezTo>
                      <a:pt x="231" y="11"/>
                      <a:pt x="231" y="11"/>
                      <a:pt x="231" y="11"/>
                    </a:cubicBezTo>
                    <a:cubicBezTo>
                      <a:pt x="215" y="8"/>
                      <a:pt x="180" y="2"/>
                      <a:pt x="170" y="1"/>
                    </a:cubicBezTo>
                    <a:cubicBezTo>
                      <a:pt x="157" y="0"/>
                      <a:pt x="110" y="6"/>
                      <a:pt x="110" y="6"/>
                    </a:cubicBezTo>
                    <a:cubicBezTo>
                      <a:pt x="110" y="6"/>
                      <a:pt x="60" y="24"/>
                      <a:pt x="60" y="31"/>
                    </a:cubicBezTo>
                    <a:cubicBezTo>
                      <a:pt x="60" y="38"/>
                      <a:pt x="66" y="56"/>
                      <a:pt x="66" y="56"/>
                    </a:cubicBezTo>
                    <a:cubicBezTo>
                      <a:pt x="105" y="61"/>
                      <a:pt x="105" y="61"/>
                      <a:pt x="105" y="61"/>
                    </a:cubicBezTo>
                    <a:cubicBezTo>
                      <a:pt x="98" y="85"/>
                      <a:pt x="98" y="85"/>
                      <a:pt x="98" y="85"/>
                    </a:cubicBezTo>
                    <a:cubicBezTo>
                      <a:pt x="102" y="85"/>
                      <a:pt x="102" y="85"/>
                      <a:pt x="102" y="85"/>
                    </a:cubicBezTo>
                    <a:cubicBezTo>
                      <a:pt x="123" y="79"/>
                      <a:pt x="123" y="79"/>
                      <a:pt x="123" y="79"/>
                    </a:cubicBezTo>
                    <a:cubicBezTo>
                      <a:pt x="123" y="79"/>
                      <a:pt x="129" y="75"/>
                      <a:pt x="144" y="78"/>
                    </a:cubicBezTo>
                    <a:cubicBezTo>
                      <a:pt x="159" y="81"/>
                      <a:pt x="161" y="86"/>
                      <a:pt x="172" y="95"/>
                    </a:cubicBezTo>
                    <a:cubicBezTo>
                      <a:pt x="183" y="104"/>
                      <a:pt x="186" y="107"/>
                      <a:pt x="192" y="107"/>
                    </a:cubicBezTo>
                    <a:cubicBezTo>
                      <a:pt x="198" y="107"/>
                      <a:pt x="200" y="100"/>
                      <a:pt x="203" y="101"/>
                    </a:cubicBezTo>
                    <a:cubicBezTo>
                      <a:pt x="206" y="102"/>
                      <a:pt x="216" y="106"/>
                      <a:pt x="216" y="106"/>
                    </a:cubicBezTo>
                    <a:cubicBezTo>
                      <a:pt x="224" y="105"/>
                      <a:pt x="224" y="105"/>
                      <a:pt x="224" y="105"/>
                    </a:cubicBezTo>
                    <a:cubicBezTo>
                      <a:pt x="224" y="97"/>
                      <a:pt x="224" y="97"/>
                      <a:pt x="224" y="97"/>
                    </a:cubicBezTo>
                    <a:cubicBezTo>
                      <a:pt x="237" y="88"/>
                      <a:pt x="237" y="88"/>
                      <a:pt x="237" y="88"/>
                    </a:cubicBezTo>
                    <a:lnTo>
                      <a:pt x="228" y="76"/>
                    </a:lnTo>
                    <a:close/>
                    <a:moveTo>
                      <a:pt x="27" y="53"/>
                    </a:moveTo>
                    <a:cubicBezTo>
                      <a:pt x="27" y="53"/>
                      <a:pt x="14" y="52"/>
                      <a:pt x="7" y="55"/>
                    </a:cubicBezTo>
                    <a:cubicBezTo>
                      <a:pt x="0" y="57"/>
                      <a:pt x="9" y="74"/>
                      <a:pt x="9" y="74"/>
                    </a:cubicBezTo>
                    <a:cubicBezTo>
                      <a:pt x="14" y="87"/>
                      <a:pt x="14" y="87"/>
                      <a:pt x="14" y="87"/>
                    </a:cubicBezTo>
                    <a:cubicBezTo>
                      <a:pt x="14" y="87"/>
                      <a:pt x="30" y="74"/>
                      <a:pt x="34" y="74"/>
                    </a:cubicBezTo>
                    <a:cubicBezTo>
                      <a:pt x="38" y="74"/>
                      <a:pt x="55" y="60"/>
                      <a:pt x="55" y="60"/>
                    </a:cubicBezTo>
                    <a:cubicBezTo>
                      <a:pt x="51" y="49"/>
                      <a:pt x="51" y="49"/>
                      <a:pt x="51" y="49"/>
                    </a:cubicBezTo>
                    <a:lnTo>
                      <a:pt x="27" y="53"/>
                    </a:lnTo>
                    <a:close/>
                    <a:moveTo>
                      <a:pt x="29" y="45"/>
                    </a:moveTo>
                    <a:cubicBezTo>
                      <a:pt x="44" y="45"/>
                      <a:pt x="48" y="23"/>
                      <a:pt x="35" y="25"/>
                    </a:cubicBezTo>
                    <a:cubicBezTo>
                      <a:pt x="22" y="28"/>
                      <a:pt x="15" y="45"/>
                      <a:pt x="29" y="45"/>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04" name="Freeform 126">
                <a:extLst>
                  <a:ext uri="{FF2B5EF4-FFF2-40B4-BE49-F238E27FC236}">
                    <a16:creationId xmlns:a16="http://schemas.microsoft.com/office/drawing/2014/main" id="{090FA916-22F6-4D4A-B806-DD6B8CB6C1EE}"/>
                  </a:ext>
                </a:extLst>
              </p:cNvPr>
              <p:cNvSpPr>
                <a:spLocks/>
              </p:cNvSpPr>
              <p:nvPr>
                <p:custDataLst>
                  <p:tags r:id="rId85"/>
                </p:custDataLst>
              </p:nvPr>
            </p:nvSpPr>
            <p:spPr bwMode="gray">
              <a:xfrm>
                <a:off x="4986309" y="3086111"/>
                <a:ext cx="49212" cy="49214"/>
              </a:xfrm>
              <a:custGeom>
                <a:avLst/>
                <a:gdLst>
                  <a:gd name="T0" fmla="*/ 79 w 80"/>
                  <a:gd name="T1" fmla="*/ 27 h 90"/>
                  <a:gd name="T2" fmla="*/ 73 w 80"/>
                  <a:gd name="T3" fmla="*/ 31 h 90"/>
                  <a:gd name="T4" fmla="*/ 65 w 80"/>
                  <a:gd name="T5" fmla="*/ 17 h 90"/>
                  <a:gd name="T6" fmla="*/ 56 w 80"/>
                  <a:gd name="T7" fmla="*/ 10 h 90"/>
                  <a:gd name="T8" fmla="*/ 46 w 80"/>
                  <a:gd name="T9" fmla="*/ 0 h 90"/>
                  <a:gd name="T10" fmla="*/ 29 w 80"/>
                  <a:gd name="T11" fmla="*/ 0 h 90"/>
                  <a:gd name="T12" fmla="*/ 29 w 80"/>
                  <a:gd name="T13" fmla="*/ 15 h 90"/>
                  <a:gd name="T14" fmla="*/ 18 w 80"/>
                  <a:gd name="T15" fmla="*/ 14 h 90"/>
                  <a:gd name="T16" fmla="*/ 9 w 80"/>
                  <a:gd name="T17" fmla="*/ 29 h 90"/>
                  <a:gd name="T18" fmla="*/ 4 w 80"/>
                  <a:gd name="T19" fmla="*/ 29 h 90"/>
                  <a:gd name="T20" fmla="*/ 3 w 80"/>
                  <a:gd name="T21" fmla="*/ 39 h 90"/>
                  <a:gd name="T22" fmla="*/ 17 w 80"/>
                  <a:gd name="T23" fmla="*/ 48 h 90"/>
                  <a:gd name="T24" fmla="*/ 4 w 80"/>
                  <a:gd name="T25" fmla="*/ 64 h 90"/>
                  <a:gd name="T26" fmla="*/ 6 w 80"/>
                  <a:gd name="T27" fmla="*/ 65 h 90"/>
                  <a:gd name="T28" fmla="*/ 24 w 80"/>
                  <a:gd name="T29" fmla="*/ 62 h 90"/>
                  <a:gd name="T30" fmla="*/ 24 w 80"/>
                  <a:gd name="T31" fmla="*/ 74 h 90"/>
                  <a:gd name="T32" fmla="*/ 41 w 80"/>
                  <a:gd name="T33" fmla="*/ 90 h 90"/>
                  <a:gd name="T34" fmla="*/ 48 w 80"/>
                  <a:gd name="T35" fmla="*/ 81 h 90"/>
                  <a:gd name="T36" fmla="*/ 46 w 80"/>
                  <a:gd name="T37" fmla="*/ 71 h 90"/>
                  <a:gd name="T38" fmla="*/ 40 w 80"/>
                  <a:gd name="T39" fmla="*/ 74 h 90"/>
                  <a:gd name="T40" fmla="*/ 31 w 80"/>
                  <a:gd name="T41" fmla="*/ 68 h 90"/>
                  <a:gd name="T42" fmla="*/ 46 w 80"/>
                  <a:gd name="T43" fmla="*/ 68 h 90"/>
                  <a:gd name="T44" fmla="*/ 52 w 80"/>
                  <a:gd name="T45" fmla="*/ 63 h 90"/>
                  <a:gd name="T46" fmla="*/ 54 w 80"/>
                  <a:gd name="T47" fmla="*/ 49 h 90"/>
                  <a:gd name="T48" fmla="*/ 72 w 80"/>
                  <a:gd name="T49" fmla="*/ 59 h 90"/>
                  <a:gd name="T50" fmla="*/ 78 w 80"/>
                  <a:gd name="T51" fmla="*/ 53 h 90"/>
                  <a:gd name="T52" fmla="*/ 80 w 80"/>
                  <a:gd name="T53" fmla="*/ 56 h 90"/>
                  <a:gd name="T54" fmla="*/ 79 w 80"/>
                  <a:gd name="T55" fmla="*/ 2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90">
                    <a:moveTo>
                      <a:pt x="79" y="27"/>
                    </a:moveTo>
                    <a:cubicBezTo>
                      <a:pt x="73" y="31"/>
                      <a:pt x="73" y="31"/>
                      <a:pt x="73" y="31"/>
                    </a:cubicBezTo>
                    <a:cubicBezTo>
                      <a:pt x="65" y="17"/>
                      <a:pt x="65" y="17"/>
                      <a:pt x="65" y="17"/>
                    </a:cubicBezTo>
                    <a:cubicBezTo>
                      <a:pt x="56" y="10"/>
                      <a:pt x="56" y="10"/>
                      <a:pt x="56" y="10"/>
                    </a:cubicBezTo>
                    <a:cubicBezTo>
                      <a:pt x="46" y="0"/>
                      <a:pt x="46" y="0"/>
                      <a:pt x="46" y="0"/>
                    </a:cubicBezTo>
                    <a:cubicBezTo>
                      <a:pt x="39" y="2"/>
                      <a:pt x="29" y="0"/>
                      <a:pt x="29" y="0"/>
                    </a:cubicBezTo>
                    <a:cubicBezTo>
                      <a:pt x="29" y="15"/>
                      <a:pt x="29" y="15"/>
                      <a:pt x="29" y="15"/>
                    </a:cubicBezTo>
                    <a:cubicBezTo>
                      <a:pt x="29" y="15"/>
                      <a:pt x="21" y="10"/>
                      <a:pt x="18" y="14"/>
                    </a:cubicBezTo>
                    <a:cubicBezTo>
                      <a:pt x="15" y="18"/>
                      <a:pt x="9" y="29"/>
                      <a:pt x="9" y="29"/>
                    </a:cubicBezTo>
                    <a:cubicBezTo>
                      <a:pt x="4" y="29"/>
                      <a:pt x="4" y="29"/>
                      <a:pt x="4" y="29"/>
                    </a:cubicBezTo>
                    <a:cubicBezTo>
                      <a:pt x="4" y="29"/>
                      <a:pt x="0" y="36"/>
                      <a:pt x="3" y="39"/>
                    </a:cubicBezTo>
                    <a:cubicBezTo>
                      <a:pt x="6" y="42"/>
                      <a:pt x="17" y="48"/>
                      <a:pt x="17" y="48"/>
                    </a:cubicBezTo>
                    <a:cubicBezTo>
                      <a:pt x="4" y="64"/>
                      <a:pt x="4" y="64"/>
                      <a:pt x="4" y="64"/>
                    </a:cubicBezTo>
                    <a:cubicBezTo>
                      <a:pt x="5" y="65"/>
                      <a:pt x="6" y="65"/>
                      <a:pt x="6" y="65"/>
                    </a:cubicBezTo>
                    <a:cubicBezTo>
                      <a:pt x="13" y="67"/>
                      <a:pt x="24" y="62"/>
                      <a:pt x="24" y="62"/>
                    </a:cubicBezTo>
                    <a:cubicBezTo>
                      <a:pt x="24" y="74"/>
                      <a:pt x="24" y="74"/>
                      <a:pt x="24" y="74"/>
                    </a:cubicBezTo>
                    <a:cubicBezTo>
                      <a:pt x="41" y="90"/>
                      <a:pt x="41" y="90"/>
                      <a:pt x="41" y="90"/>
                    </a:cubicBezTo>
                    <a:cubicBezTo>
                      <a:pt x="48" y="81"/>
                      <a:pt x="48" y="81"/>
                      <a:pt x="48" y="81"/>
                    </a:cubicBezTo>
                    <a:cubicBezTo>
                      <a:pt x="46" y="71"/>
                      <a:pt x="46" y="71"/>
                      <a:pt x="46" y="71"/>
                    </a:cubicBezTo>
                    <a:cubicBezTo>
                      <a:pt x="40" y="74"/>
                      <a:pt x="40" y="74"/>
                      <a:pt x="40" y="74"/>
                    </a:cubicBezTo>
                    <a:cubicBezTo>
                      <a:pt x="31" y="68"/>
                      <a:pt x="31" y="68"/>
                      <a:pt x="31" y="68"/>
                    </a:cubicBezTo>
                    <a:cubicBezTo>
                      <a:pt x="46" y="68"/>
                      <a:pt x="46" y="68"/>
                      <a:pt x="46" y="68"/>
                    </a:cubicBezTo>
                    <a:cubicBezTo>
                      <a:pt x="52" y="63"/>
                      <a:pt x="52" y="63"/>
                      <a:pt x="52" y="63"/>
                    </a:cubicBezTo>
                    <a:cubicBezTo>
                      <a:pt x="54" y="49"/>
                      <a:pt x="54" y="49"/>
                      <a:pt x="54" y="49"/>
                    </a:cubicBezTo>
                    <a:cubicBezTo>
                      <a:pt x="72" y="59"/>
                      <a:pt x="72" y="59"/>
                      <a:pt x="72" y="59"/>
                    </a:cubicBezTo>
                    <a:cubicBezTo>
                      <a:pt x="78" y="53"/>
                      <a:pt x="78" y="53"/>
                      <a:pt x="78" y="53"/>
                    </a:cubicBezTo>
                    <a:cubicBezTo>
                      <a:pt x="80" y="56"/>
                      <a:pt x="80" y="56"/>
                      <a:pt x="80" y="56"/>
                    </a:cubicBezTo>
                    <a:lnTo>
                      <a:pt x="79" y="27"/>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05" name="Freeform 127">
                <a:extLst>
                  <a:ext uri="{FF2B5EF4-FFF2-40B4-BE49-F238E27FC236}">
                    <a16:creationId xmlns:a16="http://schemas.microsoft.com/office/drawing/2014/main" id="{966ED2A3-550F-420C-A7BD-EF0454637926}"/>
                  </a:ext>
                </a:extLst>
              </p:cNvPr>
              <p:cNvSpPr>
                <a:spLocks noEditPoints="1"/>
              </p:cNvSpPr>
              <p:nvPr>
                <p:custDataLst>
                  <p:tags r:id="rId86"/>
                </p:custDataLst>
              </p:nvPr>
            </p:nvSpPr>
            <p:spPr bwMode="gray">
              <a:xfrm>
                <a:off x="4995834" y="3006736"/>
                <a:ext cx="111125" cy="128589"/>
              </a:xfrm>
              <a:custGeom>
                <a:avLst/>
                <a:gdLst>
                  <a:gd name="T0" fmla="*/ 167 w 185"/>
                  <a:gd name="T1" fmla="*/ 152 h 233"/>
                  <a:gd name="T2" fmla="*/ 160 w 185"/>
                  <a:gd name="T3" fmla="*/ 140 h 233"/>
                  <a:gd name="T4" fmla="*/ 166 w 185"/>
                  <a:gd name="T5" fmla="*/ 120 h 233"/>
                  <a:gd name="T6" fmla="*/ 161 w 185"/>
                  <a:gd name="T7" fmla="*/ 102 h 233"/>
                  <a:gd name="T8" fmla="*/ 171 w 185"/>
                  <a:gd name="T9" fmla="*/ 88 h 233"/>
                  <a:gd name="T10" fmla="*/ 139 w 185"/>
                  <a:gd name="T11" fmla="*/ 91 h 233"/>
                  <a:gd name="T12" fmla="*/ 117 w 185"/>
                  <a:gd name="T13" fmla="*/ 82 h 233"/>
                  <a:gd name="T14" fmla="*/ 115 w 185"/>
                  <a:gd name="T15" fmla="*/ 56 h 233"/>
                  <a:gd name="T16" fmla="*/ 91 w 185"/>
                  <a:gd name="T17" fmla="*/ 48 h 233"/>
                  <a:gd name="T18" fmla="*/ 77 w 185"/>
                  <a:gd name="T19" fmla="*/ 27 h 233"/>
                  <a:gd name="T20" fmla="*/ 48 w 185"/>
                  <a:gd name="T21" fmla="*/ 6 h 233"/>
                  <a:gd name="T22" fmla="*/ 18 w 185"/>
                  <a:gd name="T23" fmla="*/ 17 h 233"/>
                  <a:gd name="T24" fmla="*/ 0 w 185"/>
                  <a:gd name="T25" fmla="*/ 21 h 233"/>
                  <a:gd name="T26" fmla="*/ 6 w 185"/>
                  <a:gd name="T27" fmla="*/ 40 h 233"/>
                  <a:gd name="T28" fmla="*/ 8 w 185"/>
                  <a:gd name="T29" fmla="*/ 53 h 233"/>
                  <a:gd name="T30" fmla="*/ 12 w 185"/>
                  <a:gd name="T31" fmla="*/ 65 h 233"/>
                  <a:gd name="T32" fmla="*/ 5 w 185"/>
                  <a:gd name="T33" fmla="*/ 72 h 233"/>
                  <a:gd name="T34" fmla="*/ 27 w 185"/>
                  <a:gd name="T35" fmla="*/ 76 h 233"/>
                  <a:gd name="T36" fmla="*/ 15 w 185"/>
                  <a:gd name="T37" fmla="*/ 106 h 233"/>
                  <a:gd name="T38" fmla="*/ 37 w 185"/>
                  <a:gd name="T39" fmla="*/ 118 h 233"/>
                  <a:gd name="T40" fmla="*/ 35 w 185"/>
                  <a:gd name="T41" fmla="*/ 140 h 233"/>
                  <a:gd name="T42" fmla="*/ 41 w 185"/>
                  <a:gd name="T43" fmla="*/ 153 h 233"/>
                  <a:gd name="T44" fmla="*/ 58 w 185"/>
                  <a:gd name="T45" fmla="*/ 174 h 233"/>
                  <a:gd name="T46" fmla="*/ 65 w 185"/>
                  <a:gd name="T47" fmla="*/ 199 h 233"/>
                  <a:gd name="T48" fmla="*/ 71 w 185"/>
                  <a:gd name="T49" fmla="*/ 211 h 233"/>
                  <a:gd name="T50" fmla="*/ 84 w 185"/>
                  <a:gd name="T51" fmla="*/ 221 h 233"/>
                  <a:gd name="T52" fmla="*/ 95 w 185"/>
                  <a:gd name="T53" fmla="*/ 229 h 233"/>
                  <a:gd name="T54" fmla="*/ 112 w 185"/>
                  <a:gd name="T55" fmla="*/ 221 h 233"/>
                  <a:gd name="T56" fmla="*/ 128 w 185"/>
                  <a:gd name="T57" fmla="*/ 213 h 233"/>
                  <a:gd name="T58" fmla="*/ 158 w 185"/>
                  <a:gd name="T59" fmla="*/ 207 h 233"/>
                  <a:gd name="T60" fmla="*/ 165 w 185"/>
                  <a:gd name="T61" fmla="*/ 192 h 233"/>
                  <a:gd name="T62" fmla="*/ 177 w 185"/>
                  <a:gd name="T63" fmla="*/ 180 h 233"/>
                  <a:gd name="T64" fmla="*/ 180 w 185"/>
                  <a:gd name="T65" fmla="*/ 159 h 233"/>
                  <a:gd name="T66" fmla="*/ 27 w 185"/>
                  <a:gd name="T67" fmla="*/ 144 h 233"/>
                  <a:gd name="T68" fmla="*/ 24 w 185"/>
                  <a:gd name="T69" fmla="*/ 144 h 233"/>
                  <a:gd name="T70" fmla="*/ 24 w 185"/>
                  <a:gd name="T71"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5" h="233">
                    <a:moveTo>
                      <a:pt x="180" y="159"/>
                    </a:moveTo>
                    <a:cubicBezTo>
                      <a:pt x="167" y="152"/>
                      <a:pt x="167" y="152"/>
                      <a:pt x="167" y="152"/>
                    </a:cubicBezTo>
                    <a:cubicBezTo>
                      <a:pt x="169" y="145"/>
                      <a:pt x="169" y="145"/>
                      <a:pt x="169" y="145"/>
                    </a:cubicBezTo>
                    <a:cubicBezTo>
                      <a:pt x="160" y="140"/>
                      <a:pt x="160" y="140"/>
                      <a:pt x="160" y="140"/>
                    </a:cubicBezTo>
                    <a:cubicBezTo>
                      <a:pt x="157" y="128"/>
                      <a:pt x="157" y="128"/>
                      <a:pt x="157" y="128"/>
                    </a:cubicBezTo>
                    <a:cubicBezTo>
                      <a:pt x="166" y="120"/>
                      <a:pt x="166" y="120"/>
                      <a:pt x="166" y="120"/>
                    </a:cubicBezTo>
                    <a:cubicBezTo>
                      <a:pt x="168" y="106"/>
                      <a:pt x="168" y="106"/>
                      <a:pt x="168" y="106"/>
                    </a:cubicBezTo>
                    <a:cubicBezTo>
                      <a:pt x="161" y="102"/>
                      <a:pt x="161" y="102"/>
                      <a:pt x="161" y="102"/>
                    </a:cubicBezTo>
                    <a:cubicBezTo>
                      <a:pt x="168" y="94"/>
                      <a:pt x="168" y="94"/>
                      <a:pt x="168" y="94"/>
                    </a:cubicBezTo>
                    <a:cubicBezTo>
                      <a:pt x="171" y="88"/>
                      <a:pt x="171" y="88"/>
                      <a:pt x="171" y="88"/>
                    </a:cubicBezTo>
                    <a:cubicBezTo>
                      <a:pt x="155" y="84"/>
                      <a:pt x="155" y="84"/>
                      <a:pt x="155" y="84"/>
                    </a:cubicBezTo>
                    <a:cubicBezTo>
                      <a:pt x="139" y="91"/>
                      <a:pt x="139" y="91"/>
                      <a:pt x="139" y="91"/>
                    </a:cubicBezTo>
                    <a:cubicBezTo>
                      <a:pt x="133" y="84"/>
                      <a:pt x="133" y="84"/>
                      <a:pt x="133" y="84"/>
                    </a:cubicBezTo>
                    <a:cubicBezTo>
                      <a:pt x="117" y="82"/>
                      <a:pt x="117" y="82"/>
                      <a:pt x="117" y="82"/>
                    </a:cubicBezTo>
                    <a:cubicBezTo>
                      <a:pt x="112" y="71"/>
                      <a:pt x="112" y="71"/>
                      <a:pt x="112" y="71"/>
                    </a:cubicBezTo>
                    <a:cubicBezTo>
                      <a:pt x="112" y="71"/>
                      <a:pt x="117" y="62"/>
                      <a:pt x="115" y="56"/>
                    </a:cubicBezTo>
                    <a:cubicBezTo>
                      <a:pt x="113" y="50"/>
                      <a:pt x="101" y="49"/>
                      <a:pt x="99" y="54"/>
                    </a:cubicBezTo>
                    <a:cubicBezTo>
                      <a:pt x="97" y="59"/>
                      <a:pt x="91" y="48"/>
                      <a:pt x="91" y="48"/>
                    </a:cubicBezTo>
                    <a:cubicBezTo>
                      <a:pt x="83" y="25"/>
                      <a:pt x="83" y="25"/>
                      <a:pt x="83" y="25"/>
                    </a:cubicBezTo>
                    <a:cubicBezTo>
                      <a:pt x="77" y="27"/>
                      <a:pt x="77" y="27"/>
                      <a:pt x="77" y="27"/>
                    </a:cubicBezTo>
                    <a:cubicBezTo>
                      <a:pt x="62" y="13"/>
                      <a:pt x="62" y="13"/>
                      <a:pt x="62" y="13"/>
                    </a:cubicBezTo>
                    <a:cubicBezTo>
                      <a:pt x="48" y="6"/>
                      <a:pt x="48" y="6"/>
                      <a:pt x="48" y="6"/>
                    </a:cubicBezTo>
                    <a:cubicBezTo>
                      <a:pt x="48" y="6"/>
                      <a:pt x="33" y="0"/>
                      <a:pt x="30" y="6"/>
                    </a:cubicBezTo>
                    <a:cubicBezTo>
                      <a:pt x="27" y="12"/>
                      <a:pt x="18" y="17"/>
                      <a:pt x="18" y="17"/>
                    </a:cubicBezTo>
                    <a:cubicBezTo>
                      <a:pt x="3" y="17"/>
                      <a:pt x="3" y="17"/>
                      <a:pt x="3" y="17"/>
                    </a:cubicBezTo>
                    <a:cubicBezTo>
                      <a:pt x="0" y="21"/>
                      <a:pt x="0" y="21"/>
                      <a:pt x="0" y="21"/>
                    </a:cubicBezTo>
                    <a:cubicBezTo>
                      <a:pt x="2" y="22"/>
                      <a:pt x="2" y="22"/>
                      <a:pt x="2" y="22"/>
                    </a:cubicBezTo>
                    <a:cubicBezTo>
                      <a:pt x="6" y="40"/>
                      <a:pt x="6" y="40"/>
                      <a:pt x="6" y="40"/>
                    </a:cubicBezTo>
                    <a:cubicBezTo>
                      <a:pt x="11" y="41"/>
                      <a:pt x="11" y="41"/>
                      <a:pt x="11" y="41"/>
                    </a:cubicBezTo>
                    <a:cubicBezTo>
                      <a:pt x="8" y="53"/>
                      <a:pt x="8" y="53"/>
                      <a:pt x="8" y="53"/>
                    </a:cubicBezTo>
                    <a:cubicBezTo>
                      <a:pt x="8" y="53"/>
                      <a:pt x="24" y="56"/>
                      <a:pt x="25" y="59"/>
                    </a:cubicBezTo>
                    <a:cubicBezTo>
                      <a:pt x="26" y="62"/>
                      <a:pt x="12" y="65"/>
                      <a:pt x="12" y="65"/>
                    </a:cubicBezTo>
                    <a:cubicBezTo>
                      <a:pt x="10" y="72"/>
                      <a:pt x="10" y="72"/>
                      <a:pt x="10" y="72"/>
                    </a:cubicBezTo>
                    <a:cubicBezTo>
                      <a:pt x="5" y="72"/>
                      <a:pt x="5" y="72"/>
                      <a:pt x="5" y="72"/>
                    </a:cubicBezTo>
                    <a:cubicBezTo>
                      <a:pt x="8" y="77"/>
                      <a:pt x="8" y="77"/>
                      <a:pt x="8" y="77"/>
                    </a:cubicBezTo>
                    <a:cubicBezTo>
                      <a:pt x="8" y="77"/>
                      <a:pt x="27" y="71"/>
                      <a:pt x="27" y="76"/>
                    </a:cubicBezTo>
                    <a:cubicBezTo>
                      <a:pt x="27" y="81"/>
                      <a:pt x="15" y="95"/>
                      <a:pt x="15" y="95"/>
                    </a:cubicBezTo>
                    <a:cubicBezTo>
                      <a:pt x="15" y="106"/>
                      <a:pt x="15" y="106"/>
                      <a:pt x="15" y="106"/>
                    </a:cubicBezTo>
                    <a:cubicBezTo>
                      <a:pt x="15" y="106"/>
                      <a:pt x="19" y="103"/>
                      <a:pt x="26" y="105"/>
                    </a:cubicBezTo>
                    <a:cubicBezTo>
                      <a:pt x="33" y="107"/>
                      <a:pt x="37" y="118"/>
                      <a:pt x="37" y="118"/>
                    </a:cubicBezTo>
                    <a:cubicBezTo>
                      <a:pt x="23" y="120"/>
                      <a:pt x="23" y="120"/>
                      <a:pt x="23" y="120"/>
                    </a:cubicBezTo>
                    <a:cubicBezTo>
                      <a:pt x="23" y="120"/>
                      <a:pt x="37" y="133"/>
                      <a:pt x="35" y="140"/>
                    </a:cubicBezTo>
                    <a:cubicBezTo>
                      <a:pt x="34" y="142"/>
                      <a:pt x="33" y="143"/>
                      <a:pt x="31" y="143"/>
                    </a:cubicBezTo>
                    <a:cubicBezTo>
                      <a:pt x="41" y="153"/>
                      <a:pt x="41" y="153"/>
                      <a:pt x="41" y="153"/>
                    </a:cubicBezTo>
                    <a:cubicBezTo>
                      <a:pt x="50" y="160"/>
                      <a:pt x="50" y="160"/>
                      <a:pt x="50" y="160"/>
                    </a:cubicBezTo>
                    <a:cubicBezTo>
                      <a:pt x="58" y="174"/>
                      <a:pt x="58" y="174"/>
                      <a:pt x="58" y="174"/>
                    </a:cubicBezTo>
                    <a:cubicBezTo>
                      <a:pt x="64" y="170"/>
                      <a:pt x="64" y="170"/>
                      <a:pt x="64" y="170"/>
                    </a:cubicBezTo>
                    <a:cubicBezTo>
                      <a:pt x="65" y="199"/>
                      <a:pt x="65" y="199"/>
                      <a:pt x="65" y="199"/>
                    </a:cubicBezTo>
                    <a:cubicBezTo>
                      <a:pt x="63" y="196"/>
                      <a:pt x="63" y="196"/>
                      <a:pt x="63" y="196"/>
                    </a:cubicBezTo>
                    <a:cubicBezTo>
                      <a:pt x="71" y="211"/>
                      <a:pt x="71" y="211"/>
                      <a:pt x="71" y="211"/>
                    </a:cubicBezTo>
                    <a:cubicBezTo>
                      <a:pt x="80" y="211"/>
                      <a:pt x="80" y="211"/>
                      <a:pt x="80" y="211"/>
                    </a:cubicBezTo>
                    <a:cubicBezTo>
                      <a:pt x="84" y="221"/>
                      <a:pt x="84" y="221"/>
                      <a:pt x="84" y="221"/>
                    </a:cubicBezTo>
                    <a:cubicBezTo>
                      <a:pt x="84" y="233"/>
                      <a:pt x="84" y="233"/>
                      <a:pt x="84" y="233"/>
                    </a:cubicBezTo>
                    <a:cubicBezTo>
                      <a:pt x="95" y="229"/>
                      <a:pt x="95" y="229"/>
                      <a:pt x="95" y="229"/>
                    </a:cubicBezTo>
                    <a:cubicBezTo>
                      <a:pt x="100" y="221"/>
                      <a:pt x="100" y="221"/>
                      <a:pt x="100" y="221"/>
                    </a:cubicBezTo>
                    <a:cubicBezTo>
                      <a:pt x="100" y="221"/>
                      <a:pt x="105" y="221"/>
                      <a:pt x="112" y="221"/>
                    </a:cubicBezTo>
                    <a:cubicBezTo>
                      <a:pt x="119" y="221"/>
                      <a:pt x="115" y="213"/>
                      <a:pt x="115" y="213"/>
                    </a:cubicBezTo>
                    <a:cubicBezTo>
                      <a:pt x="128" y="213"/>
                      <a:pt x="128" y="213"/>
                      <a:pt x="128" y="213"/>
                    </a:cubicBezTo>
                    <a:cubicBezTo>
                      <a:pt x="132" y="209"/>
                      <a:pt x="132" y="209"/>
                      <a:pt x="132" y="209"/>
                    </a:cubicBezTo>
                    <a:cubicBezTo>
                      <a:pt x="158" y="207"/>
                      <a:pt x="158" y="207"/>
                      <a:pt x="158" y="207"/>
                    </a:cubicBezTo>
                    <a:cubicBezTo>
                      <a:pt x="158" y="207"/>
                      <a:pt x="166" y="206"/>
                      <a:pt x="167" y="203"/>
                    </a:cubicBezTo>
                    <a:cubicBezTo>
                      <a:pt x="168" y="200"/>
                      <a:pt x="165" y="192"/>
                      <a:pt x="165" y="192"/>
                    </a:cubicBezTo>
                    <a:cubicBezTo>
                      <a:pt x="165" y="192"/>
                      <a:pt x="162" y="185"/>
                      <a:pt x="164" y="181"/>
                    </a:cubicBezTo>
                    <a:cubicBezTo>
                      <a:pt x="166" y="177"/>
                      <a:pt x="177" y="180"/>
                      <a:pt x="177" y="180"/>
                    </a:cubicBezTo>
                    <a:cubicBezTo>
                      <a:pt x="177" y="180"/>
                      <a:pt x="181" y="173"/>
                      <a:pt x="183" y="169"/>
                    </a:cubicBezTo>
                    <a:cubicBezTo>
                      <a:pt x="185" y="165"/>
                      <a:pt x="180" y="159"/>
                      <a:pt x="180" y="159"/>
                    </a:cubicBezTo>
                    <a:close/>
                    <a:moveTo>
                      <a:pt x="24" y="144"/>
                    </a:moveTo>
                    <a:cubicBezTo>
                      <a:pt x="25" y="144"/>
                      <a:pt x="26" y="144"/>
                      <a:pt x="27" y="144"/>
                    </a:cubicBezTo>
                    <a:cubicBezTo>
                      <a:pt x="26" y="144"/>
                      <a:pt x="25" y="144"/>
                      <a:pt x="24" y="144"/>
                    </a:cubicBezTo>
                    <a:close/>
                    <a:moveTo>
                      <a:pt x="24" y="144"/>
                    </a:moveTo>
                    <a:cubicBezTo>
                      <a:pt x="22" y="144"/>
                      <a:pt x="19" y="144"/>
                      <a:pt x="18" y="143"/>
                    </a:cubicBezTo>
                    <a:cubicBezTo>
                      <a:pt x="19" y="144"/>
                      <a:pt x="22" y="144"/>
                      <a:pt x="24" y="144"/>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06" name="Freeform 128">
                <a:extLst>
                  <a:ext uri="{FF2B5EF4-FFF2-40B4-BE49-F238E27FC236}">
                    <a16:creationId xmlns:a16="http://schemas.microsoft.com/office/drawing/2014/main" id="{5C7A3A6D-F74B-49A7-BCFA-0411529576CE}"/>
                  </a:ext>
                </a:extLst>
              </p:cNvPr>
              <p:cNvSpPr>
                <a:spLocks/>
              </p:cNvSpPr>
              <p:nvPr>
                <p:custDataLst>
                  <p:tags r:id="rId87"/>
                </p:custDataLst>
              </p:nvPr>
            </p:nvSpPr>
            <p:spPr bwMode="gray">
              <a:xfrm>
                <a:off x="5683217" y="4748231"/>
                <a:ext cx="246062" cy="412751"/>
              </a:xfrm>
              <a:custGeom>
                <a:avLst/>
                <a:gdLst>
                  <a:gd name="T0" fmla="*/ 88 w 409"/>
                  <a:gd name="T1" fmla="*/ 219 h 746"/>
                  <a:gd name="T2" fmla="*/ 104 w 409"/>
                  <a:gd name="T3" fmla="*/ 214 h 746"/>
                  <a:gd name="T4" fmla="*/ 134 w 409"/>
                  <a:gd name="T5" fmla="*/ 218 h 746"/>
                  <a:gd name="T6" fmla="*/ 134 w 409"/>
                  <a:gd name="T7" fmla="*/ 202 h 746"/>
                  <a:gd name="T8" fmla="*/ 173 w 409"/>
                  <a:gd name="T9" fmla="*/ 207 h 746"/>
                  <a:gd name="T10" fmla="*/ 186 w 409"/>
                  <a:gd name="T11" fmla="*/ 188 h 746"/>
                  <a:gd name="T12" fmla="*/ 216 w 409"/>
                  <a:gd name="T13" fmla="*/ 193 h 746"/>
                  <a:gd name="T14" fmla="*/ 214 w 409"/>
                  <a:gd name="T15" fmla="*/ 172 h 746"/>
                  <a:gd name="T16" fmla="*/ 223 w 409"/>
                  <a:gd name="T17" fmla="*/ 150 h 746"/>
                  <a:gd name="T18" fmla="*/ 225 w 409"/>
                  <a:gd name="T19" fmla="*/ 172 h 746"/>
                  <a:gd name="T20" fmla="*/ 230 w 409"/>
                  <a:gd name="T21" fmla="*/ 186 h 746"/>
                  <a:gd name="T22" fmla="*/ 239 w 409"/>
                  <a:gd name="T23" fmla="*/ 159 h 746"/>
                  <a:gd name="T24" fmla="*/ 244 w 409"/>
                  <a:gd name="T25" fmla="*/ 124 h 746"/>
                  <a:gd name="T26" fmla="*/ 255 w 409"/>
                  <a:gd name="T27" fmla="*/ 138 h 746"/>
                  <a:gd name="T28" fmla="*/ 269 w 409"/>
                  <a:gd name="T29" fmla="*/ 126 h 746"/>
                  <a:gd name="T30" fmla="*/ 271 w 409"/>
                  <a:gd name="T31" fmla="*/ 88 h 746"/>
                  <a:gd name="T32" fmla="*/ 288 w 409"/>
                  <a:gd name="T33" fmla="*/ 88 h 746"/>
                  <a:gd name="T34" fmla="*/ 312 w 409"/>
                  <a:gd name="T35" fmla="*/ 62 h 746"/>
                  <a:gd name="T36" fmla="*/ 315 w 409"/>
                  <a:gd name="T37" fmla="*/ 26 h 746"/>
                  <a:gd name="T38" fmla="*/ 336 w 409"/>
                  <a:gd name="T39" fmla="*/ 0 h 746"/>
                  <a:gd name="T40" fmla="*/ 372 w 409"/>
                  <a:gd name="T41" fmla="*/ 41 h 746"/>
                  <a:gd name="T42" fmla="*/ 372 w 409"/>
                  <a:gd name="T43" fmla="*/ 56 h 746"/>
                  <a:gd name="T44" fmla="*/ 395 w 409"/>
                  <a:gd name="T45" fmla="*/ 110 h 746"/>
                  <a:gd name="T46" fmla="*/ 382 w 409"/>
                  <a:gd name="T47" fmla="*/ 143 h 746"/>
                  <a:gd name="T48" fmla="*/ 402 w 409"/>
                  <a:gd name="T49" fmla="*/ 193 h 746"/>
                  <a:gd name="T50" fmla="*/ 375 w 409"/>
                  <a:gd name="T51" fmla="*/ 188 h 746"/>
                  <a:gd name="T52" fmla="*/ 354 w 409"/>
                  <a:gd name="T53" fmla="*/ 193 h 746"/>
                  <a:gd name="T54" fmla="*/ 358 w 409"/>
                  <a:gd name="T55" fmla="*/ 221 h 746"/>
                  <a:gd name="T56" fmla="*/ 333 w 409"/>
                  <a:gd name="T57" fmla="*/ 259 h 746"/>
                  <a:gd name="T58" fmla="*/ 338 w 409"/>
                  <a:gd name="T59" fmla="*/ 312 h 746"/>
                  <a:gd name="T60" fmla="*/ 267 w 409"/>
                  <a:gd name="T61" fmla="*/ 478 h 746"/>
                  <a:gd name="T62" fmla="*/ 211 w 409"/>
                  <a:gd name="T63" fmla="*/ 609 h 746"/>
                  <a:gd name="T64" fmla="*/ 189 w 409"/>
                  <a:gd name="T65" fmla="*/ 676 h 746"/>
                  <a:gd name="T66" fmla="*/ 149 w 409"/>
                  <a:gd name="T67" fmla="*/ 712 h 746"/>
                  <a:gd name="T68" fmla="*/ 133 w 409"/>
                  <a:gd name="T69" fmla="*/ 710 h 746"/>
                  <a:gd name="T70" fmla="*/ 60 w 409"/>
                  <a:gd name="T71" fmla="*/ 717 h 746"/>
                  <a:gd name="T72" fmla="*/ 28 w 409"/>
                  <a:gd name="T73" fmla="*/ 675 h 746"/>
                  <a:gd name="T74" fmla="*/ 41 w 409"/>
                  <a:gd name="T75" fmla="*/ 659 h 746"/>
                  <a:gd name="T76" fmla="*/ 5 w 409"/>
                  <a:gd name="T77" fmla="*/ 556 h 746"/>
                  <a:gd name="T78" fmla="*/ 39 w 409"/>
                  <a:gd name="T79" fmla="*/ 473 h 746"/>
                  <a:gd name="T80" fmla="*/ 79 w 409"/>
                  <a:gd name="T81" fmla="*/ 436 h 746"/>
                  <a:gd name="T82" fmla="*/ 71 w 409"/>
                  <a:gd name="T83" fmla="*/ 349 h 746"/>
                  <a:gd name="T84" fmla="*/ 67 w 409"/>
                  <a:gd name="T85" fmla="*/ 271 h 746"/>
                  <a:gd name="T86" fmla="*/ 94 w 409"/>
                  <a:gd name="T87" fmla="*/ 239 h 746"/>
                  <a:gd name="T88" fmla="*/ 88 w 409"/>
                  <a:gd name="T89" fmla="*/ 219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9" h="746">
                    <a:moveTo>
                      <a:pt x="88" y="219"/>
                    </a:moveTo>
                    <a:cubicBezTo>
                      <a:pt x="104" y="214"/>
                      <a:pt x="104" y="214"/>
                      <a:pt x="104" y="214"/>
                    </a:cubicBezTo>
                    <a:cubicBezTo>
                      <a:pt x="134" y="218"/>
                      <a:pt x="134" y="218"/>
                      <a:pt x="134" y="218"/>
                    </a:cubicBezTo>
                    <a:cubicBezTo>
                      <a:pt x="134" y="202"/>
                      <a:pt x="134" y="202"/>
                      <a:pt x="134" y="202"/>
                    </a:cubicBezTo>
                    <a:cubicBezTo>
                      <a:pt x="173" y="207"/>
                      <a:pt x="173" y="207"/>
                      <a:pt x="173" y="207"/>
                    </a:cubicBezTo>
                    <a:cubicBezTo>
                      <a:pt x="186" y="188"/>
                      <a:pt x="186" y="188"/>
                      <a:pt x="186" y="188"/>
                    </a:cubicBezTo>
                    <a:cubicBezTo>
                      <a:pt x="216" y="193"/>
                      <a:pt x="216" y="193"/>
                      <a:pt x="216" y="193"/>
                    </a:cubicBezTo>
                    <a:cubicBezTo>
                      <a:pt x="214" y="172"/>
                      <a:pt x="214" y="172"/>
                      <a:pt x="214" y="172"/>
                    </a:cubicBezTo>
                    <a:cubicBezTo>
                      <a:pt x="223" y="150"/>
                      <a:pt x="223" y="150"/>
                      <a:pt x="223" y="150"/>
                    </a:cubicBezTo>
                    <a:cubicBezTo>
                      <a:pt x="225" y="172"/>
                      <a:pt x="225" y="172"/>
                      <a:pt x="225" y="172"/>
                    </a:cubicBezTo>
                    <a:cubicBezTo>
                      <a:pt x="230" y="186"/>
                      <a:pt x="230" y="186"/>
                      <a:pt x="230" y="186"/>
                    </a:cubicBezTo>
                    <a:cubicBezTo>
                      <a:pt x="239" y="159"/>
                      <a:pt x="239" y="159"/>
                      <a:pt x="239" y="159"/>
                    </a:cubicBezTo>
                    <a:cubicBezTo>
                      <a:pt x="239" y="159"/>
                      <a:pt x="237" y="129"/>
                      <a:pt x="244" y="124"/>
                    </a:cubicBezTo>
                    <a:cubicBezTo>
                      <a:pt x="251" y="118"/>
                      <a:pt x="255" y="138"/>
                      <a:pt x="255" y="138"/>
                    </a:cubicBezTo>
                    <a:cubicBezTo>
                      <a:pt x="255" y="138"/>
                      <a:pt x="260" y="136"/>
                      <a:pt x="269" y="126"/>
                    </a:cubicBezTo>
                    <a:cubicBezTo>
                      <a:pt x="278" y="115"/>
                      <a:pt x="264" y="95"/>
                      <a:pt x="271" y="88"/>
                    </a:cubicBezTo>
                    <a:cubicBezTo>
                      <a:pt x="278" y="81"/>
                      <a:pt x="288" y="88"/>
                      <a:pt x="288" y="88"/>
                    </a:cubicBezTo>
                    <a:cubicBezTo>
                      <a:pt x="288" y="88"/>
                      <a:pt x="306" y="74"/>
                      <a:pt x="312" y="62"/>
                    </a:cubicBezTo>
                    <a:cubicBezTo>
                      <a:pt x="317" y="49"/>
                      <a:pt x="315" y="26"/>
                      <a:pt x="315" y="26"/>
                    </a:cubicBezTo>
                    <a:cubicBezTo>
                      <a:pt x="336" y="0"/>
                      <a:pt x="336" y="0"/>
                      <a:pt x="336" y="0"/>
                    </a:cubicBezTo>
                    <a:cubicBezTo>
                      <a:pt x="372" y="41"/>
                      <a:pt x="372" y="41"/>
                      <a:pt x="372" y="41"/>
                    </a:cubicBezTo>
                    <a:cubicBezTo>
                      <a:pt x="372" y="41"/>
                      <a:pt x="372" y="51"/>
                      <a:pt x="372" y="56"/>
                    </a:cubicBezTo>
                    <a:cubicBezTo>
                      <a:pt x="372" y="62"/>
                      <a:pt x="395" y="110"/>
                      <a:pt x="395" y="110"/>
                    </a:cubicBezTo>
                    <a:cubicBezTo>
                      <a:pt x="382" y="143"/>
                      <a:pt x="382" y="143"/>
                      <a:pt x="382" y="143"/>
                    </a:cubicBezTo>
                    <a:cubicBezTo>
                      <a:pt x="382" y="143"/>
                      <a:pt x="409" y="188"/>
                      <a:pt x="402" y="193"/>
                    </a:cubicBezTo>
                    <a:cubicBezTo>
                      <a:pt x="395" y="198"/>
                      <a:pt x="375" y="188"/>
                      <a:pt x="375" y="188"/>
                    </a:cubicBezTo>
                    <a:cubicBezTo>
                      <a:pt x="354" y="193"/>
                      <a:pt x="354" y="193"/>
                      <a:pt x="354" y="193"/>
                    </a:cubicBezTo>
                    <a:cubicBezTo>
                      <a:pt x="358" y="221"/>
                      <a:pt x="358" y="221"/>
                      <a:pt x="358" y="221"/>
                    </a:cubicBezTo>
                    <a:cubicBezTo>
                      <a:pt x="358" y="221"/>
                      <a:pt x="335" y="245"/>
                      <a:pt x="333" y="259"/>
                    </a:cubicBezTo>
                    <a:cubicBezTo>
                      <a:pt x="331" y="273"/>
                      <a:pt x="345" y="287"/>
                      <a:pt x="338" y="312"/>
                    </a:cubicBezTo>
                    <a:cubicBezTo>
                      <a:pt x="331" y="336"/>
                      <a:pt x="306" y="409"/>
                      <a:pt x="267" y="478"/>
                    </a:cubicBezTo>
                    <a:cubicBezTo>
                      <a:pt x="228" y="547"/>
                      <a:pt x="211" y="609"/>
                      <a:pt x="211" y="609"/>
                    </a:cubicBezTo>
                    <a:cubicBezTo>
                      <a:pt x="211" y="609"/>
                      <a:pt x="214" y="653"/>
                      <a:pt x="189" y="676"/>
                    </a:cubicBezTo>
                    <a:cubicBezTo>
                      <a:pt x="165" y="699"/>
                      <a:pt x="156" y="708"/>
                      <a:pt x="149" y="712"/>
                    </a:cubicBezTo>
                    <a:cubicBezTo>
                      <a:pt x="141" y="715"/>
                      <a:pt x="133" y="710"/>
                      <a:pt x="133" y="710"/>
                    </a:cubicBezTo>
                    <a:cubicBezTo>
                      <a:pt x="133" y="710"/>
                      <a:pt x="90" y="746"/>
                      <a:pt x="60" y="717"/>
                    </a:cubicBezTo>
                    <a:cubicBezTo>
                      <a:pt x="30" y="689"/>
                      <a:pt x="28" y="675"/>
                      <a:pt x="28" y="675"/>
                    </a:cubicBezTo>
                    <a:cubicBezTo>
                      <a:pt x="41" y="659"/>
                      <a:pt x="41" y="659"/>
                      <a:pt x="41" y="659"/>
                    </a:cubicBezTo>
                    <a:cubicBezTo>
                      <a:pt x="41" y="659"/>
                      <a:pt x="10" y="622"/>
                      <a:pt x="5" y="556"/>
                    </a:cubicBezTo>
                    <a:cubicBezTo>
                      <a:pt x="0" y="490"/>
                      <a:pt x="23" y="492"/>
                      <a:pt x="39" y="473"/>
                    </a:cubicBezTo>
                    <a:cubicBezTo>
                      <a:pt x="55" y="453"/>
                      <a:pt x="79" y="436"/>
                      <a:pt x="79" y="436"/>
                    </a:cubicBezTo>
                    <a:cubicBezTo>
                      <a:pt x="79" y="436"/>
                      <a:pt x="72" y="370"/>
                      <a:pt x="71" y="349"/>
                    </a:cubicBezTo>
                    <a:cubicBezTo>
                      <a:pt x="69" y="327"/>
                      <a:pt x="53" y="283"/>
                      <a:pt x="67" y="271"/>
                    </a:cubicBezTo>
                    <a:cubicBezTo>
                      <a:pt x="81" y="259"/>
                      <a:pt x="94" y="239"/>
                      <a:pt x="94" y="239"/>
                    </a:cubicBezTo>
                    <a:lnTo>
                      <a:pt x="88" y="219"/>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07" name="Freeform 129">
                <a:extLst>
                  <a:ext uri="{FF2B5EF4-FFF2-40B4-BE49-F238E27FC236}">
                    <a16:creationId xmlns:a16="http://schemas.microsoft.com/office/drawing/2014/main" id="{4F31C5E8-E62C-4EC1-AAB8-0CF2B83E1D99}"/>
                  </a:ext>
                </a:extLst>
              </p:cNvPr>
              <p:cNvSpPr>
                <a:spLocks/>
              </p:cNvSpPr>
              <p:nvPr>
                <p:custDataLst>
                  <p:tags r:id="rId88"/>
                </p:custDataLst>
              </p:nvPr>
            </p:nvSpPr>
            <p:spPr bwMode="gray">
              <a:xfrm>
                <a:off x="4014764" y="3559188"/>
                <a:ext cx="239711" cy="190501"/>
              </a:xfrm>
              <a:custGeom>
                <a:avLst/>
                <a:gdLst>
                  <a:gd name="T0" fmla="*/ 364 w 401"/>
                  <a:gd name="T1" fmla="*/ 0 h 343"/>
                  <a:gd name="T2" fmla="*/ 192 w 401"/>
                  <a:gd name="T3" fmla="*/ 0 h 343"/>
                  <a:gd name="T4" fmla="*/ 186 w 401"/>
                  <a:gd name="T5" fmla="*/ 12 h 343"/>
                  <a:gd name="T6" fmla="*/ 176 w 401"/>
                  <a:gd name="T7" fmla="*/ 47 h 343"/>
                  <a:gd name="T8" fmla="*/ 160 w 401"/>
                  <a:gd name="T9" fmla="*/ 61 h 343"/>
                  <a:gd name="T10" fmla="*/ 140 w 401"/>
                  <a:gd name="T11" fmla="*/ 66 h 343"/>
                  <a:gd name="T12" fmla="*/ 125 w 401"/>
                  <a:gd name="T13" fmla="*/ 72 h 343"/>
                  <a:gd name="T14" fmla="*/ 123 w 401"/>
                  <a:gd name="T15" fmla="*/ 97 h 343"/>
                  <a:gd name="T16" fmla="*/ 104 w 401"/>
                  <a:gd name="T17" fmla="*/ 122 h 343"/>
                  <a:gd name="T18" fmla="*/ 108 w 401"/>
                  <a:gd name="T19" fmla="*/ 158 h 343"/>
                  <a:gd name="T20" fmla="*/ 92 w 401"/>
                  <a:gd name="T21" fmla="*/ 171 h 343"/>
                  <a:gd name="T22" fmla="*/ 78 w 401"/>
                  <a:gd name="T23" fmla="*/ 190 h 343"/>
                  <a:gd name="T24" fmla="*/ 58 w 401"/>
                  <a:gd name="T25" fmla="*/ 201 h 343"/>
                  <a:gd name="T26" fmla="*/ 52 w 401"/>
                  <a:gd name="T27" fmla="*/ 212 h 343"/>
                  <a:gd name="T28" fmla="*/ 60 w 401"/>
                  <a:gd name="T29" fmla="*/ 216 h 343"/>
                  <a:gd name="T30" fmla="*/ 45 w 401"/>
                  <a:gd name="T31" fmla="*/ 237 h 343"/>
                  <a:gd name="T32" fmla="*/ 41 w 401"/>
                  <a:gd name="T33" fmla="*/ 259 h 343"/>
                  <a:gd name="T34" fmla="*/ 32 w 401"/>
                  <a:gd name="T35" fmla="*/ 259 h 343"/>
                  <a:gd name="T36" fmla="*/ 31 w 401"/>
                  <a:gd name="T37" fmla="*/ 281 h 343"/>
                  <a:gd name="T38" fmla="*/ 18 w 401"/>
                  <a:gd name="T39" fmla="*/ 286 h 343"/>
                  <a:gd name="T40" fmla="*/ 1 w 401"/>
                  <a:gd name="T41" fmla="*/ 318 h 343"/>
                  <a:gd name="T42" fmla="*/ 0 w 401"/>
                  <a:gd name="T43" fmla="*/ 343 h 343"/>
                  <a:gd name="T44" fmla="*/ 186 w 401"/>
                  <a:gd name="T45" fmla="*/ 341 h 343"/>
                  <a:gd name="T46" fmla="*/ 187 w 401"/>
                  <a:gd name="T47" fmla="*/ 272 h 343"/>
                  <a:gd name="T48" fmla="*/ 189 w 401"/>
                  <a:gd name="T49" fmla="*/ 247 h 343"/>
                  <a:gd name="T50" fmla="*/ 208 w 401"/>
                  <a:gd name="T51" fmla="*/ 236 h 343"/>
                  <a:gd name="T52" fmla="*/ 235 w 401"/>
                  <a:gd name="T53" fmla="*/ 231 h 343"/>
                  <a:gd name="T54" fmla="*/ 238 w 401"/>
                  <a:gd name="T55" fmla="*/ 101 h 343"/>
                  <a:gd name="T56" fmla="*/ 243 w 401"/>
                  <a:gd name="T57" fmla="*/ 98 h 343"/>
                  <a:gd name="T58" fmla="*/ 243 w 401"/>
                  <a:gd name="T59" fmla="*/ 88 h 343"/>
                  <a:gd name="T60" fmla="*/ 391 w 401"/>
                  <a:gd name="T61" fmla="*/ 87 h 343"/>
                  <a:gd name="T62" fmla="*/ 392 w 401"/>
                  <a:gd name="T63" fmla="*/ 62 h 343"/>
                  <a:gd name="T64" fmla="*/ 397 w 401"/>
                  <a:gd name="T65" fmla="*/ 58 h 343"/>
                  <a:gd name="T66" fmla="*/ 401 w 401"/>
                  <a:gd name="T67" fmla="*/ 2 h 343"/>
                  <a:gd name="T68" fmla="*/ 364 w 401"/>
                  <a:gd name="T69"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1" h="343">
                    <a:moveTo>
                      <a:pt x="364" y="0"/>
                    </a:moveTo>
                    <a:cubicBezTo>
                      <a:pt x="192" y="0"/>
                      <a:pt x="192" y="0"/>
                      <a:pt x="192" y="0"/>
                    </a:cubicBezTo>
                    <a:cubicBezTo>
                      <a:pt x="190" y="3"/>
                      <a:pt x="188" y="8"/>
                      <a:pt x="186" y="12"/>
                    </a:cubicBezTo>
                    <a:cubicBezTo>
                      <a:pt x="181" y="25"/>
                      <a:pt x="176" y="47"/>
                      <a:pt x="176" y="47"/>
                    </a:cubicBezTo>
                    <a:cubicBezTo>
                      <a:pt x="176" y="47"/>
                      <a:pt x="164" y="57"/>
                      <a:pt x="160" y="61"/>
                    </a:cubicBezTo>
                    <a:cubicBezTo>
                      <a:pt x="156" y="65"/>
                      <a:pt x="140" y="66"/>
                      <a:pt x="140" y="66"/>
                    </a:cubicBezTo>
                    <a:cubicBezTo>
                      <a:pt x="140" y="66"/>
                      <a:pt x="129" y="63"/>
                      <a:pt x="125" y="72"/>
                    </a:cubicBezTo>
                    <a:cubicBezTo>
                      <a:pt x="121" y="81"/>
                      <a:pt x="123" y="97"/>
                      <a:pt x="123" y="97"/>
                    </a:cubicBezTo>
                    <a:cubicBezTo>
                      <a:pt x="123" y="97"/>
                      <a:pt x="104" y="116"/>
                      <a:pt x="104" y="122"/>
                    </a:cubicBezTo>
                    <a:cubicBezTo>
                      <a:pt x="104" y="128"/>
                      <a:pt x="115" y="145"/>
                      <a:pt x="108" y="158"/>
                    </a:cubicBezTo>
                    <a:cubicBezTo>
                      <a:pt x="101" y="171"/>
                      <a:pt x="92" y="171"/>
                      <a:pt x="92" y="171"/>
                    </a:cubicBezTo>
                    <a:cubicBezTo>
                      <a:pt x="92" y="171"/>
                      <a:pt x="83" y="185"/>
                      <a:pt x="78" y="190"/>
                    </a:cubicBezTo>
                    <a:cubicBezTo>
                      <a:pt x="73" y="195"/>
                      <a:pt x="62" y="197"/>
                      <a:pt x="58" y="201"/>
                    </a:cubicBezTo>
                    <a:cubicBezTo>
                      <a:pt x="54" y="205"/>
                      <a:pt x="52" y="212"/>
                      <a:pt x="52" y="212"/>
                    </a:cubicBezTo>
                    <a:cubicBezTo>
                      <a:pt x="60" y="216"/>
                      <a:pt x="60" y="216"/>
                      <a:pt x="60" y="216"/>
                    </a:cubicBezTo>
                    <a:cubicBezTo>
                      <a:pt x="60" y="216"/>
                      <a:pt x="49" y="227"/>
                      <a:pt x="45" y="237"/>
                    </a:cubicBezTo>
                    <a:cubicBezTo>
                      <a:pt x="41" y="247"/>
                      <a:pt x="41" y="259"/>
                      <a:pt x="41" y="259"/>
                    </a:cubicBezTo>
                    <a:cubicBezTo>
                      <a:pt x="32" y="259"/>
                      <a:pt x="32" y="259"/>
                      <a:pt x="32" y="259"/>
                    </a:cubicBezTo>
                    <a:cubicBezTo>
                      <a:pt x="32" y="259"/>
                      <a:pt x="42" y="271"/>
                      <a:pt x="31" y="281"/>
                    </a:cubicBezTo>
                    <a:cubicBezTo>
                      <a:pt x="20" y="291"/>
                      <a:pt x="18" y="286"/>
                      <a:pt x="18" y="286"/>
                    </a:cubicBezTo>
                    <a:cubicBezTo>
                      <a:pt x="18" y="286"/>
                      <a:pt x="1" y="304"/>
                      <a:pt x="1" y="318"/>
                    </a:cubicBezTo>
                    <a:cubicBezTo>
                      <a:pt x="1" y="325"/>
                      <a:pt x="1" y="335"/>
                      <a:pt x="0" y="343"/>
                    </a:cubicBezTo>
                    <a:cubicBezTo>
                      <a:pt x="186" y="341"/>
                      <a:pt x="186" y="341"/>
                      <a:pt x="186" y="341"/>
                    </a:cubicBezTo>
                    <a:cubicBezTo>
                      <a:pt x="187" y="272"/>
                      <a:pt x="187" y="272"/>
                      <a:pt x="187" y="272"/>
                    </a:cubicBezTo>
                    <a:cubicBezTo>
                      <a:pt x="187" y="272"/>
                      <a:pt x="178" y="257"/>
                      <a:pt x="189" y="247"/>
                    </a:cubicBezTo>
                    <a:cubicBezTo>
                      <a:pt x="200" y="237"/>
                      <a:pt x="208" y="236"/>
                      <a:pt x="208" y="236"/>
                    </a:cubicBezTo>
                    <a:cubicBezTo>
                      <a:pt x="208" y="236"/>
                      <a:pt x="233" y="237"/>
                      <a:pt x="235" y="231"/>
                    </a:cubicBezTo>
                    <a:cubicBezTo>
                      <a:pt x="237" y="225"/>
                      <a:pt x="238" y="101"/>
                      <a:pt x="238" y="101"/>
                    </a:cubicBezTo>
                    <a:cubicBezTo>
                      <a:pt x="243" y="98"/>
                      <a:pt x="243" y="98"/>
                      <a:pt x="243" y="98"/>
                    </a:cubicBezTo>
                    <a:cubicBezTo>
                      <a:pt x="243" y="88"/>
                      <a:pt x="243" y="88"/>
                      <a:pt x="243" y="88"/>
                    </a:cubicBezTo>
                    <a:cubicBezTo>
                      <a:pt x="391" y="87"/>
                      <a:pt x="391" y="87"/>
                      <a:pt x="391" y="87"/>
                    </a:cubicBezTo>
                    <a:cubicBezTo>
                      <a:pt x="392" y="62"/>
                      <a:pt x="392" y="62"/>
                      <a:pt x="392" y="62"/>
                    </a:cubicBezTo>
                    <a:cubicBezTo>
                      <a:pt x="397" y="58"/>
                      <a:pt x="397" y="58"/>
                      <a:pt x="397" y="58"/>
                    </a:cubicBezTo>
                    <a:cubicBezTo>
                      <a:pt x="401" y="2"/>
                      <a:pt x="401" y="2"/>
                      <a:pt x="401" y="2"/>
                    </a:cubicBezTo>
                    <a:lnTo>
                      <a:pt x="364" y="0"/>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08" name="Freeform 130">
                <a:extLst>
                  <a:ext uri="{FF2B5EF4-FFF2-40B4-BE49-F238E27FC236}">
                    <a16:creationId xmlns:a16="http://schemas.microsoft.com/office/drawing/2014/main" id="{C6CB3118-171D-4406-AA99-EEA321B11A42}"/>
                  </a:ext>
                </a:extLst>
              </p:cNvPr>
              <p:cNvSpPr>
                <a:spLocks/>
              </p:cNvSpPr>
              <p:nvPr>
                <p:custDataLst>
                  <p:tags r:id="rId89"/>
                </p:custDataLst>
              </p:nvPr>
            </p:nvSpPr>
            <p:spPr bwMode="gray">
              <a:xfrm>
                <a:off x="4024290" y="4003690"/>
                <a:ext cx="74612" cy="57150"/>
              </a:xfrm>
              <a:custGeom>
                <a:avLst/>
                <a:gdLst>
                  <a:gd name="T0" fmla="*/ 85 w 125"/>
                  <a:gd name="T1" fmla="*/ 67 h 103"/>
                  <a:gd name="T2" fmla="*/ 102 w 125"/>
                  <a:gd name="T3" fmla="*/ 60 h 103"/>
                  <a:gd name="T4" fmla="*/ 124 w 125"/>
                  <a:gd name="T5" fmla="*/ 49 h 103"/>
                  <a:gd name="T6" fmla="*/ 108 w 125"/>
                  <a:gd name="T7" fmla="*/ 28 h 103"/>
                  <a:gd name="T8" fmla="*/ 124 w 125"/>
                  <a:gd name="T9" fmla="*/ 19 h 103"/>
                  <a:gd name="T10" fmla="*/ 123 w 125"/>
                  <a:gd name="T11" fmla="*/ 2 h 103"/>
                  <a:gd name="T12" fmla="*/ 56 w 125"/>
                  <a:gd name="T13" fmla="*/ 0 h 103"/>
                  <a:gd name="T14" fmla="*/ 39 w 125"/>
                  <a:gd name="T15" fmla="*/ 15 h 103"/>
                  <a:gd name="T16" fmla="*/ 12 w 125"/>
                  <a:gd name="T17" fmla="*/ 15 h 103"/>
                  <a:gd name="T18" fmla="*/ 4 w 125"/>
                  <a:gd name="T19" fmla="*/ 25 h 103"/>
                  <a:gd name="T20" fmla="*/ 0 w 125"/>
                  <a:gd name="T21" fmla="*/ 48 h 103"/>
                  <a:gd name="T22" fmla="*/ 15 w 125"/>
                  <a:gd name="T23" fmla="*/ 50 h 103"/>
                  <a:gd name="T24" fmla="*/ 46 w 125"/>
                  <a:gd name="T25" fmla="*/ 45 h 103"/>
                  <a:gd name="T26" fmla="*/ 63 w 125"/>
                  <a:gd name="T27" fmla="*/ 39 h 103"/>
                  <a:gd name="T28" fmla="*/ 63 w 125"/>
                  <a:gd name="T29" fmla="*/ 54 h 103"/>
                  <a:gd name="T30" fmla="*/ 37 w 125"/>
                  <a:gd name="T31" fmla="*/ 52 h 103"/>
                  <a:gd name="T32" fmla="*/ 42 w 125"/>
                  <a:gd name="T33" fmla="*/ 68 h 103"/>
                  <a:gd name="T34" fmla="*/ 63 w 125"/>
                  <a:gd name="T35" fmla="*/ 63 h 103"/>
                  <a:gd name="T36" fmla="*/ 39 w 125"/>
                  <a:gd name="T37" fmla="*/ 75 h 103"/>
                  <a:gd name="T38" fmla="*/ 58 w 125"/>
                  <a:gd name="T39" fmla="*/ 103 h 103"/>
                  <a:gd name="T40" fmla="*/ 63 w 125"/>
                  <a:gd name="T41" fmla="*/ 88 h 103"/>
                  <a:gd name="T42" fmla="*/ 72 w 125"/>
                  <a:gd name="T43" fmla="*/ 68 h 103"/>
                  <a:gd name="T44" fmla="*/ 85 w 125"/>
                  <a:gd name="T45" fmla="*/ 67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5" h="103">
                    <a:moveTo>
                      <a:pt x="85" y="67"/>
                    </a:moveTo>
                    <a:cubicBezTo>
                      <a:pt x="85" y="67"/>
                      <a:pt x="92" y="60"/>
                      <a:pt x="102" y="60"/>
                    </a:cubicBezTo>
                    <a:cubicBezTo>
                      <a:pt x="112" y="60"/>
                      <a:pt x="123" y="64"/>
                      <a:pt x="124" y="49"/>
                    </a:cubicBezTo>
                    <a:cubicBezTo>
                      <a:pt x="125" y="34"/>
                      <a:pt x="108" y="39"/>
                      <a:pt x="108" y="28"/>
                    </a:cubicBezTo>
                    <a:cubicBezTo>
                      <a:pt x="108" y="17"/>
                      <a:pt x="124" y="19"/>
                      <a:pt x="124" y="19"/>
                    </a:cubicBezTo>
                    <a:cubicBezTo>
                      <a:pt x="123" y="2"/>
                      <a:pt x="123" y="2"/>
                      <a:pt x="123" y="2"/>
                    </a:cubicBezTo>
                    <a:cubicBezTo>
                      <a:pt x="56" y="0"/>
                      <a:pt x="56" y="0"/>
                      <a:pt x="56" y="0"/>
                    </a:cubicBezTo>
                    <a:cubicBezTo>
                      <a:pt x="39" y="15"/>
                      <a:pt x="39" y="15"/>
                      <a:pt x="39" y="15"/>
                    </a:cubicBezTo>
                    <a:cubicBezTo>
                      <a:pt x="12" y="15"/>
                      <a:pt x="12" y="15"/>
                      <a:pt x="12" y="15"/>
                    </a:cubicBezTo>
                    <a:cubicBezTo>
                      <a:pt x="4" y="25"/>
                      <a:pt x="4" y="25"/>
                      <a:pt x="4" y="25"/>
                    </a:cubicBezTo>
                    <a:cubicBezTo>
                      <a:pt x="0" y="48"/>
                      <a:pt x="0" y="48"/>
                      <a:pt x="0" y="48"/>
                    </a:cubicBezTo>
                    <a:cubicBezTo>
                      <a:pt x="0" y="48"/>
                      <a:pt x="8" y="56"/>
                      <a:pt x="15" y="50"/>
                    </a:cubicBezTo>
                    <a:cubicBezTo>
                      <a:pt x="22" y="44"/>
                      <a:pt x="46" y="45"/>
                      <a:pt x="46" y="45"/>
                    </a:cubicBezTo>
                    <a:cubicBezTo>
                      <a:pt x="63" y="39"/>
                      <a:pt x="63" y="39"/>
                      <a:pt x="63" y="39"/>
                    </a:cubicBezTo>
                    <a:cubicBezTo>
                      <a:pt x="63" y="54"/>
                      <a:pt x="63" y="54"/>
                      <a:pt x="63" y="54"/>
                    </a:cubicBezTo>
                    <a:cubicBezTo>
                      <a:pt x="63" y="54"/>
                      <a:pt x="39" y="42"/>
                      <a:pt x="37" y="52"/>
                    </a:cubicBezTo>
                    <a:cubicBezTo>
                      <a:pt x="35" y="62"/>
                      <a:pt x="42" y="68"/>
                      <a:pt x="42" y="68"/>
                    </a:cubicBezTo>
                    <a:cubicBezTo>
                      <a:pt x="63" y="63"/>
                      <a:pt x="63" y="63"/>
                      <a:pt x="63" y="63"/>
                    </a:cubicBezTo>
                    <a:cubicBezTo>
                      <a:pt x="39" y="75"/>
                      <a:pt x="39" y="75"/>
                      <a:pt x="39" y="75"/>
                    </a:cubicBezTo>
                    <a:cubicBezTo>
                      <a:pt x="58" y="103"/>
                      <a:pt x="58" y="103"/>
                      <a:pt x="58" y="103"/>
                    </a:cubicBezTo>
                    <a:cubicBezTo>
                      <a:pt x="63" y="88"/>
                      <a:pt x="63" y="88"/>
                      <a:pt x="63" y="88"/>
                    </a:cubicBezTo>
                    <a:cubicBezTo>
                      <a:pt x="72" y="68"/>
                      <a:pt x="72" y="68"/>
                      <a:pt x="72" y="68"/>
                    </a:cubicBezTo>
                    <a:lnTo>
                      <a:pt x="85" y="67"/>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09" name="Freeform 131">
                <a:extLst>
                  <a:ext uri="{FF2B5EF4-FFF2-40B4-BE49-F238E27FC236}">
                    <a16:creationId xmlns:a16="http://schemas.microsoft.com/office/drawing/2014/main" id="{04510415-C1BA-4A1E-B233-53ACF494C741}"/>
                  </a:ext>
                </a:extLst>
              </p:cNvPr>
              <p:cNvSpPr>
                <a:spLocks/>
              </p:cNvSpPr>
              <p:nvPr>
                <p:custDataLst>
                  <p:tags r:id="rId90"/>
                </p:custDataLst>
              </p:nvPr>
            </p:nvSpPr>
            <p:spPr bwMode="gray">
              <a:xfrm>
                <a:off x="4011589" y="3970353"/>
                <a:ext cx="92074" cy="22225"/>
              </a:xfrm>
              <a:custGeom>
                <a:avLst/>
                <a:gdLst>
                  <a:gd name="T0" fmla="*/ 11 w 154"/>
                  <a:gd name="T1" fmla="*/ 15 h 39"/>
                  <a:gd name="T2" fmla="*/ 0 w 154"/>
                  <a:gd name="T3" fmla="*/ 37 h 39"/>
                  <a:gd name="T4" fmla="*/ 0 w 154"/>
                  <a:gd name="T5" fmla="*/ 39 h 39"/>
                  <a:gd name="T6" fmla="*/ 43 w 154"/>
                  <a:gd name="T7" fmla="*/ 39 h 39"/>
                  <a:gd name="T8" fmla="*/ 47 w 154"/>
                  <a:gd name="T9" fmla="*/ 30 h 39"/>
                  <a:gd name="T10" fmla="*/ 72 w 154"/>
                  <a:gd name="T11" fmla="*/ 27 h 39"/>
                  <a:gd name="T12" fmla="*/ 84 w 154"/>
                  <a:gd name="T13" fmla="*/ 15 h 39"/>
                  <a:gd name="T14" fmla="*/ 118 w 154"/>
                  <a:gd name="T15" fmla="*/ 34 h 39"/>
                  <a:gd name="T16" fmla="*/ 137 w 154"/>
                  <a:gd name="T17" fmla="*/ 15 h 39"/>
                  <a:gd name="T18" fmla="*/ 116 w 154"/>
                  <a:gd name="T19" fmla="*/ 20 h 39"/>
                  <a:gd name="T20" fmla="*/ 103 w 154"/>
                  <a:gd name="T21" fmla="*/ 8 h 39"/>
                  <a:gd name="T22" fmla="*/ 95 w 154"/>
                  <a:gd name="T23" fmla="*/ 10 h 39"/>
                  <a:gd name="T24" fmla="*/ 84 w 154"/>
                  <a:gd name="T25" fmla="*/ 2 h 39"/>
                  <a:gd name="T26" fmla="*/ 59 w 154"/>
                  <a:gd name="T27" fmla="*/ 3 h 39"/>
                  <a:gd name="T28" fmla="*/ 59 w 154"/>
                  <a:gd name="T29" fmla="*/ 13 h 39"/>
                  <a:gd name="T30" fmla="*/ 9 w 154"/>
                  <a:gd name="T31" fmla="*/ 13 h 39"/>
                  <a:gd name="T32" fmla="*/ 11 w 154"/>
                  <a:gd name="T33" fmla="*/ 1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39">
                    <a:moveTo>
                      <a:pt x="11" y="15"/>
                    </a:moveTo>
                    <a:cubicBezTo>
                      <a:pt x="11" y="15"/>
                      <a:pt x="1" y="30"/>
                      <a:pt x="0" y="37"/>
                    </a:cubicBezTo>
                    <a:cubicBezTo>
                      <a:pt x="0" y="38"/>
                      <a:pt x="0" y="38"/>
                      <a:pt x="0" y="39"/>
                    </a:cubicBezTo>
                    <a:cubicBezTo>
                      <a:pt x="11" y="39"/>
                      <a:pt x="41" y="39"/>
                      <a:pt x="43" y="39"/>
                    </a:cubicBezTo>
                    <a:cubicBezTo>
                      <a:pt x="46" y="39"/>
                      <a:pt x="47" y="30"/>
                      <a:pt x="47" y="30"/>
                    </a:cubicBezTo>
                    <a:cubicBezTo>
                      <a:pt x="47" y="30"/>
                      <a:pt x="66" y="28"/>
                      <a:pt x="72" y="27"/>
                    </a:cubicBezTo>
                    <a:cubicBezTo>
                      <a:pt x="78" y="26"/>
                      <a:pt x="84" y="15"/>
                      <a:pt x="84" y="15"/>
                    </a:cubicBezTo>
                    <a:cubicBezTo>
                      <a:pt x="84" y="15"/>
                      <a:pt x="100" y="34"/>
                      <a:pt x="118" y="34"/>
                    </a:cubicBezTo>
                    <a:cubicBezTo>
                      <a:pt x="136" y="34"/>
                      <a:pt x="154" y="19"/>
                      <a:pt x="137" y="15"/>
                    </a:cubicBezTo>
                    <a:cubicBezTo>
                      <a:pt x="120" y="11"/>
                      <a:pt x="121" y="21"/>
                      <a:pt x="116" y="20"/>
                    </a:cubicBezTo>
                    <a:cubicBezTo>
                      <a:pt x="111" y="19"/>
                      <a:pt x="103" y="8"/>
                      <a:pt x="103" y="8"/>
                    </a:cubicBezTo>
                    <a:cubicBezTo>
                      <a:pt x="95" y="10"/>
                      <a:pt x="95" y="10"/>
                      <a:pt x="95" y="10"/>
                    </a:cubicBezTo>
                    <a:cubicBezTo>
                      <a:pt x="95" y="10"/>
                      <a:pt x="97" y="0"/>
                      <a:pt x="84" y="2"/>
                    </a:cubicBezTo>
                    <a:cubicBezTo>
                      <a:pt x="71" y="4"/>
                      <a:pt x="59" y="3"/>
                      <a:pt x="59" y="3"/>
                    </a:cubicBezTo>
                    <a:cubicBezTo>
                      <a:pt x="59" y="13"/>
                      <a:pt x="59" y="13"/>
                      <a:pt x="59" y="13"/>
                    </a:cubicBezTo>
                    <a:cubicBezTo>
                      <a:pt x="9" y="13"/>
                      <a:pt x="9" y="13"/>
                      <a:pt x="9" y="13"/>
                    </a:cubicBezTo>
                    <a:cubicBezTo>
                      <a:pt x="10" y="14"/>
                      <a:pt x="11" y="15"/>
                      <a:pt x="11" y="15"/>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10" name="Freeform 132">
                <a:extLst>
                  <a:ext uri="{FF2B5EF4-FFF2-40B4-BE49-F238E27FC236}">
                    <a16:creationId xmlns:a16="http://schemas.microsoft.com/office/drawing/2014/main" id="{D6C914F8-3792-44E7-98D9-6C14FA51B3A0}"/>
                  </a:ext>
                </a:extLst>
              </p:cNvPr>
              <p:cNvSpPr>
                <a:spLocks/>
              </p:cNvSpPr>
              <p:nvPr>
                <p:custDataLst>
                  <p:tags r:id="rId91"/>
                </p:custDataLst>
              </p:nvPr>
            </p:nvSpPr>
            <p:spPr bwMode="gray">
              <a:xfrm>
                <a:off x="4149700" y="4124340"/>
                <a:ext cx="125412" cy="128589"/>
              </a:xfrm>
              <a:custGeom>
                <a:avLst/>
                <a:gdLst>
                  <a:gd name="T0" fmla="*/ 207 w 207"/>
                  <a:gd name="T1" fmla="*/ 175 h 236"/>
                  <a:gd name="T2" fmla="*/ 186 w 207"/>
                  <a:gd name="T3" fmla="*/ 146 h 236"/>
                  <a:gd name="T4" fmla="*/ 185 w 207"/>
                  <a:gd name="T5" fmla="*/ 129 h 236"/>
                  <a:gd name="T6" fmla="*/ 161 w 207"/>
                  <a:gd name="T7" fmla="*/ 133 h 236"/>
                  <a:gd name="T8" fmla="*/ 161 w 207"/>
                  <a:gd name="T9" fmla="*/ 123 h 236"/>
                  <a:gd name="T10" fmla="*/ 148 w 207"/>
                  <a:gd name="T11" fmla="*/ 121 h 236"/>
                  <a:gd name="T12" fmla="*/ 162 w 207"/>
                  <a:gd name="T13" fmla="*/ 89 h 236"/>
                  <a:gd name="T14" fmla="*/ 149 w 207"/>
                  <a:gd name="T15" fmla="*/ 55 h 236"/>
                  <a:gd name="T16" fmla="*/ 145 w 207"/>
                  <a:gd name="T17" fmla="*/ 56 h 236"/>
                  <a:gd name="T18" fmla="*/ 129 w 207"/>
                  <a:gd name="T19" fmla="*/ 82 h 236"/>
                  <a:gd name="T20" fmla="*/ 117 w 207"/>
                  <a:gd name="T21" fmla="*/ 72 h 236"/>
                  <a:gd name="T22" fmla="*/ 109 w 207"/>
                  <a:gd name="T23" fmla="*/ 72 h 236"/>
                  <a:gd name="T24" fmla="*/ 99 w 207"/>
                  <a:gd name="T25" fmla="*/ 13 h 236"/>
                  <a:gd name="T26" fmla="*/ 83 w 207"/>
                  <a:gd name="T27" fmla="*/ 18 h 236"/>
                  <a:gd name="T28" fmla="*/ 67 w 207"/>
                  <a:gd name="T29" fmla="*/ 14 h 236"/>
                  <a:gd name="T30" fmla="*/ 69 w 207"/>
                  <a:gd name="T31" fmla="*/ 31 h 236"/>
                  <a:gd name="T32" fmla="*/ 55 w 207"/>
                  <a:gd name="T33" fmla="*/ 34 h 236"/>
                  <a:gd name="T34" fmla="*/ 55 w 207"/>
                  <a:gd name="T35" fmla="*/ 48 h 236"/>
                  <a:gd name="T36" fmla="*/ 16 w 207"/>
                  <a:gd name="T37" fmla="*/ 82 h 236"/>
                  <a:gd name="T38" fmla="*/ 14 w 207"/>
                  <a:gd name="T39" fmla="*/ 105 h 236"/>
                  <a:gd name="T40" fmla="*/ 0 w 207"/>
                  <a:gd name="T41" fmla="*/ 89 h 236"/>
                  <a:gd name="T42" fmla="*/ 0 w 207"/>
                  <a:gd name="T43" fmla="*/ 89 h 236"/>
                  <a:gd name="T44" fmla="*/ 23 w 207"/>
                  <a:gd name="T45" fmla="*/ 115 h 236"/>
                  <a:gd name="T46" fmla="*/ 40 w 207"/>
                  <a:gd name="T47" fmla="*/ 117 h 236"/>
                  <a:gd name="T48" fmla="*/ 48 w 207"/>
                  <a:gd name="T49" fmla="*/ 135 h 236"/>
                  <a:gd name="T50" fmla="*/ 70 w 207"/>
                  <a:gd name="T51" fmla="*/ 139 h 236"/>
                  <a:gd name="T52" fmla="*/ 105 w 207"/>
                  <a:gd name="T53" fmla="*/ 187 h 236"/>
                  <a:gd name="T54" fmla="*/ 156 w 207"/>
                  <a:gd name="T55" fmla="*/ 213 h 236"/>
                  <a:gd name="T56" fmla="*/ 195 w 207"/>
                  <a:gd name="T57" fmla="*/ 236 h 236"/>
                  <a:gd name="T58" fmla="*/ 198 w 207"/>
                  <a:gd name="T59" fmla="*/ 236 h 236"/>
                  <a:gd name="T60" fmla="*/ 197 w 207"/>
                  <a:gd name="T61" fmla="*/ 209 h 236"/>
                  <a:gd name="T62" fmla="*/ 207 w 207"/>
                  <a:gd name="T63" fmla="*/ 17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7" h="236">
                    <a:moveTo>
                      <a:pt x="207" y="175"/>
                    </a:moveTo>
                    <a:cubicBezTo>
                      <a:pt x="207" y="162"/>
                      <a:pt x="186" y="146"/>
                      <a:pt x="186" y="146"/>
                    </a:cubicBezTo>
                    <a:cubicBezTo>
                      <a:pt x="185" y="129"/>
                      <a:pt x="185" y="129"/>
                      <a:pt x="185" y="129"/>
                    </a:cubicBezTo>
                    <a:cubicBezTo>
                      <a:pt x="161" y="133"/>
                      <a:pt x="161" y="133"/>
                      <a:pt x="161" y="133"/>
                    </a:cubicBezTo>
                    <a:cubicBezTo>
                      <a:pt x="161" y="123"/>
                      <a:pt x="161" y="123"/>
                      <a:pt x="161" y="123"/>
                    </a:cubicBezTo>
                    <a:cubicBezTo>
                      <a:pt x="161" y="123"/>
                      <a:pt x="149" y="124"/>
                      <a:pt x="148" y="121"/>
                    </a:cubicBezTo>
                    <a:cubicBezTo>
                      <a:pt x="147" y="118"/>
                      <a:pt x="162" y="104"/>
                      <a:pt x="162" y="89"/>
                    </a:cubicBezTo>
                    <a:cubicBezTo>
                      <a:pt x="162" y="79"/>
                      <a:pt x="154" y="65"/>
                      <a:pt x="149" y="55"/>
                    </a:cubicBezTo>
                    <a:cubicBezTo>
                      <a:pt x="147" y="55"/>
                      <a:pt x="146" y="55"/>
                      <a:pt x="145" y="56"/>
                    </a:cubicBezTo>
                    <a:cubicBezTo>
                      <a:pt x="140" y="60"/>
                      <a:pt x="140" y="82"/>
                      <a:pt x="129" y="82"/>
                    </a:cubicBezTo>
                    <a:cubicBezTo>
                      <a:pt x="118" y="82"/>
                      <a:pt x="117" y="72"/>
                      <a:pt x="117" y="72"/>
                    </a:cubicBezTo>
                    <a:cubicBezTo>
                      <a:pt x="109" y="72"/>
                      <a:pt x="109" y="72"/>
                      <a:pt x="109" y="72"/>
                    </a:cubicBezTo>
                    <a:cubicBezTo>
                      <a:pt x="109" y="72"/>
                      <a:pt x="118" y="26"/>
                      <a:pt x="99" y="13"/>
                    </a:cubicBezTo>
                    <a:cubicBezTo>
                      <a:pt x="80" y="0"/>
                      <a:pt x="83" y="18"/>
                      <a:pt x="83" y="18"/>
                    </a:cubicBezTo>
                    <a:cubicBezTo>
                      <a:pt x="67" y="14"/>
                      <a:pt x="67" y="14"/>
                      <a:pt x="67" y="14"/>
                    </a:cubicBezTo>
                    <a:cubicBezTo>
                      <a:pt x="69" y="31"/>
                      <a:pt x="69" y="31"/>
                      <a:pt x="69" y="31"/>
                    </a:cubicBezTo>
                    <a:cubicBezTo>
                      <a:pt x="55" y="34"/>
                      <a:pt x="55" y="34"/>
                      <a:pt x="55" y="34"/>
                    </a:cubicBezTo>
                    <a:cubicBezTo>
                      <a:pt x="55" y="34"/>
                      <a:pt x="59" y="38"/>
                      <a:pt x="55" y="48"/>
                    </a:cubicBezTo>
                    <a:cubicBezTo>
                      <a:pt x="51" y="58"/>
                      <a:pt x="17" y="75"/>
                      <a:pt x="16" y="82"/>
                    </a:cubicBezTo>
                    <a:cubicBezTo>
                      <a:pt x="15" y="86"/>
                      <a:pt x="15" y="97"/>
                      <a:pt x="14" y="105"/>
                    </a:cubicBezTo>
                    <a:cubicBezTo>
                      <a:pt x="0" y="89"/>
                      <a:pt x="0" y="89"/>
                      <a:pt x="0" y="89"/>
                    </a:cubicBezTo>
                    <a:cubicBezTo>
                      <a:pt x="0" y="89"/>
                      <a:pt x="0" y="89"/>
                      <a:pt x="0" y="89"/>
                    </a:cubicBezTo>
                    <a:cubicBezTo>
                      <a:pt x="23" y="115"/>
                      <a:pt x="23" y="115"/>
                      <a:pt x="23" y="115"/>
                    </a:cubicBezTo>
                    <a:cubicBezTo>
                      <a:pt x="40" y="117"/>
                      <a:pt x="40" y="117"/>
                      <a:pt x="40" y="117"/>
                    </a:cubicBezTo>
                    <a:cubicBezTo>
                      <a:pt x="48" y="135"/>
                      <a:pt x="48" y="135"/>
                      <a:pt x="48" y="135"/>
                    </a:cubicBezTo>
                    <a:cubicBezTo>
                      <a:pt x="48" y="135"/>
                      <a:pt x="66" y="131"/>
                      <a:pt x="70" y="139"/>
                    </a:cubicBezTo>
                    <a:cubicBezTo>
                      <a:pt x="74" y="147"/>
                      <a:pt x="89" y="173"/>
                      <a:pt x="105" y="187"/>
                    </a:cubicBezTo>
                    <a:cubicBezTo>
                      <a:pt x="121" y="201"/>
                      <a:pt x="149" y="208"/>
                      <a:pt x="156" y="213"/>
                    </a:cubicBezTo>
                    <a:cubicBezTo>
                      <a:pt x="163" y="218"/>
                      <a:pt x="180" y="236"/>
                      <a:pt x="195" y="236"/>
                    </a:cubicBezTo>
                    <a:cubicBezTo>
                      <a:pt x="196" y="236"/>
                      <a:pt x="197" y="236"/>
                      <a:pt x="198" y="236"/>
                    </a:cubicBezTo>
                    <a:cubicBezTo>
                      <a:pt x="197" y="209"/>
                      <a:pt x="197" y="209"/>
                      <a:pt x="197" y="209"/>
                    </a:cubicBezTo>
                    <a:cubicBezTo>
                      <a:pt x="197" y="209"/>
                      <a:pt x="207" y="188"/>
                      <a:pt x="207" y="175"/>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11" name="Freeform 133">
                <a:extLst>
                  <a:ext uri="{FF2B5EF4-FFF2-40B4-BE49-F238E27FC236}">
                    <a16:creationId xmlns:a16="http://schemas.microsoft.com/office/drawing/2014/main" id="{15CD4E94-F1B3-4D55-A998-3BF012378CE3}"/>
                  </a:ext>
                </a:extLst>
              </p:cNvPr>
              <p:cNvSpPr>
                <a:spLocks/>
              </p:cNvSpPr>
              <p:nvPr>
                <p:custDataLst>
                  <p:tags r:id="rId92"/>
                </p:custDataLst>
              </p:nvPr>
            </p:nvSpPr>
            <p:spPr bwMode="gray">
              <a:xfrm>
                <a:off x="4108427" y="4083065"/>
                <a:ext cx="84138" cy="98425"/>
              </a:xfrm>
              <a:custGeom>
                <a:avLst/>
                <a:gdLst>
                  <a:gd name="T0" fmla="*/ 126 w 140"/>
                  <a:gd name="T1" fmla="*/ 122 h 179"/>
                  <a:gd name="T2" fmla="*/ 126 w 140"/>
                  <a:gd name="T3" fmla="*/ 108 h 179"/>
                  <a:gd name="T4" fmla="*/ 140 w 140"/>
                  <a:gd name="T5" fmla="*/ 105 h 179"/>
                  <a:gd name="T6" fmla="*/ 138 w 140"/>
                  <a:gd name="T7" fmla="*/ 88 h 179"/>
                  <a:gd name="T8" fmla="*/ 119 w 140"/>
                  <a:gd name="T9" fmla="*/ 99 h 179"/>
                  <a:gd name="T10" fmla="*/ 120 w 140"/>
                  <a:gd name="T11" fmla="*/ 86 h 179"/>
                  <a:gd name="T12" fmla="*/ 131 w 140"/>
                  <a:gd name="T13" fmla="*/ 70 h 179"/>
                  <a:gd name="T14" fmla="*/ 120 w 140"/>
                  <a:gd name="T15" fmla="*/ 50 h 179"/>
                  <a:gd name="T16" fmla="*/ 123 w 140"/>
                  <a:gd name="T17" fmla="*/ 41 h 179"/>
                  <a:gd name="T18" fmla="*/ 95 w 140"/>
                  <a:gd name="T19" fmla="*/ 0 h 179"/>
                  <a:gd name="T20" fmla="*/ 69 w 140"/>
                  <a:gd name="T21" fmla="*/ 0 h 179"/>
                  <a:gd name="T22" fmla="*/ 65 w 140"/>
                  <a:gd name="T23" fmla="*/ 12 h 179"/>
                  <a:gd name="T24" fmla="*/ 40 w 140"/>
                  <a:gd name="T25" fmla="*/ 12 h 179"/>
                  <a:gd name="T26" fmla="*/ 9 w 140"/>
                  <a:gd name="T27" fmla="*/ 54 h 179"/>
                  <a:gd name="T28" fmla="*/ 0 w 140"/>
                  <a:gd name="T29" fmla="*/ 59 h 179"/>
                  <a:gd name="T30" fmla="*/ 9 w 140"/>
                  <a:gd name="T31" fmla="*/ 66 h 179"/>
                  <a:gd name="T32" fmla="*/ 1 w 140"/>
                  <a:gd name="T33" fmla="*/ 84 h 179"/>
                  <a:gd name="T34" fmla="*/ 16 w 140"/>
                  <a:gd name="T35" fmla="*/ 103 h 179"/>
                  <a:gd name="T36" fmla="*/ 15 w 140"/>
                  <a:gd name="T37" fmla="*/ 121 h 179"/>
                  <a:gd name="T38" fmla="*/ 29 w 140"/>
                  <a:gd name="T39" fmla="*/ 132 h 179"/>
                  <a:gd name="T40" fmla="*/ 37 w 140"/>
                  <a:gd name="T41" fmla="*/ 148 h 179"/>
                  <a:gd name="T42" fmla="*/ 65 w 140"/>
                  <a:gd name="T43" fmla="*/ 157 h 179"/>
                  <a:gd name="T44" fmla="*/ 85 w 140"/>
                  <a:gd name="T45" fmla="*/ 179 h 179"/>
                  <a:gd name="T46" fmla="*/ 87 w 140"/>
                  <a:gd name="T47" fmla="*/ 156 h 179"/>
                  <a:gd name="T48" fmla="*/ 126 w 140"/>
                  <a:gd name="T49" fmla="*/ 12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0" h="179">
                    <a:moveTo>
                      <a:pt x="126" y="122"/>
                    </a:moveTo>
                    <a:cubicBezTo>
                      <a:pt x="130" y="112"/>
                      <a:pt x="126" y="108"/>
                      <a:pt x="126" y="108"/>
                    </a:cubicBezTo>
                    <a:cubicBezTo>
                      <a:pt x="140" y="105"/>
                      <a:pt x="140" y="105"/>
                      <a:pt x="140" y="105"/>
                    </a:cubicBezTo>
                    <a:cubicBezTo>
                      <a:pt x="138" y="88"/>
                      <a:pt x="138" y="88"/>
                      <a:pt x="138" y="88"/>
                    </a:cubicBezTo>
                    <a:cubicBezTo>
                      <a:pt x="119" y="99"/>
                      <a:pt x="119" y="99"/>
                      <a:pt x="119" y="99"/>
                    </a:cubicBezTo>
                    <a:cubicBezTo>
                      <a:pt x="120" y="86"/>
                      <a:pt x="120" y="86"/>
                      <a:pt x="120" y="86"/>
                    </a:cubicBezTo>
                    <a:cubicBezTo>
                      <a:pt x="120" y="86"/>
                      <a:pt x="131" y="78"/>
                      <a:pt x="131" y="70"/>
                    </a:cubicBezTo>
                    <a:cubicBezTo>
                      <a:pt x="131" y="62"/>
                      <a:pt x="120" y="50"/>
                      <a:pt x="120" y="50"/>
                    </a:cubicBezTo>
                    <a:cubicBezTo>
                      <a:pt x="123" y="41"/>
                      <a:pt x="123" y="41"/>
                      <a:pt x="123" y="41"/>
                    </a:cubicBezTo>
                    <a:cubicBezTo>
                      <a:pt x="95" y="0"/>
                      <a:pt x="95" y="0"/>
                      <a:pt x="95" y="0"/>
                    </a:cubicBezTo>
                    <a:cubicBezTo>
                      <a:pt x="69" y="0"/>
                      <a:pt x="69" y="0"/>
                      <a:pt x="69" y="0"/>
                    </a:cubicBezTo>
                    <a:cubicBezTo>
                      <a:pt x="65" y="12"/>
                      <a:pt x="65" y="12"/>
                      <a:pt x="65" y="12"/>
                    </a:cubicBezTo>
                    <a:cubicBezTo>
                      <a:pt x="40" y="12"/>
                      <a:pt x="40" y="12"/>
                      <a:pt x="40" y="12"/>
                    </a:cubicBezTo>
                    <a:cubicBezTo>
                      <a:pt x="40" y="12"/>
                      <a:pt x="21" y="54"/>
                      <a:pt x="9" y="54"/>
                    </a:cubicBezTo>
                    <a:cubicBezTo>
                      <a:pt x="0" y="59"/>
                      <a:pt x="0" y="59"/>
                      <a:pt x="0" y="59"/>
                    </a:cubicBezTo>
                    <a:cubicBezTo>
                      <a:pt x="9" y="66"/>
                      <a:pt x="9" y="66"/>
                      <a:pt x="9" y="66"/>
                    </a:cubicBezTo>
                    <a:cubicBezTo>
                      <a:pt x="9" y="66"/>
                      <a:pt x="1" y="75"/>
                      <a:pt x="1" y="84"/>
                    </a:cubicBezTo>
                    <a:cubicBezTo>
                      <a:pt x="1" y="93"/>
                      <a:pt x="16" y="103"/>
                      <a:pt x="16" y="103"/>
                    </a:cubicBezTo>
                    <a:cubicBezTo>
                      <a:pt x="15" y="121"/>
                      <a:pt x="15" y="121"/>
                      <a:pt x="15" y="121"/>
                    </a:cubicBezTo>
                    <a:cubicBezTo>
                      <a:pt x="29" y="132"/>
                      <a:pt x="29" y="132"/>
                      <a:pt x="29" y="132"/>
                    </a:cubicBezTo>
                    <a:cubicBezTo>
                      <a:pt x="29" y="132"/>
                      <a:pt x="28" y="139"/>
                      <a:pt x="37" y="148"/>
                    </a:cubicBezTo>
                    <a:cubicBezTo>
                      <a:pt x="46" y="157"/>
                      <a:pt x="65" y="157"/>
                      <a:pt x="65" y="157"/>
                    </a:cubicBezTo>
                    <a:cubicBezTo>
                      <a:pt x="85" y="179"/>
                      <a:pt x="85" y="179"/>
                      <a:pt x="85" y="179"/>
                    </a:cubicBezTo>
                    <a:cubicBezTo>
                      <a:pt x="86" y="171"/>
                      <a:pt x="86" y="160"/>
                      <a:pt x="87" y="156"/>
                    </a:cubicBezTo>
                    <a:cubicBezTo>
                      <a:pt x="88" y="149"/>
                      <a:pt x="122" y="132"/>
                      <a:pt x="126" y="122"/>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12" name="Freeform 134">
                <a:extLst>
                  <a:ext uri="{FF2B5EF4-FFF2-40B4-BE49-F238E27FC236}">
                    <a16:creationId xmlns:a16="http://schemas.microsoft.com/office/drawing/2014/main" id="{90C67129-D6C4-426D-9BC6-DDB6E2187482}"/>
                  </a:ext>
                </a:extLst>
              </p:cNvPr>
              <p:cNvSpPr>
                <a:spLocks/>
              </p:cNvSpPr>
              <p:nvPr>
                <p:custDataLst>
                  <p:tags r:id="rId93"/>
                </p:custDataLst>
              </p:nvPr>
            </p:nvSpPr>
            <p:spPr bwMode="gray">
              <a:xfrm>
                <a:off x="5235545" y="5234007"/>
                <a:ext cx="66675" cy="61912"/>
              </a:xfrm>
              <a:custGeom>
                <a:avLst/>
                <a:gdLst>
                  <a:gd name="T0" fmla="*/ 0 w 111"/>
                  <a:gd name="T1" fmla="*/ 58 h 114"/>
                  <a:gd name="T2" fmla="*/ 17 w 111"/>
                  <a:gd name="T3" fmla="*/ 83 h 114"/>
                  <a:gd name="T4" fmla="*/ 17 w 111"/>
                  <a:gd name="T5" fmla="*/ 94 h 114"/>
                  <a:gd name="T6" fmla="*/ 35 w 111"/>
                  <a:gd name="T7" fmla="*/ 114 h 114"/>
                  <a:gd name="T8" fmla="*/ 50 w 111"/>
                  <a:gd name="T9" fmla="*/ 113 h 114"/>
                  <a:gd name="T10" fmla="*/ 61 w 111"/>
                  <a:gd name="T11" fmla="*/ 89 h 114"/>
                  <a:gd name="T12" fmla="*/ 82 w 111"/>
                  <a:gd name="T13" fmla="*/ 85 h 114"/>
                  <a:gd name="T14" fmla="*/ 99 w 111"/>
                  <a:gd name="T15" fmla="*/ 75 h 114"/>
                  <a:gd name="T16" fmla="*/ 96 w 111"/>
                  <a:gd name="T17" fmla="*/ 63 h 114"/>
                  <a:gd name="T18" fmla="*/ 111 w 111"/>
                  <a:gd name="T19" fmla="*/ 50 h 114"/>
                  <a:gd name="T20" fmla="*/ 110 w 111"/>
                  <a:gd name="T21" fmla="*/ 34 h 114"/>
                  <a:gd name="T22" fmla="*/ 100 w 111"/>
                  <a:gd name="T23" fmla="*/ 31 h 114"/>
                  <a:gd name="T24" fmla="*/ 83 w 111"/>
                  <a:gd name="T25" fmla="*/ 6 h 114"/>
                  <a:gd name="T26" fmla="*/ 62 w 111"/>
                  <a:gd name="T27" fmla="*/ 5 h 114"/>
                  <a:gd name="T28" fmla="*/ 54 w 111"/>
                  <a:gd name="T29" fmla="*/ 8 h 114"/>
                  <a:gd name="T30" fmla="*/ 53 w 111"/>
                  <a:gd name="T31" fmla="*/ 18 h 114"/>
                  <a:gd name="T32" fmla="*/ 38 w 111"/>
                  <a:gd name="T33" fmla="*/ 19 h 114"/>
                  <a:gd name="T34" fmla="*/ 31 w 111"/>
                  <a:gd name="T35" fmla="*/ 33 h 114"/>
                  <a:gd name="T36" fmla="*/ 19 w 111"/>
                  <a:gd name="T37" fmla="*/ 46 h 114"/>
                  <a:gd name="T38" fmla="*/ 17 w 111"/>
                  <a:gd name="T39" fmla="*/ 56 h 114"/>
                  <a:gd name="T40" fmla="*/ 0 w 111"/>
                  <a:gd name="T41" fmla="*/ 5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1" h="114">
                    <a:moveTo>
                      <a:pt x="0" y="58"/>
                    </a:moveTo>
                    <a:cubicBezTo>
                      <a:pt x="17" y="83"/>
                      <a:pt x="17" y="83"/>
                      <a:pt x="17" y="83"/>
                    </a:cubicBezTo>
                    <a:cubicBezTo>
                      <a:pt x="17" y="94"/>
                      <a:pt x="17" y="94"/>
                      <a:pt x="17" y="94"/>
                    </a:cubicBezTo>
                    <a:cubicBezTo>
                      <a:pt x="35" y="114"/>
                      <a:pt x="35" y="114"/>
                      <a:pt x="35" y="114"/>
                    </a:cubicBezTo>
                    <a:cubicBezTo>
                      <a:pt x="50" y="113"/>
                      <a:pt x="50" y="113"/>
                      <a:pt x="50" y="113"/>
                    </a:cubicBezTo>
                    <a:cubicBezTo>
                      <a:pt x="50" y="113"/>
                      <a:pt x="51" y="93"/>
                      <a:pt x="61" y="89"/>
                    </a:cubicBezTo>
                    <a:cubicBezTo>
                      <a:pt x="71" y="85"/>
                      <a:pt x="74" y="87"/>
                      <a:pt x="82" y="85"/>
                    </a:cubicBezTo>
                    <a:cubicBezTo>
                      <a:pt x="90" y="83"/>
                      <a:pt x="99" y="75"/>
                      <a:pt x="99" y="75"/>
                    </a:cubicBezTo>
                    <a:cubicBezTo>
                      <a:pt x="96" y="63"/>
                      <a:pt x="96" y="63"/>
                      <a:pt x="96" y="63"/>
                    </a:cubicBezTo>
                    <a:cubicBezTo>
                      <a:pt x="111" y="50"/>
                      <a:pt x="111" y="50"/>
                      <a:pt x="111" y="50"/>
                    </a:cubicBezTo>
                    <a:cubicBezTo>
                      <a:pt x="110" y="34"/>
                      <a:pt x="110" y="34"/>
                      <a:pt x="110" y="34"/>
                    </a:cubicBezTo>
                    <a:cubicBezTo>
                      <a:pt x="100" y="31"/>
                      <a:pt x="100" y="31"/>
                      <a:pt x="100" y="31"/>
                    </a:cubicBezTo>
                    <a:cubicBezTo>
                      <a:pt x="100" y="31"/>
                      <a:pt x="88" y="12"/>
                      <a:pt x="83" y="6"/>
                    </a:cubicBezTo>
                    <a:cubicBezTo>
                      <a:pt x="78" y="0"/>
                      <a:pt x="62" y="5"/>
                      <a:pt x="62" y="5"/>
                    </a:cubicBezTo>
                    <a:cubicBezTo>
                      <a:pt x="54" y="8"/>
                      <a:pt x="54" y="8"/>
                      <a:pt x="54" y="8"/>
                    </a:cubicBezTo>
                    <a:cubicBezTo>
                      <a:pt x="53" y="18"/>
                      <a:pt x="53" y="18"/>
                      <a:pt x="53" y="18"/>
                    </a:cubicBezTo>
                    <a:cubicBezTo>
                      <a:pt x="53" y="18"/>
                      <a:pt x="43" y="15"/>
                      <a:pt x="38" y="19"/>
                    </a:cubicBezTo>
                    <a:cubicBezTo>
                      <a:pt x="33" y="23"/>
                      <a:pt x="31" y="33"/>
                      <a:pt x="31" y="33"/>
                    </a:cubicBezTo>
                    <a:cubicBezTo>
                      <a:pt x="19" y="46"/>
                      <a:pt x="19" y="46"/>
                      <a:pt x="19" y="46"/>
                    </a:cubicBezTo>
                    <a:cubicBezTo>
                      <a:pt x="17" y="56"/>
                      <a:pt x="17" y="56"/>
                      <a:pt x="17" y="56"/>
                    </a:cubicBezTo>
                    <a:lnTo>
                      <a:pt x="0" y="58"/>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13" name="Freeform 135">
                <a:extLst>
                  <a:ext uri="{FF2B5EF4-FFF2-40B4-BE49-F238E27FC236}">
                    <a16:creationId xmlns:a16="http://schemas.microsoft.com/office/drawing/2014/main" id="{764088AE-9ACB-45B2-B6A6-B20174F01382}"/>
                  </a:ext>
                </a:extLst>
              </p:cNvPr>
              <p:cNvSpPr>
                <a:spLocks/>
              </p:cNvSpPr>
              <p:nvPr>
                <p:custDataLst>
                  <p:tags r:id="rId94"/>
                </p:custDataLst>
              </p:nvPr>
            </p:nvSpPr>
            <p:spPr bwMode="gray">
              <a:xfrm>
                <a:off x="4733898" y="4313254"/>
                <a:ext cx="166687" cy="188913"/>
              </a:xfrm>
              <a:custGeom>
                <a:avLst/>
                <a:gdLst>
                  <a:gd name="T0" fmla="*/ 261 w 281"/>
                  <a:gd name="T1" fmla="*/ 153 h 339"/>
                  <a:gd name="T2" fmla="*/ 244 w 281"/>
                  <a:gd name="T3" fmla="*/ 140 h 339"/>
                  <a:gd name="T4" fmla="*/ 254 w 281"/>
                  <a:gd name="T5" fmla="*/ 100 h 339"/>
                  <a:gd name="T6" fmla="*/ 273 w 281"/>
                  <a:gd name="T7" fmla="*/ 74 h 339"/>
                  <a:gd name="T8" fmla="*/ 263 w 281"/>
                  <a:gd name="T9" fmla="*/ 56 h 339"/>
                  <a:gd name="T10" fmla="*/ 229 w 281"/>
                  <a:gd name="T11" fmla="*/ 62 h 339"/>
                  <a:gd name="T12" fmla="*/ 210 w 281"/>
                  <a:gd name="T13" fmla="*/ 36 h 339"/>
                  <a:gd name="T14" fmla="*/ 220 w 281"/>
                  <a:gd name="T15" fmla="*/ 4 h 339"/>
                  <a:gd name="T16" fmla="*/ 177 w 281"/>
                  <a:gd name="T17" fmla="*/ 1 h 339"/>
                  <a:gd name="T18" fmla="*/ 147 w 281"/>
                  <a:gd name="T19" fmla="*/ 9 h 339"/>
                  <a:gd name="T20" fmla="*/ 125 w 281"/>
                  <a:gd name="T21" fmla="*/ 10 h 339"/>
                  <a:gd name="T22" fmla="*/ 128 w 281"/>
                  <a:gd name="T23" fmla="*/ 37 h 339"/>
                  <a:gd name="T24" fmla="*/ 56 w 281"/>
                  <a:gd name="T25" fmla="*/ 75 h 339"/>
                  <a:gd name="T26" fmla="*/ 46 w 281"/>
                  <a:gd name="T27" fmla="*/ 71 h 339"/>
                  <a:gd name="T28" fmla="*/ 40 w 281"/>
                  <a:gd name="T29" fmla="*/ 77 h 339"/>
                  <a:gd name="T30" fmla="*/ 30 w 281"/>
                  <a:gd name="T31" fmla="*/ 107 h 339"/>
                  <a:gd name="T32" fmla="*/ 0 w 281"/>
                  <a:gd name="T33" fmla="*/ 166 h 339"/>
                  <a:gd name="T34" fmla="*/ 28 w 281"/>
                  <a:gd name="T35" fmla="*/ 195 h 339"/>
                  <a:gd name="T36" fmla="*/ 27 w 281"/>
                  <a:gd name="T37" fmla="*/ 228 h 339"/>
                  <a:gd name="T38" fmla="*/ 46 w 281"/>
                  <a:gd name="T39" fmla="*/ 259 h 339"/>
                  <a:gd name="T40" fmla="*/ 61 w 281"/>
                  <a:gd name="T41" fmla="*/ 271 h 339"/>
                  <a:gd name="T42" fmla="*/ 91 w 281"/>
                  <a:gd name="T43" fmla="*/ 311 h 339"/>
                  <a:gd name="T44" fmla="*/ 114 w 281"/>
                  <a:gd name="T45" fmla="*/ 339 h 339"/>
                  <a:gd name="T46" fmla="*/ 133 w 281"/>
                  <a:gd name="T47" fmla="*/ 317 h 339"/>
                  <a:gd name="T48" fmla="*/ 152 w 281"/>
                  <a:gd name="T49" fmla="*/ 304 h 339"/>
                  <a:gd name="T50" fmla="*/ 149 w 281"/>
                  <a:gd name="T51" fmla="*/ 287 h 339"/>
                  <a:gd name="T52" fmla="*/ 139 w 281"/>
                  <a:gd name="T53" fmla="*/ 274 h 339"/>
                  <a:gd name="T54" fmla="*/ 172 w 281"/>
                  <a:gd name="T55" fmla="*/ 257 h 339"/>
                  <a:gd name="T56" fmla="*/ 178 w 281"/>
                  <a:gd name="T57" fmla="*/ 225 h 339"/>
                  <a:gd name="T58" fmla="*/ 204 w 281"/>
                  <a:gd name="T59" fmla="*/ 255 h 339"/>
                  <a:gd name="T60" fmla="*/ 241 w 281"/>
                  <a:gd name="T61" fmla="*/ 239 h 339"/>
                  <a:gd name="T62" fmla="*/ 260 w 281"/>
                  <a:gd name="T63" fmla="*/ 244 h 339"/>
                  <a:gd name="T64" fmla="*/ 269 w 281"/>
                  <a:gd name="T65" fmla="*/ 212 h 339"/>
                  <a:gd name="T66" fmla="*/ 272 w 281"/>
                  <a:gd name="T67" fmla="*/ 17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1" h="339">
                    <a:moveTo>
                      <a:pt x="279" y="160"/>
                    </a:moveTo>
                    <a:cubicBezTo>
                      <a:pt x="277" y="154"/>
                      <a:pt x="261" y="153"/>
                      <a:pt x="261" y="153"/>
                    </a:cubicBezTo>
                    <a:cubicBezTo>
                      <a:pt x="256" y="141"/>
                      <a:pt x="256" y="141"/>
                      <a:pt x="256" y="141"/>
                    </a:cubicBezTo>
                    <a:cubicBezTo>
                      <a:pt x="244" y="140"/>
                      <a:pt x="244" y="140"/>
                      <a:pt x="244" y="140"/>
                    </a:cubicBezTo>
                    <a:cubicBezTo>
                      <a:pt x="245" y="116"/>
                      <a:pt x="245" y="116"/>
                      <a:pt x="245" y="116"/>
                    </a:cubicBezTo>
                    <a:cubicBezTo>
                      <a:pt x="254" y="100"/>
                      <a:pt x="254" y="100"/>
                      <a:pt x="254" y="100"/>
                    </a:cubicBezTo>
                    <a:cubicBezTo>
                      <a:pt x="254" y="100"/>
                      <a:pt x="261" y="101"/>
                      <a:pt x="267" y="94"/>
                    </a:cubicBezTo>
                    <a:cubicBezTo>
                      <a:pt x="273" y="87"/>
                      <a:pt x="273" y="74"/>
                      <a:pt x="273" y="74"/>
                    </a:cubicBezTo>
                    <a:cubicBezTo>
                      <a:pt x="267" y="70"/>
                      <a:pt x="267" y="70"/>
                      <a:pt x="267" y="70"/>
                    </a:cubicBezTo>
                    <a:cubicBezTo>
                      <a:pt x="267" y="70"/>
                      <a:pt x="266" y="60"/>
                      <a:pt x="263" y="56"/>
                    </a:cubicBezTo>
                    <a:cubicBezTo>
                      <a:pt x="260" y="52"/>
                      <a:pt x="248" y="47"/>
                      <a:pt x="243" y="47"/>
                    </a:cubicBezTo>
                    <a:cubicBezTo>
                      <a:pt x="238" y="47"/>
                      <a:pt x="238" y="62"/>
                      <a:pt x="229" y="62"/>
                    </a:cubicBezTo>
                    <a:cubicBezTo>
                      <a:pt x="220" y="62"/>
                      <a:pt x="212" y="57"/>
                      <a:pt x="212" y="57"/>
                    </a:cubicBezTo>
                    <a:cubicBezTo>
                      <a:pt x="210" y="36"/>
                      <a:pt x="210" y="36"/>
                      <a:pt x="210" y="36"/>
                    </a:cubicBezTo>
                    <a:cubicBezTo>
                      <a:pt x="220" y="14"/>
                      <a:pt x="220" y="14"/>
                      <a:pt x="220" y="14"/>
                    </a:cubicBezTo>
                    <a:cubicBezTo>
                      <a:pt x="220" y="4"/>
                      <a:pt x="220" y="4"/>
                      <a:pt x="220" y="4"/>
                    </a:cubicBezTo>
                    <a:cubicBezTo>
                      <a:pt x="188" y="5"/>
                      <a:pt x="188" y="5"/>
                      <a:pt x="188" y="5"/>
                    </a:cubicBezTo>
                    <a:cubicBezTo>
                      <a:pt x="188" y="5"/>
                      <a:pt x="181" y="1"/>
                      <a:pt x="177" y="1"/>
                    </a:cubicBezTo>
                    <a:cubicBezTo>
                      <a:pt x="173" y="1"/>
                      <a:pt x="168" y="9"/>
                      <a:pt x="168" y="9"/>
                    </a:cubicBezTo>
                    <a:cubicBezTo>
                      <a:pt x="147" y="9"/>
                      <a:pt x="147" y="9"/>
                      <a:pt x="147" y="9"/>
                    </a:cubicBezTo>
                    <a:cubicBezTo>
                      <a:pt x="137" y="0"/>
                      <a:pt x="137" y="0"/>
                      <a:pt x="137" y="0"/>
                    </a:cubicBezTo>
                    <a:cubicBezTo>
                      <a:pt x="125" y="10"/>
                      <a:pt x="125" y="10"/>
                      <a:pt x="125" y="10"/>
                    </a:cubicBezTo>
                    <a:cubicBezTo>
                      <a:pt x="122" y="33"/>
                      <a:pt x="122" y="33"/>
                      <a:pt x="122" y="33"/>
                    </a:cubicBezTo>
                    <a:cubicBezTo>
                      <a:pt x="128" y="37"/>
                      <a:pt x="128" y="37"/>
                      <a:pt x="128" y="37"/>
                    </a:cubicBezTo>
                    <a:cubicBezTo>
                      <a:pt x="128" y="37"/>
                      <a:pt x="128" y="72"/>
                      <a:pt x="123" y="73"/>
                    </a:cubicBezTo>
                    <a:cubicBezTo>
                      <a:pt x="118" y="74"/>
                      <a:pt x="56" y="75"/>
                      <a:pt x="56" y="75"/>
                    </a:cubicBezTo>
                    <a:cubicBezTo>
                      <a:pt x="54" y="69"/>
                      <a:pt x="54" y="69"/>
                      <a:pt x="54" y="69"/>
                    </a:cubicBezTo>
                    <a:cubicBezTo>
                      <a:pt x="46" y="71"/>
                      <a:pt x="46" y="71"/>
                      <a:pt x="46" y="71"/>
                    </a:cubicBezTo>
                    <a:cubicBezTo>
                      <a:pt x="47" y="72"/>
                      <a:pt x="48" y="72"/>
                      <a:pt x="48" y="72"/>
                    </a:cubicBezTo>
                    <a:cubicBezTo>
                      <a:pt x="40" y="77"/>
                      <a:pt x="40" y="77"/>
                      <a:pt x="40" y="77"/>
                    </a:cubicBezTo>
                    <a:cubicBezTo>
                      <a:pt x="40" y="77"/>
                      <a:pt x="49" y="105"/>
                      <a:pt x="45" y="107"/>
                    </a:cubicBezTo>
                    <a:cubicBezTo>
                      <a:pt x="41" y="109"/>
                      <a:pt x="30" y="107"/>
                      <a:pt x="30" y="107"/>
                    </a:cubicBezTo>
                    <a:cubicBezTo>
                      <a:pt x="30" y="107"/>
                      <a:pt x="33" y="148"/>
                      <a:pt x="23" y="159"/>
                    </a:cubicBezTo>
                    <a:cubicBezTo>
                      <a:pt x="13" y="170"/>
                      <a:pt x="0" y="166"/>
                      <a:pt x="0" y="166"/>
                    </a:cubicBezTo>
                    <a:cubicBezTo>
                      <a:pt x="17" y="203"/>
                      <a:pt x="17" y="203"/>
                      <a:pt x="17" y="203"/>
                    </a:cubicBezTo>
                    <a:cubicBezTo>
                      <a:pt x="28" y="195"/>
                      <a:pt x="28" y="195"/>
                      <a:pt x="28" y="195"/>
                    </a:cubicBezTo>
                    <a:cubicBezTo>
                      <a:pt x="34" y="208"/>
                      <a:pt x="34" y="208"/>
                      <a:pt x="34" y="208"/>
                    </a:cubicBezTo>
                    <a:cubicBezTo>
                      <a:pt x="34" y="208"/>
                      <a:pt x="25" y="221"/>
                      <a:pt x="27" y="228"/>
                    </a:cubicBezTo>
                    <a:cubicBezTo>
                      <a:pt x="29" y="235"/>
                      <a:pt x="42" y="232"/>
                      <a:pt x="42" y="232"/>
                    </a:cubicBezTo>
                    <a:cubicBezTo>
                      <a:pt x="46" y="259"/>
                      <a:pt x="46" y="259"/>
                      <a:pt x="46" y="259"/>
                    </a:cubicBezTo>
                    <a:cubicBezTo>
                      <a:pt x="66" y="263"/>
                      <a:pt x="66" y="263"/>
                      <a:pt x="66" y="263"/>
                    </a:cubicBezTo>
                    <a:cubicBezTo>
                      <a:pt x="61" y="271"/>
                      <a:pt x="61" y="271"/>
                      <a:pt x="61" y="271"/>
                    </a:cubicBezTo>
                    <a:cubicBezTo>
                      <a:pt x="94" y="306"/>
                      <a:pt x="94" y="306"/>
                      <a:pt x="94" y="306"/>
                    </a:cubicBezTo>
                    <a:cubicBezTo>
                      <a:pt x="91" y="311"/>
                      <a:pt x="91" y="311"/>
                      <a:pt x="91" y="311"/>
                    </a:cubicBezTo>
                    <a:cubicBezTo>
                      <a:pt x="113" y="338"/>
                      <a:pt x="113" y="338"/>
                      <a:pt x="113" y="338"/>
                    </a:cubicBezTo>
                    <a:cubicBezTo>
                      <a:pt x="114" y="339"/>
                      <a:pt x="114" y="339"/>
                      <a:pt x="114" y="339"/>
                    </a:cubicBezTo>
                    <a:cubicBezTo>
                      <a:pt x="119" y="326"/>
                      <a:pt x="119" y="326"/>
                      <a:pt x="119" y="326"/>
                    </a:cubicBezTo>
                    <a:cubicBezTo>
                      <a:pt x="133" y="317"/>
                      <a:pt x="133" y="317"/>
                      <a:pt x="133" y="317"/>
                    </a:cubicBezTo>
                    <a:cubicBezTo>
                      <a:pt x="133" y="317"/>
                      <a:pt x="148" y="335"/>
                      <a:pt x="152" y="326"/>
                    </a:cubicBezTo>
                    <a:cubicBezTo>
                      <a:pt x="156" y="317"/>
                      <a:pt x="152" y="304"/>
                      <a:pt x="152" y="304"/>
                    </a:cubicBezTo>
                    <a:cubicBezTo>
                      <a:pt x="140" y="296"/>
                      <a:pt x="140" y="296"/>
                      <a:pt x="140" y="296"/>
                    </a:cubicBezTo>
                    <a:cubicBezTo>
                      <a:pt x="149" y="287"/>
                      <a:pt x="149" y="287"/>
                      <a:pt x="149" y="287"/>
                    </a:cubicBezTo>
                    <a:cubicBezTo>
                      <a:pt x="132" y="274"/>
                      <a:pt x="132" y="274"/>
                      <a:pt x="132" y="274"/>
                    </a:cubicBezTo>
                    <a:cubicBezTo>
                      <a:pt x="139" y="274"/>
                      <a:pt x="139" y="274"/>
                      <a:pt x="139" y="274"/>
                    </a:cubicBezTo>
                    <a:cubicBezTo>
                      <a:pt x="139" y="274"/>
                      <a:pt x="132" y="249"/>
                      <a:pt x="138" y="251"/>
                    </a:cubicBezTo>
                    <a:cubicBezTo>
                      <a:pt x="144" y="253"/>
                      <a:pt x="168" y="262"/>
                      <a:pt x="172" y="257"/>
                    </a:cubicBezTo>
                    <a:cubicBezTo>
                      <a:pt x="176" y="252"/>
                      <a:pt x="185" y="244"/>
                      <a:pt x="185" y="244"/>
                    </a:cubicBezTo>
                    <a:cubicBezTo>
                      <a:pt x="185" y="244"/>
                      <a:pt x="172" y="226"/>
                      <a:pt x="178" y="225"/>
                    </a:cubicBezTo>
                    <a:cubicBezTo>
                      <a:pt x="184" y="224"/>
                      <a:pt x="195" y="226"/>
                      <a:pt x="195" y="226"/>
                    </a:cubicBezTo>
                    <a:cubicBezTo>
                      <a:pt x="204" y="255"/>
                      <a:pt x="204" y="255"/>
                      <a:pt x="204" y="255"/>
                    </a:cubicBezTo>
                    <a:cubicBezTo>
                      <a:pt x="204" y="255"/>
                      <a:pt x="218" y="256"/>
                      <a:pt x="226" y="254"/>
                    </a:cubicBezTo>
                    <a:cubicBezTo>
                      <a:pt x="234" y="252"/>
                      <a:pt x="237" y="236"/>
                      <a:pt x="241" y="239"/>
                    </a:cubicBezTo>
                    <a:cubicBezTo>
                      <a:pt x="245" y="242"/>
                      <a:pt x="238" y="264"/>
                      <a:pt x="248" y="264"/>
                    </a:cubicBezTo>
                    <a:cubicBezTo>
                      <a:pt x="258" y="264"/>
                      <a:pt x="260" y="258"/>
                      <a:pt x="260" y="244"/>
                    </a:cubicBezTo>
                    <a:cubicBezTo>
                      <a:pt x="260" y="230"/>
                      <a:pt x="273" y="226"/>
                      <a:pt x="273" y="226"/>
                    </a:cubicBezTo>
                    <a:cubicBezTo>
                      <a:pt x="269" y="212"/>
                      <a:pt x="269" y="212"/>
                      <a:pt x="269" y="212"/>
                    </a:cubicBezTo>
                    <a:cubicBezTo>
                      <a:pt x="273" y="201"/>
                      <a:pt x="273" y="201"/>
                      <a:pt x="273" y="201"/>
                    </a:cubicBezTo>
                    <a:cubicBezTo>
                      <a:pt x="272" y="171"/>
                      <a:pt x="272" y="171"/>
                      <a:pt x="272" y="171"/>
                    </a:cubicBezTo>
                    <a:cubicBezTo>
                      <a:pt x="272" y="171"/>
                      <a:pt x="281" y="166"/>
                      <a:pt x="279" y="160"/>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14" name="Freeform 136">
                <a:extLst>
                  <a:ext uri="{FF2B5EF4-FFF2-40B4-BE49-F238E27FC236}">
                    <a16:creationId xmlns:a16="http://schemas.microsoft.com/office/drawing/2014/main" id="{97B5657C-6BA0-4708-9E02-A573CA712F7C}"/>
                  </a:ext>
                </a:extLst>
              </p:cNvPr>
              <p:cNvSpPr>
                <a:spLocks/>
              </p:cNvSpPr>
              <p:nvPr>
                <p:custDataLst>
                  <p:tags r:id="rId95"/>
                </p:custDataLst>
              </p:nvPr>
            </p:nvSpPr>
            <p:spPr bwMode="gray">
              <a:xfrm>
                <a:off x="5343494" y="5151457"/>
                <a:ext cx="46038" cy="47625"/>
              </a:xfrm>
              <a:custGeom>
                <a:avLst/>
                <a:gdLst>
                  <a:gd name="T0" fmla="*/ 59 w 73"/>
                  <a:gd name="T1" fmla="*/ 35 h 87"/>
                  <a:gd name="T2" fmla="*/ 62 w 73"/>
                  <a:gd name="T3" fmla="*/ 11 h 87"/>
                  <a:gd name="T4" fmla="*/ 46 w 73"/>
                  <a:gd name="T5" fmla="*/ 14 h 87"/>
                  <a:gd name="T6" fmla="*/ 27 w 73"/>
                  <a:gd name="T7" fmla="*/ 0 h 87"/>
                  <a:gd name="T8" fmla="*/ 11 w 73"/>
                  <a:gd name="T9" fmla="*/ 29 h 87"/>
                  <a:gd name="T10" fmla="*/ 2 w 73"/>
                  <a:gd name="T11" fmla="*/ 58 h 87"/>
                  <a:gd name="T12" fmla="*/ 34 w 73"/>
                  <a:gd name="T13" fmla="*/ 86 h 87"/>
                  <a:gd name="T14" fmla="*/ 56 w 73"/>
                  <a:gd name="T15" fmla="*/ 87 h 87"/>
                  <a:gd name="T16" fmla="*/ 63 w 73"/>
                  <a:gd name="T17" fmla="*/ 62 h 87"/>
                  <a:gd name="T18" fmla="*/ 73 w 73"/>
                  <a:gd name="T19" fmla="*/ 58 h 87"/>
                  <a:gd name="T20" fmla="*/ 69 w 73"/>
                  <a:gd name="T21" fmla="*/ 42 h 87"/>
                  <a:gd name="T22" fmla="*/ 59 w 73"/>
                  <a:gd name="T23" fmla="*/ 3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87">
                    <a:moveTo>
                      <a:pt x="59" y="35"/>
                    </a:moveTo>
                    <a:cubicBezTo>
                      <a:pt x="57" y="28"/>
                      <a:pt x="62" y="11"/>
                      <a:pt x="62" y="11"/>
                    </a:cubicBezTo>
                    <a:cubicBezTo>
                      <a:pt x="46" y="14"/>
                      <a:pt x="46" y="14"/>
                      <a:pt x="46" y="14"/>
                    </a:cubicBezTo>
                    <a:cubicBezTo>
                      <a:pt x="46" y="14"/>
                      <a:pt x="34" y="0"/>
                      <a:pt x="27" y="0"/>
                    </a:cubicBezTo>
                    <a:cubicBezTo>
                      <a:pt x="20" y="0"/>
                      <a:pt x="14" y="25"/>
                      <a:pt x="11" y="29"/>
                    </a:cubicBezTo>
                    <a:cubicBezTo>
                      <a:pt x="8" y="33"/>
                      <a:pt x="0" y="46"/>
                      <a:pt x="2" y="58"/>
                    </a:cubicBezTo>
                    <a:cubicBezTo>
                      <a:pt x="4" y="70"/>
                      <a:pt x="27" y="86"/>
                      <a:pt x="34" y="86"/>
                    </a:cubicBezTo>
                    <a:cubicBezTo>
                      <a:pt x="41" y="86"/>
                      <a:pt x="56" y="87"/>
                      <a:pt x="56" y="87"/>
                    </a:cubicBezTo>
                    <a:cubicBezTo>
                      <a:pt x="63" y="62"/>
                      <a:pt x="63" y="62"/>
                      <a:pt x="63" y="62"/>
                    </a:cubicBezTo>
                    <a:cubicBezTo>
                      <a:pt x="63" y="62"/>
                      <a:pt x="68" y="59"/>
                      <a:pt x="73" y="58"/>
                    </a:cubicBezTo>
                    <a:cubicBezTo>
                      <a:pt x="69" y="42"/>
                      <a:pt x="69" y="42"/>
                      <a:pt x="69" y="42"/>
                    </a:cubicBezTo>
                    <a:cubicBezTo>
                      <a:pt x="69" y="42"/>
                      <a:pt x="62" y="42"/>
                      <a:pt x="59" y="35"/>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15" name="Freeform 137">
                <a:extLst>
                  <a:ext uri="{FF2B5EF4-FFF2-40B4-BE49-F238E27FC236}">
                    <a16:creationId xmlns:a16="http://schemas.microsoft.com/office/drawing/2014/main" id="{EAFC0338-31D5-4DDA-A1FD-A1DF36CCB37F}"/>
                  </a:ext>
                </a:extLst>
              </p:cNvPr>
              <p:cNvSpPr>
                <a:spLocks/>
              </p:cNvSpPr>
              <p:nvPr>
                <p:custDataLst>
                  <p:tags r:id="rId96"/>
                </p:custDataLst>
              </p:nvPr>
            </p:nvSpPr>
            <p:spPr bwMode="gray">
              <a:xfrm>
                <a:off x="4818035" y="4887931"/>
                <a:ext cx="380998" cy="360363"/>
              </a:xfrm>
              <a:custGeom>
                <a:avLst/>
                <a:gdLst>
                  <a:gd name="T0" fmla="*/ 257 w 635"/>
                  <a:gd name="T1" fmla="*/ 609 h 648"/>
                  <a:gd name="T2" fmla="*/ 281 w 635"/>
                  <a:gd name="T3" fmla="*/ 636 h 648"/>
                  <a:gd name="T4" fmla="*/ 304 w 635"/>
                  <a:gd name="T5" fmla="*/ 648 h 648"/>
                  <a:gd name="T6" fmla="*/ 330 w 635"/>
                  <a:gd name="T7" fmla="*/ 646 h 648"/>
                  <a:gd name="T8" fmla="*/ 345 w 635"/>
                  <a:gd name="T9" fmla="*/ 632 h 648"/>
                  <a:gd name="T10" fmla="*/ 358 w 635"/>
                  <a:gd name="T11" fmla="*/ 622 h 648"/>
                  <a:gd name="T12" fmla="*/ 384 w 635"/>
                  <a:gd name="T13" fmla="*/ 273 h 648"/>
                  <a:gd name="T14" fmla="*/ 431 w 635"/>
                  <a:gd name="T15" fmla="*/ 192 h 648"/>
                  <a:gd name="T16" fmla="*/ 435 w 635"/>
                  <a:gd name="T17" fmla="*/ 71 h 648"/>
                  <a:gd name="T18" fmla="*/ 541 w 635"/>
                  <a:gd name="T19" fmla="*/ 55 h 648"/>
                  <a:gd name="T20" fmla="*/ 554 w 635"/>
                  <a:gd name="T21" fmla="*/ 69 h 648"/>
                  <a:gd name="T22" fmla="*/ 577 w 635"/>
                  <a:gd name="T23" fmla="*/ 63 h 648"/>
                  <a:gd name="T24" fmla="*/ 601 w 635"/>
                  <a:gd name="T25" fmla="*/ 55 h 648"/>
                  <a:gd name="T26" fmla="*/ 635 w 635"/>
                  <a:gd name="T27" fmla="*/ 45 h 648"/>
                  <a:gd name="T28" fmla="*/ 602 w 635"/>
                  <a:gd name="T29" fmla="*/ 34 h 648"/>
                  <a:gd name="T30" fmla="*/ 576 w 635"/>
                  <a:gd name="T31" fmla="*/ 31 h 648"/>
                  <a:gd name="T32" fmla="*/ 548 w 635"/>
                  <a:gd name="T33" fmla="*/ 35 h 648"/>
                  <a:gd name="T34" fmla="*/ 414 w 635"/>
                  <a:gd name="T35" fmla="*/ 55 h 648"/>
                  <a:gd name="T36" fmla="*/ 362 w 635"/>
                  <a:gd name="T37" fmla="*/ 50 h 648"/>
                  <a:gd name="T38" fmla="*/ 335 w 635"/>
                  <a:gd name="T39" fmla="*/ 44 h 648"/>
                  <a:gd name="T40" fmla="*/ 116 w 635"/>
                  <a:gd name="T41" fmla="*/ 25 h 648"/>
                  <a:gd name="T42" fmla="*/ 58 w 635"/>
                  <a:gd name="T43" fmla="*/ 0 h 648"/>
                  <a:gd name="T44" fmla="*/ 28 w 635"/>
                  <a:gd name="T45" fmla="*/ 16 h 648"/>
                  <a:gd name="T46" fmla="*/ 10 w 635"/>
                  <a:gd name="T47" fmla="*/ 15 h 648"/>
                  <a:gd name="T48" fmla="*/ 4 w 635"/>
                  <a:gd name="T49" fmla="*/ 62 h 648"/>
                  <a:gd name="T50" fmla="*/ 65 w 635"/>
                  <a:gd name="T51" fmla="*/ 170 h 648"/>
                  <a:gd name="T52" fmla="*/ 102 w 635"/>
                  <a:gd name="T53" fmla="*/ 245 h 648"/>
                  <a:gd name="T54" fmla="*/ 131 w 635"/>
                  <a:gd name="T55" fmla="*/ 296 h 648"/>
                  <a:gd name="T56" fmla="*/ 146 w 635"/>
                  <a:gd name="T57" fmla="*/ 431 h 648"/>
                  <a:gd name="T58" fmla="*/ 149 w 635"/>
                  <a:gd name="T59" fmla="*/ 484 h 648"/>
                  <a:gd name="T60" fmla="*/ 159 w 635"/>
                  <a:gd name="T61" fmla="*/ 508 h 648"/>
                  <a:gd name="T62" fmla="*/ 168 w 635"/>
                  <a:gd name="T63" fmla="*/ 544 h 648"/>
                  <a:gd name="T64" fmla="*/ 190 w 635"/>
                  <a:gd name="T65" fmla="*/ 606 h 648"/>
                  <a:gd name="T66" fmla="*/ 216 w 635"/>
                  <a:gd name="T67" fmla="*/ 625 h 648"/>
                  <a:gd name="T68" fmla="*/ 243 w 635"/>
                  <a:gd name="T69" fmla="*/ 596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35" h="648">
                    <a:moveTo>
                      <a:pt x="243" y="596"/>
                    </a:moveTo>
                    <a:cubicBezTo>
                      <a:pt x="247" y="597"/>
                      <a:pt x="257" y="609"/>
                      <a:pt x="257" y="609"/>
                    </a:cubicBezTo>
                    <a:cubicBezTo>
                      <a:pt x="257" y="609"/>
                      <a:pt x="256" y="624"/>
                      <a:pt x="261" y="631"/>
                    </a:cubicBezTo>
                    <a:cubicBezTo>
                      <a:pt x="265" y="638"/>
                      <a:pt x="274" y="632"/>
                      <a:pt x="281" y="636"/>
                    </a:cubicBezTo>
                    <a:cubicBezTo>
                      <a:pt x="288" y="640"/>
                      <a:pt x="292" y="648"/>
                      <a:pt x="292" y="648"/>
                    </a:cubicBezTo>
                    <a:cubicBezTo>
                      <a:pt x="304" y="648"/>
                      <a:pt x="304" y="648"/>
                      <a:pt x="304" y="648"/>
                    </a:cubicBezTo>
                    <a:cubicBezTo>
                      <a:pt x="304" y="648"/>
                      <a:pt x="310" y="640"/>
                      <a:pt x="318" y="640"/>
                    </a:cubicBezTo>
                    <a:cubicBezTo>
                      <a:pt x="326" y="640"/>
                      <a:pt x="330" y="646"/>
                      <a:pt x="330" y="646"/>
                    </a:cubicBezTo>
                    <a:cubicBezTo>
                      <a:pt x="330" y="646"/>
                      <a:pt x="337" y="646"/>
                      <a:pt x="342" y="646"/>
                    </a:cubicBezTo>
                    <a:cubicBezTo>
                      <a:pt x="348" y="646"/>
                      <a:pt x="345" y="632"/>
                      <a:pt x="345" y="632"/>
                    </a:cubicBezTo>
                    <a:cubicBezTo>
                      <a:pt x="353" y="630"/>
                      <a:pt x="353" y="630"/>
                      <a:pt x="353" y="630"/>
                    </a:cubicBezTo>
                    <a:cubicBezTo>
                      <a:pt x="353" y="630"/>
                      <a:pt x="351" y="625"/>
                      <a:pt x="358" y="622"/>
                    </a:cubicBezTo>
                    <a:cubicBezTo>
                      <a:pt x="365" y="619"/>
                      <a:pt x="379" y="618"/>
                      <a:pt x="379" y="618"/>
                    </a:cubicBezTo>
                    <a:cubicBezTo>
                      <a:pt x="384" y="273"/>
                      <a:pt x="384" y="273"/>
                      <a:pt x="384" y="273"/>
                    </a:cubicBezTo>
                    <a:cubicBezTo>
                      <a:pt x="432" y="273"/>
                      <a:pt x="432" y="273"/>
                      <a:pt x="432" y="273"/>
                    </a:cubicBezTo>
                    <a:cubicBezTo>
                      <a:pt x="431" y="192"/>
                      <a:pt x="431" y="192"/>
                      <a:pt x="431" y="192"/>
                    </a:cubicBezTo>
                    <a:cubicBezTo>
                      <a:pt x="435" y="188"/>
                      <a:pt x="435" y="188"/>
                      <a:pt x="435" y="188"/>
                    </a:cubicBezTo>
                    <a:cubicBezTo>
                      <a:pt x="435" y="71"/>
                      <a:pt x="435" y="71"/>
                      <a:pt x="435" y="71"/>
                    </a:cubicBezTo>
                    <a:cubicBezTo>
                      <a:pt x="435" y="71"/>
                      <a:pt x="474" y="68"/>
                      <a:pt x="496" y="65"/>
                    </a:cubicBezTo>
                    <a:cubicBezTo>
                      <a:pt x="517" y="63"/>
                      <a:pt x="533" y="55"/>
                      <a:pt x="541" y="55"/>
                    </a:cubicBezTo>
                    <a:cubicBezTo>
                      <a:pt x="550" y="55"/>
                      <a:pt x="548" y="69"/>
                      <a:pt x="548" y="69"/>
                    </a:cubicBezTo>
                    <a:cubicBezTo>
                      <a:pt x="554" y="69"/>
                      <a:pt x="554" y="69"/>
                      <a:pt x="554" y="69"/>
                    </a:cubicBezTo>
                    <a:cubicBezTo>
                      <a:pt x="554" y="69"/>
                      <a:pt x="556" y="83"/>
                      <a:pt x="559" y="82"/>
                    </a:cubicBezTo>
                    <a:cubicBezTo>
                      <a:pt x="562" y="81"/>
                      <a:pt x="572" y="68"/>
                      <a:pt x="577" y="63"/>
                    </a:cubicBezTo>
                    <a:cubicBezTo>
                      <a:pt x="583" y="57"/>
                      <a:pt x="593" y="55"/>
                      <a:pt x="593" y="55"/>
                    </a:cubicBezTo>
                    <a:cubicBezTo>
                      <a:pt x="601" y="55"/>
                      <a:pt x="601" y="55"/>
                      <a:pt x="601" y="55"/>
                    </a:cubicBezTo>
                    <a:cubicBezTo>
                      <a:pt x="612" y="47"/>
                      <a:pt x="612" y="47"/>
                      <a:pt x="612" y="47"/>
                    </a:cubicBezTo>
                    <a:cubicBezTo>
                      <a:pt x="635" y="45"/>
                      <a:pt x="635" y="45"/>
                      <a:pt x="635" y="45"/>
                    </a:cubicBezTo>
                    <a:cubicBezTo>
                      <a:pt x="622" y="32"/>
                      <a:pt x="622" y="32"/>
                      <a:pt x="622" y="32"/>
                    </a:cubicBezTo>
                    <a:cubicBezTo>
                      <a:pt x="602" y="34"/>
                      <a:pt x="602" y="34"/>
                      <a:pt x="602" y="34"/>
                    </a:cubicBezTo>
                    <a:cubicBezTo>
                      <a:pt x="602" y="34"/>
                      <a:pt x="601" y="26"/>
                      <a:pt x="592" y="26"/>
                    </a:cubicBezTo>
                    <a:cubicBezTo>
                      <a:pt x="583" y="26"/>
                      <a:pt x="576" y="31"/>
                      <a:pt x="576" y="31"/>
                    </a:cubicBezTo>
                    <a:cubicBezTo>
                      <a:pt x="563" y="39"/>
                      <a:pt x="563" y="39"/>
                      <a:pt x="563" y="39"/>
                    </a:cubicBezTo>
                    <a:cubicBezTo>
                      <a:pt x="548" y="35"/>
                      <a:pt x="548" y="35"/>
                      <a:pt x="548" y="35"/>
                    </a:cubicBezTo>
                    <a:cubicBezTo>
                      <a:pt x="548" y="35"/>
                      <a:pt x="488" y="55"/>
                      <a:pt x="460" y="55"/>
                    </a:cubicBezTo>
                    <a:cubicBezTo>
                      <a:pt x="432" y="55"/>
                      <a:pt x="414" y="55"/>
                      <a:pt x="414" y="55"/>
                    </a:cubicBezTo>
                    <a:cubicBezTo>
                      <a:pt x="408" y="49"/>
                      <a:pt x="408" y="49"/>
                      <a:pt x="408" y="49"/>
                    </a:cubicBezTo>
                    <a:cubicBezTo>
                      <a:pt x="362" y="50"/>
                      <a:pt x="362" y="50"/>
                      <a:pt x="362" y="50"/>
                    </a:cubicBezTo>
                    <a:cubicBezTo>
                      <a:pt x="358" y="44"/>
                      <a:pt x="358" y="44"/>
                      <a:pt x="358" y="44"/>
                    </a:cubicBezTo>
                    <a:cubicBezTo>
                      <a:pt x="358" y="44"/>
                      <a:pt x="342" y="46"/>
                      <a:pt x="335" y="44"/>
                    </a:cubicBezTo>
                    <a:cubicBezTo>
                      <a:pt x="328" y="42"/>
                      <a:pt x="319" y="23"/>
                      <a:pt x="319" y="23"/>
                    </a:cubicBezTo>
                    <a:cubicBezTo>
                      <a:pt x="116" y="25"/>
                      <a:pt x="116" y="25"/>
                      <a:pt x="116" y="25"/>
                    </a:cubicBezTo>
                    <a:cubicBezTo>
                      <a:pt x="116" y="25"/>
                      <a:pt x="82" y="12"/>
                      <a:pt x="78" y="1"/>
                    </a:cubicBezTo>
                    <a:cubicBezTo>
                      <a:pt x="79" y="2"/>
                      <a:pt x="58" y="0"/>
                      <a:pt x="58" y="0"/>
                    </a:cubicBezTo>
                    <a:cubicBezTo>
                      <a:pt x="58" y="0"/>
                      <a:pt x="54" y="14"/>
                      <a:pt x="47" y="15"/>
                    </a:cubicBezTo>
                    <a:cubicBezTo>
                      <a:pt x="40" y="16"/>
                      <a:pt x="28" y="16"/>
                      <a:pt x="28" y="16"/>
                    </a:cubicBezTo>
                    <a:cubicBezTo>
                      <a:pt x="21" y="11"/>
                      <a:pt x="21" y="11"/>
                      <a:pt x="21" y="11"/>
                    </a:cubicBezTo>
                    <a:cubicBezTo>
                      <a:pt x="10" y="15"/>
                      <a:pt x="10" y="15"/>
                      <a:pt x="10" y="15"/>
                    </a:cubicBezTo>
                    <a:cubicBezTo>
                      <a:pt x="0" y="16"/>
                      <a:pt x="0" y="16"/>
                      <a:pt x="0" y="16"/>
                    </a:cubicBezTo>
                    <a:cubicBezTo>
                      <a:pt x="4" y="62"/>
                      <a:pt x="4" y="62"/>
                      <a:pt x="4" y="62"/>
                    </a:cubicBezTo>
                    <a:cubicBezTo>
                      <a:pt x="4" y="62"/>
                      <a:pt x="13" y="79"/>
                      <a:pt x="22" y="92"/>
                    </a:cubicBezTo>
                    <a:cubicBezTo>
                      <a:pt x="31" y="105"/>
                      <a:pt x="64" y="153"/>
                      <a:pt x="65" y="170"/>
                    </a:cubicBezTo>
                    <a:cubicBezTo>
                      <a:pt x="66" y="187"/>
                      <a:pt x="79" y="204"/>
                      <a:pt x="83" y="217"/>
                    </a:cubicBezTo>
                    <a:cubicBezTo>
                      <a:pt x="87" y="230"/>
                      <a:pt x="102" y="245"/>
                      <a:pt x="102" y="245"/>
                    </a:cubicBezTo>
                    <a:cubicBezTo>
                      <a:pt x="102" y="259"/>
                      <a:pt x="102" y="259"/>
                      <a:pt x="102" y="259"/>
                    </a:cubicBezTo>
                    <a:cubicBezTo>
                      <a:pt x="102" y="259"/>
                      <a:pt x="131" y="280"/>
                      <a:pt x="131" y="296"/>
                    </a:cubicBezTo>
                    <a:cubicBezTo>
                      <a:pt x="131" y="312"/>
                      <a:pt x="129" y="386"/>
                      <a:pt x="129" y="386"/>
                    </a:cubicBezTo>
                    <a:cubicBezTo>
                      <a:pt x="129" y="386"/>
                      <a:pt x="144" y="411"/>
                      <a:pt x="146" y="431"/>
                    </a:cubicBezTo>
                    <a:cubicBezTo>
                      <a:pt x="148" y="451"/>
                      <a:pt x="140" y="451"/>
                      <a:pt x="140" y="451"/>
                    </a:cubicBezTo>
                    <a:cubicBezTo>
                      <a:pt x="149" y="484"/>
                      <a:pt x="149" y="484"/>
                      <a:pt x="149" y="484"/>
                    </a:cubicBezTo>
                    <a:cubicBezTo>
                      <a:pt x="151" y="508"/>
                      <a:pt x="151" y="508"/>
                      <a:pt x="151" y="508"/>
                    </a:cubicBezTo>
                    <a:cubicBezTo>
                      <a:pt x="159" y="508"/>
                      <a:pt x="159" y="508"/>
                      <a:pt x="159" y="508"/>
                    </a:cubicBezTo>
                    <a:cubicBezTo>
                      <a:pt x="159" y="508"/>
                      <a:pt x="156" y="528"/>
                      <a:pt x="157" y="532"/>
                    </a:cubicBezTo>
                    <a:cubicBezTo>
                      <a:pt x="158" y="536"/>
                      <a:pt x="168" y="544"/>
                      <a:pt x="168" y="544"/>
                    </a:cubicBezTo>
                    <a:cubicBezTo>
                      <a:pt x="169" y="563"/>
                      <a:pt x="169" y="563"/>
                      <a:pt x="169" y="563"/>
                    </a:cubicBezTo>
                    <a:cubicBezTo>
                      <a:pt x="169" y="563"/>
                      <a:pt x="184" y="595"/>
                      <a:pt x="190" y="606"/>
                    </a:cubicBezTo>
                    <a:cubicBezTo>
                      <a:pt x="196" y="617"/>
                      <a:pt x="216" y="624"/>
                      <a:pt x="216" y="624"/>
                    </a:cubicBezTo>
                    <a:cubicBezTo>
                      <a:pt x="216" y="624"/>
                      <a:pt x="216" y="624"/>
                      <a:pt x="216" y="625"/>
                    </a:cubicBezTo>
                    <a:cubicBezTo>
                      <a:pt x="228" y="619"/>
                      <a:pt x="228" y="619"/>
                      <a:pt x="228" y="619"/>
                    </a:cubicBezTo>
                    <a:cubicBezTo>
                      <a:pt x="228" y="619"/>
                      <a:pt x="239" y="595"/>
                      <a:pt x="243" y="596"/>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16" name="Freeform 138">
                <a:extLst>
                  <a:ext uri="{FF2B5EF4-FFF2-40B4-BE49-F238E27FC236}">
                    <a16:creationId xmlns:a16="http://schemas.microsoft.com/office/drawing/2014/main" id="{22A89FAC-5BA7-4F2C-85BD-A1D74862D86A}"/>
                  </a:ext>
                </a:extLst>
              </p:cNvPr>
              <p:cNvSpPr>
                <a:spLocks/>
              </p:cNvSpPr>
              <p:nvPr>
                <p:custDataLst>
                  <p:tags r:id="rId97"/>
                </p:custDataLst>
              </p:nvPr>
            </p:nvSpPr>
            <p:spPr bwMode="gray">
              <a:xfrm>
                <a:off x="5199033" y="4849830"/>
                <a:ext cx="223836" cy="203201"/>
              </a:xfrm>
              <a:custGeom>
                <a:avLst/>
                <a:gdLst>
                  <a:gd name="T0" fmla="*/ 11 w 372"/>
                  <a:gd name="T1" fmla="*/ 136 h 366"/>
                  <a:gd name="T2" fmla="*/ 11 w 372"/>
                  <a:gd name="T3" fmla="*/ 156 h 366"/>
                  <a:gd name="T4" fmla="*/ 23 w 372"/>
                  <a:gd name="T5" fmla="*/ 160 h 366"/>
                  <a:gd name="T6" fmla="*/ 33 w 372"/>
                  <a:gd name="T7" fmla="*/ 181 h 366"/>
                  <a:gd name="T8" fmla="*/ 42 w 372"/>
                  <a:gd name="T9" fmla="*/ 213 h 366"/>
                  <a:gd name="T10" fmla="*/ 70 w 372"/>
                  <a:gd name="T11" fmla="*/ 234 h 366"/>
                  <a:gd name="T12" fmla="*/ 90 w 372"/>
                  <a:gd name="T13" fmla="*/ 238 h 366"/>
                  <a:gd name="T14" fmla="*/ 91 w 372"/>
                  <a:gd name="T15" fmla="*/ 260 h 366"/>
                  <a:gd name="T16" fmla="*/ 112 w 372"/>
                  <a:gd name="T17" fmla="*/ 261 h 366"/>
                  <a:gd name="T18" fmla="*/ 114 w 372"/>
                  <a:gd name="T19" fmla="*/ 276 h 366"/>
                  <a:gd name="T20" fmla="*/ 110 w 372"/>
                  <a:gd name="T21" fmla="*/ 281 h 366"/>
                  <a:gd name="T22" fmla="*/ 110 w 372"/>
                  <a:gd name="T23" fmla="*/ 299 h 366"/>
                  <a:gd name="T24" fmla="*/ 122 w 372"/>
                  <a:gd name="T25" fmla="*/ 304 h 366"/>
                  <a:gd name="T26" fmla="*/ 122 w 372"/>
                  <a:gd name="T27" fmla="*/ 319 h 366"/>
                  <a:gd name="T28" fmla="*/ 161 w 372"/>
                  <a:gd name="T29" fmla="*/ 327 h 366"/>
                  <a:gd name="T30" fmla="*/ 180 w 372"/>
                  <a:gd name="T31" fmla="*/ 352 h 366"/>
                  <a:gd name="T32" fmla="*/ 167 w 372"/>
                  <a:gd name="T33" fmla="*/ 353 h 366"/>
                  <a:gd name="T34" fmla="*/ 206 w 372"/>
                  <a:gd name="T35" fmla="*/ 351 h 366"/>
                  <a:gd name="T36" fmla="*/ 230 w 372"/>
                  <a:gd name="T37" fmla="*/ 359 h 366"/>
                  <a:gd name="T38" fmla="*/ 265 w 372"/>
                  <a:gd name="T39" fmla="*/ 359 h 366"/>
                  <a:gd name="T40" fmla="*/ 277 w 372"/>
                  <a:gd name="T41" fmla="*/ 366 h 366"/>
                  <a:gd name="T42" fmla="*/ 324 w 372"/>
                  <a:gd name="T43" fmla="*/ 310 h 366"/>
                  <a:gd name="T44" fmla="*/ 334 w 372"/>
                  <a:gd name="T45" fmla="*/ 307 h 366"/>
                  <a:gd name="T46" fmla="*/ 325 w 372"/>
                  <a:gd name="T47" fmla="*/ 294 h 366"/>
                  <a:gd name="T48" fmla="*/ 333 w 372"/>
                  <a:gd name="T49" fmla="*/ 289 h 366"/>
                  <a:gd name="T50" fmla="*/ 334 w 372"/>
                  <a:gd name="T51" fmla="*/ 266 h 366"/>
                  <a:gd name="T52" fmla="*/ 350 w 372"/>
                  <a:gd name="T53" fmla="*/ 257 h 366"/>
                  <a:gd name="T54" fmla="*/ 354 w 372"/>
                  <a:gd name="T55" fmla="*/ 242 h 366"/>
                  <a:gd name="T56" fmla="*/ 364 w 372"/>
                  <a:gd name="T57" fmla="*/ 229 h 366"/>
                  <a:gd name="T58" fmla="*/ 346 w 372"/>
                  <a:gd name="T59" fmla="*/ 206 h 366"/>
                  <a:gd name="T60" fmla="*/ 360 w 372"/>
                  <a:gd name="T61" fmla="*/ 190 h 366"/>
                  <a:gd name="T62" fmla="*/ 346 w 372"/>
                  <a:gd name="T63" fmla="*/ 174 h 366"/>
                  <a:gd name="T64" fmla="*/ 360 w 372"/>
                  <a:gd name="T65" fmla="*/ 167 h 366"/>
                  <a:gd name="T66" fmla="*/ 360 w 372"/>
                  <a:gd name="T67" fmla="*/ 158 h 366"/>
                  <a:gd name="T68" fmla="*/ 366 w 372"/>
                  <a:gd name="T69" fmla="*/ 145 h 366"/>
                  <a:gd name="T70" fmla="*/ 358 w 372"/>
                  <a:gd name="T71" fmla="*/ 119 h 366"/>
                  <a:gd name="T72" fmla="*/ 366 w 372"/>
                  <a:gd name="T73" fmla="*/ 107 h 366"/>
                  <a:gd name="T74" fmla="*/ 360 w 372"/>
                  <a:gd name="T75" fmla="*/ 99 h 366"/>
                  <a:gd name="T76" fmla="*/ 366 w 372"/>
                  <a:gd name="T77" fmla="*/ 90 h 366"/>
                  <a:gd name="T78" fmla="*/ 358 w 372"/>
                  <a:gd name="T79" fmla="*/ 81 h 366"/>
                  <a:gd name="T80" fmla="*/ 368 w 372"/>
                  <a:gd name="T81" fmla="*/ 63 h 366"/>
                  <a:gd name="T82" fmla="*/ 349 w 372"/>
                  <a:gd name="T83" fmla="*/ 55 h 366"/>
                  <a:gd name="T84" fmla="*/ 336 w 372"/>
                  <a:gd name="T85" fmla="*/ 43 h 366"/>
                  <a:gd name="T86" fmla="*/ 318 w 372"/>
                  <a:gd name="T87" fmla="*/ 46 h 366"/>
                  <a:gd name="T88" fmla="*/ 308 w 372"/>
                  <a:gd name="T89" fmla="*/ 30 h 366"/>
                  <a:gd name="T90" fmla="*/ 293 w 372"/>
                  <a:gd name="T91" fmla="*/ 33 h 366"/>
                  <a:gd name="T92" fmla="*/ 285 w 372"/>
                  <a:gd name="T93" fmla="*/ 21 h 366"/>
                  <a:gd name="T94" fmla="*/ 246 w 372"/>
                  <a:gd name="T95" fmla="*/ 21 h 366"/>
                  <a:gd name="T96" fmla="*/ 245 w 372"/>
                  <a:gd name="T97" fmla="*/ 1 h 366"/>
                  <a:gd name="T98" fmla="*/ 205 w 372"/>
                  <a:gd name="T99" fmla="*/ 5 h 366"/>
                  <a:gd name="T100" fmla="*/ 170 w 372"/>
                  <a:gd name="T101" fmla="*/ 25 h 366"/>
                  <a:gd name="T102" fmla="*/ 172 w 372"/>
                  <a:gd name="T103" fmla="*/ 49 h 366"/>
                  <a:gd name="T104" fmla="*/ 125 w 372"/>
                  <a:gd name="T105" fmla="*/ 68 h 366"/>
                  <a:gd name="T106" fmla="*/ 116 w 372"/>
                  <a:gd name="T107" fmla="*/ 91 h 366"/>
                  <a:gd name="T108" fmla="*/ 77 w 372"/>
                  <a:gd name="T109" fmla="*/ 127 h 366"/>
                  <a:gd name="T110" fmla="*/ 51 w 372"/>
                  <a:gd name="T111" fmla="*/ 121 h 366"/>
                  <a:gd name="T112" fmla="*/ 38 w 372"/>
                  <a:gd name="T113" fmla="*/ 127 h 366"/>
                  <a:gd name="T114" fmla="*/ 26 w 372"/>
                  <a:gd name="T115" fmla="*/ 117 h 366"/>
                  <a:gd name="T116" fmla="*/ 0 w 372"/>
                  <a:gd name="T117" fmla="*/ 117 h 366"/>
                  <a:gd name="T118" fmla="*/ 2 w 372"/>
                  <a:gd name="T119" fmla="*/ 127 h 366"/>
                  <a:gd name="T120" fmla="*/ 11 w 372"/>
                  <a:gd name="T121" fmla="*/ 136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2" h="366">
                    <a:moveTo>
                      <a:pt x="11" y="136"/>
                    </a:moveTo>
                    <a:cubicBezTo>
                      <a:pt x="11" y="156"/>
                      <a:pt x="11" y="156"/>
                      <a:pt x="11" y="156"/>
                    </a:cubicBezTo>
                    <a:cubicBezTo>
                      <a:pt x="11" y="156"/>
                      <a:pt x="19" y="150"/>
                      <a:pt x="23" y="160"/>
                    </a:cubicBezTo>
                    <a:cubicBezTo>
                      <a:pt x="27" y="170"/>
                      <a:pt x="33" y="181"/>
                      <a:pt x="33" y="181"/>
                    </a:cubicBezTo>
                    <a:cubicBezTo>
                      <a:pt x="33" y="181"/>
                      <a:pt x="35" y="204"/>
                      <a:pt x="42" y="213"/>
                    </a:cubicBezTo>
                    <a:cubicBezTo>
                      <a:pt x="49" y="222"/>
                      <a:pt x="70" y="234"/>
                      <a:pt x="70" y="234"/>
                    </a:cubicBezTo>
                    <a:cubicBezTo>
                      <a:pt x="70" y="234"/>
                      <a:pt x="88" y="231"/>
                      <a:pt x="90" y="238"/>
                    </a:cubicBezTo>
                    <a:cubicBezTo>
                      <a:pt x="92" y="245"/>
                      <a:pt x="91" y="260"/>
                      <a:pt x="91" y="260"/>
                    </a:cubicBezTo>
                    <a:cubicBezTo>
                      <a:pt x="112" y="261"/>
                      <a:pt x="112" y="261"/>
                      <a:pt x="112" y="261"/>
                    </a:cubicBezTo>
                    <a:cubicBezTo>
                      <a:pt x="114" y="276"/>
                      <a:pt x="114" y="276"/>
                      <a:pt x="114" y="276"/>
                    </a:cubicBezTo>
                    <a:cubicBezTo>
                      <a:pt x="110" y="281"/>
                      <a:pt x="110" y="281"/>
                      <a:pt x="110" y="281"/>
                    </a:cubicBezTo>
                    <a:cubicBezTo>
                      <a:pt x="110" y="299"/>
                      <a:pt x="110" y="299"/>
                      <a:pt x="110" y="299"/>
                    </a:cubicBezTo>
                    <a:cubicBezTo>
                      <a:pt x="110" y="299"/>
                      <a:pt x="122" y="297"/>
                      <a:pt x="122" y="304"/>
                    </a:cubicBezTo>
                    <a:cubicBezTo>
                      <a:pt x="122" y="311"/>
                      <a:pt x="122" y="319"/>
                      <a:pt x="122" y="319"/>
                    </a:cubicBezTo>
                    <a:cubicBezTo>
                      <a:pt x="122" y="319"/>
                      <a:pt x="148" y="322"/>
                      <a:pt x="161" y="327"/>
                    </a:cubicBezTo>
                    <a:cubicBezTo>
                      <a:pt x="171" y="331"/>
                      <a:pt x="177" y="345"/>
                      <a:pt x="180" y="352"/>
                    </a:cubicBezTo>
                    <a:cubicBezTo>
                      <a:pt x="167" y="353"/>
                      <a:pt x="167" y="353"/>
                      <a:pt x="167" y="353"/>
                    </a:cubicBezTo>
                    <a:cubicBezTo>
                      <a:pt x="206" y="351"/>
                      <a:pt x="206" y="351"/>
                      <a:pt x="206" y="351"/>
                    </a:cubicBezTo>
                    <a:cubicBezTo>
                      <a:pt x="206" y="351"/>
                      <a:pt x="222" y="358"/>
                      <a:pt x="230" y="359"/>
                    </a:cubicBezTo>
                    <a:cubicBezTo>
                      <a:pt x="238" y="360"/>
                      <a:pt x="265" y="359"/>
                      <a:pt x="265" y="359"/>
                    </a:cubicBezTo>
                    <a:cubicBezTo>
                      <a:pt x="277" y="366"/>
                      <a:pt x="277" y="366"/>
                      <a:pt x="277" y="366"/>
                    </a:cubicBezTo>
                    <a:cubicBezTo>
                      <a:pt x="324" y="310"/>
                      <a:pt x="324" y="310"/>
                      <a:pt x="324" y="310"/>
                    </a:cubicBezTo>
                    <a:cubicBezTo>
                      <a:pt x="334" y="307"/>
                      <a:pt x="334" y="307"/>
                      <a:pt x="334" y="307"/>
                    </a:cubicBezTo>
                    <a:cubicBezTo>
                      <a:pt x="325" y="294"/>
                      <a:pt x="325" y="294"/>
                      <a:pt x="325" y="294"/>
                    </a:cubicBezTo>
                    <a:cubicBezTo>
                      <a:pt x="333" y="289"/>
                      <a:pt x="333" y="289"/>
                      <a:pt x="333" y="289"/>
                    </a:cubicBezTo>
                    <a:cubicBezTo>
                      <a:pt x="334" y="266"/>
                      <a:pt x="334" y="266"/>
                      <a:pt x="334" y="266"/>
                    </a:cubicBezTo>
                    <a:cubicBezTo>
                      <a:pt x="334" y="266"/>
                      <a:pt x="349" y="265"/>
                      <a:pt x="350" y="257"/>
                    </a:cubicBezTo>
                    <a:cubicBezTo>
                      <a:pt x="352" y="249"/>
                      <a:pt x="354" y="242"/>
                      <a:pt x="354" y="242"/>
                    </a:cubicBezTo>
                    <a:cubicBezTo>
                      <a:pt x="354" y="242"/>
                      <a:pt x="365" y="235"/>
                      <a:pt x="364" y="229"/>
                    </a:cubicBezTo>
                    <a:cubicBezTo>
                      <a:pt x="362" y="222"/>
                      <a:pt x="345" y="211"/>
                      <a:pt x="346" y="206"/>
                    </a:cubicBezTo>
                    <a:cubicBezTo>
                      <a:pt x="348" y="201"/>
                      <a:pt x="360" y="190"/>
                      <a:pt x="360" y="190"/>
                    </a:cubicBezTo>
                    <a:cubicBezTo>
                      <a:pt x="346" y="174"/>
                      <a:pt x="346" y="174"/>
                      <a:pt x="346" y="174"/>
                    </a:cubicBezTo>
                    <a:cubicBezTo>
                      <a:pt x="360" y="167"/>
                      <a:pt x="360" y="167"/>
                      <a:pt x="360" y="167"/>
                    </a:cubicBezTo>
                    <a:cubicBezTo>
                      <a:pt x="360" y="158"/>
                      <a:pt x="360" y="158"/>
                      <a:pt x="360" y="158"/>
                    </a:cubicBezTo>
                    <a:cubicBezTo>
                      <a:pt x="360" y="158"/>
                      <a:pt x="369" y="158"/>
                      <a:pt x="366" y="145"/>
                    </a:cubicBezTo>
                    <a:cubicBezTo>
                      <a:pt x="364" y="131"/>
                      <a:pt x="356" y="125"/>
                      <a:pt x="358" y="119"/>
                    </a:cubicBezTo>
                    <a:cubicBezTo>
                      <a:pt x="361" y="114"/>
                      <a:pt x="366" y="107"/>
                      <a:pt x="366" y="107"/>
                    </a:cubicBezTo>
                    <a:cubicBezTo>
                      <a:pt x="360" y="99"/>
                      <a:pt x="360" y="99"/>
                      <a:pt x="360" y="99"/>
                    </a:cubicBezTo>
                    <a:cubicBezTo>
                      <a:pt x="366" y="90"/>
                      <a:pt x="366" y="90"/>
                      <a:pt x="366" y="90"/>
                    </a:cubicBezTo>
                    <a:cubicBezTo>
                      <a:pt x="358" y="81"/>
                      <a:pt x="358" y="81"/>
                      <a:pt x="358" y="81"/>
                    </a:cubicBezTo>
                    <a:cubicBezTo>
                      <a:pt x="358" y="81"/>
                      <a:pt x="372" y="71"/>
                      <a:pt x="368" y="63"/>
                    </a:cubicBezTo>
                    <a:cubicBezTo>
                      <a:pt x="364" y="55"/>
                      <a:pt x="349" y="55"/>
                      <a:pt x="349" y="55"/>
                    </a:cubicBezTo>
                    <a:cubicBezTo>
                      <a:pt x="349" y="55"/>
                      <a:pt x="344" y="43"/>
                      <a:pt x="336" y="43"/>
                    </a:cubicBezTo>
                    <a:cubicBezTo>
                      <a:pt x="328" y="43"/>
                      <a:pt x="318" y="46"/>
                      <a:pt x="318" y="46"/>
                    </a:cubicBezTo>
                    <a:cubicBezTo>
                      <a:pt x="308" y="30"/>
                      <a:pt x="308" y="30"/>
                      <a:pt x="308" y="30"/>
                    </a:cubicBezTo>
                    <a:cubicBezTo>
                      <a:pt x="293" y="33"/>
                      <a:pt x="293" y="33"/>
                      <a:pt x="293" y="33"/>
                    </a:cubicBezTo>
                    <a:cubicBezTo>
                      <a:pt x="285" y="21"/>
                      <a:pt x="285" y="21"/>
                      <a:pt x="285" y="21"/>
                    </a:cubicBezTo>
                    <a:cubicBezTo>
                      <a:pt x="246" y="21"/>
                      <a:pt x="246" y="21"/>
                      <a:pt x="246" y="21"/>
                    </a:cubicBezTo>
                    <a:cubicBezTo>
                      <a:pt x="245" y="1"/>
                      <a:pt x="245" y="1"/>
                      <a:pt x="245" y="1"/>
                    </a:cubicBezTo>
                    <a:cubicBezTo>
                      <a:pt x="236" y="0"/>
                      <a:pt x="218" y="0"/>
                      <a:pt x="205" y="5"/>
                    </a:cubicBezTo>
                    <a:cubicBezTo>
                      <a:pt x="188" y="11"/>
                      <a:pt x="170" y="25"/>
                      <a:pt x="170" y="25"/>
                    </a:cubicBezTo>
                    <a:cubicBezTo>
                      <a:pt x="170" y="25"/>
                      <a:pt x="173" y="48"/>
                      <a:pt x="172" y="49"/>
                    </a:cubicBezTo>
                    <a:cubicBezTo>
                      <a:pt x="171" y="50"/>
                      <a:pt x="132" y="61"/>
                      <a:pt x="125" y="68"/>
                    </a:cubicBezTo>
                    <a:cubicBezTo>
                      <a:pt x="118" y="75"/>
                      <a:pt x="116" y="91"/>
                      <a:pt x="116" y="91"/>
                    </a:cubicBezTo>
                    <a:cubicBezTo>
                      <a:pt x="116" y="91"/>
                      <a:pt x="95" y="118"/>
                      <a:pt x="77" y="127"/>
                    </a:cubicBezTo>
                    <a:cubicBezTo>
                      <a:pt x="59" y="136"/>
                      <a:pt x="58" y="127"/>
                      <a:pt x="51" y="121"/>
                    </a:cubicBezTo>
                    <a:cubicBezTo>
                      <a:pt x="44" y="115"/>
                      <a:pt x="42" y="127"/>
                      <a:pt x="38" y="127"/>
                    </a:cubicBezTo>
                    <a:cubicBezTo>
                      <a:pt x="34" y="127"/>
                      <a:pt x="28" y="121"/>
                      <a:pt x="26" y="117"/>
                    </a:cubicBezTo>
                    <a:cubicBezTo>
                      <a:pt x="24" y="113"/>
                      <a:pt x="0" y="117"/>
                      <a:pt x="0" y="117"/>
                    </a:cubicBezTo>
                    <a:cubicBezTo>
                      <a:pt x="2" y="127"/>
                      <a:pt x="2" y="127"/>
                      <a:pt x="2" y="127"/>
                    </a:cubicBezTo>
                    <a:lnTo>
                      <a:pt x="11" y="136"/>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17" name="Freeform 139">
                <a:extLst>
                  <a:ext uri="{FF2B5EF4-FFF2-40B4-BE49-F238E27FC236}">
                    <a16:creationId xmlns:a16="http://schemas.microsoft.com/office/drawing/2014/main" id="{48FD97F2-E7EB-460C-AB10-6C8BC725D714}"/>
                  </a:ext>
                </a:extLst>
              </p:cNvPr>
              <p:cNvSpPr>
                <a:spLocks/>
              </p:cNvSpPr>
              <p:nvPr>
                <p:custDataLst>
                  <p:tags r:id="rId98"/>
                </p:custDataLst>
              </p:nvPr>
            </p:nvSpPr>
            <p:spPr bwMode="gray">
              <a:xfrm>
                <a:off x="5046634" y="4913331"/>
                <a:ext cx="260348" cy="271462"/>
              </a:xfrm>
              <a:custGeom>
                <a:avLst/>
                <a:gdLst>
                  <a:gd name="T0" fmla="*/ 0 w 433"/>
                  <a:gd name="T1" fmla="*/ 377 h 490"/>
                  <a:gd name="T2" fmla="*/ 22 w 433"/>
                  <a:gd name="T3" fmla="*/ 394 h 490"/>
                  <a:gd name="T4" fmla="*/ 30 w 433"/>
                  <a:gd name="T5" fmla="*/ 423 h 490"/>
                  <a:gd name="T6" fmla="*/ 37 w 433"/>
                  <a:gd name="T7" fmla="*/ 443 h 490"/>
                  <a:gd name="T8" fmla="*/ 27 w 433"/>
                  <a:gd name="T9" fmla="*/ 465 h 490"/>
                  <a:gd name="T10" fmla="*/ 27 w 433"/>
                  <a:gd name="T11" fmla="*/ 487 h 490"/>
                  <a:gd name="T12" fmla="*/ 78 w 433"/>
                  <a:gd name="T13" fmla="*/ 485 h 490"/>
                  <a:gd name="T14" fmla="*/ 83 w 433"/>
                  <a:gd name="T15" fmla="*/ 473 h 490"/>
                  <a:gd name="T16" fmla="*/ 97 w 433"/>
                  <a:gd name="T17" fmla="*/ 474 h 490"/>
                  <a:gd name="T18" fmla="*/ 106 w 433"/>
                  <a:gd name="T19" fmla="*/ 454 h 490"/>
                  <a:gd name="T20" fmla="*/ 124 w 433"/>
                  <a:gd name="T21" fmla="*/ 446 h 490"/>
                  <a:gd name="T22" fmla="*/ 142 w 433"/>
                  <a:gd name="T23" fmla="*/ 401 h 490"/>
                  <a:gd name="T24" fmla="*/ 171 w 433"/>
                  <a:gd name="T25" fmla="*/ 413 h 490"/>
                  <a:gd name="T26" fmla="*/ 181 w 433"/>
                  <a:gd name="T27" fmla="*/ 423 h 490"/>
                  <a:gd name="T28" fmla="*/ 198 w 433"/>
                  <a:gd name="T29" fmla="*/ 424 h 490"/>
                  <a:gd name="T30" fmla="*/ 223 w 433"/>
                  <a:gd name="T31" fmla="*/ 433 h 490"/>
                  <a:gd name="T32" fmla="*/ 236 w 433"/>
                  <a:gd name="T33" fmla="*/ 426 h 490"/>
                  <a:gd name="T34" fmla="*/ 255 w 433"/>
                  <a:gd name="T35" fmla="*/ 426 h 490"/>
                  <a:gd name="T36" fmla="*/ 270 w 433"/>
                  <a:gd name="T37" fmla="*/ 386 h 490"/>
                  <a:gd name="T38" fmla="*/ 284 w 433"/>
                  <a:gd name="T39" fmla="*/ 374 h 490"/>
                  <a:gd name="T40" fmla="*/ 295 w 433"/>
                  <a:gd name="T41" fmla="*/ 371 h 490"/>
                  <a:gd name="T42" fmla="*/ 318 w 433"/>
                  <a:gd name="T43" fmla="*/ 347 h 490"/>
                  <a:gd name="T44" fmla="*/ 329 w 433"/>
                  <a:gd name="T45" fmla="*/ 311 h 490"/>
                  <a:gd name="T46" fmla="*/ 353 w 433"/>
                  <a:gd name="T47" fmla="*/ 298 h 490"/>
                  <a:gd name="T48" fmla="*/ 383 w 433"/>
                  <a:gd name="T49" fmla="*/ 259 h 490"/>
                  <a:gd name="T50" fmla="*/ 412 w 433"/>
                  <a:gd name="T51" fmla="*/ 252 h 490"/>
                  <a:gd name="T52" fmla="*/ 420 w 433"/>
                  <a:gd name="T53" fmla="*/ 236 h 490"/>
                  <a:gd name="T54" fmla="*/ 433 w 433"/>
                  <a:gd name="T55" fmla="*/ 235 h 490"/>
                  <a:gd name="T56" fmla="*/ 414 w 433"/>
                  <a:gd name="T57" fmla="*/ 210 h 490"/>
                  <a:gd name="T58" fmla="*/ 375 w 433"/>
                  <a:gd name="T59" fmla="*/ 202 h 490"/>
                  <a:gd name="T60" fmla="*/ 375 w 433"/>
                  <a:gd name="T61" fmla="*/ 187 h 490"/>
                  <a:gd name="T62" fmla="*/ 363 w 433"/>
                  <a:gd name="T63" fmla="*/ 182 h 490"/>
                  <a:gd name="T64" fmla="*/ 363 w 433"/>
                  <a:gd name="T65" fmla="*/ 164 h 490"/>
                  <a:gd name="T66" fmla="*/ 367 w 433"/>
                  <a:gd name="T67" fmla="*/ 159 h 490"/>
                  <a:gd name="T68" fmla="*/ 365 w 433"/>
                  <a:gd name="T69" fmla="*/ 144 h 490"/>
                  <a:gd name="T70" fmla="*/ 344 w 433"/>
                  <a:gd name="T71" fmla="*/ 143 h 490"/>
                  <a:gd name="T72" fmla="*/ 343 w 433"/>
                  <a:gd name="T73" fmla="*/ 121 h 490"/>
                  <a:gd name="T74" fmla="*/ 323 w 433"/>
                  <a:gd name="T75" fmla="*/ 117 h 490"/>
                  <a:gd name="T76" fmla="*/ 295 w 433"/>
                  <a:gd name="T77" fmla="*/ 96 h 490"/>
                  <a:gd name="T78" fmla="*/ 286 w 433"/>
                  <a:gd name="T79" fmla="*/ 64 h 490"/>
                  <a:gd name="T80" fmla="*/ 276 w 433"/>
                  <a:gd name="T81" fmla="*/ 43 h 490"/>
                  <a:gd name="T82" fmla="*/ 264 w 433"/>
                  <a:gd name="T83" fmla="*/ 39 h 490"/>
                  <a:gd name="T84" fmla="*/ 264 w 433"/>
                  <a:gd name="T85" fmla="*/ 19 h 490"/>
                  <a:gd name="T86" fmla="*/ 255 w 433"/>
                  <a:gd name="T87" fmla="*/ 10 h 490"/>
                  <a:gd name="T88" fmla="*/ 253 w 433"/>
                  <a:gd name="T89" fmla="*/ 0 h 490"/>
                  <a:gd name="T90" fmla="*/ 230 w 433"/>
                  <a:gd name="T91" fmla="*/ 2 h 490"/>
                  <a:gd name="T92" fmla="*/ 219 w 433"/>
                  <a:gd name="T93" fmla="*/ 10 h 490"/>
                  <a:gd name="T94" fmla="*/ 211 w 433"/>
                  <a:gd name="T95" fmla="*/ 10 h 490"/>
                  <a:gd name="T96" fmla="*/ 195 w 433"/>
                  <a:gd name="T97" fmla="*/ 18 h 490"/>
                  <a:gd name="T98" fmla="*/ 177 w 433"/>
                  <a:gd name="T99" fmla="*/ 37 h 490"/>
                  <a:gd name="T100" fmla="*/ 172 w 433"/>
                  <a:gd name="T101" fmla="*/ 24 h 490"/>
                  <a:gd name="T102" fmla="*/ 166 w 433"/>
                  <a:gd name="T103" fmla="*/ 24 h 490"/>
                  <a:gd name="T104" fmla="*/ 159 w 433"/>
                  <a:gd name="T105" fmla="*/ 10 h 490"/>
                  <a:gd name="T106" fmla="*/ 114 w 433"/>
                  <a:gd name="T107" fmla="*/ 20 h 490"/>
                  <a:gd name="T108" fmla="*/ 53 w 433"/>
                  <a:gd name="T109" fmla="*/ 26 h 490"/>
                  <a:gd name="T110" fmla="*/ 53 w 433"/>
                  <a:gd name="T111" fmla="*/ 143 h 490"/>
                  <a:gd name="T112" fmla="*/ 49 w 433"/>
                  <a:gd name="T113" fmla="*/ 147 h 490"/>
                  <a:gd name="T114" fmla="*/ 50 w 433"/>
                  <a:gd name="T115" fmla="*/ 228 h 490"/>
                  <a:gd name="T116" fmla="*/ 2 w 433"/>
                  <a:gd name="T117" fmla="*/ 228 h 490"/>
                  <a:gd name="T118" fmla="*/ 0 w 433"/>
                  <a:gd name="T119" fmla="*/ 377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33" h="490">
                    <a:moveTo>
                      <a:pt x="0" y="377"/>
                    </a:moveTo>
                    <a:cubicBezTo>
                      <a:pt x="9" y="381"/>
                      <a:pt x="18" y="386"/>
                      <a:pt x="22" y="394"/>
                    </a:cubicBezTo>
                    <a:cubicBezTo>
                      <a:pt x="31" y="413"/>
                      <a:pt x="30" y="423"/>
                      <a:pt x="30" y="423"/>
                    </a:cubicBezTo>
                    <a:cubicBezTo>
                      <a:pt x="30" y="423"/>
                      <a:pt x="39" y="434"/>
                      <a:pt x="37" y="443"/>
                    </a:cubicBezTo>
                    <a:cubicBezTo>
                      <a:pt x="35" y="452"/>
                      <a:pt x="27" y="465"/>
                      <a:pt x="27" y="465"/>
                    </a:cubicBezTo>
                    <a:cubicBezTo>
                      <a:pt x="27" y="465"/>
                      <a:pt x="22" y="484"/>
                      <a:pt x="27" y="487"/>
                    </a:cubicBezTo>
                    <a:cubicBezTo>
                      <a:pt x="32" y="490"/>
                      <a:pt x="78" y="485"/>
                      <a:pt x="78" y="485"/>
                    </a:cubicBezTo>
                    <a:cubicBezTo>
                      <a:pt x="78" y="485"/>
                      <a:pt x="79" y="474"/>
                      <a:pt x="83" y="473"/>
                    </a:cubicBezTo>
                    <a:cubicBezTo>
                      <a:pt x="87" y="472"/>
                      <a:pt x="97" y="474"/>
                      <a:pt x="97" y="474"/>
                    </a:cubicBezTo>
                    <a:cubicBezTo>
                      <a:pt x="97" y="474"/>
                      <a:pt x="99" y="457"/>
                      <a:pt x="106" y="454"/>
                    </a:cubicBezTo>
                    <a:cubicBezTo>
                      <a:pt x="113" y="451"/>
                      <a:pt x="124" y="453"/>
                      <a:pt x="124" y="446"/>
                    </a:cubicBezTo>
                    <a:cubicBezTo>
                      <a:pt x="124" y="439"/>
                      <a:pt x="129" y="401"/>
                      <a:pt x="142" y="401"/>
                    </a:cubicBezTo>
                    <a:cubicBezTo>
                      <a:pt x="155" y="401"/>
                      <a:pt x="171" y="413"/>
                      <a:pt x="171" y="413"/>
                    </a:cubicBezTo>
                    <a:cubicBezTo>
                      <a:pt x="181" y="423"/>
                      <a:pt x="181" y="423"/>
                      <a:pt x="181" y="423"/>
                    </a:cubicBezTo>
                    <a:cubicBezTo>
                      <a:pt x="198" y="424"/>
                      <a:pt x="198" y="424"/>
                      <a:pt x="198" y="424"/>
                    </a:cubicBezTo>
                    <a:cubicBezTo>
                      <a:pt x="198" y="424"/>
                      <a:pt x="213" y="435"/>
                      <a:pt x="223" y="433"/>
                    </a:cubicBezTo>
                    <a:cubicBezTo>
                      <a:pt x="233" y="431"/>
                      <a:pt x="236" y="426"/>
                      <a:pt x="236" y="426"/>
                    </a:cubicBezTo>
                    <a:cubicBezTo>
                      <a:pt x="236" y="426"/>
                      <a:pt x="244" y="433"/>
                      <a:pt x="255" y="426"/>
                    </a:cubicBezTo>
                    <a:cubicBezTo>
                      <a:pt x="266" y="419"/>
                      <a:pt x="270" y="386"/>
                      <a:pt x="270" y="386"/>
                    </a:cubicBezTo>
                    <a:cubicBezTo>
                      <a:pt x="284" y="374"/>
                      <a:pt x="284" y="374"/>
                      <a:pt x="284" y="374"/>
                    </a:cubicBezTo>
                    <a:cubicBezTo>
                      <a:pt x="295" y="371"/>
                      <a:pt x="295" y="371"/>
                      <a:pt x="295" y="371"/>
                    </a:cubicBezTo>
                    <a:cubicBezTo>
                      <a:pt x="295" y="371"/>
                      <a:pt x="318" y="353"/>
                      <a:pt x="318" y="347"/>
                    </a:cubicBezTo>
                    <a:cubicBezTo>
                      <a:pt x="318" y="341"/>
                      <a:pt x="319" y="318"/>
                      <a:pt x="329" y="311"/>
                    </a:cubicBezTo>
                    <a:cubicBezTo>
                      <a:pt x="339" y="304"/>
                      <a:pt x="342" y="305"/>
                      <a:pt x="353" y="298"/>
                    </a:cubicBezTo>
                    <a:cubicBezTo>
                      <a:pt x="364" y="291"/>
                      <a:pt x="378" y="265"/>
                      <a:pt x="383" y="259"/>
                    </a:cubicBezTo>
                    <a:cubicBezTo>
                      <a:pt x="388" y="253"/>
                      <a:pt x="412" y="252"/>
                      <a:pt x="412" y="252"/>
                    </a:cubicBezTo>
                    <a:cubicBezTo>
                      <a:pt x="420" y="236"/>
                      <a:pt x="420" y="236"/>
                      <a:pt x="420" y="236"/>
                    </a:cubicBezTo>
                    <a:cubicBezTo>
                      <a:pt x="433" y="235"/>
                      <a:pt x="433" y="235"/>
                      <a:pt x="433" y="235"/>
                    </a:cubicBezTo>
                    <a:cubicBezTo>
                      <a:pt x="430" y="228"/>
                      <a:pt x="424" y="214"/>
                      <a:pt x="414" y="210"/>
                    </a:cubicBezTo>
                    <a:cubicBezTo>
                      <a:pt x="401" y="205"/>
                      <a:pt x="375" y="202"/>
                      <a:pt x="375" y="202"/>
                    </a:cubicBezTo>
                    <a:cubicBezTo>
                      <a:pt x="375" y="202"/>
                      <a:pt x="375" y="194"/>
                      <a:pt x="375" y="187"/>
                    </a:cubicBezTo>
                    <a:cubicBezTo>
                      <a:pt x="375" y="180"/>
                      <a:pt x="363" y="182"/>
                      <a:pt x="363" y="182"/>
                    </a:cubicBezTo>
                    <a:cubicBezTo>
                      <a:pt x="363" y="164"/>
                      <a:pt x="363" y="164"/>
                      <a:pt x="363" y="164"/>
                    </a:cubicBezTo>
                    <a:cubicBezTo>
                      <a:pt x="367" y="159"/>
                      <a:pt x="367" y="159"/>
                      <a:pt x="367" y="159"/>
                    </a:cubicBezTo>
                    <a:cubicBezTo>
                      <a:pt x="365" y="144"/>
                      <a:pt x="365" y="144"/>
                      <a:pt x="365" y="144"/>
                    </a:cubicBezTo>
                    <a:cubicBezTo>
                      <a:pt x="344" y="143"/>
                      <a:pt x="344" y="143"/>
                      <a:pt x="344" y="143"/>
                    </a:cubicBezTo>
                    <a:cubicBezTo>
                      <a:pt x="344" y="143"/>
                      <a:pt x="345" y="128"/>
                      <a:pt x="343" y="121"/>
                    </a:cubicBezTo>
                    <a:cubicBezTo>
                      <a:pt x="341" y="114"/>
                      <a:pt x="323" y="117"/>
                      <a:pt x="323" y="117"/>
                    </a:cubicBezTo>
                    <a:cubicBezTo>
                      <a:pt x="323" y="117"/>
                      <a:pt x="302" y="105"/>
                      <a:pt x="295" y="96"/>
                    </a:cubicBezTo>
                    <a:cubicBezTo>
                      <a:pt x="288" y="87"/>
                      <a:pt x="286" y="64"/>
                      <a:pt x="286" y="64"/>
                    </a:cubicBezTo>
                    <a:cubicBezTo>
                      <a:pt x="286" y="64"/>
                      <a:pt x="280" y="53"/>
                      <a:pt x="276" y="43"/>
                    </a:cubicBezTo>
                    <a:cubicBezTo>
                      <a:pt x="272" y="33"/>
                      <a:pt x="264" y="39"/>
                      <a:pt x="264" y="39"/>
                    </a:cubicBezTo>
                    <a:cubicBezTo>
                      <a:pt x="264" y="19"/>
                      <a:pt x="264" y="19"/>
                      <a:pt x="264" y="19"/>
                    </a:cubicBezTo>
                    <a:cubicBezTo>
                      <a:pt x="255" y="10"/>
                      <a:pt x="255" y="10"/>
                      <a:pt x="255" y="10"/>
                    </a:cubicBezTo>
                    <a:cubicBezTo>
                      <a:pt x="253" y="0"/>
                      <a:pt x="253" y="0"/>
                      <a:pt x="253" y="0"/>
                    </a:cubicBezTo>
                    <a:cubicBezTo>
                      <a:pt x="230" y="2"/>
                      <a:pt x="230" y="2"/>
                      <a:pt x="230" y="2"/>
                    </a:cubicBezTo>
                    <a:cubicBezTo>
                      <a:pt x="219" y="10"/>
                      <a:pt x="219" y="10"/>
                      <a:pt x="219" y="10"/>
                    </a:cubicBezTo>
                    <a:cubicBezTo>
                      <a:pt x="211" y="10"/>
                      <a:pt x="211" y="10"/>
                      <a:pt x="211" y="10"/>
                    </a:cubicBezTo>
                    <a:cubicBezTo>
                      <a:pt x="211" y="10"/>
                      <a:pt x="201" y="12"/>
                      <a:pt x="195" y="18"/>
                    </a:cubicBezTo>
                    <a:cubicBezTo>
                      <a:pt x="190" y="23"/>
                      <a:pt x="180" y="36"/>
                      <a:pt x="177" y="37"/>
                    </a:cubicBezTo>
                    <a:cubicBezTo>
                      <a:pt x="174" y="38"/>
                      <a:pt x="172" y="24"/>
                      <a:pt x="172" y="24"/>
                    </a:cubicBezTo>
                    <a:cubicBezTo>
                      <a:pt x="166" y="24"/>
                      <a:pt x="166" y="24"/>
                      <a:pt x="166" y="24"/>
                    </a:cubicBezTo>
                    <a:cubicBezTo>
                      <a:pt x="166" y="24"/>
                      <a:pt x="168" y="10"/>
                      <a:pt x="159" y="10"/>
                    </a:cubicBezTo>
                    <a:cubicBezTo>
                      <a:pt x="151" y="10"/>
                      <a:pt x="135" y="18"/>
                      <a:pt x="114" y="20"/>
                    </a:cubicBezTo>
                    <a:cubicBezTo>
                      <a:pt x="92" y="23"/>
                      <a:pt x="53" y="26"/>
                      <a:pt x="53" y="26"/>
                    </a:cubicBezTo>
                    <a:cubicBezTo>
                      <a:pt x="53" y="143"/>
                      <a:pt x="53" y="143"/>
                      <a:pt x="53" y="143"/>
                    </a:cubicBezTo>
                    <a:cubicBezTo>
                      <a:pt x="49" y="147"/>
                      <a:pt x="49" y="147"/>
                      <a:pt x="49" y="147"/>
                    </a:cubicBezTo>
                    <a:cubicBezTo>
                      <a:pt x="50" y="228"/>
                      <a:pt x="50" y="228"/>
                      <a:pt x="50" y="228"/>
                    </a:cubicBezTo>
                    <a:cubicBezTo>
                      <a:pt x="2" y="228"/>
                      <a:pt x="2" y="228"/>
                      <a:pt x="2" y="228"/>
                    </a:cubicBezTo>
                    <a:lnTo>
                      <a:pt x="0" y="377"/>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18" name="Freeform 140">
                <a:extLst>
                  <a:ext uri="{FF2B5EF4-FFF2-40B4-BE49-F238E27FC236}">
                    <a16:creationId xmlns:a16="http://schemas.microsoft.com/office/drawing/2014/main" id="{5106EB0B-5290-43C7-9F64-B84F92D02AFB}"/>
                  </a:ext>
                </a:extLst>
              </p:cNvPr>
              <p:cNvSpPr>
                <a:spLocks/>
              </p:cNvSpPr>
              <p:nvPr>
                <p:custDataLst>
                  <p:tags r:id="rId99"/>
                </p:custDataLst>
              </p:nvPr>
            </p:nvSpPr>
            <p:spPr bwMode="gray">
              <a:xfrm>
                <a:off x="5654642" y="4024328"/>
                <a:ext cx="288924" cy="409577"/>
              </a:xfrm>
              <a:custGeom>
                <a:avLst/>
                <a:gdLst>
                  <a:gd name="T0" fmla="*/ 70 w 480"/>
                  <a:gd name="T1" fmla="*/ 77 h 739"/>
                  <a:gd name="T2" fmla="*/ 79 w 480"/>
                  <a:gd name="T3" fmla="*/ 85 h 739"/>
                  <a:gd name="T4" fmla="*/ 78 w 480"/>
                  <a:gd name="T5" fmla="*/ 93 h 739"/>
                  <a:gd name="T6" fmla="*/ 97 w 480"/>
                  <a:gd name="T7" fmla="*/ 117 h 739"/>
                  <a:gd name="T8" fmla="*/ 107 w 480"/>
                  <a:gd name="T9" fmla="*/ 142 h 739"/>
                  <a:gd name="T10" fmla="*/ 122 w 480"/>
                  <a:gd name="T11" fmla="*/ 142 h 739"/>
                  <a:gd name="T12" fmla="*/ 143 w 480"/>
                  <a:gd name="T13" fmla="*/ 167 h 739"/>
                  <a:gd name="T14" fmla="*/ 225 w 480"/>
                  <a:gd name="T15" fmla="*/ 194 h 739"/>
                  <a:gd name="T16" fmla="*/ 277 w 480"/>
                  <a:gd name="T17" fmla="*/ 220 h 739"/>
                  <a:gd name="T18" fmla="*/ 325 w 480"/>
                  <a:gd name="T19" fmla="*/ 217 h 739"/>
                  <a:gd name="T20" fmla="*/ 185 w 480"/>
                  <a:gd name="T21" fmla="*/ 382 h 739"/>
                  <a:gd name="T22" fmla="*/ 129 w 480"/>
                  <a:gd name="T23" fmla="*/ 382 h 739"/>
                  <a:gd name="T24" fmla="*/ 96 w 480"/>
                  <a:gd name="T25" fmla="*/ 396 h 739"/>
                  <a:gd name="T26" fmla="*/ 89 w 480"/>
                  <a:gd name="T27" fmla="*/ 414 h 739"/>
                  <a:gd name="T28" fmla="*/ 50 w 480"/>
                  <a:gd name="T29" fmla="*/ 421 h 739"/>
                  <a:gd name="T30" fmla="*/ 42 w 480"/>
                  <a:gd name="T31" fmla="*/ 435 h 739"/>
                  <a:gd name="T32" fmla="*/ 22 w 480"/>
                  <a:gd name="T33" fmla="*/ 471 h 739"/>
                  <a:gd name="T34" fmla="*/ 1 w 480"/>
                  <a:gd name="T35" fmla="*/ 492 h 739"/>
                  <a:gd name="T36" fmla="*/ 0 w 480"/>
                  <a:gd name="T37" fmla="*/ 695 h 739"/>
                  <a:gd name="T38" fmla="*/ 28 w 480"/>
                  <a:gd name="T39" fmla="*/ 735 h 739"/>
                  <a:gd name="T40" fmla="*/ 26 w 480"/>
                  <a:gd name="T41" fmla="*/ 739 h 739"/>
                  <a:gd name="T42" fmla="*/ 26 w 480"/>
                  <a:gd name="T43" fmla="*/ 739 h 739"/>
                  <a:gd name="T44" fmla="*/ 58 w 480"/>
                  <a:gd name="T45" fmla="*/ 680 h 739"/>
                  <a:gd name="T46" fmla="*/ 100 w 480"/>
                  <a:gd name="T47" fmla="*/ 639 h 739"/>
                  <a:gd name="T48" fmla="*/ 157 w 480"/>
                  <a:gd name="T49" fmla="*/ 573 h 739"/>
                  <a:gd name="T50" fmla="*/ 210 w 480"/>
                  <a:gd name="T51" fmla="*/ 536 h 739"/>
                  <a:gd name="T52" fmla="*/ 281 w 480"/>
                  <a:gd name="T53" fmla="*/ 473 h 739"/>
                  <a:gd name="T54" fmla="*/ 335 w 480"/>
                  <a:gd name="T55" fmla="*/ 399 h 739"/>
                  <a:gd name="T56" fmla="*/ 370 w 480"/>
                  <a:gd name="T57" fmla="*/ 334 h 739"/>
                  <a:gd name="T58" fmla="*/ 384 w 480"/>
                  <a:gd name="T59" fmla="*/ 308 h 739"/>
                  <a:gd name="T60" fmla="*/ 397 w 480"/>
                  <a:gd name="T61" fmla="*/ 262 h 739"/>
                  <a:gd name="T62" fmla="*/ 417 w 480"/>
                  <a:gd name="T63" fmla="*/ 228 h 739"/>
                  <a:gd name="T64" fmla="*/ 427 w 480"/>
                  <a:gd name="T65" fmla="*/ 205 h 739"/>
                  <a:gd name="T66" fmla="*/ 440 w 480"/>
                  <a:gd name="T67" fmla="*/ 169 h 739"/>
                  <a:gd name="T68" fmla="*/ 457 w 480"/>
                  <a:gd name="T69" fmla="*/ 147 h 739"/>
                  <a:gd name="T70" fmla="*/ 457 w 480"/>
                  <a:gd name="T71" fmla="*/ 93 h 739"/>
                  <a:gd name="T72" fmla="*/ 471 w 480"/>
                  <a:gd name="T73" fmla="*/ 84 h 739"/>
                  <a:gd name="T74" fmla="*/ 467 w 480"/>
                  <a:gd name="T75" fmla="*/ 38 h 739"/>
                  <a:gd name="T76" fmla="*/ 474 w 480"/>
                  <a:gd name="T77" fmla="*/ 8 h 739"/>
                  <a:gd name="T78" fmla="*/ 447 w 480"/>
                  <a:gd name="T79" fmla="*/ 0 h 739"/>
                  <a:gd name="T80" fmla="*/ 432 w 480"/>
                  <a:gd name="T81" fmla="*/ 21 h 739"/>
                  <a:gd name="T82" fmla="*/ 382 w 480"/>
                  <a:gd name="T83" fmla="*/ 37 h 739"/>
                  <a:gd name="T84" fmla="*/ 345 w 480"/>
                  <a:gd name="T85" fmla="*/ 35 h 739"/>
                  <a:gd name="T86" fmla="*/ 318 w 480"/>
                  <a:gd name="T87" fmla="*/ 54 h 739"/>
                  <a:gd name="T88" fmla="*/ 296 w 480"/>
                  <a:gd name="T89" fmla="*/ 43 h 739"/>
                  <a:gd name="T90" fmla="*/ 252 w 480"/>
                  <a:gd name="T91" fmla="*/ 73 h 739"/>
                  <a:gd name="T92" fmla="*/ 221 w 480"/>
                  <a:gd name="T93" fmla="*/ 62 h 739"/>
                  <a:gd name="T94" fmla="*/ 181 w 480"/>
                  <a:gd name="T95" fmla="*/ 84 h 739"/>
                  <a:gd name="T96" fmla="*/ 141 w 480"/>
                  <a:gd name="T97" fmla="*/ 85 h 739"/>
                  <a:gd name="T98" fmla="*/ 111 w 480"/>
                  <a:gd name="T99" fmla="*/ 48 h 739"/>
                  <a:gd name="T100" fmla="*/ 99 w 480"/>
                  <a:gd name="T101" fmla="*/ 35 h 739"/>
                  <a:gd name="T102" fmla="*/ 84 w 480"/>
                  <a:gd name="T103" fmla="*/ 55 h 739"/>
                  <a:gd name="T104" fmla="*/ 70 w 480"/>
                  <a:gd name="T105" fmla="*/ 77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0" h="739">
                    <a:moveTo>
                      <a:pt x="70" y="77"/>
                    </a:moveTo>
                    <a:cubicBezTo>
                      <a:pt x="79" y="85"/>
                      <a:pt x="79" y="85"/>
                      <a:pt x="79" y="85"/>
                    </a:cubicBezTo>
                    <a:cubicBezTo>
                      <a:pt x="78" y="93"/>
                      <a:pt x="78" y="93"/>
                      <a:pt x="78" y="93"/>
                    </a:cubicBezTo>
                    <a:cubicBezTo>
                      <a:pt x="78" y="93"/>
                      <a:pt x="91" y="109"/>
                      <a:pt x="97" y="117"/>
                    </a:cubicBezTo>
                    <a:cubicBezTo>
                      <a:pt x="103" y="125"/>
                      <a:pt x="107" y="142"/>
                      <a:pt x="107" y="142"/>
                    </a:cubicBezTo>
                    <a:cubicBezTo>
                      <a:pt x="122" y="142"/>
                      <a:pt x="122" y="142"/>
                      <a:pt x="122" y="142"/>
                    </a:cubicBezTo>
                    <a:cubicBezTo>
                      <a:pt x="122" y="142"/>
                      <a:pt x="132" y="159"/>
                      <a:pt x="143" y="167"/>
                    </a:cubicBezTo>
                    <a:cubicBezTo>
                      <a:pt x="154" y="175"/>
                      <a:pt x="206" y="188"/>
                      <a:pt x="225" y="194"/>
                    </a:cubicBezTo>
                    <a:cubicBezTo>
                      <a:pt x="244" y="200"/>
                      <a:pt x="277" y="220"/>
                      <a:pt x="277" y="220"/>
                    </a:cubicBezTo>
                    <a:cubicBezTo>
                      <a:pt x="325" y="217"/>
                      <a:pt x="325" y="217"/>
                      <a:pt x="325" y="217"/>
                    </a:cubicBezTo>
                    <a:cubicBezTo>
                      <a:pt x="185" y="382"/>
                      <a:pt x="185" y="382"/>
                      <a:pt x="185" y="382"/>
                    </a:cubicBezTo>
                    <a:cubicBezTo>
                      <a:pt x="185" y="382"/>
                      <a:pt x="137" y="380"/>
                      <a:pt x="129" y="382"/>
                    </a:cubicBezTo>
                    <a:cubicBezTo>
                      <a:pt x="121" y="384"/>
                      <a:pt x="96" y="396"/>
                      <a:pt x="96" y="396"/>
                    </a:cubicBezTo>
                    <a:cubicBezTo>
                      <a:pt x="96" y="396"/>
                      <a:pt x="95" y="408"/>
                      <a:pt x="89" y="414"/>
                    </a:cubicBezTo>
                    <a:cubicBezTo>
                      <a:pt x="83" y="420"/>
                      <a:pt x="58" y="418"/>
                      <a:pt x="50" y="421"/>
                    </a:cubicBezTo>
                    <a:cubicBezTo>
                      <a:pt x="42" y="424"/>
                      <a:pt x="42" y="435"/>
                      <a:pt x="42" y="435"/>
                    </a:cubicBezTo>
                    <a:cubicBezTo>
                      <a:pt x="42" y="435"/>
                      <a:pt x="29" y="463"/>
                      <a:pt x="22" y="471"/>
                    </a:cubicBezTo>
                    <a:cubicBezTo>
                      <a:pt x="15" y="479"/>
                      <a:pt x="1" y="492"/>
                      <a:pt x="1" y="492"/>
                    </a:cubicBezTo>
                    <a:cubicBezTo>
                      <a:pt x="0" y="695"/>
                      <a:pt x="0" y="695"/>
                      <a:pt x="0" y="695"/>
                    </a:cubicBezTo>
                    <a:cubicBezTo>
                      <a:pt x="28" y="735"/>
                      <a:pt x="28" y="735"/>
                      <a:pt x="28" y="735"/>
                    </a:cubicBezTo>
                    <a:cubicBezTo>
                      <a:pt x="27" y="737"/>
                      <a:pt x="27" y="738"/>
                      <a:pt x="26" y="739"/>
                    </a:cubicBezTo>
                    <a:cubicBezTo>
                      <a:pt x="26" y="739"/>
                      <a:pt x="26" y="739"/>
                      <a:pt x="26" y="739"/>
                    </a:cubicBezTo>
                    <a:cubicBezTo>
                      <a:pt x="35" y="722"/>
                      <a:pt x="52" y="690"/>
                      <a:pt x="58" y="680"/>
                    </a:cubicBezTo>
                    <a:cubicBezTo>
                      <a:pt x="65" y="669"/>
                      <a:pt x="97" y="654"/>
                      <a:pt x="100" y="639"/>
                    </a:cubicBezTo>
                    <a:cubicBezTo>
                      <a:pt x="103" y="624"/>
                      <a:pt x="146" y="586"/>
                      <a:pt x="157" y="573"/>
                    </a:cubicBezTo>
                    <a:cubicBezTo>
                      <a:pt x="168" y="560"/>
                      <a:pt x="202" y="541"/>
                      <a:pt x="210" y="536"/>
                    </a:cubicBezTo>
                    <a:cubicBezTo>
                      <a:pt x="218" y="531"/>
                      <a:pt x="275" y="484"/>
                      <a:pt x="281" y="473"/>
                    </a:cubicBezTo>
                    <a:cubicBezTo>
                      <a:pt x="287" y="462"/>
                      <a:pt x="331" y="413"/>
                      <a:pt x="335" y="399"/>
                    </a:cubicBezTo>
                    <a:cubicBezTo>
                      <a:pt x="339" y="385"/>
                      <a:pt x="364" y="339"/>
                      <a:pt x="370" y="334"/>
                    </a:cubicBezTo>
                    <a:cubicBezTo>
                      <a:pt x="376" y="329"/>
                      <a:pt x="384" y="316"/>
                      <a:pt x="384" y="308"/>
                    </a:cubicBezTo>
                    <a:cubicBezTo>
                      <a:pt x="384" y="300"/>
                      <a:pt x="390" y="271"/>
                      <a:pt x="397" y="262"/>
                    </a:cubicBezTo>
                    <a:cubicBezTo>
                      <a:pt x="404" y="253"/>
                      <a:pt x="417" y="241"/>
                      <a:pt x="417" y="228"/>
                    </a:cubicBezTo>
                    <a:cubicBezTo>
                      <a:pt x="417" y="215"/>
                      <a:pt x="427" y="205"/>
                      <a:pt x="427" y="205"/>
                    </a:cubicBezTo>
                    <a:cubicBezTo>
                      <a:pt x="440" y="169"/>
                      <a:pt x="440" y="169"/>
                      <a:pt x="440" y="169"/>
                    </a:cubicBezTo>
                    <a:cubicBezTo>
                      <a:pt x="440" y="169"/>
                      <a:pt x="457" y="173"/>
                      <a:pt x="457" y="147"/>
                    </a:cubicBezTo>
                    <a:cubicBezTo>
                      <a:pt x="457" y="121"/>
                      <a:pt x="457" y="93"/>
                      <a:pt x="457" y="93"/>
                    </a:cubicBezTo>
                    <a:cubicBezTo>
                      <a:pt x="471" y="84"/>
                      <a:pt x="471" y="84"/>
                      <a:pt x="471" y="84"/>
                    </a:cubicBezTo>
                    <a:cubicBezTo>
                      <a:pt x="467" y="38"/>
                      <a:pt x="467" y="38"/>
                      <a:pt x="467" y="38"/>
                    </a:cubicBezTo>
                    <a:cubicBezTo>
                      <a:pt x="467" y="38"/>
                      <a:pt x="480" y="14"/>
                      <a:pt x="474" y="8"/>
                    </a:cubicBezTo>
                    <a:cubicBezTo>
                      <a:pt x="468" y="2"/>
                      <a:pt x="447" y="0"/>
                      <a:pt x="447" y="0"/>
                    </a:cubicBezTo>
                    <a:cubicBezTo>
                      <a:pt x="447" y="0"/>
                      <a:pt x="439" y="14"/>
                      <a:pt x="432" y="21"/>
                    </a:cubicBezTo>
                    <a:cubicBezTo>
                      <a:pt x="425" y="28"/>
                      <a:pt x="388" y="37"/>
                      <a:pt x="382" y="37"/>
                    </a:cubicBezTo>
                    <a:cubicBezTo>
                      <a:pt x="376" y="37"/>
                      <a:pt x="355" y="31"/>
                      <a:pt x="345" y="35"/>
                    </a:cubicBezTo>
                    <a:cubicBezTo>
                      <a:pt x="335" y="39"/>
                      <a:pt x="322" y="54"/>
                      <a:pt x="318" y="54"/>
                    </a:cubicBezTo>
                    <a:cubicBezTo>
                      <a:pt x="314" y="54"/>
                      <a:pt x="304" y="42"/>
                      <a:pt x="296" y="43"/>
                    </a:cubicBezTo>
                    <a:cubicBezTo>
                      <a:pt x="288" y="44"/>
                      <a:pt x="261" y="72"/>
                      <a:pt x="252" y="73"/>
                    </a:cubicBezTo>
                    <a:cubicBezTo>
                      <a:pt x="243" y="74"/>
                      <a:pt x="235" y="58"/>
                      <a:pt x="221" y="62"/>
                    </a:cubicBezTo>
                    <a:cubicBezTo>
                      <a:pt x="207" y="66"/>
                      <a:pt x="189" y="83"/>
                      <a:pt x="181" y="84"/>
                    </a:cubicBezTo>
                    <a:cubicBezTo>
                      <a:pt x="173" y="85"/>
                      <a:pt x="141" y="85"/>
                      <a:pt x="141" y="85"/>
                    </a:cubicBezTo>
                    <a:cubicBezTo>
                      <a:pt x="141" y="85"/>
                      <a:pt x="111" y="58"/>
                      <a:pt x="111" y="48"/>
                    </a:cubicBezTo>
                    <a:cubicBezTo>
                      <a:pt x="111" y="40"/>
                      <a:pt x="102" y="36"/>
                      <a:pt x="99" y="35"/>
                    </a:cubicBezTo>
                    <a:cubicBezTo>
                      <a:pt x="84" y="55"/>
                      <a:pt x="84" y="55"/>
                      <a:pt x="84" y="55"/>
                    </a:cubicBezTo>
                    <a:lnTo>
                      <a:pt x="70" y="77"/>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19" name="Freeform 141">
                <a:extLst>
                  <a:ext uri="{FF2B5EF4-FFF2-40B4-BE49-F238E27FC236}">
                    <a16:creationId xmlns:a16="http://schemas.microsoft.com/office/drawing/2014/main" id="{BDE9CC74-36BB-41DC-B917-0CD74683DF10}"/>
                  </a:ext>
                </a:extLst>
              </p:cNvPr>
              <p:cNvSpPr>
                <a:spLocks/>
              </p:cNvSpPr>
              <p:nvPr>
                <p:custDataLst>
                  <p:tags r:id="rId100"/>
                </p:custDataLst>
              </p:nvPr>
            </p:nvSpPr>
            <p:spPr bwMode="gray">
              <a:xfrm>
                <a:off x="5668931" y="4003690"/>
                <a:ext cx="52387" cy="52388"/>
              </a:xfrm>
              <a:custGeom>
                <a:avLst/>
                <a:gdLst>
                  <a:gd name="T0" fmla="*/ 47 w 85"/>
                  <a:gd name="T1" fmla="*/ 18 h 95"/>
                  <a:gd name="T2" fmla="*/ 31 w 85"/>
                  <a:gd name="T3" fmla="*/ 8 h 95"/>
                  <a:gd name="T4" fmla="*/ 13 w 85"/>
                  <a:gd name="T5" fmla="*/ 47 h 95"/>
                  <a:gd name="T6" fmla="*/ 0 w 85"/>
                  <a:gd name="T7" fmla="*/ 56 h 95"/>
                  <a:gd name="T8" fmla="*/ 11 w 85"/>
                  <a:gd name="T9" fmla="*/ 94 h 95"/>
                  <a:gd name="T10" fmla="*/ 36 w 85"/>
                  <a:gd name="T11" fmla="*/ 91 h 95"/>
                  <a:gd name="T12" fmla="*/ 46 w 85"/>
                  <a:gd name="T13" fmla="*/ 84 h 95"/>
                  <a:gd name="T14" fmla="*/ 59 w 85"/>
                  <a:gd name="T15" fmla="*/ 93 h 95"/>
                  <a:gd name="T16" fmla="*/ 60 w 85"/>
                  <a:gd name="T17" fmla="*/ 91 h 95"/>
                  <a:gd name="T18" fmla="*/ 75 w 85"/>
                  <a:gd name="T19" fmla="*/ 71 h 95"/>
                  <a:gd name="T20" fmla="*/ 74 w 85"/>
                  <a:gd name="T21" fmla="*/ 71 h 95"/>
                  <a:gd name="T22" fmla="*/ 67 w 85"/>
                  <a:gd name="T23" fmla="*/ 61 h 95"/>
                  <a:gd name="T24" fmla="*/ 44 w 85"/>
                  <a:gd name="T25" fmla="*/ 63 h 95"/>
                  <a:gd name="T26" fmla="*/ 76 w 85"/>
                  <a:gd name="T27" fmla="*/ 17 h 95"/>
                  <a:gd name="T28" fmla="*/ 63 w 85"/>
                  <a:gd name="T29" fmla="*/ 0 h 95"/>
                  <a:gd name="T30" fmla="*/ 54 w 85"/>
                  <a:gd name="T31" fmla="*/ 6 h 95"/>
                  <a:gd name="T32" fmla="*/ 47 w 85"/>
                  <a:gd name="T33" fmla="*/ 1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95">
                    <a:moveTo>
                      <a:pt x="47" y="18"/>
                    </a:moveTo>
                    <a:cubicBezTo>
                      <a:pt x="31" y="8"/>
                      <a:pt x="31" y="8"/>
                      <a:pt x="31" y="8"/>
                    </a:cubicBezTo>
                    <a:cubicBezTo>
                      <a:pt x="13" y="47"/>
                      <a:pt x="13" y="47"/>
                      <a:pt x="13" y="47"/>
                    </a:cubicBezTo>
                    <a:cubicBezTo>
                      <a:pt x="0" y="56"/>
                      <a:pt x="0" y="56"/>
                      <a:pt x="0" y="56"/>
                    </a:cubicBezTo>
                    <a:cubicBezTo>
                      <a:pt x="0" y="56"/>
                      <a:pt x="3" y="93"/>
                      <a:pt x="11" y="94"/>
                    </a:cubicBezTo>
                    <a:cubicBezTo>
                      <a:pt x="19" y="95"/>
                      <a:pt x="36" y="91"/>
                      <a:pt x="36" y="91"/>
                    </a:cubicBezTo>
                    <a:cubicBezTo>
                      <a:pt x="36" y="91"/>
                      <a:pt x="39" y="83"/>
                      <a:pt x="46" y="84"/>
                    </a:cubicBezTo>
                    <a:cubicBezTo>
                      <a:pt x="50" y="85"/>
                      <a:pt x="55" y="89"/>
                      <a:pt x="59" y="93"/>
                    </a:cubicBezTo>
                    <a:cubicBezTo>
                      <a:pt x="60" y="91"/>
                      <a:pt x="60" y="91"/>
                      <a:pt x="60" y="91"/>
                    </a:cubicBezTo>
                    <a:cubicBezTo>
                      <a:pt x="75" y="71"/>
                      <a:pt x="75" y="71"/>
                      <a:pt x="75" y="71"/>
                    </a:cubicBezTo>
                    <a:cubicBezTo>
                      <a:pt x="74" y="71"/>
                      <a:pt x="74" y="71"/>
                      <a:pt x="74" y="71"/>
                    </a:cubicBezTo>
                    <a:cubicBezTo>
                      <a:pt x="67" y="61"/>
                      <a:pt x="67" y="61"/>
                      <a:pt x="67" y="61"/>
                    </a:cubicBezTo>
                    <a:cubicBezTo>
                      <a:pt x="44" y="63"/>
                      <a:pt x="44" y="63"/>
                      <a:pt x="44" y="63"/>
                    </a:cubicBezTo>
                    <a:cubicBezTo>
                      <a:pt x="44" y="63"/>
                      <a:pt x="85" y="30"/>
                      <a:pt x="76" y="17"/>
                    </a:cubicBezTo>
                    <a:cubicBezTo>
                      <a:pt x="73" y="12"/>
                      <a:pt x="68" y="6"/>
                      <a:pt x="63" y="0"/>
                    </a:cubicBezTo>
                    <a:cubicBezTo>
                      <a:pt x="54" y="6"/>
                      <a:pt x="54" y="6"/>
                      <a:pt x="54" y="6"/>
                    </a:cubicBezTo>
                    <a:lnTo>
                      <a:pt x="47" y="18"/>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20" name="Freeform 142">
                <a:extLst>
                  <a:ext uri="{FF2B5EF4-FFF2-40B4-BE49-F238E27FC236}">
                    <a16:creationId xmlns:a16="http://schemas.microsoft.com/office/drawing/2014/main" id="{35DDC751-79B6-4146-88C1-BCAEC282D71C}"/>
                  </a:ext>
                </a:extLst>
              </p:cNvPr>
              <p:cNvSpPr>
                <a:spLocks/>
              </p:cNvSpPr>
              <p:nvPr>
                <p:custDataLst>
                  <p:tags r:id="rId101"/>
                </p:custDataLst>
              </p:nvPr>
            </p:nvSpPr>
            <p:spPr bwMode="gray">
              <a:xfrm>
                <a:off x="5514943" y="3846527"/>
                <a:ext cx="193673" cy="168276"/>
              </a:xfrm>
              <a:custGeom>
                <a:avLst/>
                <a:gdLst>
                  <a:gd name="T0" fmla="*/ 51 w 320"/>
                  <a:gd name="T1" fmla="*/ 35 h 305"/>
                  <a:gd name="T2" fmla="*/ 50 w 320"/>
                  <a:gd name="T3" fmla="*/ 50 h 305"/>
                  <a:gd name="T4" fmla="*/ 31 w 320"/>
                  <a:gd name="T5" fmla="*/ 57 h 305"/>
                  <a:gd name="T6" fmla="*/ 31 w 320"/>
                  <a:gd name="T7" fmla="*/ 67 h 305"/>
                  <a:gd name="T8" fmla="*/ 20 w 320"/>
                  <a:gd name="T9" fmla="*/ 75 h 305"/>
                  <a:gd name="T10" fmla="*/ 26 w 320"/>
                  <a:gd name="T11" fmla="*/ 106 h 305"/>
                  <a:gd name="T12" fmla="*/ 14 w 320"/>
                  <a:gd name="T13" fmla="*/ 126 h 305"/>
                  <a:gd name="T14" fmla="*/ 13 w 320"/>
                  <a:gd name="T15" fmla="*/ 143 h 305"/>
                  <a:gd name="T16" fmla="*/ 1 w 320"/>
                  <a:gd name="T17" fmla="*/ 157 h 305"/>
                  <a:gd name="T18" fmla="*/ 6 w 320"/>
                  <a:gd name="T19" fmla="*/ 167 h 305"/>
                  <a:gd name="T20" fmla="*/ 8 w 320"/>
                  <a:gd name="T21" fmla="*/ 200 h 305"/>
                  <a:gd name="T22" fmla="*/ 31 w 320"/>
                  <a:gd name="T23" fmla="*/ 201 h 305"/>
                  <a:gd name="T24" fmla="*/ 41 w 320"/>
                  <a:gd name="T25" fmla="*/ 191 h 305"/>
                  <a:gd name="T26" fmla="*/ 57 w 320"/>
                  <a:gd name="T27" fmla="*/ 211 h 305"/>
                  <a:gd name="T28" fmla="*/ 73 w 320"/>
                  <a:gd name="T29" fmla="*/ 170 h 305"/>
                  <a:gd name="T30" fmla="*/ 89 w 320"/>
                  <a:gd name="T31" fmla="*/ 179 h 305"/>
                  <a:gd name="T32" fmla="*/ 99 w 320"/>
                  <a:gd name="T33" fmla="*/ 194 h 305"/>
                  <a:gd name="T34" fmla="*/ 116 w 320"/>
                  <a:gd name="T35" fmla="*/ 194 h 305"/>
                  <a:gd name="T36" fmla="*/ 128 w 320"/>
                  <a:gd name="T37" fmla="*/ 181 h 305"/>
                  <a:gd name="T38" fmla="*/ 137 w 320"/>
                  <a:gd name="T39" fmla="*/ 194 h 305"/>
                  <a:gd name="T40" fmla="*/ 155 w 320"/>
                  <a:gd name="T41" fmla="*/ 187 h 305"/>
                  <a:gd name="T42" fmla="*/ 165 w 320"/>
                  <a:gd name="T43" fmla="*/ 192 h 305"/>
                  <a:gd name="T44" fmla="*/ 185 w 320"/>
                  <a:gd name="T45" fmla="*/ 193 h 305"/>
                  <a:gd name="T46" fmla="*/ 196 w 320"/>
                  <a:gd name="T47" fmla="*/ 207 h 305"/>
                  <a:gd name="T48" fmla="*/ 216 w 320"/>
                  <a:gd name="T49" fmla="*/ 216 h 305"/>
                  <a:gd name="T50" fmla="*/ 231 w 320"/>
                  <a:gd name="T51" fmla="*/ 242 h 305"/>
                  <a:gd name="T52" fmla="*/ 257 w 320"/>
                  <a:gd name="T53" fmla="*/ 257 h 305"/>
                  <a:gd name="T54" fmla="*/ 262 w 320"/>
                  <a:gd name="T55" fmla="*/ 277 h 305"/>
                  <a:gd name="T56" fmla="*/ 280 w 320"/>
                  <a:gd name="T57" fmla="*/ 283 h 305"/>
                  <a:gd name="T58" fmla="*/ 288 w 320"/>
                  <a:gd name="T59" fmla="*/ 295 h 305"/>
                  <a:gd name="T60" fmla="*/ 304 w 320"/>
                  <a:gd name="T61" fmla="*/ 305 h 305"/>
                  <a:gd name="T62" fmla="*/ 311 w 320"/>
                  <a:gd name="T63" fmla="*/ 293 h 305"/>
                  <a:gd name="T64" fmla="*/ 320 w 320"/>
                  <a:gd name="T65" fmla="*/ 287 h 305"/>
                  <a:gd name="T66" fmla="*/ 304 w 320"/>
                  <a:gd name="T67" fmla="*/ 268 h 305"/>
                  <a:gd name="T68" fmla="*/ 285 w 320"/>
                  <a:gd name="T69" fmla="*/ 264 h 305"/>
                  <a:gd name="T70" fmla="*/ 283 w 320"/>
                  <a:gd name="T71" fmla="*/ 239 h 305"/>
                  <a:gd name="T72" fmla="*/ 241 w 320"/>
                  <a:gd name="T73" fmla="*/ 216 h 305"/>
                  <a:gd name="T74" fmla="*/ 231 w 320"/>
                  <a:gd name="T75" fmla="*/ 181 h 305"/>
                  <a:gd name="T76" fmla="*/ 204 w 320"/>
                  <a:gd name="T77" fmla="*/ 177 h 305"/>
                  <a:gd name="T78" fmla="*/ 190 w 320"/>
                  <a:gd name="T79" fmla="*/ 159 h 305"/>
                  <a:gd name="T80" fmla="*/ 177 w 320"/>
                  <a:gd name="T81" fmla="*/ 165 h 305"/>
                  <a:gd name="T82" fmla="*/ 169 w 320"/>
                  <a:gd name="T83" fmla="*/ 152 h 305"/>
                  <a:gd name="T84" fmla="*/ 157 w 320"/>
                  <a:gd name="T85" fmla="*/ 149 h 305"/>
                  <a:gd name="T86" fmla="*/ 134 w 320"/>
                  <a:gd name="T87" fmla="*/ 117 h 305"/>
                  <a:gd name="T88" fmla="*/ 128 w 320"/>
                  <a:gd name="T89" fmla="*/ 62 h 305"/>
                  <a:gd name="T90" fmla="*/ 100 w 320"/>
                  <a:gd name="T91" fmla="*/ 1 h 305"/>
                  <a:gd name="T92" fmla="*/ 98 w 320"/>
                  <a:gd name="T93" fmla="*/ 0 h 305"/>
                  <a:gd name="T94" fmla="*/ 87 w 320"/>
                  <a:gd name="T95" fmla="*/ 25 h 305"/>
                  <a:gd name="T96" fmla="*/ 51 w 320"/>
                  <a:gd name="T97" fmla="*/ 35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305">
                    <a:moveTo>
                      <a:pt x="51" y="35"/>
                    </a:moveTo>
                    <a:cubicBezTo>
                      <a:pt x="51" y="35"/>
                      <a:pt x="51" y="43"/>
                      <a:pt x="50" y="50"/>
                    </a:cubicBezTo>
                    <a:cubicBezTo>
                      <a:pt x="49" y="57"/>
                      <a:pt x="31" y="57"/>
                      <a:pt x="31" y="57"/>
                    </a:cubicBezTo>
                    <a:cubicBezTo>
                      <a:pt x="31" y="67"/>
                      <a:pt x="31" y="67"/>
                      <a:pt x="31" y="67"/>
                    </a:cubicBezTo>
                    <a:cubicBezTo>
                      <a:pt x="31" y="67"/>
                      <a:pt x="20" y="72"/>
                      <a:pt x="20" y="75"/>
                    </a:cubicBezTo>
                    <a:cubicBezTo>
                      <a:pt x="20" y="78"/>
                      <a:pt x="26" y="88"/>
                      <a:pt x="26" y="106"/>
                    </a:cubicBezTo>
                    <a:cubicBezTo>
                      <a:pt x="26" y="124"/>
                      <a:pt x="14" y="126"/>
                      <a:pt x="14" y="126"/>
                    </a:cubicBezTo>
                    <a:cubicBezTo>
                      <a:pt x="14" y="126"/>
                      <a:pt x="13" y="136"/>
                      <a:pt x="13" y="143"/>
                    </a:cubicBezTo>
                    <a:cubicBezTo>
                      <a:pt x="13" y="150"/>
                      <a:pt x="2" y="149"/>
                      <a:pt x="1" y="157"/>
                    </a:cubicBezTo>
                    <a:cubicBezTo>
                      <a:pt x="0" y="165"/>
                      <a:pt x="6" y="167"/>
                      <a:pt x="6" y="167"/>
                    </a:cubicBezTo>
                    <a:cubicBezTo>
                      <a:pt x="8" y="200"/>
                      <a:pt x="8" y="200"/>
                      <a:pt x="8" y="200"/>
                    </a:cubicBezTo>
                    <a:cubicBezTo>
                      <a:pt x="31" y="201"/>
                      <a:pt x="31" y="201"/>
                      <a:pt x="31" y="201"/>
                    </a:cubicBezTo>
                    <a:cubicBezTo>
                      <a:pt x="31" y="201"/>
                      <a:pt x="36" y="191"/>
                      <a:pt x="41" y="191"/>
                    </a:cubicBezTo>
                    <a:cubicBezTo>
                      <a:pt x="46" y="191"/>
                      <a:pt x="49" y="211"/>
                      <a:pt x="57" y="211"/>
                    </a:cubicBezTo>
                    <a:cubicBezTo>
                      <a:pt x="65" y="211"/>
                      <a:pt x="73" y="170"/>
                      <a:pt x="73" y="170"/>
                    </a:cubicBezTo>
                    <a:cubicBezTo>
                      <a:pt x="73" y="170"/>
                      <a:pt x="85" y="177"/>
                      <a:pt x="89" y="179"/>
                    </a:cubicBezTo>
                    <a:cubicBezTo>
                      <a:pt x="93" y="181"/>
                      <a:pt x="99" y="194"/>
                      <a:pt x="99" y="194"/>
                    </a:cubicBezTo>
                    <a:cubicBezTo>
                      <a:pt x="99" y="194"/>
                      <a:pt x="113" y="194"/>
                      <a:pt x="116" y="194"/>
                    </a:cubicBezTo>
                    <a:cubicBezTo>
                      <a:pt x="119" y="194"/>
                      <a:pt x="128" y="181"/>
                      <a:pt x="128" y="181"/>
                    </a:cubicBezTo>
                    <a:cubicBezTo>
                      <a:pt x="128" y="181"/>
                      <a:pt x="134" y="194"/>
                      <a:pt x="137" y="194"/>
                    </a:cubicBezTo>
                    <a:cubicBezTo>
                      <a:pt x="140" y="194"/>
                      <a:pt x="151" y="187"/>
                      <a:pt x="155" y="187"/>
                    </a:cubicBezTo>
                    <a:cubicBezTo>
                      <a:pt x="159" y="187"/>
                      <a:pt x="165" y="192"/>
                      <a:pt x="165" y="192"/>
                    </a:cubicBezTo>
                    <a:cubicBezTo>
                      <a:pt x="185" y="193"/>
                      <a:pt x="185" y="193"/>
                      <a:pt x="185" y="193"/>
                    </a:cubicBezTo>
                    <a:cubicBezTo>
                      <a:pt x="196" y="207"/>
                      <a:pt x="196" y="207"/>
                      <a:pt x="196" y="207"/>
                    </a:cubicBezTo>
                    <a:cubicBezTo>
                      <a:pt x="196" y="207"/>
                      <a:pt x="208" y="208"/>
                      <a:pt x="216" y="216"/>
                    </a:cubicBezTo>
                    <a:cubicBezTo>
                      <a:pt x="224" y="224"/>
                      <a:pt x="227" y="234"/>
                      <a:pt x="231" y="242"/>
                    </a:cubicBezTo>
                    <a:cubicBezTo>
                      <a:pt x="235" y="250"/>
                      <a:pt x="253" y="252"/>
                      <a:pt x="257" y="257"/>
                    </a:cubicBezTo>
                    <a:cubicBezTo>
                      <a:pt x="261" y="262"/>
                      <a:pt x="261" y="271"/>
                      <a:pt x="262" y="277"/>
                    </a:cubicBezTo>
                    <a:cubicBezTo>
                      <a:pt x="263" y="283"/>
                      <a:pt x="280" y="283"/>
                      <a:pt x="280" y="283"/>
                    </a:cubicBezTo>
                    <a:cubicBezTo>
                      <a:pt x="288" y="295"/>
                      <a:pt x="288" y="295"/>
                      <a:pt x="288" y="295"/>
                    </a:cubicBezTo>
                    <a:cubicBezTo>
                      <a:pt x="304" y="305"/>
                      <a:pt x="304" y="305"/>
                      <a:pt x="304" y="305"/>
                    </a:cubicBezTo>
                    <a:cubicBezTo>
                      <a:pt x="311" y="293"/>
                      <a:pt x="311" y="293"/>
                      <a:pt x="311" y="293"/>
                    </a:cubicBezTo>
                    <a:cubicBezTo>
                      <a:pt x="320" y="287"/>
                      <a:pt x="320" y="287"/>
                      <a:pt x="320" y="287"/>
                    </a:cubicBezTo>
                    <a:cubicBezTo>
                      <a:pt x="312" y="277"/>
                      <a:pt x="304" y="268"/>
                      <a:pt x="304" y="268"/>
                    </a:cubicBezTo>
                    <a:cubicBezTo>
                      <a:pt x="304" y="268"/>
                      <a:pt x="287" y="271"/>
                      <a:pt x="285" y="264"/>
                    </a:cubicBezTo>
                    <a:cubicBezTo>
                      <a:pt x="283" y="257"/>
                      <a:pt x="283" y="239"/>
                      <a:pt x="283" y="239"/>
                    </a:cubicBezTo>
                    <a:cubicBezTo>
                      <a:pt x="283" y="239"/>
                      <a:pt x="244" y="225"/>
                      <a:pt x="241" y="216"/>
                    </a:cubicBezTo>
                    <a:cubicBezTo>
                      <a:pt x="238" y="207"/>
                      <a:pt x="238" y="185"/>
                      <a:pt x="231" y="181"/>
                    </a:cubicBezTo>
                    <a:cubicBezTo>
                      <a:pt x="224" y="177"/>
                      <a:pt x="207" y="181"/>
                      <a:pt x="204" y="177"/>
                    </a:cubicBezTo>
                    <a:cubicBezTo>
                      <a:pt x="201" y="173"/>
                      <a:pt x="190" y="159"/>
                      <a:pt x="190" y="159"/>
                    </a:cubicBezTo>
                    <a:cubicBezTo>
                      <a:pt x="177" y="165"/>
                      <a:pt x="177" y="165"/>
                      <a:pt x="177" y="165"/>
                    </a:cubicBezTo>
                    <a:cubicBezTo>
                      <a:pt x="169" y="152"/>
                      <a:pt x="169" y="152"/>
                      <a:pt x="169" y="152"/>
                    </a:cubicBezTo>
                    <a:cubicBezTo>
                      <a:pt x="157" y="149"/>
                      <a:pt x="157" y="149"/>
                      <a:pt x="157" y="149"/>
                    </a:cubicBezTo>
                    <a:cubicBezTo>
                      <a:pt x="157" y="149"/>
                      <a:pt x="137" y="129"/>
                      <a:pt x="134" y="117"/>
                    </a:cubicBezTo>
                    <a:cubicBezTo>
                      <a:pt x="131" y="105"/>
                      <a:pt x="135" y="85"/>
                      <a:pt x="128" y="62"/>
                    </a:cubicBezTo>
                    <a:cubicBezTo>
                      <a:pt x="121" y="39"/>
                      <a:pt x="100" y="1"/>
                      <a:pt x="100" y="1"/>
                    </a:cubicBezTo>
                    <a:cubicBezTo>
                      <a:pt x="98" y="0"/>
                      <a:pt x="98" y="0"/>
                      <a:pt x="98" y="0"/>
                    </a:cubicBezTo>
                    <a:cubicBezTo>
                      <a:pt x="96" y="9"/>
                      <a:pt x="92" y="21"/>
                      <a:pt x="87" y="25"/>
                    </a:cubicBezTo>
                    <a:cubicBezTo>
                      <a:pt x="78" y="33"/>
                      <a:pt x="51" y="35"/>
                      <a:pt x="51" y="35"/>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21" name="Freeform 143">
                <a:extLst>
                  <a:ext uri="{FF2B5EF4-FFF2-40B4-BE49-F238E27FC236}">
                    <a16:creationId xmlns:a16="http://schemas.microsoft.com/office/drawing/2014/main" id="{75CE7326-AD30-42E9-B546-C2C46C6B0EC7}"/>
                  </a:ext>
                </a:extLst>
              </p:cNvPr>
              <p:cNvSpPr>
                <a:spLocks/>
              </p:cNvSpPr>
              <p:nvPr>
                <p:custDataLst>
                  <p:tags r:id="rId102"/>
                </p:custDataLst>
              </p:nvPr>
            </p:nvSpPr>
            <p:spPr bwMode="gray">
              <a:xfrm>
                <a:off x="5424457" y="3940189"/>
                <a:ext cx="425448" cy="339726"/>
              </a:xfrm>
              <a:custGeom>
                <a:avLst/>
                <a:gdLst>
                  <a:gd name="T0" fmla="*/ 75 w 709"/>
                  <a:gd name="T1" fmla="*/ 428 h 615"/>
                  <a:gd name="T2" fmla="*/ 87 w 709"/>
                  <a:gd name="T3" fmla="*/ 442 h 615"/>
                  <a:gd name="T4" fmla="*/ 96 w 709"/>
                  <a:gd name="T5" fmla="*/ 471 h 615"/>
                  <a:gd name="T6" fmla="*/ 133 w 709"/>
                  <a:gd name="T7" fmla="*/ 513 h 615"/>
                  <a:gd name="T8" fmla="*/ 138 w 709"/>
                  <a:gd name="T9" fmla="*/ 545 h 615"/>
                  <a:gd name="T10" fmla="*/ 191 w 709"/>
                  <a:gd name="T11" fmla="*/ 562 h 615"/>
                  <a:gd name="T12" fmla="*/ 282 w 709"/>
                  <a:gd name="T13" fmla="*/ 606 h 615"/>
                  <a:gd name="T14" fmla="*/ 326 w 709"/>
                  <a:gd name="T15" fmla="*/ 601 h 615"/>
                  <a:gd name="T16" fmla="*/ 360 w 709"/>
                  <a:gd name="T17" fmla="*/ 577 h 615"/>
                  <a:gd name="T18" fmla="*/ 388 w 709"/>
                  <a:gd name="T19" fmla="*/ 585 h 615"/>
                  <a:gd name="T20" fmla="*/ 410 w 709"/>
                  <a:gd name="T21" fmla="*/ 582 h 615"/>
                  <a:gd name="T22" fmla="*/ 434 w 709"/>
                  <a:gd name="T23" fmla="*/ 574 h 615"/>
                  <a:gd name="T24" fmla="*/ 480 w 709"/>
                  <a:gd name="T25" fmla="*/ 549 h 615"/>
                  <a:gd name="T26" fmla="*/ 569 w 709"/>
                  <a:gd name="T27" fmla="*/ 535 h 615"/>
                  <a:gd name="T28" fmla="*/ 661 w 709"/>
                  <a:gd name="T29" fmla="*/ 373 h 615"/>
                  <a:gd name="T30" fmla="*/ 527 w 709"/>
                  <a:gd name="T31" fmla="*/ 320 h 615"/>
                  <a:gd name="T32" fmla="*/ 491 w 709"/>
                  <a:gd name="T33" fmla="*/ 295 h 615"/>
                  <a:gd name="T34" fmla="*/ 462 w 709"/>
                  <a:gd name="T35" fmla="*/ 246 h 615"/>
                  <a:gd name="T36" fmla="*/ 454 w 709"/>
                  <a:gd name="T37" fmla="*/ 230 h 615"/>
                  <a:gd name="T38" fmla="*/ 454 w 709"/>
                  <a:gd name="T39" fmla="*/ 201 h 615"/>
                  <a:gd name="T40" fmla="*/ 419 w 709"/>
                  <a:gd name="T41" fmla="*/ 211 h 615"/>
                  <a:gd name="T42" fmla="*/ 421 w 709"/>
                  <a:gd name="T43" fmla="*/ 164 h 615"/>
                  <a:gd name="T44" fmla="*/ 431 w 709"/>
                  <a:gd name="T45" fmla="*/ 113 h 615"/>
                  <a:gd name="T46" fmla="*/ 408 w 709"/>
                  <a:gd name="T47" fmla="*/ 87 h 615"/>
                  <a:gd name="T48" fmla="*/ 367 w 709"/>
                  <a:gd name="T49" fmla="*/ 46 h 615"/>
                  <a:gd name="T50" fmla="*/ 336 w 709"/>
                  <a:gd name="T51" fmla="*/ 23 h 615"/>
                  <a:gd name="T52" fmla="*/ 306 w 709"/>
                  <a:gd name="T53" fmla="*/ 17 h 615"/>
                  <a:gd name="T54" fmla="*/ 279 w 709"/>
                  <a:gd name="T55" fmla="*/ 11 h 615"/>
                  <a:gd name="T56" fmla="*/ 250 w 709"/>
                  <a:gd name="T57" fmla="*/ 24 h 615"/>
                  <a:gd name="T58" fmla="*/ 224 w 709"/>
                  <a:gd name="T59" fmla="*/ 0 h 615"/>
                  <a:gd name="T60" fmla="*/ 192 w 709"/>
                  <a:gd name="T61" fmla="*/ 21 h 615"/>
                  <a:gd name="T62" fmla="*/ 159 w 709"/>
                  <a:gd name="T63" fmla="*/ 30 h 615"/>
                  <a:gd name="T64" fmla="*/ 143 w 709"/>
                  <a:gd name="T65" fmla="*/ 88 h 615"/>
                  <a:gd name="T66" fmla="*/ 123 w 709"/>
                  <a:gd name="T67" fmla="*/ 116 h 615"/>
                  <a:gd name="T68" fmla="*/ 110 w 709"/>
                  <a:gd name="T69" fmla="*/ 155 h 615"/>
                  <a:gd name="T70" fmla="*/ 96 w 709"/>
                  <a:gd name="T71" fmla="*/ 179 h 615"/>
                  <a:gd name="T72" fmla="*/ 90 w 709"/>
                  <a:gd name="T73" fmla="*/ 221 h 615"/>
                  <a:gd name="T74" fmla="*/ 71 w 709"/>
                  <a:gd name="T75" fmla="*/ 215 h 615"/>
                  <a:gd name="T76" fmla="*/ 65 w 709"/>
                  <a:gd name="T77" fmla="*/ 256 h 615"/>
                  <a:gd name="T78" fmla="*/ 54 w 709"/>
                  <a:gd name="T79" fmla="*/ 305 h 615"/>
                  <a:gd name="T80" fmla="*/ 36 w 709"/>
                  <a:gd name="T81" fmla="*/ 351 h 615"/>
                  <a:gd name="T82" fmla="*/ 8 w 709"/>
                  <a:gd name="T83" fmla="*/ 345 h 615"/>
                  <a:gd name="T84" fmla="*/ 3 w 709"/>
                  <a:gd name="T85" fmla="*/ 383 h 615"/>
                  <a:gd name="T86" fmla="*/ 55 w 709"/>
                  <a:gd name="T87" fmla="*/ 405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9" h="615">
                    <a:moveTo>
                      <a:pt x="60" y="425"/>
                    </a:moveTo>
                    <a:cubicBezTo>
                      <a:pt x="64" y="430"/>
                      <a:pt x="75" y="428"/>
                      <a:pt x="75" y="428"/>
                    </a:cubicBezTo>
                    <a:cubicBezTo>
                      <a:pt x="78" y="441"/>
                      <a:pt x="78" y="441"/>
                      <a:pt x="78" y="441"/>
                    </a:cubicBezTo>
                    <a:cubicBezTo>
                      <a:pt x="87" y="442"/>
                      <a:pt x="87" y="442"/>
                      <a:pt x="87" y="442"/>
                    </a:cubicBezTo>
                    <a:cubicBezTo>
                      <a:pt x="89" y="467"/>
                      <a:pt x="89" y="467"/>
                      <a:pt x="89" y="467"/>
                    </a:cubicBezTo>
                    <a:cubicBezTo>
                      <a:pt x="96" y="471"/>
                      <a:pt x="96" y="471"/>
                      <a:pt x="96" y="471"/>
                    </a:cubicBezTo>
                    <a:cubicBezTo>
                      <a:pt x="96" y="471"/>
                      <a:pt x="98" y="498"/>
                      <a:pt x="108" y="506"/>
                    </a:cubicBezTo>
                    <a:cubicBezTo>
                      <a:pt x="118" y="514"/>
                      <a:pt x="128" y="505"/>
                      <a:pt x="133" y="513"/>
                    </a:cubicBezTo>
                    <a:cubicBezTo>
                      <a:pt x="138" y="521"/>
                      <a:pt x="137" y="535"/>
                      <a:pt x="137" y="535"/>
                    </a:cubicBezTo>
                    <a:cubicBezTo>
                      <a:pt x="138" y="545"/>
                      <a:pt x="138" y="545"/>
                      <a:pt x="138" y="545"/>
                    </a:cubicBezTo>
                    <a:cubicBezTo>
                      <a:pt x="144" y="560"/>
                      <a:pt x="144" y="560"/>
                      <a:pt x="144" y="560"/>
                    </a:cubicBezTo>
                    <a:cubicBezTo>
                      <a:pt x="191" y="562"/>
                      <a:pt x="191" y="562"/>
                      <a:pt x="191" y="562"/>
                    </a:cubicBezTo>
                    <a:cubicBezTo>
                      <a:pt x="242" y="602"/>
                      <a:pt x="242" y="602"/>
                      <a:pt x="242" y="602"/>
                    </a:cubicBezTo>
                    <a:cubicBezTo>
                      <a:pt x="242" y="602"/>
                      <a:pt x="269" y="604"/>
                      <a:pt x="282" y="606"/>
                    </a:cubicBezTo>
                    <a:cubicBezTo>
                      <a:pt x="295" y="608"/>
                      <a:pt x="313" y="615"/>
                      <a:pt x="313" y="615"/>
                    </a:cubicBezTo>
                    <a:cubicBezTo>
                      <a:pt x="326" y="601"/>
                      <a:pt x="326" y="601"/>
                      <a:pt x="326" y="601"/>
                    </a:cubicBezTo>
                    <a:cubicBezTo>
                      <a:pt x="326" y="601"/>
                      <a:pt x="324" y="597"/>
                      <a:pt x="331" y="591"/>
                    </a:cubicBezTo>
                    <a:cubicBezTo>
                      <a:pt x="338" y="585"/>
                      <a:pt x="360" y="577"/>
                      <a:pt x="360" y="577"/>
                    </a:cubicBezTo>
                    <a:cubicBezTo>
                      <a:pt x="372" y="568"/>
                      <a:pt x="372" y="568"/>
                      <a:pt x="372" y="568"/>
                    </a:cubicBezTo>
                    <a:cubicBezTo>
                      <a:pt x="388" y="585"/>
                      <a:pt x="388" y="585"/>
                      <a:pt x="388" y="585"/>
                    </a:cubicBezTo>
                    <a:cubicBezTo>
                      <a:pt x="406" y="586"/>
                      <a:pt x="406" y="586"/>
                      <a:pt x="406" y="586"/>
                    </a:cubicBezTo>
                    <a:cubicBezTo>
                      <a:pt x="410" y="582"/>
                      <a:pt x="410" y="582"/>
                      <a:pt x="410" y="582"/>
                    </a:cubicBezTo>
                    <a:cubicBezTo>
                      <a:pt x="426" y="588"/>
                      <a:pt x="426" y="588"/>
                      <a:pt x="426" y="588"/>
                    </a:cubicBezTo>
                    <a:cubicBezTo>
                      <a:pt x="426" y="588"/>
                      <a:pt x="426" y="577"/>
                      <a:pt x="434" y="574"/>
                    </a:cubicBezTo>
                    <a:cubicBezTo>
                      <a:pt x="442" y="571"/>
                      <a:pt x="467" y="573"/>
                      <a:pt x="473" y="567"/>
                    </a:cubicBezTo>
                    <a:cubicBezTo>
                      <a:pt x="479" y="561"/>
                      <a:pt x="480" y="549"/>
                      <a:pt x="480" y="549"/>
                    </a:cubicBezTo>
                    <a:cubicBezTo>
                      <a:pt x="480" y="549"/>
                      <a:pt x="505" y="537"/>
                      <a:pt x="513" y="535"/>
                    </a:cubicBezTo>
                    <a:cubicBezTo>
                      <a:pt x="521" y="533"/>
                      <a:pt x="569" y="535"/>
                      <a:pt x="569" y="535"/>
                    </a:cubicBezTo>
                    <a:cubicBezTo>
                      <a:pt x="709" y="370"/>
                      <a:pt x="709" y="370"/>
                      <a:pt x="709" y="370"/>
                    </a:cubicBezTo>
                    <a:cubicBezTo>
                      <a:pt x="661" y="373"/>
                      <a:pt x="661" y="373"/>
                      <a:pt x="661" y="373"/>
                    </a:cubicBezTo>
                    <a:cubicBezTo>
                      <a:pt x="661" y="373"/>
                      <a:pt x="628" y="353"/>
                      <a:pt x="609" y="347"/>
                    </a:cubicBezTo>
                    <a:cubicBezTo>
                      <a:pt x="590" y="341"/>
                      <a:pt x="538" y="328"/>
                      <a:pt x="527" y="320"/>
                    </a:cubicBezTo>
                    <a:cubicBezTo>
                      <a:pt x="516" y="312"/>
                      <a:pt x="506" y="295"/>
                      <a:pt x="506" y="295"/>
                    </a:cubicBezTo>
                    <a:cubicBezTo>
                      <a:pt x="491" y="295"/>
                      <a:pt x="491" y="295"/>
                      <a:pt x="491" y="295"/>
                    </a:cubicBezTo>
                    <a:cubicBezTo>
                      <a:pt x="491" y="295"/>
                      <a:pt x="487" y="278"/>
                      <a:pt x="481" y="270"/>
                    </a:cubicBezTo>
                    <a:cubicBezTo>
                      <a:pt x="475" y="262"/>
                      <a:pt x="462" y="246"/>
                      <a:pt x="462" y="246"/>
                    </a:cubicBezTo>
                    <a:cubicBezTo>
                      <a:pt x="463" y="238"/>
                      <a:pt x="463" y="238"/>
                      <a:pt x="463" y="238"/>
                    </a:cubicBezTo>
                    <a:cubicBezTo>
                      <a:pt x="454" y="230"/>
                      <a:pt x="454" y="230"/>
                      <a:pt x="454" y="230"/>
                    </a:cubicBezTo>
                    <a:cubicBezTo>
                      <a:pt x="467" y="210"/>
                      <a:pt x="467" y="210"/>
                      <a:pt x="467" y="210"/>
                    </a:cubicBezTo>
                    <a:cubicBezTo>
                      <a:pt x="463" y="206"/>
                      <a:pt x="458" y="202"/>
                      <a:pt x="454" y="201"/>
                    </a:cubicBezTo>
                    <a:cubicBezTo>
                      <a:pt x="447" y="200"/>
                      <a:pt x="444" y="208"/>
                      <a:pt x="444" y="208"/>
                    </a:cubicBezTo>
                    <a:cubicBezTo>
                      <a:pt x="444" y="208"/>
                      <a:pt x="427" y="212"/>
                      <a:pt x="419" y="211"/>
                    </a:cubicBezTo>
                    <a:cubicBezTo>
                      <a:pt x="411" y="210"/>
                      <a:pt x="408" y="173"/>
                      <a:pt x="408" y="173"/>
                    </a:cubicBezTo>
                    <a:cubicBezTo>
                      <a:pt x="421" y="164"/>
                      <a:pt x="421" y="164"/>
                      <a:pt x="421" y="164"/>
                    </a:cubicBezTo>
                    <a:cubicBezTo>
                      <a:pt x="439" y="125"/>
                      <a:pt x="439" y="125"/>
                      <a:pt x="439" y="125"/>
                    </a:cubicBezTo>
                    <a:cubicBezTo>
                      <a:pt x="431" y="113"/>
                      <a:pt x="431" y="113"/>
                      <a:pt x="431" y="113"/>
                    </a:cubicBezTo>
                    <a:cubicBezTo>
                      <a:pt x="431" y="113"/>
                      <a:pt x="414" y="113"/>
                      <a:pt x="413" y="107"/>
                    </a:cubicBezTo>
                    <a:cubicBezTo>
                      <a:pt x="412" y="101"/>
                      <a:pt x="412" y="92"/>
                      <a:pt x="408" y="87"/>
                    </a:cubicBezTo>
                    <a:cubicBezTo>
                      <a:pt x="404" y="82"/>
                      <a:pt x="386" y="80"/>
                      <a:pt x="382" y="72"/>
                    </a:cubicBezTo>
                    <a:cubicBezTo>
                      <a:pt x="378" y="64"/>
                      <a:pt x="375" y="54"/>
                      <a:pt x="367" y="46"/>
                    </a:cubicBezTo>
                    <a:cubicBezTo>
                      <a:pt x="359" y="38"/>
                      <a:pt x="347" y="37"/>
                      <a:pt x="347" y="37"/>
                    </a:cubicBezTo>
                    <a:cubicBezTo>
                      <a:pt x="336" y="23"/>
                      <a:pt x="336" y="23"/>
                      <a:pt x="336" y="23"/>
                    </a:cubicBezTo>
                    <a:cubicBezTo>
                      <a:pt x="316" y="22"/>
                      <a:pt x="316" y="22"/>
                      <a:pt x="316" y="22"/>
                    </a:cubicBezTo>
                    <a:cubicBezTo>
                      <a:pt x="316" y="22"/>
                      <a:pt x="310" y="17"/>
                      <a:pt x="306" y="17"/>
                    </a:cubicBezTo>
                    <a:cubicBezTo>
                      <a:pt x="302" y="17"/>
                      <a:pt x="291" y="24"/>
                      <a:pt x="288" y="24"/>
                    </a:cubicBezTo>
                    <a:cubicBezTo>
                      <a:pt x="285" y="24"/>
                      <a:pt x="279" y="11"/>
                      <a:pt x="279" y="11"/>
                    </a:cubicBezTo>
                    <a:cubicBezTo>
                      <a:pt x="279" y="11"/>
                      <a:pt x="270" y="24"/>
                      <a:pt x="267" y="24"/>
                    </a:cubicBezTo>
                    <a:cubicBezTo>
                      <a:pt x="264" y="24"/>
                      <a:pt x="250" y="24"/>
                      <a:pt x="250" y="24"/>
                    </a:cubicBezTo>
                    <a:cubicBezTo>
                      <a:pt x="250" y="24"/>
                      <a:pt x="244" y="11"/>
                      <a:pt x="240" y="9"/>
                    </a:cubicBezTo>
                    <a:cubicBezTo>
                      <a:pt x="236" y="7"/>
                      <a:pt x="224" y="0"/>
                      <a:pt x="224" y="0"/>
                    </a:cubicBezTo>
                    <a:cubicBezTo>
                      <a:pt x="224" y="0"/>
                      <a:pt x="216" y="41"/>
                      <a:pt x="208" y="41"/>
                    </a:cubicBezTo>
                    <a:cubicBezTo>
                      <a:pt x="200" y="41"/>
                      <a:pt x="197" y="21"/>
                      <a:pt x="192" y="21"/>
                    </a:cubicBezTo>
                    <a:cubicBezTo>
                      <a:pt x="187" y="21"/>
                      <a:pt x="182" y="31"/>
                      <a:pt x="182" y="31"/>
                    </a:cubicBezTo>
                    <a:cubicBezTo>
                      <a:pt x="159" y="30"/>
                      <a:pt x="159" y="30"/>
                      <a:pt x="159" y="30"/>
                    </a:cubicBezTo>
                    <a:cubicBezTo>
                      <a:pt x="159" y="60"/>
                      <a:pt x="159" y="60"/>
                      <a:pt x="159" y="60"/>
                    </a:cubicBezTo>
                    <a:cubicBezTo>
                      <a:pt x="159" y="60"/>
                      <a:pt x="143" y="80"/>
                      <a:pt x="143" y="88"/>
                    </a:cubicBezTo>
                    <a:cubicBezTo>
                      <a:pt x="143" y="96"/>
                      <a:pt x="145" y="114"/>
                      <a:pt x="145" y="114"/>
                    </a:cubicBezTo>
                    <a:cubicBezTo>
                      <a:pt x="123" y="116"/>
                      <a:pt x="123" y="116"/>
                      <a:pt x="123" y="116"/>
                    </a:cubicBezTo>
                    <a:cubicBezTo>
                      <a:pt x="123" y="116"/>
                      <a:pt x="112" y="130"/>
                      <a:pt x="111" y="135"/>
                    </a:cubicBezTo>
                    <a:cubicBezTo>
                      <a:pt x="110" y="140"/>
                      <a:pt x="115" y="150"/>
                      <a:pt x="110" y="155"/>
                    </a:cubicBezTo>
                    <a:cubicBezTo>
                      <a:pt x="105" y="160"/>
                      <a:pt x="94" y="164"/>
                      <a:pt x="94" y="164"/>
                    </a:cubicBezTo>
                    <a:cubicBezTo>
                      <a:pt x="96" y="179"/>
                      <a:pt x="96" y="179"/>
                      <a:pt x="96" y="179"/>
                    </a:cubicBezTo>
                    <a:cubicBezTo>
                      <a:pt x="89" y="190"/>
                      <a:pt x="89" y="190"/>
                      <a:pt x="89" y="190"/>
                    </a:cubicBezTo>
                    <a:cubicBezTo>
                      <a:pt x="89" y="190"/>
                      <a:pt x="96" y="213"/>
                      <a:pt x="90" y="221"/>
                    </a:cubicBezTo>
                    <a:cubicBezTo>
                      <a:pt x="84" y="229"/>
                      <a:pt x="78" y="226"/>
                      <a:pt x="78" y="226"/>
                    </a:cubicBezTo>
                    <a:cubicBezTo>
                      <a:pt x="78" y="226"/>
                      <a:pt x="76" y="215"/>
                      <a:pt x="71" y="215"/>
                    </a:cubicBezTo>
                    <a:cubicBezTo>
                      <a:pt x="66" y="215"/>
                      <a:pt x="60" y="228"/>
                      <a:pt x="60" y="235"/>
                    </a:cubicBezTo>
                    <a:cubicBezTo>
                      <a:pt x="60" y="242"/>
                      <a:pt x="66" y="253"/>
                      <a:pt x="65" y="256"/>
                    </a:cubicBezTo>
                    <a:cubicBezTo>
                      <a:pt x="64" y="259"/>
                      <a:pt x="49" y="270"/>
                      <a:pt x="48" y="278"/>
                    </a:cubicBezTo>
                    <a:cubicBezTo>
                      <a:pt x="47" y="286"/>
                      <a:pt x="54" y="305"/>
                      <a:pt x="54" y="305"/>
                    </a:cubicBezTo>
                    <a:cubicBezTo>
                      <a:pt x="54" y="305"/>
                      <a:pt x="57" y="336"/>
                      <a:pt x="50" y="341"/>
                    </a:cubicBezTo>
                    <a:cubicBezTo>
                      <a:pt x="43" y="346"/>
                      <a:pt x="36" y="351"/>
                      <a:pt x="36" y="351"/>
                    </a:cubicBezTo>
                    <a:cubicBezTo>
                      <a:pt x="31" y="346"/>
                      <a:pt x="31" y="346"/>
                      <a:pt x="31" y="346"/>
                    </a:cubicBezTo>
                    <a:cubicBezTo>
                      <a:pt x="8" y="345"/>
                      <a:pt x="8" y="345"/>
                      <a:pt x="8" y="345"/>
                    </a:cubicBezTo>
                    <a:cubicBezTo>
                      <a:pt x="10" y="361"/>
                      <a:pt x="10" y="361"/>
                      <a:pt x="10" y="361"/>
                    </a:cubicBezTo>
                    <a:cubicBezTo>
                      <a:pt x="10" y="361"/>
                      <a:pt x="0" y="378"/>
                      <a:pt x="3" y="383"/>
                    </a:cubicBezTo>
                    <a:cubicBezTo>
                      <a:pt x="6" y="388"/>
                      <a:pt x="22" y="382"/>
                      <a:pt x="30" y="386"/>
                    </a:cubicBezTo>
                    <a:cubicBezTo>
                      <a:pt x="38" y="390"/>
                      <a:pt x="55" y="405"/>
                      <a:pt x="55" y="405"/>
                    </a:cubicBezTo>
                    <a:cubicBezTo>
                      <a:pt x="55" y="405"/>
                      <a:pt x="56" y="420"/>
                      <a:pt x="60" y="425"/>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22" name="Freeform 144">
                <a:extLst>
                  <a:ext uri="{FF2B5EF4-FFF2-40B4-BE49-F238E27FC236}">
                    <a16:creationId xmlns:a16="http://schemas.microsoft.com/office/drawing/2014/main" id="{66D84A74-DA52-4480-B8B2-D5183B3AC796}"/>
                  </a:ext>
                </a:extLst>
              </p:cNvPr>
              <p:cNvSpPr>
                <a:spLocks/>
              </p:cNvSpPr>
              <p:nvPr>
                <p:custDataLst>
                  <p:tags r:id="rId103"/>
                </p:custDataLst>
              </p:nvPr>
            </p:nvSpPr>
            <p:spPr bwMode="gray">
              <a:xfrm>
                <a:off x="5170458" y="3440125"/>
                <a:ext cx="319085" cy="301626"/>
              </a:xfrm>
              <a:custGeom>
                <a:avLst/>
                <a:gdLst>
                  <a:gd name="T0" fmla="*/ 11 w 530"/>
                  <a:gd name="T1" fmla="*/ 13 h 546"/>
                  <a:gd name="T2" fmla="*/ 7 w 530"/>
                  <a:gd name="T3" fmla="*/ 34 h 546"/>
                  <a:gd name="T4" fmla="*/ 17 w 530"/>
                  <a:gd name="T5" fmla="*/ 54 h 546"/>
                  <a:gd name="T6" fmla="*/ 3 w 530"/>
                  <a:gd name="T7" fmla="*/ 82 h 546"/>
                  <a:gd name="T8" fmla="*/ 21 w 530"/>
                  <a:gd name="T9" fmla="*/ 120 h 546"/>
                  <a:gd name="T10" fmla="*/ 34 w 530"/>
                  <a:gd name="T11" fmla="*/ 518 h 546"/>
                  <a:gd name="T12" fmla="*/ 320 w 530"/>
                  <a:gd name="T13" fmla="*/ 522 h 546"/>
                  <a:gd name="T14" fmla="*/ 329 w 530"/>
                  <a:gd name="T15" fmla="*/ 510 h 546"/>
                  <a:gd name="T16" fmla="*/ 334 w 530"/>
                  <a:gd name="T17" fmla="*/ 518 h 546"/>
                  <a:gd name="T18" fmla="*/ 413 w 530"/>
                  <a:gd name="T19" fmla="*/ 521 h 546"/>
                  <a:gd name="T20" fmla="*/ 438 w 530"/>
                  <a:gd name="T21" fmla="*/ 539 h 546"/>
                  <a:gd name="T22" fmla="*/ 460 w 530"/>
                  <a:gd name="T23" fmla="*/ 508 h 546"/>
                  <a:gd name="T24" fmla="*/ 482 w 530"/>
                  <a:gd name="T25" fmla="*/ 505 h 546"/>
                  <a:gd name="T26" fmla="*/ 492 w 530"/>
                  <a:gd name="T27" fmla="*/ 478 h 546"/>
                  <a:gd name="T28" fmla="*/ 509 w 530"/>
                  <a:gd name="T29" fmla="*/ 477 h 546"/>
                  <a:gd name="T30" fmla="*/ 525 w 530"/>
                  <a:gd name="T31" fmla="*/ 462 h 546"/>
                  <a:gd name="T32" fmla="*/ 520 w 530"/>
                  <a:gd name="T33" fmla="*/ 445 h 546"/>
                  <a:gd name="T34" fmla="*/ 518 w 530"/>
                  <a:gd name="T35" fmla="*/ 416 h 546"/>
                  <a:gd name="T36" fmla="*/ 530 w 530"/>
                  <a:gd name="T37" fmla="*/ 415 h 546"/>
                  <a:gd name="T38" fmla="*/ 490 w 530"/>
                  <a:gd name="T39" fmla="*/ 369 h 546"/>
                  <a:gd name="T40" fmla="*/ 469 w 530"/>
                  <a:gd name="T41" fmla="*/ 315 h 546"/>
                  <a:gd name="T42" fmla="*/ 448 w 530"/>
                  <a:gd name="T43" fmla="*/ 288 h 546"/>
                  <a:gd name="T44" fmla="*/ 440 w 530"/>
                  <a:gd name="T45" fmla="*/ 252 h 546"/>
                  <a:gd name="T46" fmla="*/ 415 w 530"/>
                  <a:gd name="T47" fmla="*/ 225 h 546"/>
                  <a:gd name="T48" fmla="*/ 412 w 530"/>
                  <a:gd name="T49" fmla="*/ 204 h 546"/>
                  <a:gd name="T50" fmla="*/ 378 w 530"/>
                  <a:gd name="T51" fmla="*/ 161 h 546"/>
                  <a:gd name="T52" fmla="*/ 368 w 530"/>
                  <a:gd name="T53" fmla="*/ 147 h 546"/>
                  <a:gd name="T54" fmla="*/ 368 w 530"/>
                  <a:gd name="T55" fmla="*/ 126 h 546"/>
                  <a:gd name="T56" fmla="*/ 350 w 530"/>
                  <a:gd name="T57" fmla="*/ 112 h 546"/>
                  <a:gd name="T58" fmla="*/ 361 w 530"/>
                  <a:gd name="T59" fmla="*/ 99 h 546"/>
                  <a:gd name="T60" fmla="*/ 373 w 530"/>
                  <a:gd name="T61" fmla="*/ 107 h 546"/>
                  <a:gd name="T62" fmla="*/ 381 w 530"/>
                  <a:gd name="T63" fmla="*/ 130 h 546"/>
                  <a:gd name="T64" fmla="*/ 395 w 530"/>
                  <a:gd name="T65" fmla="*/ 145 h 546"/>
                  <a:gd name="T66" fmla="*/ 394 w 530"/>
                  <a:gd name="T67" fmla="*/ 162 h 546"/>
                  <a:gd name="T68" fmla="*/ 438 w 530"/>
                  <a:gd name="T69" fmla="*/ 207 h 546"/>
                  <a:gd name="T70" fmla="*/ 456 w 530"/>
                  <a:gd name="T71" fmla="*/ 195 h 546"/>
                  <a:gd name="T72" fmla="*/ 449 w 530"/>
                  <a:gd name="T73" fmla="*/ 183 h 546"/>
                  <a:gd name="T74" fmla="*/ 462 w 530"/>
                  <a:gd name="T75" fmla="*/ 143 h 546"/>
                  <a:gd name="T76" fmla="*/ 471 w 530"/>
                  <a:gd name="T77" fmla="*/ 112 h 546"/>
                  <a:gd name="T78" fmla="*/ 435 w 530"/>
                  <a:gd name="T79" fmla="*/ 19 h 546"/>
                  <a:gd name="T80" fmla="*/ 388 w 530"/>
                  <a:gd name="T81" fmla="*/ 30 h 546"/>
                  <a:gd name="T82" fmla="*/ 373 w 530"/>
                  <a:gd name="T83" fmla="*/ 22 h 546"/>
                  <a:gd name="T84" fmla="*/ 350 w 530"/>
                  <a:gd name="T85" fmla="*/ 26 h 546"/>
                  <a:gd name="T86" fmla="*/ 325 w 530"/>
                  <a:gd name="T87" fmla="*/ 7 h 546"/>
                  <a:gd name="T88" fmla="*/ 288 w 530"/>
                  <a:gd name="T89" fmla="*/ 14 h 546"/>
                  <a:gd name="T90" fmla="*/ 262 w 530"/>
                  <a:gd name="T91" fmla="*/ 11 h 546"/>
                  <a:gd name="T92" fmla="*/ 243 w 530"/>
                  <a:gd name="T93" fmla="*/ 30 h 546"/>
                  <a:gd name="T94" fmla="*/ 227 w 530"/>
                  <a:gd name="T95" fmla="*/ 30 h 546"/>
                  <a:gd name="T96" fmla="*/ 210 w 530"/>
                  <a:gd name="T97" fmla="*/ 43 h 546"/>
                  <a:gd name="T98" fmla="*/ 170 w 530"/>
                  <a:gd name="T99" fmla="*/ 29 h 546"/>
                  <a:gd name="T100" fmla="*/ 140 w 530"/>
                  <a:gd name="T101" fmla="*/ 29 h 546"/>
                  <a:gd name="T102" fmla="*/ 112 w 530"/>
                  <a:gd name="T103" fmla="*/ 13 h 546"/>
                  <a:gd name="T104" fmla="*/ 89 w 530"/>
                  <a:gd name="T105" fmla="*/ 12 h 546"/>
                  <a:gd name="T106" fmla="*/ 60 w 530"/>
                  <a:gd name="T107" fmla="*/ 1 h 546"/>
                  <a:gd name="T108" fmla="*/ 31 w 530"/>
                  <a:gd name="T109" fmla="*/ 6 h 546"/>
                  <a:gd name="T110" fmla="*/ 24 w 530"/>
                  <a:gd name="T111" fmla="*/ 0 h 546"/>
                  <a:gd name="T112" fmla="*/ 11 w 530"/>
                  <a:gd name="T113" fmla="*/ 13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30" h="546">
                    <a:moveTo>
                      <a:pt x="11" y="13"/>
                    </a:moveTo>
                    <a:cubicBezTo>
                      <a:pt x="6" y="16"/>
                      <a:pt x="6" y="30"/>
                      <a:pt x="7" y="34"/>
                    </a:cubicBezTo>
                    <a:cubicBezTo>
                      <a:pt x="8" y="38"/>
                      <a:pt x="20" y="45"/>
                      <a:pt x="17" y="54"/>
                    </a:cubicBezTo>
                    <a:cubicBezTo>
                      <a:pt x="14" y="63"/>
                      <a:pt x="0" y="75"/>
                      <a:pt x="3" y="82"/>
                    </a:cubicBezTo>
                    <a:cubicBezTo>
                      <a:pt x="6" y="89"/>
                      <a:pt x="21" y="107"/>
                      <a:pt x="21" y="120"/>
                    </a:cubicBezTo>
                    <a:cubicBezTo>
                      <a:pt x="21" y="133"/>
                      <a:pt x="34" y="518"/>
                      <a:pt x="34" y="518"/>
                    </a:cubicBezTo>
                    <a:cubicBezTo>
                      <a:pt x="320" y="522"/>
                      <a:pt x="320" y="522"/>
                      <a:pt x="320" y="522"/>
                    </a:cubicBezTo>
                    <a:cubicBezTo>
                      <a:pt x="320" y="522"/>
                      <a:pt x="322" y="512"/>
                      <a:pt x="329" y="510"/>
                    </a:cubicBezTo>
                    <a:cubicBezTo>
                      <a:pt x="336" y="508"/>
                      <a:pt x="334" y="518"/>
                      <a:pt x="334" y="518"/>
                    </a:cubicBezTo>
                    <a:cubicBezTo>
                      <a:pt x="413" y="521"/>
                      <a:pt x="413" y="521"/>
                      <a:pt x="413" y="521"/>
                    </a:cubicBezTo>
                    <a:cubicBezTo>
                      <a:pt x="413" y="521"/>
                      <a:pt x="425" y="546"/>
                      <a:pt x="438" y="539"/>
                    </a:cubicBezTo>
                    <a:cubicBezTo>
                      <a:pt x="451" y="532"/>
                      <a:pt x="450" y="511"/>
                      <a:pt x="460" y="508"/>
                    </a:cubicBezTo>
                    <a:cubicBezTo>
                      <a:pt x="470" y="505"/>
                      <a:pt x="472" y="509"/>
                      <a:pt x="482" y="505"/>
                    </a:cubicBezTo>
                    <a:cubicBezTo>
                      <a:pt x="492" y="501"/>
                      <a:pt x="492" y="478"/>
                      <a:pt x="492" y="478"/>
                    </a:cubicBezTo>
                    <a:cubicBezTo>
                      <a:pt x="509" y="477"/>
                      <a:pt x="509" y="477"/>
                      <a:pt x="509" y="477"/>
                    </a:cubicBezTo>
                    <a:cubicBezTo>
                      <a:pt x="525" y="462"/>
                      <a:pt x="525" y="462"/>
                      <a:pt x="525" y="462"/>
                    </a:cubicBezTo>
                    <a:cubicBezTo>
                      <a:pt x="522" y="456"/>
                      <a:pt x="520" y="450"/>
                      <a:pt x="520" y="445"/>
                    </a:cubicBezTo>
                    <a:cubicBezTo>
                      <a:pt x="519" y="430"/>
                      <a:pt x="518" y="416"/>
                      <a:pt x="518" y="416"/>
                    </a:cubicBezTo>
                    <a:cubicBezTo>
                      <a:pt x="530" y="415"/>
                      <a:pt x="530" y="415"/>
                      <a:pt x="530" y="415"/>
                    </a:cubicBezTo>
                    <a:cubicBezTo>
                      <a:pt x="530" y="415"/>
                      <a:pt x="503" y="397"/>
                      <a:pt x="490" y="369"/>
                    </a:cubicBezTo>
                    <a:cubicBezTo>
                      <a:pt x="477" y="341"/>
                      <a:pt x="478" y="326"/>
                      <a:pt x="469" y="315"/>
                    </a:cubicBezTo>
                    <a:cubicBezTo>
                      <a:pt x="460" y="304"/>
                      <a:pt x="456" y="302"/>
                      <a:pt x="448" y="288"/>
                    </a:cubicBezTo>
                    <a:cubicBezTo>
                      <a:pt x="440" y="274"/>
                      <a:pt x="440" y="252"/>
                      <a:pt x="440" y="252"/>
                    </a:cubicBezTo>
                    <a:cubicBezTo>
                      <a:pt x="415" y="225"/>
                      <a:pt x="415" y="225"/>
                      <a:pt x="415" y="225"/>
                    </a:cubicBezTo>
                    <a:cubicBezTo>
                      <a:pt x="415" y="225"/>
                      <a:pt x="418" y="216"/>
                      <a:pt x="412" y="204"/>
                    </a:cubicBezTo>
                    <a:cubicBezTo>
                      <a:pt x="406" y="192"/>
                      <a:pt x="380" y="170"/>
                      <a:pt x="378" y="161"/>
                    </a:cubicBezTo>
                    <a:cubicBezTo>
                      <a:pt x="376" y="152"/>
                      <a:pt x="368" y="147"/>
                      <a:pt x="368" y="147"/>
                    </a:cubicBezTo>
                    <a:cubicBezTo>
                      <a:pt x="368" y="147"/>
                      <a:pt x="376" y="137"/>
                      <a:pt x="368" y="126"/>
                    </a:cubicBezTo>
                    <a:cubicBezTo>
                      <a:pt x="360" y="115"/>
                      <a:pt x="350" y="112"/>
                      <a:pt x="350" y="112"/>
                    </a:cubicBezTo>
                    <a:cubicBezTo>
                      <a:pt x="361" y="99"/>
                      <a:pt x="361" y="99"/>
                      <a:pt x="361" y="99"/>
                    </a:cubicBezTo>
                    <a:cubicBezTo>
                      <a:pt x="373" y="107"/>
                      <a:pt x="373" y="107"/>
                      <a:pt x="373" y="107"/>
                    </a:cubicBezTo>
                    <a:cubicBezTo>
                      <a:pt x="373" y="107"/>
                      <a:pt x="372" y="124"/>
                      <a:pt x="381" y="130"/>
                    </a:cubicBezTo>
                    <a:cubicBezTo>
                      <a:pt x="390" y="136"/>
                      <a:pt x="395" y="145"/>
                      <a:pt x="395" y="145"/>
                    </a:cubicBezTo>
                    <a:cubicBezTo>
                      <a:pt x="394" y="162"/>
                      <a:pt x="394" y="162"/>
                      <a:pt x="394" y="162"/>
                    </a:cubicBezTo>
                    <a:cubicBezTo>
                      <a:pt x="394" y="162"/>
                      <a:pt x="426" y="214"/>
                      <a:pt x="438" y="207"/>
                    </a:cubicBezTo>
                    <a:cubicBezTo>
                      <a:pt x="450" y="200"/>
                      <a:pt x="456" y="195"/>
                      <a:pt x="456" y="195"/>
                    </a:cubicBezTo>
                    <a:cubicBezTo>
                      <a:pt x="449" y="183"/>
                      <a:pt x="449" y="183"/>
                      <a:pt x="449" y="183"/>
                    </a:cubicBezTo>
                    <a:cubicBezTo>
                      <a:pt x="449" y="183"/>
                      <a:pt x="462" y="157"/>
                      <a:pt x="462" y="143"/>
                    </a:cubicBezTo>
                    <a:cubicBezTo>
                      <a:pt x="462" y="129"/>
                      <a:pt x="471" y="112"/>
                      <a:pt x="471" y="112"/>
                    </a:cubicBezTo>
                    <a:cubicBezTo>
                      <a:pt x="435" y="19"/>
                      <a:pt x="435" y="19"/>
                      <a:pt x="435" y="19"/>
                    </a:cubicBezTo>
                    <a:cubicBezTo>
                      <a:pt x="435" y="19"/>
                      <a:pt x="397" y="34"/>
                      <a:pt x="388" y="30"/>
                    </a:cubicBezTo>
                    <a:cubicBezTo>
                      <a:pt x="379" y="26"/>
                      <a:pt x="373" y="22"/>
                      <a:pt x="373" y="22"/>
                    </a:cubicBezTo>
                    <a:cubicBezTo>
                      <a:pt x="373" y="22"/>
                      <a:pt x="364" y="33"/>
                      <a:pt x="350" y="26"/>
                    </a:cubicBezTo>
                    <a:cubicBezTo>
                      <a:pt x="336" y="19"/>
                      <a:pt x="341" y="10"/>
                      <a:pt x="325" y="7"/>
                    </a:cubicBezTo>
                    <a:cubicBezTo>
                      <a:pt x="309" y="4"/>
                      <a:pt x="288" y="14"/>
                      <a:pt x="288" y="14"/>
                    </a:cubicBezTo>
                    <a:cubicBezTo>
                      <a:pt x="288" y="14"/>
                      <a:pt x="273" y="7"/>
                      <a:pt x="262" y="11"/>
                    </a:cubicBezTo>
                    <a:cubicBezTo>
                      <a:pt x="251" y="15"/>
                      <a:pt x="243" y="30"/>
                      <a:pt x="243" y="30"/>
                    </a:cubicBezTo>
                    <a:cubicBezTo>
                      <a:pt x="243" y="30"/>
                      <a:pt x="231" y="28"/>
                      <a:pt x="227" y="30"/>
                    </a:cubicBezTo>
                    <a:cubicBezTo>
                      <a:pt x="223" y="32"/>
                      <a:pt x="210" y="43"/>
                      <a:pt x="210" y="43"/>
                    </a:cubicBezTo>
                    <a:cubicBezTo>
                      <a:pt x="210" y="43"/>
                      <a:pt x="176" y="29"/>
                      <a:pt x="170" y="29"/>
                    </a:cubicBezTo>
                    <a:cubicBezTo>
                      <a:pt x="164" y="29"/>
                      <a:pt x="153" y="32"/>
                      <a:pt x="140" y="29"/>
                    </a:cubicBezTo>
                    <a:cubicBezTo>
                      <a:pt x="127" y="26"/>
                      <a:pt x="125" y="14"/>
                      <a:pt x="112" y="13"/>
                    </a:cubicBezTo>
                    <a:cubicBezTo>
                      <a:pt x="99" y="12"/>
                      <a:pt x="89" y="12"/>
                      <a:pt x="89" y="12"/>
                    </a:cubicBezTo>
                    <a:cubicBezTo>
                      <a:pt x="89" y="12"/>
                      <a:pt x="69" y="1"/>
                      <a:pt x="60" y="1"/>
                    </a:cubicBezTo>
                    <a:cubicBezTo>
                      <a:pt x="51" y="1"/>
                      <a:pt x="46" y="15"/>
                      <a:pt x="31" y="6"/>
                    </a:cubicBezTo>
                    <a:cubicBezTo>
                      <a:pt x="28" y="4"/>
                      <a:pt x="26" y="2"/>
                      <a:pt x="24" y="0"/>
                    </a:cubicBezTo>
                    <a:cubicBezTo>
                      <a:pt x="21" y="4"/>
                      <a:pt x="15" y="11"/>
                      <a:pt x="11" y="13"/>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23" name="Freeform 145">
                <a:extLst>
                  <a:ext uri="{FF2B5EF4-FFF2-40B4-BE49-F238E27FC236}">
                    <a16:creationId xmlns:a16="http://schemas.microsoft.com/office/drawing/2014/main" id="{2ECCB8DD-534C-43CE-A4E3-85854A6C4DAD}"/>
                  </a:ext>
                </a:extLst>
              </p:cNvPr>
              <p:cNvSpPr>
                <a:spLocks/>
              </p:cNvSpPr>
              <p:nvPr>
                <p:custDataLst>
                  <p:tags r:id="rId104"/>
                </p:custDataLst>
              </p:nvPr>
            </p:nvSpPr>
            <p:spPr bwMode="gray">
              <a:xfrm>
                <a:off x="4729136" y="3992578"/>
                <a:ext cx="217486" cy="339726"/>
              </a:xfrm>
              <a:custGeom>
                <a:avLst/>
                <a:gdLst>
                  <a:gd name="T0" fmla="*/ 275 w 363"/>
                  <a:gd name="T1" fmla="*/ 0 h 614"/>
                  <a:gd name="T2" fmla="*/ 263 w 363"/>
                  <a:gd name="T3" fmla="*/ 43 h 614"/>
                  <a:gd name="T4" fmla="*/ 282 w 363"/>
                  <a:gd name="T5" fmla="*/ 70 h 614"/>
                  <a:gd name="T6" fmla="*/ 256 w 363"/>
                  <a:gd name="T7" fmla="*/ 100 h 614"/>
                  <a:gd name="T8" fmla="*/ 236 w 363"/>
                  <a:gd name="T9" fmla="*/ 136 h 614"/>
                  <a:gd name="T10" fmla="*/ 227 w 363"/>
                  <a:gd name="T11" fmla="*/ 159 h 614"/>
                  <a:gd name="T12" fmla="*/ 207 w 363"/>
                  <a:gd name="T13" fmla="*/ 198 h 614"/>
                  <a:gd name="T14" fmla="*/ 181 w 363"/>
                  <a:gd name="T15" fmla="*/ 250 h 614"/>
                  <a:gd name="T16" fmla="*/ 157 w 363"/>
                  <a:gd name="T17" fmla="*/ 302 h 614"/>
                  <a:gd name="T18" fmla="*/ 140 w 363"/>
                  <a:gd name="T19" fmla="*/ 337 h 614"/>
                  <a:gd name="T20" fmla="*/ 119 w 363"/>
                  <a:gd name="T21" fmla="*/ 342 h 614"/>
                  <a:gd name="T22" fmla="*/ 95 w 363"/>
                  <a:gd name="T23" fmla="*/ 334 h 614"/>
                  <a:gd name="T24" fmla="*/ 56 w 363"/>
                  <a:gd name="T25" fmla="*/ 353 h 614"/>
                  <a:gd name="T26" fmla="*/ 13 w 363"/>
                  <a:gd name="T27" fmla="*/ 428 h 614"/>
                  <a:gd name="T28" fmla="*/ 4 w 363"/>
                  <a:gd name="T29" fmla="*/ 449 h 614"/>
                  <a:gd name="T30" fmla="*/ 18 w 363"/>
                  <a:gd name="T31" fmla="*/ 455 h 614"/>
                  <a:gd name="T32" fmla="*/ 44 w 363"/>
                  <a:gd name="T33" fmla="*/ 497 h 614"/>
                  <a:gd name="T34" fmla="*/ 45 w 363"/>
                  <a:gd name="T35" fmla="*/ 504 h 614"/>
                  <a:gd name="T36" fmla="*/ 70 w 363"/>
                  <a:gd name="T37" fmla="*/ 527 h 614"/>
                  <a:gd name="T38" fmla="*/ 61 w 363"/>
                  <a:gd name="T39" fmla="*/ 559 h 614"/>
                  <a:gd name="T40" fmla="*/ 68 w 363"/>
                  <a:gd name="T41" fmla="*/ 586 h 614"/>
                  <a:gd name="T42" fmla="*/ 144 w 363"/>
                  <a:gd name="T43" fmla="*/ 576 h 614"/>
                  <a:gd name="T44" fmla="*/ 175 w 363"/>
                  <a:gd name="T45" fmla="*/ 585 h 614"/>
                  <a:gd name="T46" fmla="*/ 195 w 363"/>
                  <a:gd name="T47" fmla="*/ 581 h 614"/>
                  <a:gd name="T48" fmla="*/ 227 w 363"/>
                  <a:gd name="T49" fmla="*/ 590 h 614"/>
                  <a:gd name="T50" fmla="*/ 320 w 363"/>
                  <a:gd name="T51" fmla="*/ 600 h 614"/>
                  <a:gd name="T52" fmla="*/ 358 w 363"/>
                  <a:gd name="T53" fmla="*/ 614 h 614"/>
                  <a:gd name="T54" fmla="*/ 363 w 363"/>
                  <a:gd name="T55" fmla="*/ 581 h 614"/>
                  <a:gd name="T56" fmla="*/ 358 w 363"/>
                  <a:gd name="T57" fmla="*/ 556 h 614"/>
                  <a:gd name="T58" fmla="*/ 332 w 363"/>
                  <a:gd name="T59" fmla="*/ 526 h 614"/>
                  <a:gd name="T60" fmla="*/ 313 w 363"/>
                  <a:gd name="T61" fmla="*/ 472 h 614"/>
                  <a:gd name="T62" fmla="*/ 294 w 363"/>
                  <a:gd name="T63" fmla="*/ 427 h 614"/>
                  <a:gd name="T64" fmla="*/ 289 w 363"/>
                  <a:gd name="T65" fmla="*/ 412 h 614"/>
                  <a:gd name="T66" fmla="*/ 276 w 363"/>
                  <a:gd name="T67" fmla="*/ 378 h 614"/>
                  <a:gd name="T68" fmla="*/ 304 w 363"/>
                  <a:gd name="T69" fmla="*/ 338 h 614"/>
                  <a:gd name="T70" fmla="*/ 312 w 363"/>
                  <a:gd name="T71" fmla="*/ 318 h 614"/>
                  <a:gd name="T72" fmla="*/ 317 w 363"/>
                  <a:gd name="T73" fmla="*/ 243 h 614"/>
                  <a:gd name="T74" fmla="*/ 261 w 363"/>
                  <a:gd name="T75" fmla="*/ 174 h 614"/>
                  <a:gd name="T76" fmla="*/ 336 w 363"/>
                  <a:gd name="T77" fmla="*/ 165 h 614"/>
                  <a:gd name="T78" fmla="*/ 304 w 363"/>
                  <a:gd name="T79" fmla="*/ 91 h 614"/>
                  <a:gd name="T80" fmla="*/ 296 w 363"/>
                  <a:gd name="T81" fmla="*/ 52 h 614"/>
                  <a:gd name="T82" fmla="*/ 280 w 363"/>
                  <a:gd name="T83" fmla="*/ 17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3" h="614">
                    <a:moveTo>
                      <a:pt x="280" y="17"/>
                    </a:moveTo>
                    <a:cubicBezTo>
                      <a:pt x="276" y="12"/>
                      <a:pt x="275" y="0"/>
                      <a:pt x="275" y="0"/>
                    </a:cubicBezTo>
                    <a:cubicBezTo>
                      <a:pt x="259" y="2"/>
                      <a:pt x="259" y="2"/>
                      <a:pt x="259" y="2"/>
                    </a:cubicBezTo>
                    <a:cubicBezTo>
                      <a:pt x="260" y="11"/>
                      <a:pt x="261" y="40"/>
                      <a:pt x="263" y="43"/>
                    </a:cubicBezTo>
                    <a:cubicBezTo>
                      <a:pt x="265" y="46"/>
                      <a:pt x="284" y="35"/>
                      <a:pt x="285" y="46"/>
                    </a:cubicBezTo>
                    <a:cubicBezTo>
                      <a:pt x="286" y="57"/>
                      <a:pt x="282" y="70"/>
                      <a:pt x="282" y="70"/>
                    </a:cubicBezTo>
                    <a:cubicBezTo>
                      <a:pt x="282" y="70"/>
                      <a:pt x="290" y="79"/>
                      <a:pt x="280" y="88"/>
                    </a:cubicBezTo>
                    <a:cubicBezTo>
                      <a:pt x="270" y="97"/>
                      <a:pt x="256" y="100"/>
                      <a:pt x="256" y="100"/>
                    </a:cubicBezTo>
                    <a:cubicBezTo>
                      <a:pt x="256" y="100"/>
                      <a:pt x="248" y="117"/>
                      <a:pt x="247" y="120"/>
                    </a:cubicBezTo>
                    <a:cubicBezTo>
                      <a:pt x="246" y="123"/>
                      <a:pt x="236" y="136"/>
                      <a:pt x="236" y="136"/>
                    </a:cubicBezTo>
                    <a:cubicBezTo>
                      <a:pt x="234" y="155"/>
                      <a:pt x="234" y="155"/>
                      <a:pt x="234" y="155"/>
                    </a:cubicBezTo>
                    <a:cubicBezTo>
                      <a:pt x="227" y="159"/>
                      <a:pt x="227" y="159"/>
                      <a:pt x="227" y="159"/>
                    </a:cubicBezTo>
                    <a:cubicBezTo>
                      <a:pt x="227" y="159"/>
                      <a:pt x="229" y="180"/>
                      <a:pt x="224" y="189"/>
                    </a:cubicBezTo>
                    <a:cubicBezTo>
                      <a:pt x="219" y="198"/>
                      <a:pt x="209" y="191"/>
                      <a:pt x="207" y="198"/>
                    </a:cubicBezTo>
                    <a:cubicBezTo>
                      <a:pt x="205" y="205"/>
                      <a:pt x="210" y="223"/>
                      <a:pt x="205" y="233"/>
                    </a:cubicBezTo>
                    <a:cubicBezTo>
                      <a:pt x="200" y="243"/>
                      <a:pt x="181" y="250"/>
                      <a:pt x="181" y="250"/>
                    </a:cubicBezTo>
                    <a:cubicBezTo>
                      <a:pt x="173" y="282"/>
                      <a:pt x="173" y="282"/>
                      <a:pt x="173" y="282"/>
                    </a:cubicBezTo>
                    <a:cubicBezTo>
                      <a:pt x="157" y="302"/>
                      <a:pt x="157" y="302"/>
                      <a:pt x="157" y="302"/>
                    </a:cubicBezTo>
                    <a:cubicBezTo>
                      <a:pt x="157" y="302"/>
                      <a:pt x="161" y="316"/>
                      <a:pt x="156" y="322"/>
                    </a:cubicBezTo>
                    <a:cubicBezTo>
                      <a:pt x="151" y="328"/>
                      <a:pt x="140" y="337"/>
                      <a:pt x="140" y="337"/>
                    </a:cubicBezTo>
                    <a:cubicBezTo>
                      <a:pt x="140" y="337"/>
                      <a:pt x="140" y="358"/>
                      <a:pt x="128" y="358"/>
                    </a:cubicBezTo>
                    <a:cubicBezTo>
                      <a:pt x="116" y="358"/>
                      <a:pt x="119" y="342"/>
                      <a:pt x="119" y="342"/>
                    </a:cubicBezTo>
                    <a:cubicBezTo>
                      <a:pt x="119" y="342"/>
                      <a:pt x="105" y="318"/>
                      <a:pt x="98" y="318"/>
                    </a:cubicBezTo>
                    <a:cubicBezTo>
                      <a:pt x="91" y="318"/>
                      <a:pt x="104" y="332"/>
                      <a:pt x="95" y="334"/>
                    </a:cubicBezTo>
                    <a:cubicBezTo>
                      <a:pt x="86" y="336"/>
                      <a:pt x="78" y="323"/>
                      <a:pt x="72" y="328"/>
                    </a:cubicBezTo>
                    <a:cubicBezTo>
                      <a:pt x="66" y="333"/>
                      <a:pt x="56" y="353"/>
                      <a:pt x="56" y="353"/>
                    </a:cubicBezTo>
                    <a:cubicBezTo>
                      <a:pt x="13" y="390"/>
                      <a:pt x="13" y="390"/>
                      <a:pt x="13" y="390"/>
                    </a:cubicBezTo>
                    <a:cubicBezTo>
                      <a:pt x="13" y="390"/>
                      <a:pt x="15" y="422"/>
                      <a:pt x="13" y="428"/>
                    </a:cubicBezTo>
                    <a:cubicBezTo>
                      <a:pt x="11" y="434"/>
                      <a:pt x="4" y="449"/>
                      <a:pt x="4" y="449"/>
                    </a:cubicBezTo>
                    <a:cubicBezTo>
                      <a:pt x="4" y="449"/>
                      <a:pt x="4" y="449"/>
                      <a:pt x="4" y="449"/>
                    </a:cubicBezTo>
                    <a:cubicBezTo>
                      <a:pt x="0" y="458"/>
                      <a:pt x="0" y="458"/>
                      <a:pt x="0" y="458"/>
                    </a:cubicBezTo>
                    <a:cubicBezTo>
                      <a:pt x="18" y="455"/>
                      <a:pt x="18" y="455"/>
                      <a:pt x="18" y="455"/>
                    </a:cubicBezTo>
                    <a:cubicBezTo>
                      <a:pt x="18" y="455"/>
                      <a:pt x="17" y="477"/>
                      <a:pt x="27" y="486"/>
                    </a:cubicBezTo>
                    <a:cubicBezTo>
                      <a:pt x="37" y="495"/>
                      <a:pt x="44" y="497"/>
                      <a:pt x="44" y="497"/>
                    </a:cubicBezTo>
                    <a:cubicBezTo>
                      <a:pt x="58" y="484"/>
                      <a:pt x="58" y="484"/>
                      <a:pt x="58" y="484"/>
                    </a:cubicBezTo>
                    <a:cubicBezTo>
                      <a:pt x="45" y="504"/>
                      <a:pt x="45" y="504"/>
                      <a:pt x="45" y="504"/>
                    </a:cubicBezTo>
                    <a:cubicBezTo>
                      <a:pt x="57" y="522"/>
                      <a:pt x="57" y="522"/>
                      <a:pt x="57" y="522"/>
                    </a:cubicBezTo>
                    <a:cubicBezTo>
                      <a:pt x="70" y="527"/>
                      <a:pt x="70" y="527"/>
                      <a:pt x="70" y="527"/>
                    </a:cubicBezTo>
                    <a:cubicBezTo>
                      <a:pt x="68" y="557"/>
                      <a:pt x="68" y="557"/>
                      <a:pt x="68" y="557"/>
                    </a:cubicBezTo>
                    <a:cubicBezTo>
                      <a:pt x="61" y="559"/>
                      <a:pt x="61" y="559"/>
                      <a:pt x="61" y="559"/>
                    </a:cubicBezTo>
                    <a:cubicBezTo>
                      <a:pt x="62" y="580"/>
                      <a:pt x="62" y="580"/>
                      <a:pt x="62" y="580"/>
                    </a:cubicBezTo>
                    <a:cubicBezTo>
                      <a:pt x="68" y="586"/>
                      <a:pt x="68" y="586"/>
                      <a:pt x="68" y="586"/>
                    </a:cubicBezTo>
                    <a:cubicBezTo>
                      <a:pt x="132" y="586"/>
                      <a:pt x="132" y="586"/>
                      <a:pt x="132" y="586"/>
                    </a:cubicBezTo>
                    <a:cubicBezTo>
                      <a:pt x="144" y="576"/>
                      <a:pt x="144" y="576"/>
                      <a:pt x="144" y="576"/>
                    </a:cubicBezTo>
                    <a:cubicBezTo>
                      <a:pt x="154" y="585"/>
                      <a:pt x="154" y="585"/>
                      <a:pt x="154" y="585"/>
                    </a:cubicBezTo>
                    <a:cubicBezTo>
                      <a:pt x="175" y="585"/>
                      <a:pt x="175" y="585"/>
                      <a:pt x="175" y="585"/>
                    </a:cubicBezTo>
                    <a:cubicBezTo>
                      <a:pt x="175" y="585"/>
                      <a:pt x="180" y="577"/>
                      <a:pt x="184" y="577"/>
                    </a:cubicBezTo>
                    <a:cubicBezTo>
                      <a:pt x="188" y="577"/>
                      <a:pt x="195" y="581"/>
                      <a:pt x="195" y="581"/>
                    </a:cubicBezTo>
                    <a:cubicBezTo>
                      <a:pt x="227" y="580"/>
                      <a:pt x="227" y="580"/>
                      <a:pt x="227" y="580"/>
                    </a:cubicBezTo>
                    <a:cubicBezTo>
                      <a:pt x="227" y="590"/>
                      <a:pt x="227" y="590"/>
                      <a:pt x="227" y="590"/>
                    </a:cubicBezTo>
                    <a:cubicBezTo>
                      <a:pt x="227" y="590"/>
                      <a:pt x="282" y="587"/>
                      <a:pt x="287" y="587"/>
                    </a:cubicBezTo>
                    <a:cubicBezTo>
                      <a:pt x="292" y="587"/>
                      <a:pt x="320" y="600"/>
                      <a:pt x="320" y="600"/>
                    </a:cubicBezTo>
                    <a:cubicBezTo>
                      <a:pt x="340" y="599"/>
                      <a:pt x="340" y="599"/>
                      <a:pt x="340" y="599"/>
                    </a:cubicBezTo>
                    <a:cubicBezTo>
                      <a:pt x="358" y="614"/>
                      <a:pt x="358" y="614"/>
                      <a:pt x="358" y="614"/>
                    </a:cubicBezTo>
                    <a:cubicBezTo>
                      <a:pt x="359" y="587"/>
                      <a:pt x="359" y="587"/>
                      <a:pt x="359" y="587"/>
                    </a:cubicBezTo>
                    <a:cubicBezTo>
                      <a:pt x="363" y="581"/>
                      <a:pt x="363" y="581"/>
                      <a:pt x="363" y="581"/>
                    </a:cubicBezTo>
                    <a:cubicBezTo>
                      <a:pt x="358" y="575"/>
                      <a:pt x="358" y="575"/>
                      <a:pt x="358" y="575"/>
                    </a:cubicBezTo>
                    <a:cubicBezTo>
                      <a:pt x="358" y="556"/>
                      <a:pt x="358" y="556"/>
                      <a:pt x="358" y="556"/>
                    </a:cubicBezTo>
                    <a:cubicBezTo>
                      <a:pt x="354" y="542"/>
                      <a:pt x="354" y="542"/>
                      <a:pt x="354" y="542"/>
                    </a:cubicBezTo>
                    <a:cubicBezTo>
                      <a:pt x="354" y="542"/>
                      <a:pt x="342" y="534"/>
                      <a:pt x="332" y="526"/>
                    </a:cubicBezTo>
                    <a:cubicBezTo>
                      <a:pt x="322" y="518"/>
                      <a:pt x="311" y="495"/>
                      <a:pt x="311" y="495"/>
                    </a:cubicBezTo>
                    <a:cubicBezTo>
                      <a:pt x="311" y="495"/>
                      <a:pt x="315" y="475"/>
                      <a:pt x="313" y="472"/>
                    </a:cubicBezTo>
                    <a:cubicBezTo>
                      <a:pt x="311" y="469"/>
                      <a:pt x="294" y="458"/>
                      <a:pt x="294" y="458"/>
                    </a:cubicBezTo>
                    <a:cubicBezTo>
                      <a:pt x="294" y="427"/>
                      <a:pt x="294" y="427"/>
                      <a:pt x="294" y="427"/>
                    </a:cubicBezTo>
                    <a:cubicBezTo>
                      <a:pt x="282" y="420"/>
                      <a:pt x="282" y="420"/>
                      <a:pt x="282" y="420"/>
                    </a:cubicBezTo>
                    <a:cubicBezTo>
                      <a:pt x="289" y="412"/>
                      <a:pt x="289" y="412"/>
                      <a:pt x="289" y="412"/>
                    </a:cubicBezTo>
                    <a:cubicBezTo>
                      <a:pt x="290" y="387"/>
                      <a:pt x="290" y="387"/>
                      <a:pt x="290" y="387"/>
                    </a:cubicBezTo>
                    <a:cubicBezTo>
                      <a:pt x="290" y="387"/>
                      <a:pt x="275" y="386"/>
                      <a:pt x="276" y="378"/>
                    </a:cubicBezTo>
                    <a:cubicBezTo>
                      <a:pt x="277" y="370"/>
                      <a:pt x="299" y="363"/>
                      <a:pt x="299" y="363"/>
                    </a:cubicBezTo>
                    <a:cubicBezTo>
                      <a:pt x="304" y="338"/>
                      <a:pt x="304" y="338"/>
                      <a:pt x="304" y="338"/>
                    </a:cubicBezTo>
                    <a:cubicBezTo>
                      <a:pt x="310" y="338"/>
                      <a:pt x="310" y="338"/>
                      <a:pt x="310" y="338"/>
                    </a:cubicBezTo>
                    <a:cubicBezTo>
                      <a:pt x="310" y="338"/>
                      <a:pt x="311" y="326"/>
                      <a:pt x="312" y="318"/>
                    </a:cubicBezTo>
                    <a:cubicBezTo>
                      <a:pt x="313" y="310"/>
                      <a:pt x="331" y="300"/>
                      <a:pt x="331" y="300"/>
                    </a:cubicBezTo>
                    <a:cubicBezTo>
                      <a:pt x="331" y="300"/>
                      <a:pt x="326" y="253"/>
                      <a:pt x="317" y="243"/>
                    </a:cubicBezTo>
                    <a:cubicBezTo>
                      <a:pt x="308" y="233"/>
                      <a:pt x="287" y="224"/>
                      <a:pt x="279" y="216"/>
                    </a:cubicBezTo>
                    <a:cubicBezTo>
                      <a:pt x="271" y="208"/>
                      <a:pt x="256" y="187"/>
                      <a:pt x="261" y="174"/>
                    </a:cubicBezTo>
                    <a:cubicBezTo>
                      <a:pt x="266" y="161"/>
                      <a:pt x="306" y="168"/>
                      <a:pt x="314" y="167"/>
                    </a:cubicBezTo>
                    <a:cubicBezTo>
                      <a:pt x="322" y="166"/>
                      <a:pt x="336" y="165"/>
                      <a:pt x="336" y="165"/>
                    </a:cubicBezTo>
                    <a:cubicBezTo>
                      <a:pt x="336" y="165"/>
                      <a:pt x="315" y="147"/>
                      <a:pt x="310" y="133"/>
                    </a:cubicBezTo>
                    <a:cubicBezTo>
                      <a:pt x="305" y="119"/>
                      <a:pt x="304" y="91"/>
                      <a:pt x="304" y="91"/>
                    </a:cubicBezTo>
                    <a:cubicBezTo>
                      <a:pt x="304" y="91"/>
                      <a:pt x="310" y="81"/>
                      <a:pt x="310" y="70"/>
                    </a:cubicBezTo>
                    <a:cubicBezTo>
                      <a:pt x="310" y="59"/>
                      <a:pt x="296" y="52"/>
                      <a:pt x="296" y="52"/>
                    </a:cubicBezTo>
                    <a:cubicBezTo>
                      <a:pt x="300" y="25"/>
                      <a:pt x="300" y="25"/>
                      <a:pt x="300" y="25"/>
                    </a:cubicBezTo>
                    <a:cubicBezTo>
                      <a:pt x="300" y="25"/>
                      <a:pt x="284" y="22"/>
                      <a:pt x="280" y="17"/>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24" name="Freeform 146">
                <a:extLst>
                  <a:ext uri="{FF2B5EF4-FFF2-40B4-BE49-F238E27FC236}">
                    <a16:creationId xmlns:a16="http://schemas.microsoft.com/office/drawing/2014/main" id="{39F309FF-3E47-4ECE-9280-3ED0EBDF3ACB}"/>
                  </a:ext>
                </a:extLst>
              </p:cNvPr>
              <p:cNvSpPr>
                <a:spLocks/>
              </p:cNvSpPr>
              <p:nvPr>
                <p:custDataLst>
                  <p:tags r:id="rId105"/>
                </p:custDataLst>
              </p:nvPr>
            </p:nvSpPr>
            <p:spPr bwMode="gray">
              <a:xfrm>
                <a:off x="4130651" y="3314712"/>
                <a:ext cx="338136" cy="244475"/>
              </a:xfrm>
              <a:custGeom>
                <a:avLst/>
                <a:gdLst>
                  <a:gd name="T0" fmla="*/ 547 w 565"/>
                  <a:gd name="T1" fmla="*/ 165 h 438"/>
                  <a:gd name="T2" fmla="*/ 550 w 565"/>
                  <a:gd name="T3" fmla="*/ 145 h 438"/>
                  <a:gd name="T4" fmla="*/ 536 w 565"/>
                  <a:gd name="T5" fmla="*/ 145 h 438"/>
                  <a:gd name="T6" fmla="*/ 543 w 565"/>
                  <a:gd name="T7" fmla="*/ 124 h 438"/>
                  <a:gd name="T8" fmla="*/ 537 w 565"/>
                  <a:gd name="T9" fmla="*/ 113 h 438"/>
                  <a:gd name="T10" fmla="*/ 540 w 565"/>
                  <a:gd name="T11" fmla="*/ 68 h 438"/>
                  <a:gd name="T12" fmla="*/ 532 w 565"/>
                  <a:gd name="T13" fmla="*/ 68 h 438"/>
                  <a:gd name="T14" fmla="*/ 536 w 565"/>
                  <a:gd name="T15" fmla="*/ 56 h 438"/>
                  <a:gd name="T16" fmla="*/ 521 w 565"/>
                  <a:gd name="T17" fmla="*/ 39 h 438"/>
                  <a:gd name="T18" fmla="*/ 487 w 565"/>
                  <a:gd name="T19" fmla="*/ 26 h 438"/>
                  <a:gd name="T20" fmla="*/ 470 w 565"/>
                  <a:gd name="T21" fmla="*/ 34 h 438"/>
                  <a:gd name="T22" fmla="*/ 439 w 565"/>
                  <a:gd name="T23" fmla="*/ 29 h 438"/>
                  <a:gd name="T24" fmla="*/ 408 w 565"/>
                  <a:gd name="T25" fmla="*/ 33 h 438"/>
                  <a:gd name="T26" fmla="*/ 374 w 565"/>
                  <a:gd name="T27" fmla="*/ 2 h 438"/>
                  <a:gd name="T28" fmla="*/ 354 w 565"/>
                  <a:gd name="T29" fmla="*/ 0 h 438"/>
                  <a:gd name="T30" fmla="*/ 337 w 565"/>
                  <a:gd name="T31" fmla="*/ 48 h 438"/>
                  <a:gd name="T32" fmla="*/ 300 w 565"/>
                  <a:gd name="T33" fmla="*/ 107 h 438"/>
                  <a:gd name="T34" fmla="*/ 267 w 565"/>
                  <a:gd name="T35" fmla="*/ 116 h 438"/>
                  <a:gd name="T36" fmla="*/ 251 w 565"/>
                  <a:gd name="T37" fmla="*/ 131 h 438"/>
                  <a:gd name="T38" fmla="*/ 239 w 565"/>
                  <a:gd name="T39" fmla="*/ 128 h 438"/>
                  <a:gd name="T40" fmla="*/ 222 w 565"/>
                  <a:gd name="T41" fmla="*/ 137 h 438"/>
                  <a:gd name="T42" fmla="*/ 211 w 565"/>
                  <a:gd name="T43" fmla="*/ 158 h 438"/>
                  <a:gd name="T44" fmla="*/ 191 w 565"/>
                  <a:gd name="T45" fmla="*/ 174 h 438"/>
                  <a:gd name="T46" fmla="*/ 188 w 565"/>
                  <a:gd name="T47" fmla="*/ 199 h 438"/>
                  <a:gd name="T48" fmla="*/ 165 w 565"/>
                  <a:gd name="T49" fmla="*/ 244 h 438"/>
                  <a:gd name="T50" fmla="*/ 166 w 565"/>
                  <a:gd name="T51" fmla="*/ 269 h 438"/>
                  <a:gd name="T52" fmla="*/ 158 w 565"/>
                  <a:gd name="T53" fmla="*/ 276 h 438"/>
                  <a:gd name="T54" fmla="*/ 170 w 565"/>
                  <a:gd name="T55" fmla="*/ 292 h 438"/>
                  <a:gd name="T56" fmla="*/ 169 w 565"/>
                  <a:gd name="T57" fmla="*/ 316 h 438"/>
                  <a:gd name="T58" fmla="*/ 154 w 565"/>
                  <a:gd name="T59" fmla="*/ 321 h 438"/>
                  <a:gd name="T60" fmla="*/ 130 w 565"/>
                  <a:gd name="T61" fmla="*/ 359 h 438"/>
                  <a:gd name="T62" fmla="*/ 101 w 565"/>
                  <a:gd name="T63" fmla="*/ 376 h 438"/>
                  <a:gd name="T64" fmla="*/ 80 w 565"/>
                  <a:gd name="T65" fmla="*/ 404 h 438"/>
                  <a:gd name="T66" fmla="*/ 32 w 565"/>
                  <a:gd name="T67" fmla="*/ 421 h 438"/>
                  <a:gd name="T68" fmla="*/ 9 w 565"/>
                  <a:gd name="T69" fmla="*/ 423 h 438"/>
                  <a:gd name="T70" fmla="*/ 0 w 565"/>
                  <a:gd name="T71" fmla="*/ 438 h 438"/>
                  <a:gd name="T72" fmla="*/ 207 w 565"/>
                  <a:gd name="T73" fmla="*/ 438 h 438"/>
                  <a:gd name="T74" fmla="*/ 209 w 565"/>
                  <a:gd name="T75" fmla="*/ 399 h 438"/>
                  <a:gd name="T76" fmla="*/ 212 w 565"/>
                  <a:gd name="T77" fmla="*/ 381 h 438"/>
                  <a:gd name="T78" fmla="*/ 232 w 565"/>
                  <a:gd name="T79" fmla="*/ 369 h 438"/>
                  <a:gd name="T80" fmla="*/ 253 w 565"/>
                  <a:gd name="T81" fmla="*/ 344 h 438"/>
                  <a:gd name="T82" fmla="*/ 265 w 565"/>
                  <a:gd name="T83" fmla="*/ 345 h 438"/>
                  <a:gd name="T84" fmla="*/ 283 w 565"/>
                  <a:gd name="T85" fmla="*/ 331 h 438"/>
                  <a:gd name="T86" fmla="*/ 302 w 565"/>
                  <a:gd name="T87" fmla="*/ 339 h 438"/>
                  <a:gd name="T88" fmla="*/ 308 w 565"/>
                  <a:gd name="T89" fmla="*/ 326 h 438"/>
                  <a:gd name="T90" fmla="*/ 326 w 565"/>
                  <a:gd name="T91" fmla="*/ 325 h 438"/>
                  <a:gd name="T92" fmla="*/ 327 w 565"/>
                  <a:gd name="T93" fmla="*/ 317 h 438"/>
                  <a:gd name="T94" fmla="*/ 361 w 565"/>
                  <a:gd name="T95" fmla="*/ 318 h 438"/>
                  <a:gd name="T96" fmla="*/ 384 w 565"/>
                  <a:gd name="T97" fmla="*/ 284 h 438"/>
                  <a:gd name="T98" fmla="*/ 414 w 565"/>
                  <a:gd name="T99" fmla="*/ 283 h 438"/>
                  <a:gd name="T100" fmla="*/ 432 w 565"/>
                  <a:gd name="T101" fmla="*/ 264 h 438"/>
                  <a:gd name="T102" fmla="*/ 449 w 565"/>
                  <a:gd name="T103" fmla="*/ 257 h 438"/>
                  <a:gd name="T104" fmla="*/ 439 w 565"/>
                  <a:gd name="T105" fmla="*/ 245 h 438"/>
                  <a:gd name="T106" fmla="*/ 438 w 565"/>
                  <a:gd name="T107" fmla="*/ 221 h 438"/>
                  <a:gd name="T108" fmla="*/ 475 w 565"/>
                  <a:gd name="T109" fmla="*/ 215 h 438"/>
                  <a:gd name="T110" fmla="*/ 480 w 565"/>
                  <a:gd name="T111" fmla="*/ 200 h 438"/>
                  <a:gd name="T112" fmla="*/ 493 w 565"/>
                  <a:gd name="T113" fmla="*/ 202 h 438"/>
                  <a:gd name="T114" fmla="*/ 501 w 565"/>
                  <a:gd name="T115" fmla="*/ 195 h 438"/>
                  <a:gd name="T116" fmla="*/ 515 w 565"/>
                  <a:gd name="T117" fmla="*/ 201 h 438"/>
                  <a:gd name="T118" fmla="*/ 553 w 565"/>
                  <a:gd name="T119" fmla="*/ 196 h 438"/>
                  <a:gd name="T120" fmla="*/ 554 w 565"/>
                  <a:gd name="T121" fmla="*/ 186 h 438"/>
                  <a:gd name="T122" fmla="*/ 565 w 565"/>
                  <a:gd name="T123" fmla="*/ 177 h 438"/>
                  <a:gd name="T124" fmla="*/ 547 w 565"/>
                  <a:gd name="T125" fmla="*/ 165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5" h="438">
                    <a:moveTo>
                      <a:pt x="547" y="165"/>
                    </a:moveTo>
                    <a:cubicBezTo>
                      <a:pt x="550" y="145"/>
                      <a:pt x="550" y="145"/>
                      <a:pt x="550" y="145"/>
                    </a:cubicBezTo>
                    <a:cubicBezTo>
                      <a:pt x="536" y="145"/>
                      <a:pt x="536" y="145"/>
                      <a:pt x="536" y="145"/>
                    </a:cubicBezTo>
                    <a:cubicBezTo>
                      <a:pt x="543" y="124"/>
                      <a:pt x="543" y="124"/>
                      <a:pt x="543" y="124"/>
                    </a:cubicBezTo>
                    <a:cubicBezTo>
                      <a:pt x="537" y="113"/>
                      <a:pt x="537" y="113"/>
                      <a:pt x="537" y="113"/>
                    </a:cubicBezTo>
                    <a:cubicBezTo>
                      <a:pt x="540" y="68"/>
                      <a:pt x="540" y="68"/>
                      <a:pt x="540" y="68"/>
                    </a:cubicBezTo>
                    <a:cubicBezTo>
                      <a:pt x="532" y="68"/>
                      <a:pt x="532" y="68"/>
                      <a:pt x="532" y="68"/>
                    </a:cubicBezTo>
                    <a:cubicBezTo>
                      <a:pt x="532" y="68"/>
                      <a:pt x="536" y="57"/>
                      <a:pt x="536" y="56"/>
                    </a:cubicBezTo>
                    <a:cubicBezTo>
                      <a:pt x="526" y="52"/>
                      <a:pt x="522" y="43"/>
                      <a:pt x="521" y="39"/>
                    </a:cubicBezTo>
                    <a:cubicBezTo>
                      <a:pt x="508" y="36"/>
                      <a:pt x="496" y="26"/>
                      <a:pt x="487" y="26"/>
                    </a:cubicBezTo>
                    <a:cubicBezTo>
                      <a:pt x="477" y="26"/>
                      <a:pt x="470" y="34"/>
                      <a:pt x="470" y="34"/>
                    </a:cubicBezTo>
                    <a:cubicBezTo>
                      <a:pt x="470" y="34"/>
                      <a:pt x="447" y="29"/>
                      <a:pt x="439" y="29"/>
                    </a:cubicBezTo>
                    <a:cubicBezTo>
                      <a:pt x="431" y="29"/>
                      <a:pt x="423" y="38"/>
                      <a:pt x="408" y="33"/>
                    </a:cubicBezTo>
                    <a:cubicBezTo>
                      <a:pt x="393" y="28"/>
                      <a:pt x="378" y="4"/>
                      <a:pt x="374" y="2"/>
                    </a:cubicBezTo>
                    <a:cubicBezTo>
                      <a:pt x="370" y="0"/>
                      <a:pt x="354" y="0"/>
                      <a:pt x="354" y="0"/>
                    </a:cubicBezTo>
                    <a:cubicBezTo>
                      <a:pt x="354" y="0"/>
                      <a:pt x="343" y="35"/>
                      <a:pt x="337" y="48"/>
                    </a:cubicBezTo>
                    <a:cubicBezTo>
                      <a:pt x="331" y="61"/>
                      <a:pt x="312" y="98"/>
                      <a:pt x="300" y="107"/>
                    </a:cubicBezTo>
                    <a:cubicBezTo>
                      <a:pt x="288" y="116"/>
                      <a:pt x="272" y="112"/>
                      <a:pt x="267" y="116"/>
                    </a:cubicBezTo>
                    <a:cubicBezTo>
                      <a:pt x="262" y="120"/>
                      <a:pt x="251" y="131"/>
                      <a:pt x="251" y="131"/>
                    </a:cubicBezTo>
                    <a:cubicBezTo>
                      <a:pt x="239" y="128"/>
                      <a:pt x="239" y="128"/>
                      <a:pt x="239" y="128"/>
                    </a:cubicBezTo>
                    <a:cubicBezTo>
                      <a:pt x="222" y="137"/>
                      <a:pt x="222" y="137"/>
                      <a:pt x="222" y="137"/>
                    </a:cubicBezTo>
                    <a:cubicBezTo>
                      <a:pt x="222" y="137"/>
                      <a:pt x="217" y="150"/>
                      <a:pt x="211" y="158"/>
                    </a:cubicBezTo>
                    <a:cubicBezTo>
                      <a:pt x="211" y="158"/>
                      <a:pt x="191" y="170"/>
                      <a:pt x="191" y="174"/>
                    </a:cubicBezTo>
                    <a:cubicBezTo>
                      <a:pt x="191" y="178"/>
                      <a:pt x="195" y="192"/>
                      <a:pt x="188" y="199"/>
                    </a:cubicBezTo>
                    <a:cubicBezTo>
                      <a:pt x="181" y="206"/>
                      <a:pt x="164" y="230"/>
                      <a:pt x="165" y="244"/>
                    </a:cubicBezTo>
                    <a:cubicBezTo>
                      <a:pt x="166" y="258"/>
                      <a:pt x="166" y="269"/>
                      <a:pt x="166" y="269"/>
                    </a:cubicBezTo>
                    <a:cubicBezTo>
                      <a:pt x="166" y="269"/>
                      <a:pt x="158" y="273"/>
                      <a:pt x="158" y="276"/>
                    </a:cubicBezTo>
                    <a:cubicBezTo>
                      <a:pt x="158" y="279"/>
                      <a:pt x="173" y="277"/>
                      <a:pt x="170" y="292"/>
                    </a:cubicBezTo>
                    <a:cubicBezTo>
                      <a:pt x="167" y="307"/>
                      <a:pt x="169" y="316"/>
                      <a:pt x="169" y="316"/>
                    </a:cubicBezTo>
                    <a:cubicBezTo>
                      <a:pt x="169" y="316"/>
                      <a:pt x="163" y="310"/>
                      <a:pt x="154" y="321"/>
                    </a:cubicBezTo>
                    <a:cubicBezTo>
                      <a:pt x="145" y="332"/>
                      <a:pt x="138" y="348"/>
                      <a:pt x="130" y="359"/>
                    </a:cubicBezTo>
                    <a:cubicBezTo>
                      <a:pt x="122" y="370"/>
                      <a:pt x="108" y="366"/>
                      <a:pt x="101" y="376"/>
                    </a:cubicBezTo>
                    <a:cubicBezTo>
                      <a:pt x="94" y="386"/>
                      <a:pt x="86" y="398"/>
                      <a:pt x="80" y="404"/>
                    </a:cubicBezTo>
                    <a:cubicBezTo>
                      <a:pt x="74" y="410"/>
                      <a:pt x="36" y="420"/>
                      <a:pt x="32" y="421"/>
                    </a:cubicBezTo>
                    <a:cubicBezTo>
                      <a:pt x="28" y="422"/>
                      <a:pt x="9" y="423"/>
                      <a:pt x="9" y="423"/>
                    </a:cubicBezTo>
                    <a:cubicBezTo>
                      <a:pt x="9" y="423"/>
                      <a:pt x="4" y="429"/>
                      <a:pt x="0" y="438"/>
                    </a:cubicBezTo>
                    <a:cubicBezTo>
                      <a:pt x="207" y="438"/>
                      <a:pt x="207" y="438"/>
                      <a:pt x="207" y="438"/>
                    </a:cubicBezTo>
                    <a:cubicBezTo>
                      <a:pt x="209" y="399"/>
                      <a:pt x="209" y="399"/>
                      <a:pt x="209" y="399"/>
                    </a:cubicBezTo>
                    <a:cubicBezTo>
                      <a:pt x="212" y="381"/>
                      <a:pt x="212" y="381"/>
                      <a:pt x="212" y="381"/>
                    </a:cubicBezTo>
                    <a:cubicBezTo>
                      <a:pt x="212" y="381"/>
                      <a:pt x="225" y="374"/>
                      <a:pt x="232" y="369"/>
                    </a:cubicBezTo>
                    <a:cubicBezTo>
                      <a:pt x="239" y="364"/>
                      <a:pt x="253" y="344"/>
                      <a:pt x="253" y="344"/>
                    </a:cubicBezTo>
                    <a:cubicBezTo>
                      <a:pt x="265" y="345"/>
                      <a:pt x="265" y="345"/>
                      <a:pt x="265" y="345"/>
                    </a:cubicBezTo>
                    <a:cubicBezTo>
                      <a:pt x="283" y="331"/>
                      <a:pt x="283" y="331"/>
                      <a:pt x="283" y="331"/>
                    </a:cubicBezTo>
                    <a:cubicBezTo>
                      <a:pt x="283" y="331"/>
                      <a:pt x="296" y="340"/>
                      <a:pt x="302" y="339"/>
                    </a:cubicBezTo>
                    <a:cubicBezTo>
                      <a:pt x="308" y="338"/>
                      <a:pt x="308" y="326"/>
                      <a:pt x="308" y="326"/>
                    </a:cubicBezTo>
                    <a:cubicBezTo>
                      <a:pt x="326" y="325"/>
                      <a:pt x="326" y="325"/>
                      <a:pt x="326" y="325"/>
                    </a:cubicBezTo>
                    <a:cubicBezTo>
                      <a:pt x="327" y="317"/>
                      <a:pt x="327" y="317"/>
                      <a:pt x="327" y="317"/>
                    </a:cubicBezTo>
                    <a:cubicBezTo>
                      <a:pt x="327" y="317"/>
                      <a:pt x="353" y="321"/>
                      <a:pt x="361" y="318"/>
                    </a:cubicBezTo>
                    <a:cubicBezTo>
                      <a:pt x="369" y="315"/>
                      <a:pt x="384" y="284"/>
                      <a:pt x="384" y="284"/>
                    </a:cubicBezTo>
                    <a:cubicBezTo>
                      <a:pt x="384" y="284"/>
                      <a:pt x="408" y="283"/>
                      <a:pt x="414" y="283"/>
                    </a:cubicBezTo>
                    <a:cubicBezTo>
                      <a:pt x="420" y="283"/>
                      <a:pt x="432" y="264"/>
                      <a:pt x="432" y="264"/>
                    </a:cubicBezTo>
                    <a:cubicBezTo>
                      <a:pt x="449" y="257"/>
                      <a:pt x="449" y="257"/>
                      <a:pt x="449" y="257"/>
                    </a:cubicBezTo>
                    <a:cubicBezTo>
                      <a:pt x="439" y="245"/>
                      <a:pt x="439" y="245"/>
                      <a:pt x="439" y="245"/>
                    </a:cubicBezTo>
                    <a:cubicBezTo>
                      <a:pt x="439" y="245"/>
                      <a:pt x="430" y="228"/>
                      <a:pt x="438" y="221"/>
                    </a:cubicBezTo>
                    <a:cubicBezTo>
                      <a:pt x="446" y="214"/>
                      <a:pt x="468" y="220"/>
                      <a:pt x="475" y="215"/>
                    </a:cubicBezTo>
                    <a:cubicBezTo>
                      <a:pt x="482" y="210"/>
                      <a:pt x="475" y="203"/>
                      <a:pt x="480" y="200"/>
                    </a:cubicBezTo>
                    <a:cubicBezTo>
                      <a:pt x="485" y="197"/>
                      <a:pt x="493" y="202"/>
                      <a:pt x="493" y="202"/>
                    </a:cubicBezTo>
                    <a:cubicBezTo>
                      <a:pt x="493" y="202"/>
                      <a:pt x="497" y="195"/>
                      <a:pt x="501" y="195"/>
                    </a:cubicBezTo>
                    <a:cubicBezTo>
                      <a:pt x="505" y="195"/>
                      <a:pt x="515" y="201"/>
                      <a:pt x="515" y="201"/>
                    </a:cubicBezTo>
                    <a:cubicBezTo>
                      <a:pt x="553" y="196"/>
                      <a:pt x="553" y="196"/>
                      <a:pt x="553" y="196"/>
                    </a:cubicBezTo>
                    <a:cubicBezTo>
                      <a:pt x="553" y="196"/>
                      <a:pt x="552" y="189"/>
                      <a:pt x="554" y="186"/>
                    </a:cubicBezTo>
                    <a:cubicBezTo>
                      <a:pt x="556" y="183"/>
                      <a:pt x="565" y="177"/>
                      <a:pt x="565" y="177"/>
                    </a:cubicBezTo>
                    <a:lnTo>
                      <a:pt x="547" y="165"/>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25" name="Freeform 147">
                <a:extLst>
                  <a:ext uri="{FF2B5EF4-FFF2-40B4-BE49-F238E27FC236}">
                    <a16:creationId xmlns:a16="http://schemas.microsoft.com/office/drawing/2014/main" id="{3DA9D0E0-7F92-4569-B7D0-511105C82CA3}"/>
                  </a:ext>
                </a:extLst>
              </p:cNvPr>
              <p:cNvSpPr>
                <a:spLocks/>
              </p:cNvSpPr>
              <p:nvPr>
                <p:custDataLst>
                  <p:tags r:id="rId106"/>
                </p:custDataLst>
              </p:nvPr>
            </p:nvSpPr>
            <p:spPr bwMode="gray">
              <a:xfrm>
                <a:off x="4391000" y="4051315"/>
                <a:ext cx="128587" cy="193676"/>
              </a:xfrm>
              <a:custGeom>
                <a:avLst/>
                <a:gdLst>
                  <a:gd name="T0" fmla="*/ 185 w 213"/>
                  <a:gd name="T1" fmla="*/ 228 h 349"/>
                  <a:gd name="T2" fmla="*/ 190 w 213"/>
                  <a:gd name="T3" fmla="*/ 205 h 349"/>
                  <a:gd name="T4" fmla="*/ 182 w 213"/>
                  <a:gd name="T5" fmla="*/ 198 h 349"/>
                  <a:gd name="T6" fmla="*/ 185 w 213"/>
                  <a:gd name="T7" fmla="*/ 186 h 349"/>
                  <a:gd name="T8" fmla="*/ 187 w 213"/>
                  <a:gd name="T9" fmla="*/ 157 h 349"/>
                  <a:gd name="T10" fmla="*/ 191 w 213"/>
                  <a:gd name="T11" fmla="*/ 148 h 349"/>
                  <a:gd name="T12" fmla="*/ 173 w 213"/>
                  <a:gd name="T13" fmla="*/ 134 h 349"/>
                  <a:gd name="T14" fmla="*/ 185 w 213"/>
                  <a:gd name="T15" fmla="*/ 123 h 349"/>
                  <a:gd name="T16" fmla="*/ 178 w 213"/>
                  <a:gd name="T17" fmla="*/ 113 h 349"/>
                  <a:gd name="T18" fmla="*/ 182 w 213"/>
                  <a:gd name="T19" fmla="*/ 88 h 349"/>
                  <a:gd name="T20" fmla="*/ 166 w 213"/>
                  <a:gd name="T21" fmla="*/ 91 h 349"/>
                  <a:gd name="T22" fmla="*/ 174 w 213"/>
                  <a:gd name="T23" fmla="*/ 42 h 349"/>
                  <a:gd name="T24" fmla="*/ 152 w 213"/>
                  <a:gd name="T25" fmla="*/ 24 h 349"/>
                  <a:gd name="T26" fmla="*/ 159 w 213"/>
                  <a:gd name="T27" fmla="*/ 15 h 349"/>
                  <a:gd name="T28" fmla="*/ 159 w 213"/>
                  <a:gd name="T29" fmla="*/ 4 h 349"/>
                  <a:gd name="T30" fmla="*/ 145 w 213"/>
                  <a:gd name="T31" fmla="*/ 0 h 349"/>
                  <a:gd name="T32" fmla="*/ 129 w 213"/>
                  <a:gd name="T33" fmla="*/ 10 h 349"/>
                  <a:gd name="T34" fmla="*/ 109 w 213"/>
                  <a:gd name="T35" fmla="*/ 7 h 349"/>
                  <a:gd name="T36" fmla="*/ 98 w 213"/>
                  <a:gd name="T37" fmla="*/ 10 h 349"/>
                  <a:gd name="T38" fmla="*/ 86 w 213"/>
                  <a:gd name="T39" fmla="*/ 7 h 349"/>
                  <a:gd name="T40" fmla="*/ 81 w 213"/>
                  <a:gd name="T41" fmla="*/ 10 h 349"/>
                  <a:gd name="T42" fmla="*/ 26 w 213"/>
                  <a:gd name="T43" fmla="*/ 7 h 349"/>
                  <a:gd name="T44" fmla="*/ 18 w 213"/>
                  <a:gd name="T45" fmla="*/ 24 h 349"/>
                  <a:gd name="T46" fmla="*/ 24 w 213"/>
                  <a:gd name="T47" fmla="*/ 33 h 349"/>
                  <a:gd name="T48" fmla="*/ 25 w 213"/>
                  <a:gd name="T49" fmla="*/ 51 h 349"/>
                  <a:gd name="T50" fmla="*/ 26 w 213"/>
                  <a:gd name="T51" fmla="*/ 87 h 349"/>
                  <a:gd name="T52" fmla="*/ 30 w 213"/>
                  <a:gd name="T53" fmla="*/ 86 h 349"/>
                  <a:gd name="T54" fmla="*/ 34 w 213"/>
                  <a:gd name="T55" fmla="*/ 105 h 349"/>
                  <a:gd name="T56" fmla="*/ 26 w 213"/>
                  <a:gd name="T57" fmla="*/ 106 h 349"/>
                  <a:gd name="T58" fmla="*/ 38 w 213"/>
                  <a:gd name="T59" fmla="*/ 152 h 349"/>
                  <a:gd name="T60" fmla="*/ 21 w 213"/>
                  <a:gd name="T61" fmla="*/ 179 h 349"/>
                  <a:gd name="T62" fmla="*/ 20 w 213"/>
                  <a:gd name="T63" fmla="*/ 209 h 349"/>
                  <a:gd name="T64" fmla="*/ 0 w 213"/>
                  <a:gd name="T65" fmla="*/ 241 h 349"/>
                  <a:gd name="T66" fmla="*/ 13 w 213"/>
                  <a:gd name="T67" fmla="*/ 291 h 349"/>
                  <a:gd name="T68" fmla="*/ 31 w 213"/>
                  <a:gd name="T69" fmla="*/ 297 h 349"/>
                  <a:gd name="T70" fmla="*/ 32 w 213"/>
                  <a:gd name="T71" fmla="*/ 332 h 349"/>
                  <a:gd name="T72" fmla="*/ 47 w 213"/>
                  <a:gd name="T73" fmla="*/ 334 h 349"/>
                  <a:gd name="T74" fmla="*/ 61 w 213"/>
                  <a:gd name="T75" fmla="*/ 345 h 349"/>
                  <a:gd name="T76" fmla="*/ 99 w 213"/>
                  <a:gd name="T77" fmla="*/ 321 h 349"/>
                  <a:gd name="T78" fmla="*/ 117 w 213"/>
                  <a:gd name="T79" fmla="*/ 321 h 349"/>
                  <a:gd name="T80" fmla="*/ 141 w 213"/>
                  <a:gd name="T81" fmla="*/ 302 h 349"/>
                  <a:gd name="T82" fmla="*/ 159 w 213"/>
                  <a:gd name="T83" fmla="*/ 298 h 349"/>
                  <a:gd name="T84" fmla="*/ 173 w 213"/>
                  <a:gd name="T85" fmla="*/ 283 h 349"/>
                  <a:gd name="T86" fmla="*/ 196 w 213"/>
                  <a:gd name="T87" fmla="*/ 287 h 349"/>
                  <a:gd name="T88" fmla="*/ 213 w 213"/>
                  <a:gd name="T89" fmla="*/ 273 h 349"/>
                  <a:gd name="T90" fmla="*/ 193 w 213"/>
                  <a:gd name="T91" fmla="*/ 256 h 349"/>
                  <a:gd name="T92" fmla="*/ 185 w 213"/>
                  <a:gd name="T93" fmla="*/ 228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 h="349">
                    <a:moveTo>
                      <a:pt x="185" y="228"/>
                    </a:moveTo>
                    <a:cubicBezTo>
                      <a:pt x="185" y="228"/>
                      <a:pt x="191" y="211"/>
                      <a:pt x="190" y="205"/>
                    </a:cubicBezTo>
                    <a:cubicBezTo>
                      <a:pt x="189" y="199"/>
                      <a:pt x="182" y="203"/>
                      <a:pt x="182" y="198"/>
                    </a:cubicBezTo>
                    <a:cubicBezTo>
                      <a:pt x="182" y="193"/>
                      <a:pt x="185" y="186"/>
                      <a:pt x="185" y="186"/>
                    </a:cubicBezTo>
                    <a:cubicBezTo>
                      <a:pt x="187" y="157"/>
                      <a:pt x="187" y="157"/>
                      <a:pt x="187" y="157"/>
                    </a:cubicBezTo>
                    <a:cubicBezTo>
                      <a:pt x="187" y="157"/>
                      <a:pt x="192" y="154"/>
                      <a:pt x="191" y="148"/>
                    </a:cubicBezTo>
                    <a:cubicBezTo>
                      <a:pt x="190" y="142"/>
                      <a:pt x="173" y="134"/>
                      <a:pt x="173" y="134"/>
                    </a:cubicBezTo>
                    <a:cubicBezTo>
                      <a:pt x="173" y="134"/>
                      <a:pt x="184" y="126"/>
                      <a:pt x="185" y="123"/>
                    </a:cubicBezTo>
                    <a:cubicBezTo>
                      <a:pt x="186" y="120"/>
                      <a:pt x="178" y="113"/>
                      <a:pt x="178" y="113"/>
                    </a:cubicBezTo>
                    <a:cubicBezTo>
                      <a:pt x="178" y="113"/>
                      <a:pt x="186" y="95"/>
                      <a:pt x="182" y="88"/>
                    </a:cubicBezTo>
                    <a:cubicBezTo>
                      <a:pt x="178" y="81"/>
                      <a:pt x="166" y="91"/>
                      <a:pt x="166" y="91"/>
                    </a:cubicBezTo>
                    <a:cubicBezTo>
                      <a:pt x="174" y="42"/>
                      <a:pt x="174" y="42"/>
                      <a:pt x="174" y="42"/>
                    </a:cubicBezTo>
                    <a:cubicBezTo>
                      <a:pt x="152" y="24"/>
                      <a:pt x="152" y="24"/>
                      <a:pt x="152" y="24"/>
                    </a:cubicBezTo>
                    <a:cubicBezTo>
                      <a:pt x="159" y="15"/>
                      <a:pt x="159" y="15"/>
                      <a:pt x="159" y="15"/>
                    </a:cubicBezTo>
                    <a:cubicBezTo>
                      <a:pt x="159" y="4"/>
                      <a:pt x="159" y="4"/>
                      <a:pt x="159" y="4"/>
                    </a:cubicBezTo>
                    <a:cubicBezTo>
                      <a:pt x="145" y="0"/>
                      <a:pt x="145" y="0"/>
                      <a:pt x="145" y="0"/>
                    </a:cubicBezTo>
                    <a:cubicBezTo>
                      <a:pt x="129" y="10"/>
                      <a:pt x="129" y="10"/>
                      <a:pt x="129" y="10"/>
                    </a:cubicBezTo>
                    <a:cubicBezTo>
                      <a:pt x="109" y="7"/>
                      <a:pt x="109" y="7"/>
                      <a:pt x="109" y="7"/>
                    </a:cubicBezTo>
                    <a:cubicBezTo>
                      <a:pt x="98" y="10"/>
                      <a:pt x="98" y="10"/>
                      <a:pt x="98" y="10"/>
                    </a:cubicBezTo>
                    <a:cubicBezTo>
                      <a:pt x="86" y="7"/>
                      <a:pt x="86" y="7"/>
                      <a:pt x="86" y="7"/>
                    </a:cubicBezTo>
                    <a:cubicBezTo>
                      <a:pt x="81" y="10"/>
                      <a:pt x="81" y="10"/>
                      <a:pt x="81" y="10"/>
                    </a:cubicBezTo>
                    <a:cubicBezTo>
                      <a:pt x="26" y="7"/>
                      <a:pt x="26" y="7"/>
                      <a:pt x="26" y="7"/>
                    </a:cubicBezTo>
                    <a:cubicBezTo>
                      <a:pt x="26" y="7"/>
                      <a:pt x="18" y="16"/>
                      <a:pt x="18" y="24"/>
                    </a:cubicBezTo>
                    <a:cubicBezTo>
                      <a:pt x="18" y="32"/>
                      <a:pt x="24" y="33"/>
                      <a:pt x="24" y="33"/>
                    </a:cubicBezTo>
                    <a:cubicBezTo>
                      <a:pt x="25" y="51"/>
                      <a:pt x="25" y="51"/>
                      <a:pt x="25" y="51"/>
                    </a:cubicBezTo>
                    <a:cubicBezTo>
                      <a:pt x="26" y="87"/>
                      <a:pt x="26" y="87"/>
                      <a:pt x="26" y="87"/>
                    </a:cubicBezTo>
                    <a:cubicBezTo>
                      <a:pt x="30" y="86"/>
                      <a:pt x="30" y="86"/>
                      <a:pt x="30" y="86"/>
                    </a:cubicBezTo>
                    <a:cubicBezTo>
                      <a:pt x="34" y="105"/>
                      <a:pt x="34" y="105"/>
                      <a:pt x="34" y="105"/>
                    </a:cubicBezTo>
                    <a:cubicBezTo>
                      <a:pt x="26" y="106"/>
                      <a:pt x="26" y="106"/>
                      <a:pt x="26" y="106"/>
                    </a:cubicBezTo>
                    <a:cubicBezTo>
                      <a:pt x="26" y="106"/>
                      <a:pt x="38" y="140"/>
                      <a:pt x="38" y="152"/>
                    </a:cubicBezTo>
                    <a:cubicBezTo>
                      <a:pt x="38" y="164"/>
                      <a:pt x="21" y="171"/>
                      <a:pt x="21" y="179"/>
                    </a:cubicBezTo>
                    <a:cubicBezTo>
                      <a:pt x="21" y="187"/>
                      <a:pt x="20" y="209"/>
                      <a:pt x="20" y="209"/>
                    </a:cubicBezTo>
                    <a:cubicBezTo>
                      <a:pt x="20" y="209"/>
                      <a:pt x="0" y="227"/>
                      <a:pt x="0" y="241"/>
                    </a:cubicBezTo>
                    <a:cubicBezTo>
                      <a:pt x="0" y="255"/>
                      <a:pt x="13" y="291"/>
                      <a:pt x="13" y="291"/>
                    </a:cubicBezTo>
                    <a:cubicBezTo>
                      <a:pt x="31" y="297"/>
                      <a:pt x="31" y="297"/>
                      <a:pt x="31" y="297"/>
                    </a:cubicBezTo>
                    <a:cubicBezTo>
                      <a:pt x="32" y="332"/>
                      <a:pt x="32" y="332"/>
                      <a:pt x="32" y="332"/>
                    </a:cubicBezTo>
                    <a:cubicBezTo>
                      <a:pt x="41" y="334"/>
                      <a:pt x="47" y="334"/>
                      <a:pt x="47" y="334"/>
                    </a:cubicBezTo>
                    <a:cubicBezTo>
                      <a:pt x="47" y="334"/>
                      <a:pt x="51" y="349"/>
                      <a:pt x="61" y="345"/>
                    </a:cubicBezTo>
                    <a:cubicBezTo>
                      <a:pt x="71" y="341"/>
                      <a:pt x="92" y="323"/>
                      <a:pt x="99" y="321"/>
                    </a:cubicBezTo>
                    <a:cubicBezTo>
                      <a:pt x="106" y="319"/>
                      <a:pt x="117" y="321"/>
                      <a:pt x="117" y="321"/>
                    </a:cubicBezTo>
                    <a:cubicBezTo>
                      <a:pt x="117" y="321"/>
                      <a:pt x="138" y="303"/>
                      <a:pt x="141" y="302"/>
                    </a:cubicBezTo>
                    <a:cubicBezTo>
                      <a:pt x="144" y="301"/>
                      <a:pt x="159" y="298"/>
                      <a:pt x="159" y="298"/>
                    </a:cubicBezTo>
                    <a:cubicBezTo>
                      <a:pt x="159" y="298"/>
                      <a:pt x="165" y="282"/>
                      <a:pt x="173" y="283"/>
                    </a:cubicBezTo>
                    <a:cubicBezTo>
                      <a:pt x="181" y="284"/>
                      <a:pt x="187" y="292"/>
                      <a:pt x="196" y="287"/>
                    </a:cubicBezTo>
                    <a:cubicBezTo>
                      <a:pt x="201" y="284"/>
                      <a:pt x="207" y="278"/>
                      <a:pt x="213" y="273"/>
                    </a:cubicBezTo>
                    <a:cubicBezTo>
                      <a:pt x="193" y="256"/>
                      <a:pt x="193" y="256"/>
                      <a:pt x="193" y="256"/>
                    </a:cubicBezTo>
                    <a:lnTo>
                      <a:pt x="185" y="228"/>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26" name="Freeform 148">
                <a:extLst>
                  <a:ext uri="{FF2B5EF4-FFF2-40B4-BE49-F238E27FC236}">
                    <a16:creationId xmlns:a16="http://schemas.microsoft.com/office/drawing/2014/main" id="{9A931506-D99C-4790-9B32-9DD8DC854386}"/>
                  </a:ext>
                </a:extLst>
              </p:cNvPr>
              <p:cNvSpPr>
                <a:spLocks/>
              </p:cNvSpPr>
              <p:nvPr>
                <p:custDataLst>
                  <p:tags r:id="rId107"/>
                </p:custDataLst>
              </p:nvPr>
            </p:nvSpPr>
            <p:spPr bwMode="gray">
              <a:xfrm>
                <a:off x="4481487" y="4052903"/>
                <a:ext cx="57149" cy="150813"/>
              </a:xfrm>
              <a:custGeom>
                <a:avLst/>
                <a:gdLst>
                  <a:gd name="T0" fmla="*/ 82 w 91"/>
                  <a:gd name="T1" fmla="*/ 239 h 270"/>
                  <a:gd name="T2" fmla="*/ 80 w 91"/>
                  <a:gd name="T3" fmla="*/ 195 h 270"/>
                  <a:gd name="T4" fmla="*/ 85 w 91"/>
                  <a:gd name="T5" fmla="*/ 188 h 270"/>
                  <a:gd name="T6" fmla="*/ 79 w 91"/>
                  <a:gd name="T7" fmla="*/ 182 h 270"/>
                  <a:gd name="T8" fmla="*/ 80 w 91"/>
                  <a:gd name="T9" fmla="*/ 143 h 270"/>
                  <a:gd name="T10" fmla="*/ 85 w 91"/>
                  <a:gd name="T11" fmla="*/ 135 h 270"/>
                  <a:gd name="T12" fmla="*/ 81 w 91"/>
                  <a:gd name="T13" fmla="*/ 108 h 270"/>
                  <a:gd name="T14" fmla="*/ 69 w 91"/>
                  <a:gd name="T15" fmla="*/ 91 h 270"/>
                  <a:gd name="T16" fmla="*/ 69 w 91"/>
                  <a:gd name="T17" fmla="*/ 60 h 270"/>
                  <a:gd name="T18" fmla="*/ 42 w 91"/>
                  <a:gd name="T19" fmla="*/ 37 h 270"/>
                  <a:gd name="T20" fmla="*/ 41 w 91"/>
                  <a:gd name="T21" fmla="*/ 18 h 270"/>
                  <a:gd name="T22" fmla="*/ 47 w 91"/>
                  <a:gd name="T23" fmla="*/ 6 h 270"/>
                  <a:gd name="T24" fmla="*/ 33 w 91"/>
                  <a:gd name="T25" fmla="*/ 7 h 270"/>
                  <a:gd name="T26" fmla="*/ 18 w 91"/>
                  <a:gd name="T27" fmla="*/ 0 h 270"/>
                  <a:gd name="T28" fmla="*/ 7 w 91"/>
                  <a:gd name="T29" fmla="*/ 1 h 270"/>
                  <a:gd name="T30" fmla="*/ 7 w 91"/>
                  <a:gd name="T31" fmla="*/ 12 h 270"/>
                  <a:gd name="T32" fmla="*/ 0 w 91"/>
                  <a:gd name="T33" fmla="*/ 21 h 270"/>
                  <a:gd name="T34" fmla="*/ 22 w 91"/>
                  <a:gd name="T35" fmla="*/ 39 h 270"/>
                  <a:gd name="T36" fmla="*/ 14 w 91"/>
                  <a:gd name="T37" fmla="*/ 88 h 270"/>
                  <a:gd name="T38" fmla="*/ 30 w 91"/>
                  <a:gd name="T39" fmla="*/ 85 h 270"/>
                  <a:gd name="T40" fmla="*/ 26 w 91"/>
                  <a:gd name="T41" fmla="*/ 110 h 270"/>
                  <a:gd name="T42" fmla="*/ 33 w 91"/>
                  <a:gd name="T43" fmla="*/ 120 h 270"/>
                  <a:gd name="T44" fmla="*/ 21 w 91"/>
                  <a:gd name="T45" fmla="*/ 131 h 270"/>
                  <a:gd name="T46" fmla="*/ 39 w 91"/>
                  <a:gd name="T47" fmla="*/ 145 h 270"/>
                  <a:gd name="T48" fmla="*/ 35 w 91"/>
                  <a:gd name="T49" fmla="*/ 154 h 270"/>
                  <a:gd name="T50" fmla="*/ 33 w 91"/>
                  <a:gd name="T51" fmla="*/ 183 h 270"/>
                  <a:gd name="T52" fmla="*/ 30 w 91"/>
                  <a:gd name="T53" fmla="*/ 195 h 270"/>
                  <a:gd name="T54" fmla="*/ 38 w 91"/>
                  <a:gd name="T55" fmla="*/ 202 h 270"/>
                  <a:gd name="T56" fmla="*/ 33 w 91"/>
                  <a:gd name="T57" fmla="*/ 225 h 270"/>
                  <a:gd name="T58" fmla="*/ 41 w 91"/>
                  <a:gd name="T59" fmla="*/ 253 h 270"/>
                  <a:gd name="T60" fmla="*/ 61 w 91"/>
                  <a:gd name="T61" fmla="*/ 270 h 270"/>
                  <a:gd name="T62" fmla="*/ 78 w 91"/>
                  <a:gd name="T63" fmla="*/ 259 h 270"/>
                  <a:gd name="T64" fmla="*/ 91 w 91"/>
                  <a:gd name="T65" fmla="*/ 258 h 270"/>
                  <a:gd name="T66" fmla="*/ 82 w 91"/>
                  <a:gd name="T67" fmla="*/ 239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270">
                    <a:moveTo>
                      <a:pt x="82" y="239"/>
                    </a:moveTo>
                    <a:cubicBezTo>
                      <a:pt x="80" y="195"/>
                      <a:pt x="80" y="195"/>
                      <a:pt x="80" y="195"/>
                    </a:cubicBezTo>
                    <a:cubicBezTo>
                      <a:pt x="85" y="188"/>
                      <a:pt x="85" y="188"/>
                      <a:pt x="85" y="188"/>
                    </a:cubicBezTo>
                    <a:cubicBezTo>
                      <a:pt x="79" y="182"/>
                      <a:pt x="79" y="182"/>
                      <a:pt x="79" y="182"/>
                    </a:cubicBezTo>
                    <a:cubicBezTo>
                      <a:pt x="80" y="143"/>
                      <a:pt x="80" y="143"/>
                      <a:pt x="80" y="143"/>
                    </a:cubicBezTo>
                    <a:cubicBezTo>
                      <a:pt x="85" y="135"/>
                      <a:pt x="85" y="135"/>
                      <a:pt x="85" y="135"/>
                    </a:cubicBezTo>
                    <a:cubicBezTo>
                      <a:pt x="85" y="135"/>
                      <a:pt x="80" y="116"/>
                      <a:pt x="81" y="108"/>
                    </a:cubicBezTo>
                    <a:cubicBezTo>
                      <a:pt x="82" y="100"/>
                      <a:pt x="69" y="91"/>
                      <a:pt x="69" y="91"/>
                    </a:cubicBezTo>
                    <a:cubicBezTo>
                      <a:pt x="69" y="91"/>
                      <a:pt x="71" y="68"/>
                      <a:pt x="69" y="60"/>
                    </a:cubicBezTo>
                    <a:cubicBezTo>
                      <a:pt x="67" y="52"/>
                      <a:pt x="42" y="37"/>
                      <a:pt x="42" y="37"/>
                    </a:cubicBezTo>
                    <a:cubicBezTo>
                      <a:pt x="41" y="18"/>
                      <a:pt x="41" y="18"/>
                      <a:pt x="41" y="18"/>
                    </a:cubicBezTo>
                    <a:cubicBezTo>
                      <a:pt x="47" y="6"/>
                      <a:pt x="47" y="6"/>
                      <a:pt x="47" y="6"/>
                    </a:cubicBezTo>
                    <a:cubicBezTo>
                      <a:pt x="33" y="7"/>
                      <a:pt x="33" y="7"/>
                      <a:pt x="33" y="7"/>
                    </a:cubicBezTo>
                    <a:cubicBezTo>
                      <a:pt x="18" y="0"/>
                      <a:pt x="18" y="0"/>
                      <a:pt x="18" y="0"/>
                    </a:cubicBezTo>
                    <a:cubicBezTo>
                      <a:pt x="7" y="1"/>
                      <a:pt x="7" y="1"/>
                      <a:pt x="7" y="1"/>
                    </a:cubicBezTo>
                    <a:cubicBezTo>
                      <a:pt x="7" y="12"/>
                      <a:pt x="7" y="12"/>
                      <a:pt x="7" y="12"/>
                    </a:cubicBezTo>
                    <a:cubicBezTo>
                      <a:pt x="0" y="21"/>
                      <a:pt x="0" y="21"/>
                      <a:pt x="0" y="21"/>
                    </a:cubicBezTo>
                    <a:cubicBezTo>
                      <a:pt x="22" y="39"/>
                      <a:pt x="22" y="39"/>
                      <a:pt x="22" y="39"/>
                    </a:cubicBezTo>
                    <a:cubicBezTo>
                      <a:pt x="14" y="88"/>
                      <a:pt x="14" y="88"/>
                      <a:pt x="14" y="88"/>
                    </a:cubicBezTo>
                    <a:cubicBezTo>
                      <a:pt x="14" y="88"/>
                      <a:pt x="26" y="78"/>
                      <a:pt x="30" y="85"/>
                    </a:cubicBezTo>
                    <a:cubicBezTo>
                      <a:pt x="34" y="92"/>
                      <a:pt x="26" y="110"/>
                      <a:pt x="26" y="110"/>
                    </a:cubicBezTo>
                    <a:cubicBezTo>
                      <a:pt x="26" y="110"/>
                      <a:pt x="34" y="117"/>
                      <a:pt x="33" y="120"/>
                    </a:cubicBezTo>
                    <a:cubicBezTo>
                      <a:pt x="32" y="123"/>
                      <a:pt x="21" y="131"/>
                      <a:pt x="21" y="131"/>
                    </a:cubicBezTo>
                    <a:cubicBezTo>
                      <a:pt x="21" y="131"/>
                      <a:pt x="38" y="139"/>
                      <a:pt x="39" y="145"/>
                    </a:cubicBezTo>
                    <a:cubicBezTo>
                      <a:pt x="40" y="151"/>
                      <a:pt x="35" y="154"/>
                      <a:pt x="35" y="154"/>
                    </a:cubicBezTo>
                    <a:cubicBezTo>
                      <a:pt x="33" y="183"/>
                      <a:pt x="33" y="183"/>
                      <a:pt x="33" y="183"/>
                    </a:cubicBezTo>
                    <a:cubicBezTo>
                      <a:pt x="33" y="183"/>
                      <a:pt x="30" y="190"/>
                      <a:pt x="30" y="195"/>
                    </a:cubicBezTo>
                    <a:cubicBezTo>
                      <a:pt x="30" y="200"/>
                      <a:pt x="37" y="196"/>
                      <a:pt x="38" y="202"/>
                    </a:cubicBezTo>
                    <a:cubicBezTo>
                      <a:pt x="39" y="208"/>
                      <a:pt x="33" y="225"/>
                      <a:pt x="33" y="225"/>
                    </a:cubicBezTo>
                    <a:cubicBezTo>
                      <a:pt x="41" y="253"/>
                      <a:pt x="41" y="253"/>
                      <a:pt x="41" y="253"/>
                    </a:cubicBezTo>
                    <a:cubicBezTo>
                      <a:pt x="61" y="270"/>
                      <a:pt x="61" y="270"/>
                      <a:pt x="61" y="270"/>
                    </a:cubicBezTo>
                    <a:cubicBezTo>
                      <a:pt x="66" y="264"/>
                      <a:pt x="72" y="260"/>
                      <a:pt x="78" y="259"/>
                    </a:cubicBezTo>
                    <a:cubicBezTo>
                      <a:pt x="82" y="258"/>
                      <a:pt x="86" y="258"/>
                      <a:pt x="91" y="258"/>
                    </a:cubicBezTo>
                    <a:cubicBezTo>
                      <a:pt x="91" y="248"/>
                      <a:pt x="82" y="239"/>
                      <a:pt x="82" y="239"/>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27" name="Freeform 149">
                <a:extLst>
                  <a:ext uri="{FF2B5EF4-FFF2-40B4-BE49-F238E27FC236}">
                    <a16:creationId xmlns:a16="http://schemas.microsoft.com/office/drawing/2014/main" id="{8A50280D-286B-4CF3-9BBC-215AFEECA35E}"/>
                  </a:ext>
                </a:extLst>
              </p:cNvPr>
              <p:cNvSpPr>
                <a:spLocks/>
              </p:cNvSpPr>
              <p:nvPr>
                <p:custDataLst>
                  <p:tags r:id="rId108"/>
                </p:custDataLst>
              </p:nvPr>
            </p:nvSpPr>
            <p:spPr bwMode="gray">
              <a:xfrm>
                <a:off x="4508474" y="4014802"/>
                <a:ext cx="90487" cy="184150"/>
              </a:xfrm>
              <a:custGeom>
                <a:avLst/>
                <a:gdLst>
                  <a:gd name="T0" fmla="*/ 94 w 150"/>
                  <a:gd name="T1" fmla="*/ 247 h 332"/>
                  <a:gd name="T2" fmla="*/ 97 w 150"/>
                  <a:gd name="T3" fmla="*/ 228 h 332"/>
                  <a:gd name="T4" fmla="*/ 94 w 150"/>
                  <a:gd name="T5" fmla="*/ 206 h 332"/>
                  <a:gd name="T6" fmla="*/ 96 w 150"/>
                  <a:gd name="T7" fmla="*/ 183 h 332"/>
                  <a:gd name="T8" fmla="*/ 112 w 150"/>
                  <a:gd name="T9" fmla="*/ 177 h 332"/>
                  <a:gd name="T10" fmla="*/ 118 w 150"/>
                  <a:gd name="T11" fmla="*/ 148 h 332"/>
                  <a:gd name="T12" fmla="*/ 133 w 150"/>
                  <a:gd name="T13" fmla="*/ 132 h 332"/>
                  <a:gd name="T14" fmla="*/ 135 w 150"/>
                  <a:gd name="T15" fmla="*/ 105 h 332"/>
                  <a:gd name="T16" fmla="*/ 148 w 150"/>
                  <a:gd name="T17" fmla="*/ 95 h 332"/>
                  <a:gd name="T18" fmla="*/ 144 w 150"/>
                  <a:gd name="T19" fmla="*/ 85 h 332"/>
                  <a:gd name="T20" fmla="*/ 145 w 150"/>
                  <a:gd name="T21" fmla="*/ 76 h 332"/>
                  <a:gd name="T22" fmla="*/ 131 w 150"/>
                  <a:gd name="T23" fmla="*/ 51 h 332"/>
                  <a:gd name="T24" fmla="*/ 139 w 150"/>
                  <a:gd name="T25" fmla="*/ 31 h 332"/>
                  <a:gd name="T26" fmla="*/ 118 w 150"/>
                  <a:gd name="T27" fmla="*/ 22 h 332"/>
                  <a:gd name="T28" fmla="*/ 96 w 150"/>
                  <a:gd name="T29" fmla="*/ 0 h 332"/>
                  <a:gd name="T30" fmla="*/ 79 w 150"/>
                  <a:gd name="T31" fmla="*/ 7 h 332"/>
                  <a:gd name="T32" fmla="*/ 76 w 150"/>
                  <a:gd name="T33" fmla="*/ 23 h 332"/>
                  <a:gd name="T34" fmla="*/ 83 w 150"/>
                  <a:gd name="T35" fmla="*/ 26 h 332"/>
                  <a:gd name="T36" fmla="*/ 77 w 150"/>
                  <a:gd name="T37" fmla="*/ 28 h 332"/>
                  <a:gd name="T38" fmla="*/ 74 w 150"/>
                  <a:gd name="T39" fmla="*/ 39 h 332"/>
                  <a:gd name="T40" fmla="*/ 63 w 150"/>
                  <a:gd name="T41" fmla="*/ 43 h 332"/>
                  <a:gd name="T42" fmla="*/ 58 w 150"/>
                  <a:gd name="T43" fmla="*/ 53 h 332"/>
                  <a:gd name="T44" fmla="*/ 32 w 150"/>
                  <a:gd name="T45" fmla="*/ 51 h 332"/>
                  <a:gd name="T46" fmla="*/ 19 w 150"/>
                  <a:gd name="T47" fmla="*/ 70 h 332"/>
                  <a:gd name="T48" fmla="*/ 11 w 150"/>
                  <a:gd name="T49" fmla="*/ 70 h 332"/>
                  <a:gd name="T50" fmla="*/ 6 w 150"/>
                  <a:gd name="T51" fmla="*/ 77 h 332"/>
                  <a:gd name="T52" fmla="*/ 0 w 150"/>
                  <a:gd name="T53" fmla="*/ 89 h 332"/>
                  <a:gd name="T54" fmla="*/ 1 w 150"/>
                  <a:gd name="T55" fmla="*/ 108 h 332"/>
                  <a:gd name="T56" fmla="*/ 28 w 150"/>
                  <a:gd name="T57" fmla="*/ 131 h 332"/>
                  <a:gd name="T58" fmla="*/ 28 w 150"/>
                  <a:gd name="T59" fmla="*/ 162 h 332"/>
                  <a:gd name="T60" fmla="*/ 40 w 150"/>
                  <a:gd name="T61" fmla="*/ 179 h 332"/>
                  <a:gd name="T62" fmla="*/ 44 w 150"/>
                  <a:gd name="T63" fmla="*/ 206 h 332"/>
                  <a:gd name="T64" fmla="*/ 39 w 150"/>
                  <a:gd name="T65" fmla="*/ 214 h 332"/>
                  <a:gd name="T66" fmla="*/ 38 w 150"/>
                  <a:gd name="T67" fmla="*/ 253 h 332"/>
                  <a:gd name="T68" fmla="*/ 44 w 150"/>
                  <a:gd name="T69" fmla="*/ 259 h 332"/>
                  <a:gd name="T70" fmla="*/ 39 w 150"/>
                  <a:gd name="T71" fmla="*/ 266 h 332"/>
                  <a:gd name="T72" fmla="*/ 41 w 150"/>
                  <a:gd name="T73" fmla="*/ 310 h 332"/>
                  <a:gd name="T74" fmla="*/ 50 w 150"/>
                  <a:gd name="T75" fmla="*/ 329 h 332"/>
                  <a:gd name="T76" fmla="*/ 50 w 150"/>
                  <a:gd name="T77" fmla="*/ 329 h 332"/>
                  <a:gd name="T78" fmla="*/ 73 w 150"/>
                  <a:gd name="T79" fmla="*/ 332 h 332"/>
                  <a:gd name="T80" fmla="*/ 81 w 150"/>
                  <a:gd name="T81" fmla="*/ 318 h 332"/>
                  <a:gd name="T82" fmla="*/ 91 w 150"/>
                  <a:gd name="T83" fmla="*/ 323 h 332"/>
                  <a:gd name="T84" fmla="*/ 95 w 150"/>
                  <a:gd name="T85" fmla="*/ 306 h 332"/>
                  <a:gd name="T86" fmla="*/ 94 w 150"/>
                  <a:gd name="T87" fmla="*/ 247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0" h="332">
                    <a:moveTo>
                      <a:pt x="94" y="247"/>
                    </a:moveTo>
                    <a:cubicBezTo>
                      <a:pt x="97" y="228"/>
                      <a:pt x="97" y="228"/>
                      <a:pt x="97" y="228"/>
                    </a:cubicBezTo>
                    <a:cubicBezTo>
                      <a:pt x="94" y="206"/>
                      <a:pt x="94" y="206"/>
                      <a:pt x="94" y="206"/>
                    </a:cubicBezTo>
                    <a:cubicBezTo>
                      <a:pt x="96" y="183"/>
                      <a:pt x="96" y="183"/>
                      <a:pt x="96" y="183"/>
                    </a:cubicBezTo>
                    <a:cubicBezTo>
                      <a:pt x="96" y="183"/>
                      <a:pt x="104" y="187"/>
                      <a:pt x="112" y="177"/>
                    </a:cubicBezTo>
                    <a:cubicBezTo>
                      <a:pt x="120" y="167"/>
                      <a:pt x="115" y="155"/>
                      <a:pt x="118" y="148"/>
                    </a:cubicBezTo>
                    <a:cubicBezTo>
                      <a:pt x="121" y="141"/>
                      <a:pt x="133" y="132"/>
                      <a:pt x="133" y="132"/>
                    </a:cubicBezTo>
                    <a:cubicBezTo>
                      <a:pt x="135" y="105"/>
                      <a:pt x="135" y="105"/>
                      <a:pt x="135" y="105"/>
                    </a:cubicBezTo>
                    <a:cubicBezTo>
                      <a:pt x="135" y="105"/>
                      <a:pt x="146" y="102"/>
                      <a:pt x="148" y="95"/>
                    </a:cubicBezTo>
                    <a:cubicBezTo>
                      <a:pt x="150" y="88"/>
                      <a:pt x="144" y="85"/>
                      <a:pt x="144" y="85"/>
                    </a:cubicBezTo>
                    <a:cubicBezTo>
                      <a:pt x="144" y="85"/>
                      <a:pt x="145" y="82"/>
                      <a:pt x="145" y="76"/>
                    </a:cubicBezTo>
                    <a:cubicBezTo>
                      <a:pt x="145" y="70"/>
                      <a:pt x="130" y="58"/>
                      <a:pt x="131" y="51"/>
                    </a:cubicBezTo>
                    <a:cubicBezTo>
                      <a:pt x="132" y="44"/>
                      <a:pt x="139" y="31"/>
                      <a:pt x="139" y="31"/>
                    </a:cubicBezTo>
                    <a:cubicBezTo>
                      <a:pt x="139" y="31"/>
                      <a:pt x="123" y="25"/>
                      <a:pt x="118" y="22"/>
                    </a:cubicBezTo>
                    <a:cubicBezTo>
                      <a:pt x="113" y="19"/>
                      <a:pt x="96" y="0"/>
                      <a:pt x="96" y="0"/>
                    </a:cubicBezTo>
                    <a:cubicBezTo>
                      <a:pt x="79" y="7"/>
                      <a:pt x="79" y="7"/>
                      <a:pt x="79" y="7"/>
                    </a:cubicBezTo>
                    <a:cubicBezTo>
                      <a:pt x="76" y="23"/>
                      <a:pt x="76" y="23"/>
                      <a:pt x="76" y="23"/>
                    </a:cubicBezTo>
                    <a:cubicBezTo>
                      <a:pt x="83" y="26"/>
                      <a:pt x="83" y="26"/>
                      <a:pt x="83" y="26"/>
                    </a:cubicBezTo>
                    <a:cubicBezTo>
                      <a:pt x="77" y="28"/>
                      <a:pt x="77" y="28"/>
                      <a:pt x="77" y="28"/>
                    </a:cubicBezTo>
                    <a:cubicBezTo>
                      <a:pt x="74" y="39"/>
                      <a:pt x="74" y="39"/>
                      <a:pt x="74" y="39"/>
                    </a:cubicBezTo>
                    <a:cubicBezTo>
                      <a:pt x="74" y="39"/>
                      <a:pt x="67" y="40"/>
                      <a:pt x="63" y="43"/>
                    </a:cubicBezTo>
                    <a:cubicBezTo>
                      <a:pt x="59" y="46"/>
                      <a:pt x="58" y="53"/>
                      <a:pt x="58" y="53"/>
                    </a:cubicBezTo>
                    <a:cubicBezTo>
                      <a:pt x="58" y="53"/>
                      <a:pt x="32" y="52"/>
                      <a:pt x="32" y="51"/>
                    </a:cubicBezTo>
                    <a:cubicBezTo>
                      <a:pt x="21" y="56"/>
                      <a:pt x="19" y="70"/>
                      <a:pt x="19" y="70"/>
                    </a:cubicBezTo>
                    <a:cubicBezTo>
                      <a:pt x="11" y="70"/>
                      <a:pt x="11" y="70"/>
                      <a:pt x="11" y="70"/>
                    </a:cubicBezTo>
                    <a:cubicBezTo>
                      <a:pt x="6" y="77"/>
                      <a:pt x="6" y="77"/>
                      <a:pt x="6" y="77"/>
                    </a:cubicBezTo>
                    <a:cubicBezTo>
                      <a:pt x="0" y="89"/>
                      <a:pt x="0" y="89"/>
                      <a:pt x="0" y="89"/>
                    </a:cubicBezTo>
                    <a:cubicBezTo>
                      <a:pt x="1" y="108"/>
                      <a:pt x="1" y="108"/>
                      <a:pt x="1" y="108"/>
                    </a:cubicBezTo>
                    <a:cubicBezTo>
                      <a:pt x="1" y="108"/>
                      <a:pt x="26" y="123"/>
                      <a:pt x="28" y="131"/>
                    </a:cubicBezTo>
                    <a:cubicBezTo>
                      <a:pt x="30" y="139"/>
                      <a:pt x="28" y="162"/>
                      <a:pt x="28" y="162"/>
                    </a:cubicBezTo>
                    <a:cubicBezTo>
                      <a:pt x="28" y="162"/>
                      <a:pt x="41" y="171"/>
                      <a:pt x="40" y="179"/>
                    </a:cubicBezTo>
                    <a:cubicBezTo>
                      <a:pt x="39" y="187"/>
                      <a:pt x="44" y="206"/>
                      <a:pt x="44" y="206"/>
                    </a:cubicBezTo>
                    <a:cubicBezTo>
                      <a:pt x="39" y="214"/>
                      <a:pt x="39" y="214"/>
                      <a:pt x="39" y="214"/>
                    </a:cubicBezTo>
                    <a:cubicBezTo>
                      <a:pt x="38" y="253"/>
                      <a:pt x="38" y="253"/>
                      <a:pt x="38" y="253"/>
                    </a:cubicBezTo>
                    <a:cubicBezTo>
                      <a:pt x="44" y="259"/>
                      <a:pt x="44" y="259"/>
                      <a:pt x="44" y="259"/>
                    </a:cubicBezTo>
                    <a:cubicBezTo>
                      <a:pt x="39" y="266"/>
                      <a:pt x="39" y="266"/>
                      <a:pt x="39" y="266"/>
                    </a:cubicBezTo>
                    <a:cubicBezTo>
                      <a:pt x="41" y="310"/>
                      <a:pt x="41" y="310"/>
                      <a:pt x="41" y="310"/>
                    </a:cubicBezTo>
                    <a:cubicBezTo>
                      <a:pt x="41" y="310"/>
                      <a:pt x="50" y="319"/>
                      <a:pt x="50" y="329"/>
                    </a:cubicBezTo>
                    <a:cubicBezTo>
                      <a:pt x="50" y="329"/>
                      <a:pt x="50" y="329"/>
                      <a:pt x="50" y="329"/>
                    </a:cubicBezTo>
                    <a:cubicBezTo>
                      <a:pt x="61" y="330"/>
                      <a:pt x="73" y="332"/>
                      <a:pt x="73" y="332"/>
                    </a:cubicBezTo>
                    <a:cubicBezTo>
                      <a:pt x="81" y="318"/>
                      <a:pt x="81" y="318"/>
                      <a:pt x="81" y="318"/>
                    </a:cubicBezTo>
                    <a:cubicBezTo>
                      <a:pt x="81" y="318"/>
                      <a:pt x="85" y="320"/>
                      <a:pt x="91" y="323"/>
                    </a:cubicBezTo>
                    <a:cubicBezTo>
                      <a:pt x="95" y="306"/>
                      <a:pt x="95" y="306"/>
                      <a:pt x="95" y="306"/>
                    </a:cubicBezTo>
                    <a:lnTo>
                      <a:pt x="94" y="247"/>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28" name="Freeform 150">
                <a:extLst>
                  <a:ext uri="{FF2B5EF4-FFF2-40B4-BE49-F238E27FC236}">
                    <a16:creationId xmlns:a16="http://schemas.microsoft.com/office/drawing/2014/main" id="{06C7CA20-7D1E-4229-A04D-D99F753C2C75}"/>
                  </a:ext>
                </a:extLst>
              </p:cNvPr>
              <p:cNvSpPr>
                <a:spLocks/>
              </p:cNvSpPr>
              <p:nvPr>
                <p:custDataLst>
                  <p:tags r:id="rId109"/>
                </p:custDataLst>
              </p:nvPr>
            </p:nvSpPr>
            <p:spPr bwMode="gray">
              <a:xfrm>
                <a:off x="4560862" y="3970353"/>
                <a:ext cx="341310" cy="282576"/>
              </a:xfrm>
              <a:custGeom>
                <a:avLst/>
                <a:gdLst>
                  <a:gd name="T0" fmla="*/ 290 w 567"/>
                  <a:gd name="T1" fmla="*/ 469 h 511"/>
                  <a:gd name="T2" fmla="*/ 333 w 567"/>
                  <a:gd name="T3" fmla="*/ 394 h 511"/>
                  <a:gd name="T4" fmla="*/ 372 w 567"/>
                  <a:gd name="T5" fmla="*/ 375 h 511"/>
                  <a:gd name="T6" fmla="*/ 396 w 567"/>
                  <a:gd name="T7" fmla="*/ 383 h 511"/>
                  <a:gd name="T8" fmla="*/ 417 w 567"/>
                  <a:gd name="T9" fmla="*/ 378 h 511"/>
                  <a:gd name="T10" fmla="*/ 434 w 567"/>
                  <a:gd name="T11" fmla="*/ 343 h 511"/>
                  <a:gd name="T12" fmla="*/ 458 w 567"/>
                  <a:gd name="T13" fmla="*/ 291 h 511"/>
                  <a:gd name="T14" fmla="*/ 484 w 567"/>
                  <a:gd name="T15" fmla="*/ 239 h 511"/>
                  <a:gd name="T16" fmla="*/ 504 w 567"/>
                  <a:gd name="T17" fmla="*/ 200 h 511"/>
                  <a:gd name="T18" fmla="*/ 513 w 567"/>
                  <a:gd name="T19" fmla="*/ 177 h 511"/>
                  <a:gd name="T20" fmla="*/ 533 w 567"/>
                  <a:gd name="T21" fmla="*/ 141 h 511"/>
                  <a:gd name="T22" fmla="*/ 559 w 567"/>
                  <a:gd name="T23" fmla="*/ 111 h 511"/>
                  <a:gd name="T24" fmla="*/ 540 w 567"/>
                  <a:gd name="T25" fmla="*/ 84 h 511"/>
                  <a:gd name="T26" fmla="*/ 517 w 567"/>
                  <a:gd name="T27" fmla="*/ 8 h 511"/>
                  <a:gd name="T28" fmla="*/ 499 w 567"/>
                  <a:gd name="T29" fmla="*/ 22 h 511"/>
                  <a:gd name="T30" fmla="*/ 458 w 567"/>
                  <a:gd name="T31" fmla="*/ 40 h 511"/>
                  <a:gd name="T32" fmla="*/ 382 w 567"/>
                  <a:gd name="T33" fmla="*/ 25 h 511"/>
                  <a:gd name="T34" fmla="*/ 293 w 567"/>
                  <a:gd name="T35" fmla="*/ 55 h 511"/>
                  <a:gd name="T36" fmla="*/ 205 w 567"/>
                  <a:gd name="T37" fmla="*/ 47 h 511"/>
                  <a:gd name="T38" fmla="*/ 174 w 567"/>
                  <a:gd name="T39" fmla="*/ 12 h 511"/>
                  <a:gd name="T40" fmla="*/ 135 w 567"/>
                  <a:gd name="T41" fmla="*/ 1 h 511"/>
                  <a:gd name="T42" fmla="*/ 88 w 567"/>
                  <a:gd name="T43" fmla="*/ 7 h 511"/>
                  <a:gd name="T44" fmla="*/ 68 w 567"/>
                  <a:gd name="T45" fmla="*/ 50 h 511"/>
                  <a:gd name="T46" fmla="*/ 48 w 567"/>
                  <a:gd name="T47" fmla="*/ 110 h 511"/>
                  <a:gd name="T48" fmla="*/ 54 w 567"/>
                  <a:gd name="T49" fmla="*/ 155 h 511"/>
                  <a:gd name="T50" fmla="*/ 57 w 567"/>
                  <a:gd name="T51" fmla="*/ 174 h 511"/>
                  <a:gd name="T52" fmla="*/ 42 w 567"/>
                  <a:gd name="T53" fmla="*/ 211 h 511"/>
                  <a:gd name="T54" fmla="*/ 21 w 567"/>
                  <a:gd name="T55" fmla="*/ 256 h 511"/>
                  <a:gd name="T56" fmla="*/ 3 w 567"/>
                  <a:gd name="T57" fmla="*/ 285 h 511"/>
                  <a:gd name="T58" fmla="*/ 3 w 567"/>
                  <a:gd name="T59" fmla="*/ 326 h 511"/>
                  <a:gd name="T60" fmla="*/ 0 w 567"/>
                  <a:gd name="T61" fmla="*/ 402 h 511"/>
                  <a:gd name="T62" fmla="*/ 44 w 567"/>
                  <a:gd name="T63" fmla="*/ 394 h 511"/>
                  <a:gd name="T64" fmla="*/ 96 w 567"/>
                  <a:gd name="T65" fmla="*/ 413 h 511"/>
                  <a:gd name="T66" fmla="*/ 127 w 567"/>
                  <a:gd name="T67" fmla="*/ 440 h 511"/>
                  <a:gd name="T68" fmla="*/ 133 w 567"/>
                  <a:gd name="T69" fmla="*/ 453 h 511"/>
                  <a:gd name="T70" fmla="*/ 157 w 567"/>
                  <a:gd name="T71" fmla="*/ 510 h 511"/>
                  <a:gd name="T72" fmla="*/ 194 w 567"/>
                  <a:gd name="T73" fmla="*/ 491 h 511"/>
                  <a:gd name="T74" fmla="*/ 228 w 567"/>
                  <a:gd name="T75" fmla="*/ 496 h 511"/>
                  <a:gd name="T76" fmla="*/ 265 w 567"/>
                  <a:gd name="T77" fmla="*/ 504 h 511"/>
                  <a:gd name="T78" fmla="*/ 282 w 567"/>
                  <a:gd name="T79" fmla="*/ 48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7" h="511">
                    <a:moveTo>
                      <a:pt x="281" y="490"/>
                    </a:moveTo>
                    <a:cubicBezTo>
                      <a:pt x="281" y="490"/>
                      <a:pt x="288" y="475"/>
                      <a:pt x="290" y="469"/>
                    </a:cubicBezTo>
                    <a:cubicBezTo>
                      <a:pt x="292" y="463"/>
                      <a:pt x="290" y="431"/>
                      <a:pt x="290" y="431"/>
                    </a:cubicBezTo>
                    <a:cubicBezTo>
                      <a:pt x="333" y="394"/>
                      <a:pt x="333" y="394"/>
                      <a:pt x="333" y="394"/>
                    </a:cubicBezTo>
                    <a:cubicBezTo>
                      <a:pt x="333" y="394"/>
                      <a:pt x="343" y="374"/>
                      <a:pt x="349" y="369"/>
                    </a:cubicBezTo>
                    <a:cubicBezTo>
                      <a:pt x="355" y="364"/>
                      <a:pt x="363" y="377"/>
                      <a:pt x="372" y="375"/>
                    </a:cubicBezTo>
                    <a:cubicBezTo>
                      <a:pt x="381" y="373"/>
                      <a:pt x="368" y="359"/>
                      <a:pt x="375" y="359"/>
                    </a:cubicBezTo>
                    <a:cubicBezTo>
                      <a:pt x="382" y="359"/>
                      <a:pt x="396" y="383"/>
                      <a:pt x="396" y="383"/>
                    </a:cubicBezTo>
                    <a:cubicBezTo>
                      <a:pt x="396" y="383"/>
                      <a:pt x="393" y="399"/>
                      <a:pt x="405" y="399"/>
                    </a:cubicBezTo>
                    <a:cubicBezTo>
                      <a:pt x="417" y="399"/>
                      <a:pt x="417" y="378"/>
                      <a:pt x="417" y="378"/>
                    </a:cubicBezTo>
                    <a:cubicBezTo>
                      <a:pt x="417" y="378"/>
                      <a:pt x="428" y="369"/>
                      <a:pt x="433" y="363"/>
                    </a:cubicBezTo>
                    <a:cubicBezTo>
                      <a:pt x="438" y="357"/>
                      <a:pt x="434" y="343"/>
                      <a:pt x="434" y="343"/>
                    </a:cubicBezTo>
                    <a:cubicBezTo>
                      <a:pt x="450" y="323"/>
                      <a:pt x="450" y="323"/>
                      <a:pt x="450" y="323"/>
                    </a:cubicBezTo>
                    <a:cubicBezTo>
                      <a:pt x="458" y="291"/>
                      <a:pt x="458" y="291"/>
                      <a:pt x="458" y="291"/>
                    </a:cubicBezTo>
                    <a:cubicBezTo>
                      <a:pt x="458" y="291"/>
                      <a:pt x="477" y="284"/>
                      <a:pt x="482" y="274"/>
                    </a:cubicBezTo>
                    <a:cubicBezTo>
                      <a:pt x="487" y="264"/>
                      <a:pt x="482" y="246"/>
                      <a:pt x="484" y="239"/>
                    </a:cubicBezTo>
                    <a:cubicBezTo>
                      <a:pt x="486" y="232"/>
                      <a:pt x="496" y="239"/>
                      <a:pt x="501" y="230"/>
                    </a:cubicBezTo>
                    <a:cubicBezTo>
                      <a:pt x="506" y="221"/>
                      <a:pt x="504" y="200"/>
                      <a:pt x="504" y="200"/>
                    </a:cubicBezTo>
                    <a:cubicBezTo>
                      <a:pt x="511" y="196"/>
                      <a:pt x="511" y="196"/>
                      <a:pt x="511" y="196"/>
                    </a:cubicBezTo>
                    <a:cubicBezTo>
                      <a:pt x="513" y="177"/>
                      <a:pt x="513" y="177"/>
                      <a:pt x="513" y="177"/>
                    </a:cubicBezTo>
                    <a:cubicBezTo>
                      <a:pt x="513" y="177"/>
                      <a:pt x="523" y="164"/>
                      <a:pt x="524" y="161"/>
                    </a:cubicBezTo>
                    <a:cubicBezTo>
                      <a:pt x="525" y="158"/>
                      <a:pt x="533" y="141"/>
                      <a:pt x="533" y="141"/>
                    </a:cubicBezTo>
                    <a:cubicBezTo>
                      <a:pt x="533" y="141"/>
                      <a:pt x="547" y="138"/>
                      <a:pt x="557" y="129"/>
                    </a:cubicBezTo>
                    <a:cubicBezTo>
                      <a:pt x="567" y="120"/>
                      <a:pt x="559" y="111"/>
                      <a:pt x="559" y="111"/>
                    </a:cubicBezTo>
                    <a:cubicBezTo>
                      <a:pt x="559" y="111"/>
                      <a:pt x="563" y="98"/>
                      <a:pt x="562" y="87"/>
                    </a:cubicBezTo>
                    <a:cubicBezTo>
                      <a:pt x="561" y="76"/>
                      <a:pt x="542" y="87"/>
                      <a:pt x="540" y="84"/>
                    </a:cubicBezTo>
                    <a:cubicBezTo>
                      <a:pt x="538" y="81"/>
                      <a:pt x="536" y="40"/>
                      <a:pt x="536" y="40"/>
                    </a:cubicBezTo>
                    <a:cubicBezTo>
                      <a:pt x="517" y="8"/>
                      <a:pt x="517" y="8"/>
                      <a:pt x="517" y="8"/>
                    </a:cubicBezTo>
                    <a:cubicBezTo>
                      <a:pt x="517" y="8"/>
                      <a:pt x="511" y="8"/>
                      <a:pt x="507" y="8"/>
                    </a:cubicBezTo>
                    <a:cubicBezTo>
                      <a:pt x="503" y="8"/>
                      <a:pt x="499" y="22"/>
                      <a:pt x="499" y="22"/>
                    </a:cubicBezTo>
                    <a:cubicBezTo>
                      <a:pt x="499" y="22"/>
                      <a:pt x="490" y="19"/>
                      <a:pt x="483" y="23"/>
                    </a:cubicBezTo>
                    <a:cubicBezTo>
                      <a:pt x="476" y="27"/>
                      <a:pt x="458" y="40"/>
                      <a:pt x="458" y="40"/>
                    </a:cubicBezTo>
                    <a:cubicBezTo>
                      <a:pt x="440" y="39"/>
                      <a:pt x="440" y="39"/>
                      <a:pt x="440" y="39"/>
                    </a:cubicBezTo>
                    <a:cubicBezTo>
                      <a:pt x="440" y="39"/>
                      <a:pt x="424" y="25"/>
                      <a:pt x="382" y="25"/>
                    </a:cubicBezTo>
                    <a:cubicBezTo>
                      <a:pt x="340" y="25"/>
                      <a:pt x="328" y="60"/>
                      <a:pt x="328" y="60"/>
                    </a:cubicBezTo>
                    <a:cubicBezTo>
                      <a:pt x="328" y="60"/>
                      <a:pt x="312" y="56"/>
                      <a:pt x="293" y="55"/>
                    </a:cubicBezTo>
                    <a:cubicBezTo>
                      <a:pt x="274" y="54"/>
                      <a:pt x="262" y="26"/>
                      <a:pt x="250" y="26"/>
                    </a:cubicBezTo>
                    <a:cubicBezTo>
                      <a:pt x="238" y="26"/>
                      <a:pt x="214" y="46"/>
                      <a:pt x="205" y="47"/>
                    </a:cubicBezTo>
                    <a:cubicBezTo>
                      <a:pt x="196" y="48"/>
                      <a:pt x="191" y="26"/>
                      <a:pt x="191" y="26"/>
                    </a:cubicBezTo>
                    <a:cubicBezTo>
                      <a:pt x="174" y="12"/>
                      <a:pt x="174" y="12"/>
                      <a:pt x="174" y="12"/>
                    </a:cubicBezTo>
                    <a:cubicBezTo>
                      <a:pt x="174" y="12"/>
                      <a:pt x="162" y="12"/>
                      <a:pt x="155" y="11"/>
                    </a:cubicBezTo>
                    <a:cubicBezTo>
                      <a:pt x="148" y="10"/>
                      <a:pt x="149" y="0"/>
                      <a:pt x="135" y="1"/>
                    </a:cubicBezTo>
                    <a:cubicBezTo>
                      <a:pt x="121" y="2"/>
                      <a:pt x="122" y="8"/>
                      <a:pt x="122" y="8"/>
                    </a:cubicBezTo>
                    <a:cubicBezTo>
                      <a:pt x="88" y="7"/>
                      <a:pt x="88" y="7"/>
                      <a:pt x="88" y="7"/>
                    </a:cubicBezTo>
                    <a:cubicBezTo>
                      <a:pt x="69" y="24"/>
                      <a:pt x="69" y="24"/>
                      <a:pt x="69" y="24"/>
                    </a:cubicBezTo>
                    <a:cubicBezTo>
                      <a:pt x="69" y="24"/>
                      <a:pt x="69" y="35"/>
                      <a:pt x="68" y="50"/>
                    </a:cubicBezTo>
                    <a:cubicBezTo>
                      <a:pt x="67" y="65"/>
                      <a:pt x="45" y="76"/>
                      <a:pt x="45" y="76"/>
                    </a:cubicBezTo>
                    <a:cubicBezTo>
                      <a:pt x="48" y="110"/>
                      <a:pt x="48" y="110"/>
                      <a:pt x="48" y="110"/>
                    </a:cubicBezTo>
                    <a:cubicBezTo>
                      <a:pt x="48" y="110"/>
                      <a:pt x="41" y="123"/>
                      <a:pt x="40" y="130"/>
                    </a:cubicBezTo>
                    <a:cubicBezTo>
                      <a:pt x="39" y="137"/>
                      <a:pt x="54" y="149"/>
                      <a:pt x="54" y="155"/>
                    </a:cubicBezTo>
                    <a:cubicBezTo>
                      <a:pt x="54" y="161"/>
                      <a:pt x="53" y="164"/>
                      <a:pt x="53" y="164"/>
                    </a:cubicBezTo>
                    <a:cubicBezTo>
                      <a:pt x="53" y="164"/>
                      <a:pt x="59" y="167"/>
                      <a:pt x="57" y="174"/>
                    </a:cubicBezTo>
                    <a:cubicBezTo>
                      <a:pt x="55" y="181"/>
                      <a:pt x="44" y="184"/>
                      <a:pt x="44" y="184"/>
                    </a:cubicBezTo>
                    <a:cubicBezTo>
                      <a:pt x="42" y="211"/>
                      <a:pt x="42" y="211"/>
                      <a:pt x="42" y="211"/>
                    </a:cubicBezTo>
                    <a:cubicBezTo>
                      <a:pt x="42" y="211"/>
                      <a:pt x="30" y="220"/>
                      <a:pt x="27" y="227"/>
                    </a:cubicBezTo>
                    <a:cubicBezTo>
                      <a:pt x="24" y="234"/>
                      <a:pt x="29" y="246"/>
                      <a:pt x="21" y="256"/>
                    </a:cubicBezTo>
                    <a:cubicBezTo>
                      <a:pt x="13" y="266"/>
                      <a:pt x="5" y="262"/>
                      <a:pt x="5" y="262"/>
                    </a:cubicBezTo>
                    <a:cubicBezTo>
                      <a:pt x="3" y="285"/>
                      <a:pt x="3" y="285"/>
                      <a:pt x="3" y="285"/>
                    </a:cubicBezTo>
                    <a:cubicBezTo>
                      <a:pt x="6" y="307"/>
                      <a:pt x="6" y="307"/>
                      <a:pt x="6" y="307"/>
                    </a:cubicBezTo>
                    <a:cubicBezTo>
                      <a:pt x="3" y="326"/>
                      <a:pt x="3" y="326"/>
                      <a:pt x="3" y="326"/>
                    </a:cubicBezTo>
                    <a:cubicBezTo>
                      <a:pt x="4" y="385"/>
                      <a:pt x="4" y="385"/>
                      <a:pt x="4" y="385"/>
                    </a:cubicBezTo>
                    <a:cubicBezTo>
                      <a:pt x="0" y="402"/>
                      <a:pt x="0" y="402"/>
                      <a:pt x="0" y="402"/>
                    </a:cubicBezTo>
                    <a:cubicBezTo>
                      <a:pt x="7" y="405"/>
                      <a:pt x="17" y="408"/>
                      <a:pt x="23" y="406"/>
                    </a:cubicBezTo>
                    <a:cubicBezTo>
                      <a:pt x="34" y="402"/>
                      <a:pt x="44" y="394"/>
                      <a:pt x="44" y="394"/>
                    </a:cubicBezTo>
                    <a:cubicBezTo>
                      <a:pt x="47" y="401"/>
                      <a:pt x="47" y="401"/>
                      <a:pt x="47" y="401"/>
                    </a:cubicBezTo>
                    <a:cubicBezTo>
                      <a:pt x="47" y="401"/>
                      <a:pt x="80" y="394"/>
                      <a:pt x="96" y="413"/>
                    </a:cubicBezTo>
                    <a:cubicBezTo>
                      <a:pt x="112" y="432"/>
                      <a:pt x="113" y="441"/>
                      <a:pt x="113" y="441"/>
                    </a:cubicBezTo>
                    <a:cubicBezTo>
                      <a:pt x="127" y="440"/>
                      <a:pt x="127" y="440"/>
                      <a:pt x="127" y="440"/>
                    </a:cubicBezTo>
                    <a:cubicBezTo>
                      <a:pt x="127" y="440"/>
                      <a:pt x="117" y="455"/>
                      <a:pt x="120" y="456"/>
                    </a:cubicBezTo>
                    <a:cubicBezTo>
                      <a:pt x="123" y="457"/>
                      <a:pt x="133" y="450"/>
                      <a:pt x="133" y="453"/>
                    </a:cubicBezTo>
                    <a:cubicBezTo>
                      <a:pt x="133" y="456"/>
                      <a:pt x="128" y="464"/>
                      <a:pt x="128" y="472"/>
                    </a:cubicBezTo>
                    <a:cubicBezTo>
                      <a:pt x="128" y="480"/>
                      <a:pt x="136" y="509"/>
                      <a:pt x="157" y="510"/>
                    </a:cubicBezTo>
                    <a:cubicBezTo>
                      <a:pt x="178" y="511"/>
                      <a:pt x="191" y="509"/>
                      <a:pt x="191" y="509"/>
                    </a:cubicBezTo>
                    <a:cubicBezTo>
                      <a:pt x="194" y="491"/>
                      <a:pt x="194" y="491"/>
                      <a:pt x="194" y="491"/>
                    </a:cubicBezTo>
                    <a:cubicBezTo>
                      <a:pt x="212" y="501"/>
                      <a:pt x="212" y="501"/>
                      <a:pt x="212" y="501"/>
                    </a:cubicBezTo>
                    <a:cubicBezTo>
                      <a:pt x="228" y="496"/>
                      <a:pt x="228" y="496"/>
                      <a:pt x="228" y="496"/>
                    </a:cubicBezTo>
                    <a:cubicBezTo>
                      <a:pt x="237" y="505"/>
                      <a:pt x="237" y="505"/>
                      <a:pt x="237" y="505"/>
                    </a:cubicBezTo>
                    <a:cubicBezTo>
                      <a:pt x="265" y="504"/>
                      <a:pt x="265" y="504"/>
                      <a:pt x="265" y="504"/>
                    </a:cubicBezTo>
                    <a:cubicBezTo>
                      <a:pt x="265" y="488"/>
                      <a:pt x="265" y="488"/>
                      <a:pt x="265" y="488"/>
                    </a:cubicBezTo>
                    <a:cubicBezTo>
                      <a:pt x="282" y="487"/>
                      <a:pt x="282" y="487"/>
                      <a:pt x="282" y="487"/>
                    </a:cubicBezTo>
                    <a:cubicBezTo>
                      <a:pt x="281" y="490"/>
                      <a:pt x="281" y="490"/>
                      <a:pt x="281" y="490"/>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29" name="Freeform 151">
                <a:extLst>
                  <a:ext uri="{FF2B5EF4-FFF2-40B4-BE49-F238E27FC236}">
                    <a16:creationId xmlns:a16="http://schemas.microsoft.com/office/drawing/2014/main" id="{9CFDDD88-07BA-4B5F-8FA4-2E661F712E03}"/>
                  </a:ext>
                </a:extLst>
              </p:cNvPr>
              <p:cNvSpPr>
                <a:spLocks/>
              </p:cNvSpPr>
              <p:nvPr>
                <p:custDataLst>
                  <p:tags r:id="rId110"/>
                </p:custDataLst>
              </p:nvPr>
            </p:nvSpPr>
            <p:spPr bwMode="gray">
              <a:xfrm>
                <a:off x="4865660" y="3681426"/>
                <a:ext cx="300035" cy="481014"/>
              </a:xfrm>
              <a:custGeom>
                <a:avLst/>
                <a:gdLst>
                  <a:gd name="T0" fmla="*/ 496 w 496"/>
                  <a:gd name="T1" fmla="*/ 420 h 866"/>
                  <a:gd name="T2" fmla="*/ 119 w 496"/>
                  <a:gd name="T3" fmla="*/ 0 h 866"/>
                  <a:gd name="T4" fmla="*/ 83 w 496"/>
                  <a:gd name="T5" fmla="*/ 72 h 866"/>
                  <a:gd name="T6" fmla="*/ 95 w 496"/>
                  <a:gd name="T7" fmla="*/ 129 h 866"/>
                  <a:gd name="T8" fmla="*/ 120 w 496"/>
                  <a:gd name="T9" fmla="*/ 169 h 866"/>
                  <a:gd name="T10" fmla="*/ 96 w 496"/>
                  <a:gd name="T11" fmla="*/ 356 h 866"/>
                  <a:gd name="T12" fmla="*/ 13 w 496"/>
                  <a:gd name="T13" fmla="*/ 479 h 866"/>
                  <a:gd name="T14" fmla="*/ 3 w 496"/>
                  <a:gd name="T15" fmla="*/ 526 h 866"/>
                  <a:gd name="T16" fmla="*/ 29 w 496"/>
                  <a:gd name="T17" fmla="*/ 558 h 866"/>
                  <a:gd name="T18" fmla="*/ 29 w 496"/>
                  <a:gd name="T19" fmla="*/ 561 h 866"/>
                  <a:gd name="T20" fmla="*/ 50 w 496"/>
                  <a:gd name="T21" fmla="*/ 576 h 866"/>
                  <a:gd name="T22" fmla="*/ 66 w 496"/>
                  <a:gd name="T23" fmla="*/ 611 h 866"/>
                  <a:gd name="T24" fmla="*/ 74 w 496"/>
                  <a:gd name="T25" fmla="*/ 650 h 866"/>
                  <a:gd name="T26" fmla="*/ 106 w 496"/>
                  <a:gd name="T27" fmla="*/ 724 h 866"/>
                  <a:gd name="T28" fmla="*/ 31 w 496"/>
                  <a:gd name="T29" fmla="*/ 733 h 866"/>
                  <a:gd name="T30" fmla="*/ 87 w 496"/>
                  <a:gd name="T31" fmla="*/ 802 h 866"/>
                  <a:gd name="T32" fmla="*/ 123 w 496"/>
                  <a:gd name="T33" fmla="*/ 860 h 866"/>
                  <a:gd name="T34" fmla="*/ 165 w 496"/>
                  <a:gd name="T35" fmla="*/ 858 h 866"/>
                  <a:gd name="T36" fmla="*/ 248 w 496"/>
                  <a:gd name="T37" fmla="*/ 833 h 866"/>
                  <a:gd name="T38" fmla="*/ 253 w 496"/>
                  <a:gd name="T39" fmla="*/ 788 h 866"/>
                  <a:gd name="T40" fmla="*/ 338 w 496"/>
                  <a:gd name="T41" fmla="*/ 765 h 866"/>
                  <a:gd name="T42" fmla="*/ 378 w 496"/>
                  <a:gd name="T43" fmla="*/ 723 h 866"/>
                  <a:gd name="T44" fmla="*/ 393 w 496"/>
                  <a:gd name="T45" fmla="*/ 691 h 866"/>
                  <a:gd name="T46" fmla="*/ 446 w 496"/>
                  <a:gd name="T47" fmla="*/ 674 h 866"/>
                  <a:gd name="T48" fmla="*/ 451 w 496"/>
                  <a:gd name="T49" fmla="*/ 656 h 866"/>
                  <a:gd name="T50" fmla="*/ 426 w 496"/>
                  <a:gd name="T51" fmla="*/ 625 h 866"/>
                  <a:gd name="T52" fmla="*/ 428 w 496"/>
                  <a:gd name="T53" fmla="*/ 612 h 866"/>
                  <a:gd name="T54" fmla="*/ 406 w 496"/>
                  <a:gd name="T55" fmla="*/ 587 h 866"/>
                  <a:gd name="T56" fmla="*/ 417 w 496"/>
                  <a:gd name="T57" fmla="*/ 549 h 866"/>
                  <a:gd name="T58" fmla="*/ 419 w 496"/>
                  <a:gd name="T59" fmla="*/ 508 h 866"/>
                  <a:gd name="T60" fmla="*/ 425 w 496"/>
                  <a:gd name="T61" fmla="*/ 490 h 866"/>
                  <a:gd name="T62" fmla="*/ 432 w 496"/>
                  <a:gd name="T63" fmla="*/ 474 h 866"/>
                  <a:gd name="T64" fmla="*/ 449 w 496"/>
                  <a:gd name="T65" fmla="*/ 442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6" h="866">
                    <a:moveTo>
                      <a:pt x="451" y="419"/>
                    </a:moveTo>
                    <a:cubicBezTo>
                      <a:pt x="464" y="415"/>
                      <a:pt x="496" y="420"/>
                      <a:pt x="496" y="420"/>
                    </a:cubicBezTo>
                    <a:cubicBezTo>
                      <a:pt x="492" y="216"/>
                      <a:pt x="492" y="216"/>
                      <a:pt x="492" y="216"/>
                    </a:cubicBezTo>
                    <a:cubicBezTo>
                      <a:pt x="119" y="0"/>
                      <a:pt x="119" y="0"/>
                      <a:pt x="119" y="0"/>
                    </a:cubicBezTo>
                    <a:cubicBezTo>
                      <a:pt x="119" y="0"/>
                      <a:pt x="94" y="15"/>
                      <a:pt x="71" y="28"/>
                    </a:cubicBezTo>
                    <a:cubicBezTo>
                      <a:pt x="83" y="72"/>
                      <a:pt x="83" y="72"/>
                      <a:pt x="83" y="72"/>
                    </a:cubicBezTo>
                    <a:cubicBezTo>
                      <a:pt x="76" y="105"/>
                      <a:pt x="76" y="105"/>
                      <a:pt x="76" y="105"/>
                    </a:cubicBezTo>
                    <a:cubicBezTo>
                      <a:pt x="95" y="129"/>
                      <a:pt x="95" y="129"/>
                      <a:pt x="95" y="129"/>
                    </a:cubicBezTo>
                    <a:cubicBezTo>
                      <a:pt x="100" y="145"/>
                      <a:pt x="100" y="145"/>
                      <a:pt x="100" y="145"/>
                    </a:cubicBezTo>
                    <a:cubicBezTo>
                      <a:pt x="120" y="169"/>
                      <a:pt x="120" y="169"/>
                      <a:pt x="120" y="169"/>
                    </a:cubicBezTo>
                    <a:cubicBezTo>
                      <a:pt x="106" y="194"/>
                      <a:pt x="106" y="194"/>
                      <a:pt x="106" y="194"/>
                    </a:cubicBezTo>
                    <a:cubicBezTo>
                      <a:pt x="96" y="356"/>
                      <a:pt x="96" y="356"/>
                      <a:pt x="96" y="356"/>
                    </a:cubicBezTo>
                    <a:cubicBezTo>
                      <a:pt x="96" y="356"/>
                      <a:pt x="46" y="409"/>
                      <a:pt x="35" y="426"/>
                    </a:cubicBezTo>
                    <a:cubicBezTo>
                      <a:pt x="23" y="442"/>
                      <a:pt x="13" y="479"/>
                      <a:pt x="13" y="479"/>
                    </a:cubicBezTo>
                    <a:cubicBezTo>
                      <a:pt x="0" y="484"/>
                      <a:pt x="0" y="484"/>
                      <a:pt x="0" y="484"/>
                    </a:cubicBezTo>
                    <a:cubicBezTo>
                      <a:pt x="3" y="526"/>
                      <a:pt x="3" y="526"/>
                      <a:pt x="3" y="526"/>
                    </a:cubicBezTo>
                    <a:cubicBezTo>
                      <a:pt x="7" y="526"/>
                      <a:pt x="10" y="526"/>
                      <a:pt x="10" y="526"/>
                    </a:cubicBezTo>
                    <a:cubicBezTo>
                      <a:pt x="29" y="558"/>
                      <a:pt x="29" y="558"/>
                      <a:pt x="29" y="558"/>
                    </a:cubicBezTo>
                    <a:cubicBezTo>
                      <a:pt x="29" y="558"/>
                      <a:pt x="29" y="560"/>
                      <a:pt x="29" y="563"/>
                    </a:cubicBezTo>
                    <a:cubicBezTo>
                      <a:pt x="29" y="562"/>
                      <a:pt x="29" y="561"/>
                      <a:pt x="29" y="561"/>
                    </a:cubicBezTo>
                    <a:cubicBezTo>
                      <a:pt x="45" y="559"/>
                      <a:pt x="45" y="559"/>
                      <a:pt x="45" y="559"/>
                    </a:cubicBezTo>
                    <a:cubicBezTo>
                      <a:pt x="45" y="559"/>
                      <a:pt x="46" y="571"/>
                      <a:pt x="50" y="576"/>
                    </a:cubicBezTo>
                    <a:cubicBezTo>
                      <a:pt x="54" y="581"/>
                      <a:pt x="70" y="584"/>
                      <a:pt x="70" y="584"/>
                    </a:cubicBezTo>
                    <a:cubicBezTo>
                      <a:pt x="66" y="611"/>
                      <a:pt x="66" y="611"/>
                      <a:pt x="66" y="611"/>
                    </a:cubicBezTo>
                    <a:cubicBezTo>
                      <a:pt x="66" y="611"/>
                      <a:pt x="80" y="618"/>
                      <a:pt x="80" y="629"/>
                    </a:cubicBezTo>
                    <a:cubicBezTo>
                      <a:pt x="80" y="640"/>
                      <a:pt x="74" y="650"/>
                      <a:pt x="74" y="650"/>
                    </a:cubicBezTo>
                    <a:cubicBezTo>
                      <a:pt x="74" y="650"/>
                      <a:pt x="75" y="678"/>
                      <a:pt x="80" y="692"/>
                    </a:cubicBezTo>
                    <a:cubicBezTo>
                      <a:pt x="85" y="706"/>
                      <a:pt x="106" y="724"/>
                      <a:pt x="106" y="724"/>
                    </a:cubicBezTo>
                    <a:cubicBezTo>
                      <a:pt x="106" y="724"/>
                      <a:pt x="92" y="725"/>
                      <a:pt x="84" y="726"/>
                    </a:cubicBezTo>
                    <a:cubicBezTo>
                      <a:pt x="76" y="727"/>
                      <a:pt x="36" y="720"/>
                      <a:pt x="31" y="733"/>
                    </a:cubicBezTo>
                    <a:cubicBezTo>
                      <a:pt x="26" y="746"/>
                      <a:pt x="41" y="767"/>
                      <a:pt x="49" y="775"/>
                    </a:cubicBezTo>
                    <a:cubicBezTo>
                      <a:pt x="57" y="783"/>
                      <a:pt x="78" y="792"/>
                      <a:pt x="87" y="802"/>
                    </a:cubicBezTo>
                    <a:cubicBezTo>
                      <a:pt x="96" y="812"/>
                      <a:pt x="101" y="859"/>
                      <a:pt x="101" y="859"/>
                    </a:cubicBezTo>
                    <a:cubicBezTo>
                      <a:pt x="101" y="859"/>
                      <a:pt x="113" y="866"/>
                      <a:pt x="123" y="860"/>
                    </a:cubicBezTo>
                    <a:cubicBezTo>
                      <a:pt x="133" y="853"/>
                      <a:pt x="153" y="838"/>
                      <a:pt x="153" y="838"/>
                    </a:cubicBezTo>
                    <a:cubicBezTo>
                      <a:pt x="153" y="838"/>
                      <a:pt x="146" y="863"/>
                      <a:pt x="165" y="858"/>
                    </a:cubicBezTo>
                    <a:cubicBezTo>
                      <a:pt x="183" y="853"/>
                      <a:pt x="178" y="833"/>
                      <a:pt x="196" y="833"/>
                    </a:cubicBezTo>
                    <a:cubicBezTo>
                      <a:pt x="215" y="833"/>
                      <a:pt x="248" y="833"/>
                      <a:pt x="248" y="833"/>
                    </a:cubicBezTo>
                    <a:cubicBezTo>
                      <a:pt x="248" y="833"/>
                      <a:pt x="263" y="811"/>
                      <a:pt x="268" y="805"/>
                    </a:cubicBezTo>
                    <a:cubicBezTo>
                      <a:pt x="273" y="798"/>
                      <a:pt x="253" y="788"/>
                      <a:pt x="253" y="788"/>
                    </a:cubicBezTo>
                    <a:cubicBezTo>
                      <a:pt x="267" y="780"/>
                      <a:pt x="267" y="780"/>
                      <a:pt x="267" y="780"/>
                    </a:cubicBezTo>
                    <a:cubicBezTo>
                      <a:pt x="267" y="780"/>
                      <a:pt x="307" y="780"/>
                      <a:pt x="338" y="765"/>
                    </a:cubicBezTo>
                    <a:cubicBezTo>
                      <a:pt x="370" y="750"/>
                      <a:pt x="365" y="728"/>
                      <a:pt x="365" y="728"/>
                    </a:cubicBezTo>
                    <a:cubicBezTo>
                      <a:pt x="378" y="723"/>
                      <a:pt x="378" y="723"/>
                      <a:pt x="378" y="723"/>
                    </a:cubicBezTo>
                    <a:cubicBezTo>
                      <a:pt x="390" y="711"/>
                      <a:pt x="390" y="711"/>
                      <a:pt x="390" y="711"/>
                    </a:cubicBezTo>
                    <a:cubicBezTo>
                      <a:pt x="393" y="691"/>
                      <a:pt x="393" y="691"/>
                      <a:pt x="393" y="691"/>
                    </a:cubicBezTo>
                    <a:cubicBezTo>
                      <a:pt x="430" y="673"/>
                      <a:pt x="430" y="673"/>
                      <a:pt x="430" y="673"/>
                    </a:cubicBezTo>
                    <a:cubicBezTo>
                      <a:pt x="446" y="674"/>
                      <a:pt x="446" y="674"/>
                      <a:pt x="446" y="674"/>
                    </a:cubicBezTo>
                    <a:cubicBezTo>
                      <a:pt x="445" y="665"/>
                      <a:pt x="445" y="665"/>
                      <a:pt x="445" y="665"/>
                    </a:cubicBezTo>
                    <a:cubicBezTo>
                      <a:pt x="445" y="665"/>
                      <a:pt x="463" y="669"/>
                      <a:pt x="451" y="656"/>
                    </a:cubicBezTo>
                    <a:cubicBezTo>
                      <a:pt x="439" y="643"/>
                      <a:pt x="430" y="642"/>
                      <a:pt x="430" y="642"/>
                    </a:cubicBezTo>
                    <a:cubicBezTo>
                      <a:pt x="426" y="625"/>
                      <a:pt x="426" y="625"/>
                      <a:pt x="426" y="625"/>
                    </a:cubicBezTo>
                    <a:cubicBezTo>
                      <a:pt x="437" y="620"/>
                      <a:pt x="437" y="620"/>
                      <a:pt x="437" y="620"/>
                    </a:cubicBezTo>
                    <a:cubicBezTo>
                      <a:pt x="428" y="612"/>
                      <a:pt x="428" y="612"/>
                      <a:pt x="428" y="612"/>
                    </a:cubicBezTo>
                    <a:cubicBezTo>
                      <a:pt x="428" y="612"/>
                      <a:pt x="430" y="585"/>
                      <a:pt x="423" y="582"/>
                    </a:cubicBezTo>
                    <a:cubicBezTo>
                      <a:pt x="416" y="579"/>
                      <a:pt x="411" y="589"/>
                      <a:pt x="406" y="587"/>
                    </a:cubicBezTo>
                    <a:cubicBezTo>
                      <a:pt x="401" y="585"/>
                      <a:pt x="395" y="580"/>
                      <a:pt x="398" y="569"/>
                    </a:cubicBezTo>
                    <a:cubicBezTo>
                      <a:pt x="401" y="558"/>
                      <a:pt x="415" y="558"/>
                      <a:pt x="417" y="549"/>
                    </a:cubicBezTo>
                    <a:cubicBezTo>
                      <a:pt x="419" y="540"/>
                      <a:pt x="416" y="536"/>
                      <a:pt x="410" y="526"/>
                    </a:cubicBezTo>
                    <a:cubicBezTo>
                      <a:pt x="404" y="516"/>
                      <a:pt x="419" y="508"/>
                      <a:pt x="419" y="508"/>
                    </a:cubicBezTo>
                    <a:cubicBezTo>
                      <a:pt x="430" y="501"/>
                      <a:pt x="430" y="501"/>
                      <a:pt x="430" y="501"/>
                    </a:cubicBezTo>
                    <a:cubicBezTo>
                      <a:pt x="425" y="490"/>
                      <a:pt x="425" y="490"/>
                      <a:pt x="425" y="490"/>
                    </a:cubicBezTo>
                    <a:cubicBezTo>
                      <a:pt x="422" y="474"/>
                      <a:pt x="422" y="474"/>
                      <a:pt x="422" y="474"/>
                    </a:cubicBezTo>
                    <a:cubicBezTo>
                      <a:pt x="432" y="474"/>
                      <a:pt x="432" y="474"/>
                      <a:pt x="432" y="474"/>
                    </a:cubicBezTo>
                    <a:cubicBezTo>
                      <a:pt x="432" y="474"/>
                      <a:pt x="430" y="462"/>
                      <a:pt x="436" y="456"/>
                    </a:cubicBezTo>
                    <a:cubicBezTo>
                      <a:pt x="442" y="450"/>
                      <a:pt x="451" y="450"/>
                      <a:pt x="449" y="442"/>
                    </a:cubicBezTo>
                    <a:cubicBezTo>
                      <a:pt x="447" y="434"/>
                      <a:pt x="438" y="423"/>
                      <a:pt x="451" y="419"/>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30" name="Freeform 152">
                <a:extLst>
                  <a:ext uri="{FF2B5EF4-FFF2-40B4-BE49-F238E27FC236}">
                    <a16:creationId xmlns:a16="http://schemas.microsoft.com/office/drawing/2014/main" id="{00809C97-B6A1-4473-89E0-D61C06766B80}"/>
                  </a:ext>
                </a:extLst>
              </p:cNvPr>
              <p:cNvSpPr>
                <a:spLocks/>
              </p:cNvSpPr>
              <p:nvPr>
                <p:custDataLst>
                  <p:tags r:id="rId111"/>
                </p:custDataLst>
              </p:nvPr>
            </p:nvSpPr>
            <p:spPr bwMode="gray">
              <a:xfrm>
                <a:off x="4140176" y="3636977"/>
                <a:ext cx="468310" cy="444502"/>
              </a:xfrm>
              <a:custGeom>
                <a:avLst/>
                <a:gdLst>
                  <a:gd name="T0" fmla="*/ 424 w 778"/>
                  <a:gd name="T1" fmla="*/ 631 h 800"/>
                  <a:gd name="T2" fmla="*/ 437 w 778"/>
                  <a:gd name="T3" fmla="*/ 607 h 800"/>
                  <a:gd name="T4" fmla="*/ 481 w 778"/>
                  <a:gd name="T5" fmla="*/ 585 h 800"/>
                  <a:gd name="T6" fmla="*/ 502 w 778"/>
                  <a:gd name="T7" fmla="*/ 563 h 800"/>
                  <a:gd name="T8" fmla="*/ 527 w 778"/>
                  <a:gd name="T9" fmla="*/ 547 h 800"/>
                  <a:gd name="T10" fmla="*/ 572 w 778"/>
                  <a:gd name="T11" fmla="*/ 537 h 800"/>
                  <a:gd name="T12" fmla="*/ 620 w 778"/>
                  <a:gd name="T13" fmla="*/ 537 h 800"/>
                  <a:gd name="T14" fmla="*/ 680 w 778"/>
                  <a:gd name="T15" fmla="*/ 526 h 800"/>
                  <a:gd name="T16" fmla="*/ 712 w 778"/>
                  <a:gd name="T17" fmla="*/ 519 h 800"/>
                  <a:gd name="T18" fmla="*/ 748 w 778"/>
                  <a:gd name="T19" fmla="*/ 509 h 800"/>
                  <a:gd name="T20" fmla="*/ 778 w 778"/>
                  <a:gd name="T21" fmla="*/ 454 h 800"/>
                  <a:gd name="T22" fmla="*/ 766 w 778"/>
                  <a:gd name="T23" fmla="*/ 320 h 800"/>
                  <a:gd name="T24" fmla="*/ 738 w 778"/>
                  <a:gd name="T25" fmla="*/ 300 h 800"/>
                  <a:gd name="T26" fmla="*/ 694 w 778"/>
                  <a:gd name="T27" fmla="*/ 270 h 800"/>
                  <a:gd name="T28" fmla="*/ 666 w 778"/>
                  <a:gd name="T29" fmla="*/ 251 h 800"/>
                  <a:gd name="T30" fmla="*/ 637 w 778"/>
                  <a:gd name="T31" fmla="*/ 229 h 800"/>
                  <a:gd name="T32" fmla="*/ 364 w 778"/>
                  <a:gd name="T33" fmla="*/ 3 h 800"/>
                  <a:gd name="T34" fmla="*/ 314 w 778"/>
                  <a:gd name="T35" fmla="*/ 459 h 800"/>
                  <a:gd name="T36" fmla="*/ 323 w 778"/>
                  <a:gd name="T37" fmla="*/ 483 h 800"/>
                  <a:gd name="T38" fmla="*/ 141 w 778"/>
                  <a:gd name="T39" fmla="*/ 513 h 800"/>
                  <a:gd name="T40" fmla="*/ 127 w 778"/>
                  <a:gd name="T41" fmla="*/ 517 h 800"/>
                  <a:gd name="T42" fmla="*/ 96 w 778"/>
                  <a:gd name="T43" fmla="*/ 515 h 800"/>
                  <a:gd name="T44" fmla="*/ 64 w 778"/>
                  <a:gd name="T45" fmla="*/ 532 h 800"/>
                  <a:gd name="T46" fmla="*/ 24 w 778"/>
                  <a:gd name="T47" fmla="*/ 535 h 800"/>
                  <a:gd name="T48" fmla="*/ 0 w 778"/>
                  <a:gd name="T49" fmla="*/ 550 h 800"/>
                  <a:gd name="T50" fmla="*/ 9 w 778"/>
                  <a:gd name="T51" fmla="*/ 578 h 800"/>
                  <a:gd name="T52" fmla="*/ 14 w 778"/>
                  <a:gd name="T53" fmla="*/ 623 h 800"/>
                  <a:gd name="T54" fmla="*/ 37 w 778"/>
                  <a:gd name="T55" fmla="*/ 644 h 800"/>
                  <a:gd name="T56" fmla="*/ 44 w 778"/>
                  <a:gd name="T57" fmla="*/ 703 h 800"/>
                  <a:gd name="T58" fmla="*/ 73 w 778"/>
                  <a:gd name="T59" fmla="*/ 706 h 800"/>
                  <a:gd name="T60" fmla="*/ 119 w 778"/>
                  <a:gd name="T61" fmla="*/ 698 h 800"/>
                  <a:gd name="T62" fmla="*/ 145 w 778"/>
                  <a:gd name="T63" fmla="*/ 673 h 800"/>
                  <a:gd name="T64" fmla="*/ 163 w 778"/>
                  <a:gd name="T65" fmla="*/ 697 h 800"/>
                  <a:gd name="T66" fmla="*/ 180 w 778"/>
                  <a:gd name="T67" fmla="*/ 730 h 800"/>
                  <a:gd name="T68" fmla="*/ 182 w 778"/>
                  <a:gd name="T69" fmla="*/ 752 h 800"/>
                  <a:gd name="T70" fmla="*/ 201 w 778"/>
                  <a:gd name="T71" fmla="*/ 796 h 800"/>
                  <a:gd name="T72" fmla="*/ 220 w 778"/>
                  <a:gd name="T73" fmla="*/ 784 h 800"/>
                  <a:gd name="T74" fmla="*/ 250 w 778"/>
                  <a:gd name="T75" fmla="*/ 788 h 800"/>
                  <a:gd name="T76" fmla="*/ 264 w 778"/>
                  <a:gd name="T77" fmla="*/ 770 h 800"/>
                  <a:gd name="T78" fmla="*/ 281 w 778"/>
                  <a:gd name="T79" fmla="*/ 769 h 800"/>
                  <a:gd name="T80" fmla="*/ 296 w 778"/>
                  <a:gd name="T81" fmla="*/ 795 h 800"/>
                  <a:gd name="T82" fmla="*/ 312 w 778"/>
                  <a:gd name="T83" fmla="*/ 744 h 800"/>
                  <a:gd name="T84" fmla="*/ 335 w 778"/>
                  <a:gd name="T85" fmla="*/ 729 h 800"/>
                  <a:gd name="T86" fmla="*/ 333 w 778"/>
                  <a:gd name="T87" fmla="*/ 700 h 800"/>
                  <a:gd name="T88" fmla="*/ 359 w 778"/>
                  <a:gd name="T89" fmla="*/ 685 h 800"/>
                  <a:gd name="T90" fmla="*/ 367 w 778"/>
                  <a:gd name="T91" fmla="*/ 659 h 800"/>
                  <a:gd name="T92" fmla="*/ 375 w 778"/>
                  <a:gd name="T93" fmla="*/ 637 h 800"/>
                  <a:gd name="T94" fmla="*/ 409 w 778"/>
                  <a:gd name="T95" fmla="*/ 636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78" h="800">
                    <a:moveTo>
                      <a:pt x="409" y="636"/>
                    </a:moveTo>
                    <a:cubicBezTo>
                      <a:pt x="424" y="631"/>
                      <a:pt x="424" y="631"/>
                      <a:pt x="424" y="631"/>
                    </a:cubicBezTo>
                    <a:cubicBezTo>
                      <a:pt x="424" y="607"/>
                      <a:pt x="424" y="607"/>
                      <a:pt x="424" y="607"/>
                    </a:cubicBezTo>
                    <a:cubicBezTo>
                      <a:pt x="437" y="607"/>
                      <a:pt x="437" y="607"/>
                      <a:pt x="437" y="607"/>
                    </a:cubicBezTo>
                    <a:cubicBezTo>
                      <a:pt x="437" y="607"/>
                      <a:pt x="454" y="578"/>
                      <a:pt x="460" y="576"/>
                    </a:cubicBezTo>
                    <a:cubicBezTo>
                      <a:pt x="466" y="574"/>
                      <a:pt x="478" y="586"/>
                      <a:pt x="481" y="585"/>
                    </a:cubicBezTo>
                    <a:cubicBezTo>
                      <a:pt x="484" y="584"/>
                      <a:pt x="485" y="563"/>
                      <a:pt x="485" y="563"/>
                    </a:cubicBezTo>
                    <a:cubicBezTo>
                      <a:pt x="502" y="563"/>
                      <a:pt x="502" y="563"/>
                      <a:pt x="502" y="563"/>
                    </a:cubicBezTo>
                    <a:cubicBezTo>
                      <a:pt x="513" y="549"/>
                      <a:pt x="513" y="549"/>
                      <a:pt x="513" y="549"/>
                    </a:cubicBezTo>
                    <a:cubicBezTo>
                      <a:pt x="513" y="549"/>
                      <a:pt x="517" y="551"/>
                      <a:pt x="527" y="547"/>
                    </a:cubicBezTo>
                    <a:cubicBezTo>
                      <a:pt x="537" y="543"/>
                      <a:pt x="539" y="535"/>
                      <a:pt x="539" y="535"/>
                    </a:cubicBezTo>
                    <a:cubicBezTo>
                      <a:pt x="572" y="537"/>
                      <a:pt x="572" y="537"/>
                      <a:pt x="572" y="537"/>
                    </a:cubicBezTo>
                    <a:cubicBezTo>
                      <a:pt x="588" y="544"/>
                      <a:pt x="588" y="544"/>
                      <a:pt x="588" y="544"/>
                    </a:cubicBezTo>
                    <a:cubicBezTo>
                      <a:pt x="620" y="537"/>
                      <a:pt x="620" y="537"/>
                      <a:pt x="620" y="537"/>
                    </a:cubicBezTo>
                    <a:cubicBezTo>
                      <a:pt x="638" y="525"/>
                      <a:pt x="638" y="525"/>
                      <a:pt x="638" y="525"/>
                    </a:cubicBezTo>
                    <a:cubicBezTo>
                      <a:pt x="680" y="526"/>
                      <a:pt x="680" y="526"/>
                      <a:pt x="680" y="526"/>
                    </a:cubicBezTo>
                    <a:cubicBezTo>
                      <a:pt x="681" y="517"/>
                      <a:pt x="681" y="517"/>
                      <a:pt x="681" y="517"/>
                    </a:cubicBezTo>
                    <a:cubicBezTo>
                      <a:pt x="712" y="519"/>
                      <a:pt x="712" y="519"/>
                      <a:pt x="712" y="519"/>
                    </a:cubicBezTo>
                    <a:cubicBezTo>
                      <a:pt x="719" y="514"/>
                      <a:pt x="719" y="514"/>
                      <a:pt x="719" y="514"/>
                    </a:cubicBezTo>
                    <a:cubicBezTo>
                      <a:pt x="719" y="514"/>
                      <a:pt x="726" y="520"/>
                      <a:pt x="748" y="509"/>
                    </a:cubicBezTo>
                    <a:cubicBezTo>
                      <a:pt x="763" y="502"/>
                      <a:pt x="763" y="469"/>
                      <a:pt x="763" y="469"/>
                    </a:cubicBezTo>
                    <a:cubicBezTo>
                      <a:pt x="778" y="454"/>
                      <a:pt x="778" y="454"/>
                      <a:pt x="778" y="454"/>
                    </a:cubicBezTo>
                    <a:cubicBezTo>
                      <a:pt x="778" y="317"/>
                      <a:pt x="778" y="317"/>
                      <a:pt x="778" y="317"/>
                    </a:cubicBezTo>
                    <a:cubicBezTo>
                      <a:pt x="771" y="319"/>
                      <a:pt x="766" y="320"/>
                      <a:pt x="766" y="320"/>
                    </a:cubicBezTo>
                    <a:cubicBezTo>
                      <a:pt x="766" y="320"/>
                      <a:pt x="744" y="328"/>
                      <a:pt x="729" y="321"/>
                    </a:cubicBezTo>
                    <a:cubicBezTo>
                      <a:pt x="714" y="314"/>
                      <a:pt x="738" y="300"/>
                      <a:pt x="738" y="300"/>
                    </a:cubicBezTo>
                    <a:cubicBezTo>
                      <a:pt x="738" y="300"/>
                      <a:pt x="737" y="280"/>
                      <a:pt x="727" y="272"/>
                    </a:cubicBezTo>
                    <a:cubicBezTo>
                      <a:pt x="717" y="264"/>
                      <a:pt x="694" y="270"/>
                      <a:pt x="694" y="270"/>
                    </a:cubicBezTo>
                    <a:cubicBezTo>
                      <a:pt x="689" y="252"/>
                      <a:pt x="689" y="252"/>
                      <a:pt x="689" y="252"/>
                    </a:cubicBezTo>
                    <a:cubicBezTo>
                      <a:pt x="689" y="252"/>
                      <a:pt x="676" y="254"/>
                      <a:pt x="666" y="251"/>
                    </a:cubicBezTo>
                    <a:cubicBezTo>
                      <a:pt x="656" y="248"/>
                      <a:pt x="658" y="241"/>
                      <a:pt x="656" y="233"/>
                    </a:cubicBezTo>
                    <a:cubicBezTo>
                      <a:pt x="654" y="225"/>
                      <a:pt x="637" y="229"/>
                      <a:pt x="637" y="229"/>
                    </a:cubicBezTo>
                    <a:cubicBezTo>
                      <a:pt x="638" y="212"/>
                      <a:pt x="638" y="212"/>
                      <a:pt x="638" y="212"/>
                    </a:cubicBezTo>
                    <a:cubicBezTo>
                      <a:pt x="364" y="3"/>
                      <a:pt x="364" y="3"/>
                      <a:pt x="364" y="3"/>
                    </a:cubicBezTo>
                    <a:cubicBezTo>
                      <a:pt x="283" y="0"/>
                      <a:pt x="283" y="0"/>
                      <a:pt x="283" y="0"/>
                    </a:cubicBezTo>
                    <a:cubicBezTo>
                      <a:pt x="314" y="459"/>
                      <a:pt x="314" y="459"/>
                      <a:pt x="314" y="459"/>
                    </a:cubicBezTo>
                    <a:cubicBezTo>
                      <a:pt x="314" y="459"/>
                      <a:pt x="327" y="465"/>
                      <a:pt x="328" y="472"/>
                    </a:cubicBezTo>
                    <a:cubicBezTo>
                      <a:pt x="329" y="479"/>
                      <a:pt x="323" y="483"/>
                      <a:pt x="323" y="483"/>
                    </a:cubicBezTo>
                    <a:cubicBezTo>
                      <a:pt x="318" y="510"/>
                      <a:pt x="318" y="510"/>
                      <a:pt x="318" y="510"/>
                    </a:cubicBezTo>
                    <a:cubicBezTo>
                      <a:pt x="141" y="513"/>
                      <a:pt x="141" y="513"/>
                      <a:pt x="141" y="513"/>
                    </a:cubicBezTo>
                    <a:cubicBezTo>
                      <a:pt x="141" y="513"/>
                      <a:pt x="141" y="502"/>
                      <a:pt x="137" y="503"/>
                    </a:cubicBezTo>
                    <a:cubicBezTo>
                      <a:pt x="133" y="504"/>
                      <a:pt x="135" y="516"/>
                      <a:pt x="127" y="517"/>
                    </a:cubicBezTo>
                    <a:cubicBezTo>
                      <a:pt x="119" y="518"/>
                      <a:pt x="102" y="521"/>
                      <a:pt x="102" y="521"/>
                    </a:cubicBezTo>
                    <a:cubicBezTo>
                      <a:pt x="96" y="515"/>
                      <a:pt x="96" y="515"/>
                      <a:pt x="96" y="515"/>
                    </a:cubicBezTo>
                    <a:cubicBezTo>
                      <a:pt x="74" y="515"/>
                      <a:pt x="74" y="515"/>
                      <a:pt x="74" y="515"/>
                    </a:cubicBezTo>
                    <a:cubicBezTo>
                      <a:pt x="64" y="532"/>
                      <a:pt x="64" y="532"/>
                      <a:pt x="64" y="532"/>
                    </a:cubicBezTo>
                    <a:cubicBezTo>
                      <a:pt x="64" y="532"/>
                      <a:pt x="52" y="507"/>
                      <a:pt x="39" y="507"/>
                    </a:cubicBezTo>
                    <a:cubicBezTo>
                      <a:pt x="26" y="507"/>
                      <a:pt x="24" y="516"/>
                      <a:pt x="24" y="535"/>
                    </a:cubicBezTo>
                    <a:cubicBezTo>
                      <a:pt x="25" y="536"/>
                      <a:pt x="28" y="546"/>
                      <a:pt x="20" y="549"/>
                    </a:cubicBezTo>
                    <a:cubicBezTo>
                      <a:pt x="12" y="552"/>
                      <a:pt x="0" y="550"/>
                      <a:pt x="0" y="550"/>
                    </a:cubicBezTo>
                    <a:cubicBezTo>
                      <a:pt x="1" y="568"/>
                      <a:pt x="1" y="568"/>
                      <a:pt x="1" y="568"/>
                    </a:cubicBezTo>
                    <a:cubicBezTo>
                      <a:pt x="9" y="578"/>
                      <a:pt x="9" y="578"/>
                      <a:pt x="9" y="578"/>
                    </a:cubicBezTo>
                    <a:cubicBezTo>
                      <a:pt x="9" y="578"/>
                      <a:pt x="21" y="600"/>
                      <a:pt x="16" y="604"/>
                    </a:cubicBezTo>
                    <a:cubicBezTo>
                      <a:pt x="11" y="608"/>
                      <a:pt x="7" y="612"/>
                      <a:pt x="14" y="623"/>
                    </a:cubicBezTo>
                    <a:cubicBezTo>
                      <a:pt x="21" y="634"/>
                      <a:pt x="25" y="622"/>
                      <a:pt x="30" y="625"/>
                    </a:cubicBezTo>
                    <a:cubicBezTo>
                      <a:pt x="35" y="628"/>
                      <a:pt x="37" y="644"/>
                      <a:pt x="37" y="644"/>
                    </a:cubicBezTo>
                    <a:cubicBezTo>
                      <a:pt x="36" y="678"/>
                      <a:pt x="36" y="678"/>
                      <a:pt x="36" y="678"/>
                    </a:cubicBezTo>
                    <a:cubicBezTo>
                      <a:pt x="36" y="678"/>
                      <a:pt x="40" y="705"/>
                      <a:pt x="44" y="703"/>
                    </a:cubicBezTo>
                    <a:cubicBezTo>
                      <a:pt x="48" y="701"/>
                      <a:pt x="52" y="685"/>
                      <a:pt x="61" y="685"/>
                    </a:cubicBezTo>
                    <a:cubicBezTo>
                      <a:pt x="70" y="685"/>
                      <a:pt x="73" y="706"/>
                      <a:pt x="73" y="706"/>
                    </a:cubicBezTo>
                    <a:cubicBezTo>
                      <a:pt x="73" y="706"/>
                      <a:pt x="87" y="683"/>
                      <a:pt x="92" y="685"/>
                    </a:cubicBezTo>
                    <a:cubicBezTo>
                      <a:pt x="97" y="687"/>
                      <a:pt x="119" y="698"/>
                      <a:pt x="119" y="698"/>
                    </a:cubicBezTo>
                    <a:cubicBezTo>
                      <a:pt x="131" y="689"/>
                      <a:pt x="131" y="689"/>
                      <a:pt x="131" y="689"/>
                    </a:cubicBezTo>
                    <a:cubicBezTo>
                      <a:pt x="131" y="689"/>
                      <a:pt x="129" y="665"/>
                      <a:pt x="145" y="673"/>
                    </a:cubicBezTo>
                    <a:cubicBezTo>
                      <a:pt x="161" y="681"/>
                      <a:pt x="154" y="688"/>
                      <a:pt x="154" y="688"/>
                    </a:cubicBezTo>
                    <a:cubicBezTo>
                      <a:pt x="163" y="697"/>
                      <a:pt x="163" y="697"/>
                      <a:pt x="163" y="697"/>
                    </a:cubicBezTo>
                    <a:cubicBezTo>
                      <a:pt x="157" y="714"/>
                      <a:pt x="157" y="714"/>
                      <a:pt x="157" y="714"/>
                    </a:cubicBezTo>
                    <a:cubicBezTo>
                      <a:pt x="180" y="730"/>
                      <a:pt x="180" y="730"/>
                      <a:pt x="180" y="730"/>
                    </a:cubicBezTo>
                    <a:cubicBezTo>
                      <a:pt x="163" y="753"/>
                      <a:pt x="163" y="753"/>
                      <a:pt x="163" y="753"/>
                    </a:cubicBezTo>
                    <a:cubicBezTo>
                      <a:pt x="182" y="752"/>
                      <a:pt x="182" y="752"/>
                      <a:pt x="182" y="752"/>
                    </a:cubicBezTo>
                    <a:cubicBezTo>
                      <a:pt x="182" y="777"/>
                      <a:pt x="182" y="777"/>
                      <a:pt x="182" y="777"/>
                    </a:cubicBezTo>
                    <a:cubicBezTo>
                      <a:pt x="201" y="796"/>
                      <a:pt x="201" y="796"/>
                      <a:pt x="201" y="796"/>
                    </a:cubicBezTo>
                    <a:cubicBezTo>
                      <a:pt x="207" y="799"/>
                      <a:pt x="207" y="799"/>
                      <a:pt x="207" y="799"/>
                    </a:cubicBezTo>
                    <a:cubicBezTo>
                      <a:pt x="207" y="799"/>
                      <a:pt x="204" y="782"/>
                      <a:pt x="220" y="784"/>
                    </a:cubicBezTo>
                    <a:cubicBezTo>
                      <a:pt x="236" y="786"/>
                      <a:pt x="246" y="800"/>
                      <a:pt x="246" y="800"/>
                    </a:cubicBezTo>
                    <a:cubicBezTo>
                      <a:pt x="250" y="788"/>
                      <a:pt x="250" y="788"/>
                      <a:pt x="250" y="788"/>
                    </a:cubicBezTo>
                    <a:cubicBezTo>
                      <a:pt x="260" y="788"/>
                      <a:pt x="260" y="788"/>
                      <a:pt x="260" y="788"/>
                    </a:cubicBezTo>
                    <a:cubicBezTo>
                      <a:pt x="264" y="770"/>
                      <a:pt x="264" y="770"/>
                      <a:pt x="264" y="770"/>
                    </a:cubicBezTo>
                    <a:cubicBezTo>
                      <a:pt x="273" y="782"/>
                      <a:pt x="273" y="782"/>
                      <a:pt x="273" y="782"/>
                    </a:cubicBezTo>
                    <a:cubicBezTo>
                      <a:pt x="281" y="769"/>
                      <a:pt x="281" y="769"/>
                      <a:pt x="281" y="769"/>
                    </a:cubicBezTo>
                    <a:cubicBezTo>
                      <a:pt x="281" y="793"/>
                      <a:pt x="281" y="793"/>
                      <a:pt x="281" y="793"/>
                    </a:cubicBezTo>
                    <a:cubicBezTo>
                      <a:pt x="296" y="795"/>
                      <a:pt x="296" y="795"/>
                      <a:pt x="296" y="795"/>
                    </a:cubicBezTo>
                    <a:cubicBezTo>
                      <a:pt x="296" y="795"/>
                      <a:pt x="300" y="781"/>
                      <a:pt x="315" y="781"/>
                    </a:cubicBezTo>
                    <a:cubicBezTo>
                      <a:pt x="312" y="744"/>
                      <a:pt x="312" y="744"/>
                      <a:pt x="312" y="744"/>
                    </a:cubicBezTo>
                    <a:cubicBezTo>
                      <a:pt x="327" y="744"/>
                      <a:pt x="327" y="744"/>
                      <a:pt x="327" y="744"/>
                    </a:cubicBezTo>
                    <a:cubicBezTo>
                      <a:pt x="335" y="729"/>
                      <a:pt x="335" y="729"/>
                      <a:pt x="335" y="729"/>
                    </a:cubicBezTo>
                    <a:cubicBezTo>
                      <a:pt x="320" y="708"/>
                      <a:pt x="320" y="708"/>
                      <a:pt x="320" y="708"/>
                    </a:cubicBezTo>
                    <a:cubicBezTo>
                      <a:pt x="333" y="700"/>
                      <a:pt x="333" y="700"/>
                      <a:pt x="333" y="700"/>
                    </a:cubicBezTo>
                    <a:cubicBezTo>
                      <a:pt x="333" y="700"/>
                      <a:pt x="348" y="697"/>
                      <a:pt x="360" y="696"/>
                    </a:cubicBezTo>
                    <a:cubicBezTo>
                      <a:pt x="372" y="695"/>
                      <a:pt x="359" y="685"/>
                      <a:pt x="359" y="685"/>
                    </a:cubicBezTo>
                    <a:cubicBezTo>
                      <a:pt x="359" y="685"/>
                      <a:pt x="366" y="684"/>
                      <a:pt x="369" y="680"/>
                    </a:cubicBezTo>
                    <a:cubicBezTo>
                      <a:pt x="372" y="676"/>
                      <a:pt x="367" y="659"/>
                      <a:pt x="367" y="659"/>
                    </a:cubicBezTo>
                    <a:cubicBezTo>
                      <a:pt x="367" y="659"/>
                      <a:pt x="379" y="661"/>
                      <a:pt x="381" y="656"/>
                    </a:cubicBezTo>
                    <a:cubicBezTo>
                      <a:pt x="383" y="651"/>
                      <a:pt x="375" y="637"/>
                      <a:pt x="375" y="637"/>
                    </a:cubicBezTo>
                    <a:cubicBezTo>
                      <a:pt x="388" y="617"/>
                      <a:pt x="388" y="617"/>
                      <a:pt x="388" y="617"/>
                    </a:cubicBezTo>
                    <a:lnTo>
                      <a:pt x="409" y="636"/>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31" name="Freeform 153">
                <a:extLst>
                  <a:ext uri="{FF2B5EF4-FFF2-40B4-BE49-F238E27FC236}">
                    <a16:creationId xmlns:a16="http://schemas.microsoft.com/office/drawing/2014/main" id="{366EC042-50DE-4678-B5D2-3DA59C71FA4A}"/>
                  </a:ext>
                </a:extLst>
              </p:cNvPr>
              <p:cNvSpPr>
                <a:spLocks/>
              </p:cNvSpPr>
              <p:nvPr>
                <p:custDataLst>
                  <p:tags r:id="rId112"/>
                </p:custDataLst>
              </p:nvPr>
            </p:nvSpPr>
            <p:spPr bwMode="gray">
              <a:xfrm>
                <a:off x="3995716" y="3883039"/>
                <a:ext cx="166686" cy="138113"/>
              </a:xfrm>
              <a:custGeom>
                <a:avLst/>
                <a:gdLst>
                  <a:gd name="T0" fmla="*/ 269 w 276"/>
                  <a:gd name="T1" fmla="*/ 181 h 246"/>
                  <a:gd name="T2" fmla="*/ 253 w 276"/>
                  <a:gd name="T3" fmla="*/ 179 h 246"/>
                  <a:gd name="T4" fmla="*/ 255 w 276"/>
                  <a:gd name="T5" fmla="*/ 160 h 246"/>
                  <a:gd name="T6" fmla="*/ 248 w 276"/>
                  <a:gd name="T7" fmla="*/ 134 h 246"/>
                  <a:gd name="T8" fmla="*/ 240 w 276"/>
                  <a:gd name="T9" fmla="*/ 124 h 246"/>
                  <a:gd name="T10" fmla="*/ 239 w 276"/>
                  <a:gd name="T11" fmla="*/ 106 h 246"/>
                  <a:gd name="T12" fmla="*/ 230 w 276"/>
                  <a:gd name="T13" fmla="*/ 92 h 246"/>
                  <a:gd name="T14" fmla="*/ 213 w 276"/>
                  <a:gd name="T15" fmla="*/ 86 h 246"/>
                  <a:gd name="T16" fmla="*/ 210 w 276"/>
                  <a:gd name="T17" fmla="*/ 70 h 246"/>
                  <a:gd name="T18" fmla="*/ 196 w 276"/>
                  <a:gd name="T19" fmla="*/ 68 h 246"/>
                  <a:gd name="T20" fmla="*/ 188 w 276"/>
                  <a:gd name="T21" fmla="*/ 31 h 246"/>
                  <a:gd name="T22" fmla="*/ 167 w 276"/>
                  <a:gd name="T23" fmla="*/ 34 h 246"/>
                  <a:gd name="T24" fmla="*/ 146 w 276"/>
                  <a:gd name="T25" fmla="*/ 10 h 246"/>
                  <a:gd name="T26" fmla="*/ 122 w 276"/>
                  <a:gd name="T27" fmla="*/ 7 h 246"/>
                  <a:gd name="T28" fmla="*/ 109 w 276"/>
                  <a:gd name="T29" fmla="*/ 0 h 246"/>
                  <a:gd name="T30" fmla="*/ 109 w 276"/>
                  <a:gd name="T31" fmla="*/ 10 h 246"/>
                  <a:gd name="T32" fmla="*/ 86 w 276"/>
                  <a:gd name="T33" fmla="*/ 9 h 246"/>
                  <a:gd name="T34" fmla="*/ 78 w 276"/>
                  <a:gd name="T35" fmla="*/ 13 h 246"/>
                  <a:gd name="T36" fmla="*/ 59 w 276"/>
                  <a:gd name="T37" fmla="*/ 11 h 246"/>
                  <a:gd name="T38" fmla="*/ 41 w 276"/>
                  <a:gd name="T39" fmla="*/ 43 h 246"/>
                  <a:gd name="T40" fmla="*/ 40 w 276"/>
                  <a:gd name="T41" fmla="*/ 57 h 246"/>
                  <a:gd name="T42" fmla="*/ 22 w 276"/>
                  <a:gd name="T43" fmla="*/ 80 h 246"/>
                  <a:gd name="T44" fmla="*/ 0 w 276"/>
                  <a:gd name="T45" fmla="*/ 106 h 246"/>
                  <a:gd name="T46" fmla="*/ 2 w 276"/>
                  <a:gd name="T47" fmla="*/ 113 h 246"/>
                  <a:gd name="T48" fmla="*/ 8 w 276"/>
                  <a:gd name="T49" fmla="*/ 112 h 246"/>
                  <a:gd name="T50" fmla="*/ 17 w 276"/>
                  <a:gd name="T51" fmla="*/ 128 h 246"/>
                  <a:gd name="T52" fmla="*/ 20 w 276"/>
                  <a:gd name="T53" fmla="*/ 141 h 246"/>
                  <a:gd name="T54" fmla="*/ 29 w 276"/>
                  <a:gd name="T55" fmla="*/ 149 h 246"/>
                  <a:gd name="T56" fmla="*/ 28 w 276"/>
                  <a:gd name="T57" fmla="*/ 157 h 246"/>
                  <a:gd name="T58" fmla="*/ 34 w 276"/>
                  <a:gd name="T59" fmla="*/ 169 h 246"/>
                  <a:gd name="T60" fmla="*/ 84 w 276"/>
                  <a:gd name="T61" fmla="*/ 169 h 246"/>
                  <a:gd name="T62" fmla="*/ 84 w 276"/>
                  <a:gd name="T63" fmla="*/ 159 h 246"/>
                  <a:gd name="T64" fmla="*/ 109 w 276"/>
                  <a:gd name="T65" fmla="*/ 158 h 246"/>
                  <a:gd name="T66" fmla="*/ 120 w 276"/>
                  <a:gd name="T67" fmla="*/ 166 h 246"/>
                  <a:gd name="T68" fmla="*/ 128 w 276"/>
                  <a:gd name="T69" fmla="*/ 164 h 246"/>
                  <a:gd name="T70" fmla="*/ 141 w 276"/>
                  <a:gd name="T71" fmla="*/ 176 h 246"/>
                  <a:gd name="T72" fmla="*/ 162 w 276"/>
                  <a:gd name="T73" fmla="*/ 171 h 246"/>
                  <a:gd name="T74" fmla="*/ 143 w 276"/>
                  <a:gd name="T75" fmla="*/ 190 h 246"/>
                  <a:gd name="T76" fmla="*/ 109 w 276"/>
                  <a:gd name="T77" fmla="*/ 171 h 246"/>
                  <a:gd name="T78" fmla="*/ 97 w 276"/>
                  <a:gd name="T79" fmla="*/ 183 h 246"/>
                  <a:gd name="T80" fmla="*/ 72 w 276"/>
                  <a:gd name="T81" fmla="*/ 186 h 246"/>
                  <a:gd name="T82" fmla="*/ 68 w 276"/>
                  <a:gd name="T83" fmla="*/ 195 h 246"/>
                  <a:gd name="T84" fmla="*/ 25 w 276"/>
                  <a:gd name="T85" fmla="*/ 195 h 246"/>
                  <a:gd name="T86" fmla="*/ 24 w 276"/>
                  <a:gd name="T87" fmla="*/ 212 h 246"/>
                  <a:gd name="T88" fmla="*/ 18 w 276"/>
                  <a:gd name="T89" fmla="*/ 215 h 246"/>
                  <a:gd name="T90" fmla="*/ 31 w 276"/>
                  <a:gd name="T91" fmla="*/ 241 h 246"/>
                  <a:gd name="T92" fmla="*/ 50 w 276"/>
                  <a:gd name="T93" fmla="*/ 241 h 246"/>
                  <a:gd name="T94" fmla="*/ 58 w 276"/>
                  <a:gd name="T95" fmla="*/ 231 h 246"/>
                  <a:gd name="T96" fmla="*/ 85 w 276"/>
                  <a:gd name="T97" fmla="*/ 231 h 246"/>
                  <a:gd name="T98" fmla="*/ 102 w 276"/>
                  <a:gd name="T99" fmla="*/ 216 h 246"/>
                  <a:gd name="T100" fmla="*/ 196 w 276"/>
                  <a:gd name="T101" fmla="*/ 219 h 246"/>
                  <a:gd name="T102" fmla="*/ 204 w 276"/>
                  <a:gd name="T103" fmla="*/ 232 h 246"/>
                  <a:gd name="T104" fmla="*/ 215 w 276"/>
                  <a:gd name="T105" fmla="*/ 226 h 246"/>
                  <a:gd name="T106" fmla="*/ 231 w 276"/>
                  <a:gd name="T107" fmla="*/ 242 h 246"/>
                  <a:gd name="T108" fmla="*/ 247 w 276"/>
                  <a:gd name="T109" fmla="*/ 235 h 246"/>
                  <a:gd name="T110" fmla="*/ 275 w 276"/>
                  <a:gd name="T111" fmla="*/ 234 h 246"/>
                  <a:gd name="T112" fmla="*/ 276 w 276"/>
                  <a:gd name="T113" fmla="*/ 200 h 246"/>
                  <a:gd name="T114" fmla="*/ 269 w 276"/>
                  <a:gd name="T115" fmla="*/ 181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6" h="246">
                    <a:moveTo>
                      <a:pt x="269" y="181"/>
                    </a:moveTo>
                    <a:cubicBezTo>
                      <a:pt x="264" y="178"/>
                      <a:pt x="260" y="190"/>
                      <a:pt x="253" y="179"/>
                    </a:cubicBezTo>
                    <a:cubicBezTo>
                      <a:pt x="246" y="168"/>
                      <a:pt x="250" y="164"/>
                      <a:pt x="255" y="160"/>
                    </a:cubicBezTo>
                    <a:cubicBezTo>
                      <a:pt x="260" y="156"/>
                      <a:pt x="248" y="134"/>
                      <a:pt x="248" y="134"/>
                    </a:cubicBezTo>
                    <a:cubicBezTo>
                      <a:pt x="240" y="124"/>
                      <a:pt x="240" y="124"/>
                      <a:pt x="240" y="124"/>
                    </a:cubicBezTo>
                    <a:cubicBezTo>
                      <a:pt x="239" y="106"/>
                      <a:pt x="239" y="106"/>
                      <a:pt x="239" y="106"/>
                    </a:cubicBezTo>
                    <a:cubicBezTo>
                      <a:pt x="230" y="92"/>
                      <a:pt x="230" y="92"/>
                      <a:pt x="230" y="92"/>
                    </a:cubicBezTo>
                    <a:cubicBezTo>
                      <a:pt x="213" y="86"/>
                      <a:pt x="213" y="86"/>
                      <a:pt x="213" y="86"/>
                    </a:cubicBezTo>
                    <a:cubicBezTo>
                      <a:pt x="213" y="86"/>
                      <a:pt x="213" y="71"/>
                      <a:pt x="210" y="70"/>
                    </a:cubicBezTo>
                    <a:cubicBezTo>
                      <a:pt x="207" y="69"/>
                      <a:pt x="196" y="68"/>
                      <a:pt x="196" y="68"/>
                    </a:cubicBezTo>
                    <a:cubicBezTo>
                      <a:pt x="196" y="68"/>
                      <a:pt x="195" y="32"/>
                      <a:pt x="188" y="31"/>
                    </a:cubicBezTo>
                    <a:cubicBezTo>
                      <a:pt x="181" y="30"/>
                      <a:pt x="167" y="34"/>
                      <a:pt x="167" y="34"/>
                    </a:cubicBezTo>
                    <a:cubicBezTo>
                      <a:pt x="167" y="34"/>
                      <a:pt x="156" y="12"/>
                      <a:pt x="146" y="10"/>
                    </a:cubicBezTo>
                    <a:cubicBezTo>
                      <a:pt x="136" y="8"/>
                      <a:pt x="122" y="7"/>
                      <a:pt x="122" y="7"/>
                    </a:cubicBezTo>
                    <a:cubicBezTo>
                      <a:pt x="109" y="0"/>
                      <a:pt x="109" y="0"/>
                      <a:pt x="109" y="0"/>
                    </a:cubicBezTo>
                    <a:cubicBezTo>
                      <a:pt x="109" y="10"/>
                      <a:pt x="109" y="10"/>
                      <a:pt x="109" y="10"/>
                    </a:cubicBezTo>
                    <a:cubicBezTo>
                      <a:pt x="86" y="9"/>
                      <a:pt x="86" y="9"/>
                      <a:pt x="86" y="9"/>
                    </a:cubicBezTo>
                    <a:cubicBezTo>
                      <a:pt x="78" y="13"/>
                      <a:pt x="78" y="13"/>
                      <a:pt x="78" y="13"/>
                    </a:cubicBezTo>
                    <a:cubicBezTo>
                      <a:pt x="78" y="13"/>
                      <a:pt x="68" y="5"/>
                      <a:pt x="59" y="11"/>
                    </a:cubicBezTo>
                    <a:cubicBezTo>
                      <a:pt x="50" y="17"/>
                      <a:pt x="53" y="41"/>
                      <a:pt x="41" y="43"/>
                    </a:cubicBezTo>
                    <a:cubicBezTo>
                      <a:pt x="40" y="50"/>
                      <a:pt x="40" y="56"/>
                      <a:pt x="40" y="57"/>
                    </a:cubicBezTo>
                    <a:cubicBezTo>
                      <a:pt x="39" y="60"/>
                      <a:pt x="29" y="67"/>
                      <a:pt x="22" y="80"/>
                    </a:cubicBezTo>
                    <a:cubicBezTo>
                      <a:pt x="15" y="93"/>
                      <a:pt x="0" y="106"/>
                      <a:pt x="0" y="106"/>
                    </a:cubicBezTo>
                    <a:cubicBezTo>
                      <a:pt x="2" y="113"/>
                      <a:pt x="2" y="113"/>
                      <a:pt x="2" y="113"/>
                    </a:cubicBezTo>
                    <a:cubicBezTo>
                      <a:pt x="8" y="112"/>
                      <a:pt x="8" y="112"/>
                      <a:pt x="8" y="112"/>
                    </a:cubicBezTo>
                    <a:cubicBezTo>
                      <a:pt x="8" y="112"/>
                      <a:pt x="17" y="121"/>
                      <a:pt x="17" y="128"/>
                    </a:cubicBezTo>
                    <a:cubicBezTo>
                      <a:pt x="17" y="135"/>
                      <a:pt x="20" y="141"/>
                      <a:pt x="20" y="141"/>
                    </a:cubicBezTo>
                    <a:cubicBezTo>
                      <a:pt x="29" y="149"/>
                      <a:pt x="29" y="149"/>
                      <a:pt x="29" y="149"/>
                    </a:cubicBezTo>
                    <a:cubicBezTo>
                      <a:pt x="29" y="149"/>
                      <a:pt x="28" y="150"/>
                      <a:pt x="28" y="157"/>
                    </a:cubicBezTo>
                    <a:cubicBezTo>
                      <a:pt x="28" y="162"/>
                      <a:pt x="32" y="166"/>
                      <a:pt x="34" y="169"/>
                    </a:cubicBezTo>
                    <a:cubicBezTo>
                      <a:pt x="84" y="169"/>
                      <a:pt x="84" y="169"/>
                      <a:pt x="84" y="169"/>
                    </a:cubicBezTo>
                    <a:cubicBezTo>
                      <a:pt x="84" y="159"/>
                      <a:pt x="84" y="159"/>
                      <a:pt x="84" y="159"/>
                    </a:cubicBezTo>
                    <a:cubicBezTo>
                      <a:pt x="84" y="159"/>
                      <a:pt x="96" y="160"/>
                      <a:pt x="109" y="158"/>
                    </a:cubicBezTo>
                    <a:cubicBezTo>
                      <a:pt x="122" y="156"/>
                      <a:pt x="120" y="166"/>
                      <a:pt x="120" y="166"/>
                    </a:cubicBezTo>
                    <a:cubicBezTo>
                      <a:pt x="128" y="164"/>
                      <a:pt x="128" y="164"/>
                      <a:pt x="128" y="164"/>
                    </a:cubicBezTo>
                    <a:cubicBezTo>
                      <a:pt x="128" y="164"/>
                      <a:pt x="136" y="175"/>
                      <a:pt x="141" y="176"/>
                    </a:cubicBezTo>
                    <a:cubicBezTo>
                      <a:pt x="146" y="177"/>
                      <a:pt x="145" y="167"/>
                      <a:pt x="162" y="171"/>
                    </a:cubicBezTo>
                    <a:cubicBezTo>
                      <a:pt x="179" y="175"/>
                      <a:pt x="161" y="190"/>
                      <a:pt x="143" y="190"/>
                    </a:cubicBezTo>
                    <a:cubicBezTo>
                      <a:pt x="125" y="190"/>
                      <a:pt x="109" y="171"/>
                      <a:pt x="109" y="171"/>
                    </a:cubicBezTo>
                    <a:cubicBezTo>
                      <a:pt x="109" y="171"/>
                      <a:pt x="103" y="182"/>
                      <a:pt x="97" y="183"/>
                    </a:cubicBezTo>
                    <a:cubicBezTo>
                      <a:pt x="91" y="184"/>
                      <a:pt x="72" y="186"/>
                      <a:pt x="72" y="186"/>
                    </a:cubicBezTo>
                    <a:cubicBezTo>
                      <a:pt x="72" y="186"/>
                      <a:pt x="71" y="195"/>
                      <a:pt x="68" y="195"/>
                    </a:cubicBezTo>
                    <a:cubicBezTo>
                      <a:pt x="66" y="195"/>
                      <a:pt x="36" y="195"/>
                      <a:pt x="25" y="195"/>
                    </a:cubicBezTo>
                    <a:cubicBezTo>
                      <a:pt x="24" y="202"/>
                      <a:pt x="24" y="212"/>
                      <a:pt x="24" y="212"/>
                    </a:cubicBezTo>
                    <a:cubicBezTo>
                      <a:pt x="18" y="215"/>
                      <a:pt x="18" y="215"/>
                      <a:pt x="18" y="215"/>
                    </a:cubicBezTo>
                    <a:cubicBezTo>
                      <a:pt x="18" y="215"/>
                      <a:pt x="22" y="236"/>
                      <a:pt x="31" y="241"/>
                    </a:cubicBezTo>
                    <a:cubicBezTo>
                      <a:pt x="40" y="246"/>
                      <a:pt x="50" y="241"/>
                      <a:pt x="50" y="241"/>
                    </a:cubicBezTo>
                    <a:cubicBezTo>
                      <a:pt x="58" y="231"/>
                      <a:pt x="58" y="231"/>
                      <a:pt x="58" y="231"/>
                    </a:cubicBezTo>
                    <a:cubicBezTo>
                      <a:pt x="85" y="231"/>
                      <a:pt x="85" y="231"/>
                      <a:pt x="85" y="231"/>
                    </a:cubicBezTo>
                    <a:cubicBezTo>
                      <a:pt x="102" y="216"/>
                      <a:pt x="102" y="216"/>
                      <a:pt x="102" y="216"/>
                    </a:cubicBezTo>
                    <a:cubicBezTo>
                      <a:pt x="196" y="219"/>
                      <a:pt x="196" y="219"/>
                      <a:pt x="196" y="219"/>
                    </a:cubicBezTo>
                    <a:cubicBezTo>
                      <a:pt x="196" y="219"/>
                      <a:pt x="196" y="230"/>
                      <a:pt x="204" y="232"/>
                    </a:cubicBezTo>
                    <a:cubicBezTo>
                      <a:pt x="212" y="234"/>
                      <a:pt x="215" y="226"/>
                      <a:pt x="215" y="226"/>
                    </a:cubicBezTo>
                    <a:cubicBezTo>
                      <a:pt x="215" y="226"/>
                      <a:pt x="224" y="242"/>
                      <a:pt x="231" y="242"/>
                    </a:cubicBezTo>
                    <a:cubicBezTo>
                      <a:pt x="238" y="242"/>
                      <a:pt x="247" y="235"/>
                      <a:pt x="247" y="235"/>
                    </a:cubicBezTo>
                    <a:cubicBezTo>
                      <a:pt x="275" y="234"/>
                      <a:pt x="275" y="234"/>
                      <a:pt x="275" y="234"/>
                    </a:cubicBezTo>
                    <a:cubicBezTo>
                      <a:pt x="276" y="200"/>
                      <a:pt x="276" y="200"/>
                      <a:pt x="276" y="200"/>
                    </a:cubicBezTo>
                    <a:cubicBezTo>
                      <a:pt x="276" y="200"/>
                      <a:pt x="274" y="184"/>
                      <a:pt x="269" y="181"/>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32" name="Freeform 154">
                <a:extLst>
                  <a:ext uri="{FF2B5EF4-FFF2-40B4-BE49-F238E27FC236}">
                    <a16:creationId xmlns:a16="http://schemas.microsoft.com/office/drawing/2014/main" id="{9FE14D91-A805-479A-AF6A-4235157ACFD4}"/>
                  </a:ext>
                </a:extLst>
              </p:cNvPr>
              <p:cNvSpPr>
                <a:spLocks/>
              </p:cNvSpPr>
              <p:nvPr>
                <p:custDataLst>
                  <p:tags r:id="rId113"/>
                </p:custDataLst>
              </p:nvPr>
            </p:nvSpPr>
            <p:spPr bwMode="gray">
              <a:xfrm>
                <a:off x="4062390" y="4003690"/>
                <a:ext cx="206374" cy="165100"/>
              </a:xfrm>
              <a:custGeom>
                <a:avLst/>
                <a:gdLst>
                  <a:gd name="T0" fmla="*/ 61 w 345"/>
                  <a:gd name="T1" fmla="*/ 17 h 296"/>
                  <a:gd name="T2" fmla="*/ 61 w 345"/>
                  <a:gd name="T3" fmla="*/ 47 h 296"/>
                  <a:gd name="T4" fmla="*/ 22 w 345"/>
                  <a:gd name="T5" fmla="*/ 65 h 296"/>
                  <a:gd name="T6" fmla="*/ 0 w 345"/>
                  <a:gd name="T7" fmla="*/ 86 h 296"/>
                  <a:gd name="T8" fmla="*/ 19 w 345"/>
                  <a:gd name="T9" fmla="*/ 103 h 296"/>
                  <a:gd name="T10" fmla="*/ 45 w 345"/>
                  <a:gd name="T11" fmla="*/ 138 h 296"/>
                  <a:gd name="T12" fmla="*/ 59 w 345"/>
                  <a:gd name="T13" fmla="*/ 149 h 296"/>
                  <a:gd name="T14" fmla="*/ 86 w 345"/>
                  <a:gd name="T15" fmla="*/ 194 h 296"/>
                  <a:gd name="T16" fmla="*/ 142 w 345"/>
                  <a:gd name="T17" fmla="*/ 152 h 296"/>
                  <a:gd name="T18" fmla="*/ 172 w 345"/>
                  <a:gd name="T19" fmla="*/ 140 h 296"/>
                  <a:gd name="T20" fmla="*/ 197 w 345"/>
                  <a:gd name="T21" fmla="*/ 190 h 296"/>
                  <a:gd name="T22" fmla="*/ 197 w 345"/>
                  <a:gd name="T23" fmla="*/ 226 h 296"/>
                  <a:gd name="T24" fmla="*/ 215 w 345"/>
                  <a:gd name="T25" fmla="*/ 228 h 296"/>
                  <a:gd name="T26" fmla="*/ 247 w 345"/>
                  <a:gd name="T27" fmla="*/ 227 h 296"/>
                  <a:gd name="T28" fmla="*/ 265 w 345"/>
                  <a:gd name="T29" fmla="*/ 286 h 296"/>
                  <a:gd name="T30" fmla="*/ 293 w 345"/>
                  <a:gd name="T31" fmla="*/ 270 h 296"/>
                  <a:gd name="T32" fmla="*/ 320 w 345"/>
                  <a:gd name="T33" fmla="*/ 255 h 296"/>
                  <a:gd name="T34" fmla="*/ 314 w 345"/>
                  <a:gd name="T35" fmla="*/ 229 h 296"/>
                  <a:gd name="T36" fmla="*/ 345 w 345"/>
                  <a:gd name="T37" fmla="*/ 220 h 296"/>
                  <a:gd name="T38" fmla="*/ 338 w 345"/>
                  <a:gd name="T39" fmla="*/ 193 h 296"/>
                  <a:gd name="T40" fmla="*/ 335 w 345"/>
                  <a:gd name="T41" fmla="*/ 176 h 296"/>
                  <a:gd name="T42" fmla="*/ 318 w 345"/>
                  <a:gd name="T43" fmla="*/ 148 h 296"/>
                  <a:gd name="T44" fmla="*/ 312 w 345"/>
                  <a:gd name="T45" fmla="*/ 115 h 296"/>
                  <a:gd name="T46" fmla="*/ 293 w 345"/>
                  <a:gd name="T47" fmla="*/ 91 h 296"/>
                  <a:gd name="T48" fmla="*/ 287 w 345"/>
                  <a:gd name="T49" fmla="*/ 52 h 296"/>
                  <a:gd name="T50" fmla="*/ 284 w 345"/>
                  <a:gd name="T51" fmla="*/ 26 h 296"/>
                  <a:gd name="T52" fmla="*/ 261 w 345"/>
                  <a:gd name="T53" fmla="*/ 27 h 296"/>
                  <a:gd name="T54" fmla="*/ 222 w 345"/>
                  <a:gd name="T55" fmla="*/ 23 h 296"/>
                  <a:gd name="T56" fmla="*/ 191 w 345"/>
                  <a:gd name="T57" fmla="*/ 23 h 296"/>
                  <a:gd name="T58" fmla="*/ 166 w 345"/>
                  <a:gd name="T59" fmla="*/ 16 h 296"/>
                  <a:gd name="T60" fmla="*/ 122 w 345"/>
                  <a:gd name="T61" fmla="*/ 24 h 296"/>
                  <a:gd name="T62" fmla="*/ 95 w 345"/>
                  <a:gd name="T63" fmla="*/ 14 h 296"/>
                  <a:gd name="T64" fmla="*/ 60 w 345"/>
                  <a:gd name="T65"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5" h="296">
                    <a:moveTo>
                      <a:pt x="60" y="0"/>
                    </a:moveTo>
                    <a:cubicBezTo>
                      <a:pt x="61" y="17"/>
                      <a:pt x="61" y="17"/>
                      <a:pt x="61" y="17"/>
                    </a:cubicBezTo>
                    <a:cubicBezTo>
                      <a:pt x="61" y="17"/>
                      <a:pt x="45" y="15"/>
                      <a:pt x="45" y="26"/>
                    </a:cubicBezTo>
                    <a:cubicBezTo>
                      <a:pt x="45" y="37"/>
                      <a:pt x="62" y="32"/>
                      <a:pt x="61" y="47"/>
                    </a:cubicBezTo>
                    <a:cubicBezTo>
                      <a:pt x="60" y="62"/>
                      <a:pt x="49" y="58"/>
                      <a:pt x="39" y="58"/>
                    </a:cubicBezTo>
                    <a:cubicBezTo>
                      <a:pt x="29" y="58"/>
                      <a:pt x="22" y="65"/>
                      <a:pt x="22" y="65"/>
                    </a:cubicBezTo>
                    <a:cubicBezTo>
                      <a:pt x="9" y="66"/>
                      <a:pt x="9" y="66"/>
                      <a:pt x="9" y="66"/>
                    </a:cubicBezTo>
                    <a:cubicBezTo>
                      <a:pt x="0" y="86"/>
                      <a:pt x="0" y="86"/>
                      <a:pt x="0" y="86"/>
                    </a:cubicBezTo>
                    <a:cubicBezTo>
                      <a:pt x="0" y="86"/>
                      <a:pt x="4" y="100"/>
                      <a:pt x="9" y="102"/>
                    </a:cubicBezTo>
                    <a:cubicBezTo>
                      <a:pt x="14" y="104"/>
                      <a:pt x="19" y="103"/>
                      <a:pt x="19" y="103"/>
                    </a:cubicBezTo>
                    <a:cubicBezTo>
                      <a:pt x="19" y="103"/>
                      <a:pt x="10" y="127"/>
                      <a:pt x="25" y="134"/>
                    </a:cubicBezTo>
                    <a:cubicBezTo>
                      <a:pt x="40" y="141"/>
                      <a:pt x="45" y="138"/>
                      <a:pt x="45" y="138"/>
                    </a:cubicBezTo>
                    <a:cubicBezTo>
                      <a:pt x="45" y="138"/>
                      <a:pt x="42" y="150"/>
                      <a:pt x="46" y="154"/>
                    </a:cubicBezTo>
                    <a:cubicBezTo>
                      <a:pt x="50" y="158"/>
                      <a:pt x="59" y="149"/>
                      <a:pt x="59" y="149"/>
                    </a:cubicBezTo>
                    <a:cubicBezTo>
                      <a:pt x="59" y="149"/>
                      <a:pt x="63" y="169"/>
                      <a:pt x="67" y="176"/>
                    </a:cubicBezTo>
                    <a:cubicBezTo>
                      <a:pt x="71" y="183"/>
                      <a:pt x="86" y="194"/>
                      <a:pt x="86" y="194"/>
                    </a:cubicBezTo>
                    <a:cubicBezTo>
                      <a:pt x="98" y="194"/>
                      <a:pt x="117" y="152"/>
                      <a:pt x="117" y="152"/>
                    </a:cubicBezTo>
                    <a:cubicBezTo>
                      <a:pt x="142" y="152"/>
                      <a:pt x="142" y="152"/>
                      <a:pt x="142" y="152"/>
                    </a:cubicBezTo>
                    <a:cubicBezTo>
                      <a:pt x="146" y="140"/>
                      <a:pt x="146" y="140"/>
                      <a:pt x="146" y="140"/>
                    </a:cubicBezTo>
                    <a:cubicBezTo>
                      <a:pt x="172" y="140"/>
                      <a:pt x="172" y="140"/>
                      <a:pt x="172" y="140"/>
                    </a:cubicBezTo>
                    <a:cubicBezTo>
                      <a:pt x="200" y="181"/>
                      <a:pt x="200" y="181"/>
                      <a:pt x="200" y="181"/>
                    </a:cubicBezTo>
                    <a:cubicBezTo>
                      <a:pt x="197" y="190"/>
                      <a:pt x="197" y="190"/>
                      <a:pt x="197" y="190"/>
                    </a:cubicBezTo>
                    <a:cubicBezTo>
                      <a:pt x="197" y="190"/>
                      <a:pt x="208" y="202"/>
                      <a:pt x="208" y="210"/>
                    </a:cubicBezTo>
                    <a:cubicBezTo>
                      <a:pt x="208" y="218"/>
                      <a:pt x="197" y="226"/>
                      <a:pt x="197" y="226"/>
                    </a:cubicBezTo>
                    <a:cubicBezTo>
                      <a:pt x="196" y="239"/>
                      <a:pt x="196" y="239"/>
                      <a:pt x="196" y="239"/>
                    </a:cubicBezTo>
                    <a:cubicBezTo>
                      <a:pt x="215" y="228"/>
                      <a:pt x="215" y="228"/>
                      <a:pt x="215" y="228"/>
                    </a:cubicBezTo>
                    <a:cubicBezTo>
                      <a:pt x="231" y="232"/>
                      <a:pt x="231" y="232"/>
                      <a:pt x="231" y="232"/>
                    </a:cubicBezTo>
                    <a:cubicBezTo>
                      <a:pt x="231" y="232"/>
                      <a:pt x="228" y="214"/>
                      <a:pt x="247" y="227"/>
                    </a:cubicBezTo>
                    <a:cubicBezTo>
                      <a:pt x="266" y="240"/>
                      <a:pt x="257" y="286"/>
                      <a:pt x="257" y="286"/>
                    </a:cubicBezTo>
                    <a:cubicBezTo>
                      <a:pt x="265" y="286"/>
                      <a:pt x="265" y="286"/>
                      <a:pt x="265" y="286"/>
                    </a:cubicBezTo>
                    <a:cubicBezTo>
                      <a:pt x="265" y="286"/>
                      <a:pt x="266" y="296"/>
                      <a:pt x="277" y="296"/>
                    </a:cubicBezTo>
                    <a:cubicBezTo>
                      <a:pt x="288" y="296"/>
                      <a:pt x="288" y="274"/>
                      <a:pt x="293" y="270"/>
                    </a:cubicBezTo>
                    <a:cubicBezTo>
                      <a:pt x="298" y="266"/>
                      <a:pt x="313" y="279"/>
                      <a:pt x="320" y="276"/>
                    </a:cubicBezTo>
                    <a:cubicBezTo>
                      <a:pt x="327" y="273"/>
                      <a:pt x="320" y="255"/>
                      <a:pt x="320" y="255"/>
                    </a:cubicBezTo>
                    <a:cubicBezTo>
                      <a:pt x="332" y="252"/>
                      <a:pt x="332" y="252"/>
                      <a:pt x="332" y="252"/>
                    </a:cubicBezTo>
                    <a:cubicBezTo>
                      <a:pt x="332" y="252"/>
                      <a:pt x="314" y="239"/>
                      <a:pt x="314" y="229"/>
                    </a:cubicBezTo>
                    <a:cubicBezTo>
                      <a:pt x="314" y="219"/>
                      <a:pt x="344" y="233"/>
                      <a:pt x="344" y="233"/>
                    </a:cubicBezTo>
                    <a:cubicBezTo>
                      <a:pt x="344" y="233"/>
                      <a:pt x="345" y="227"/>
                      <a:pt x="345" y="220"/>
                    </a:cubicBezTo>
                    <a:cubicBezTo>
                      <a:pt x="345" y="213"/>
                      <a:pt x="330" y="218"/>
                      <a:pt x="329" y="210"/>
                    </a:cubicBezTo>
                    <a:cubicBezTo>
                      <a:pt x="328" y="202"/>
                      <a:pt x="338" y="193"/>
                      <a:pt x="338" y="193"/>
                    </a:cubicBezTo>
                    <a:cubicBezTo>
                      <a:pt x="328" y="189"/>
                      <a:pt x="328" y="189"/>
                      <a:pt x="328" y="189"/>
                    </a:cubicBezTo>
                    <a:cubicBezTo>
                      <a:pt x="335" y="176"/>
                      <a:pt x="335" y="176"/>
                      <a:pt x="335" y="176"/>
                    </a:cubicBezTo>
                    <a:cubicBezTo>
                      <a:pt x="323" y="175"/>
                      <a:pt x="323" y="175"/>
                      <a:pt x="323" y="175"/>
                    </a:cubicBezTo>
                    <a:cubicBezTo>
                      <a:pt x="318" y="148"/>
                      <a:pt x="318" y="148"/>
                      <a:pt x="318" y="148"/>
                    </a:cubicBezTo>
                    <a:cubicBezTo>
                      <a:pt x="331" y="134"/>
                      <a:pt x="331" y="134"/>
                      <a:pt x="331" y="134"/>
                    </a:cubicBezTo>
                    <a:cubicBezTo>
                      <a:pt x="312" y="115"/>
                      <a:pt x="312" y="115"/>
                      <a:pt x="312" y="115"/>
                    </a:cubicBezTo>
                    <a:cubicBezTo>
                      <a:pt x="312" y="90"/>
                      <a:pt x="312" y="90"/>
                      <a:pt x="312" y="90"/>
                    </a:cubicBezTo>
                    <a:cubicBezTo>
                      <a:pt x="293" y="91"/>
                      <a:pt x="293" y="91"/>
                      <a:pt x="293" y="91"/>
                    </a:cubicBezTo>
                    <a:cubicBezTo>
                      <a:pt x="310" y="68"/>
                      <a:pt x="310" y="68"/>
                      <a:pt x="310" y="68"/>
                    </a:cubicBezTo>
                    <a:cubicBezTo>
                      <a:pt x="287" y="52"/>
                      <a:pt x="287" y="52"/>
                      <a:pt x="287" y="52"/>
                    </a:cubicBezTo>
                    <a:cubicBezTo>
                      <a:pt x="293" y="35"/>
                      <a:pt x="293" y="35"/>
                      <a:pt x="293" y="35"/>
                    </a:cubicBezTo>
                    <a:cubicBezTo>
                      <a:pt x="284" y="26"/>
                      <a:pt x="284" y="26"/>
                      <a:pt x="284" y="26"/>
                    </a:cubicBezTo>
                    <a:cubicBezTo>
                      <a:pt x="284" y="26"/>
                      <a:pt x="291" y="19"/>
                      <a:pt x="275" y="11"/>
                    </a:cubicBezTo>
                    <a:cubicBezTo>
                      <a:pt x="259" y="3"/>
                      <a:pt x="261" y="27"/>
                      <a:pt x="261" y="27"/>
                    </a:cubicBezTo>
                    <a:cubicBezTo>
                      <a:pt x="249" y="36"/>
                      <a:pt x="249" y="36"/>
                      <a:pt x="249" y="36"/>
                    </a:cubicBezTo>
                    <a:cubicBezTo>
                      <a:pt x="249" y="36"/>
                      <a:pt x="227" y="25"/>
                      <a:pt x="222" y="23"/>
                    </a:cubicBezTo>
                    <a:cubicBezTo>
                      <a:pt x="217" y="21"/>
                      <a:pt x="203" y="44"/>
                      <a:pt x="203" y="44"/>
                    </a:cubicBezTo>
                    <a:cubicBezTo>
                      <a:pt x="203" y="44"/>
                      <a:pt x="200" y="23"/>
                      <a:pt x="191" y="23"/>
                    </a:cubicBezTo>
                    <a:cubicBezTo>
                      <a:pt x="182" y="23"/>
                      <a:pt x="178" y="39"/>
                      <a:pt x="174" y="41"/>
                    </a:cubicBezTo>
                    <a:cubicBezTo>
                      <a:pt x="170" y="43"/>
                      <a:pt x="166" y="16"/>
                      <a:pt x="166" y="16"/>
                    </a:cubicBezTo>
                    <a:cubicBezTo>
                      <a:pt x="138" y="17"/>
                      <a:pt x="138" y="17"/>
                      <a:pt x="138" y="17"/>
                    </a:cubicBezTo>
                    <a:cubicBezTo>
                      <a:pt x="138" y="17"/>
                      <a:pt x="129" y="24"/>
                      <a:pt x="122" y="24"/>
                    </a:cubicBezTo>
                    <a:cubicBezTo>
                      <a:pt x="115" y="24"/>
                      <a:pt x="106" y="8"/>
                      <a:pt x="106" y="8"/>
                    </a:cubicBezTo>
                    <a:cubicBezTo>
                      <a:pt x="106" y="8"/>
                      <a:pt x="103" y="16"/>
                      <a:pt x="95" y="14"/>
                    </a:cubicBezTo>
                    <a:cubicBezTo>
                      <a:pt x="87" y="12"/>
                      <a:pt x="87" y="1"/>
                      <a:pt x="87" y="1"/>
                    </a:cubicBezTo>
                    <a:lnTo>
                      <a:pt x="60" y="0"/>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33" name="Freeform 155">
                <a:extLst>
                  <a:ext uri="{FF2B5EF4-FFF2-40B4-BE49-F238E27FC236}">
                    <a16:creationId xmlns:a16="http://schemas.microsoft.com/office/drawing/2014/main" id="{0DDB004F-0220-4D3F-85CB-EAF12B77D961}"/>
                  </a:ext>
                </a:extLst>
              </p:cNvPr>
              <p:cNvSpPr>
                <a:spLocks/>
              </p:cNvSpPr>
              <p:nvPr>
                <p:custDataLst>
                  <p:tags r:id="rId114"/>
                </p:custDataLst>
              </p:nvPr>
            </p:nvSpPr>
            <p:spPr bwMode="gray">
              <a:xfrm>
                <a:off x="4014765" y="3573476"/>
                <a:ext cx="342898" cy="371476"/>
              </a:xfrm>
              <a:custGeom>
                <a:avLst/>
                <a:gdLst>
                  <a:gd name="T0" fmla="*/ 0 w 572"/>
                  <a:gd name="T1" fmla="*/ 332 h 670"/>
                  <a:gd name="T2" fmla="*/ 11 w 572"/>
                  <a:gd name="T3" fmla="*/ 336 h 670"/>
                  <a:gd name="T4" fmla="*/ 15 w 572"/>
                  <a:gd name="T5" fmla="*/ 357 h 670"/>
                  <a:gd name="T6" fmla="*/ 24 w 572"/>
                  <a:gd name="T7" fmla="*/ 349 h 670"/>
                  <a:gd name="T8" fmla="*/ 32 w 572"/>
                  <a:gd name="T9" fmla="*/ 372 h 670"/>
                  <a:gd name="T10" fmla="*/ 30 w 572"/>
                  <a:gd name="T11" fmla="*/ 403 h 670"/>
                  <a:gd name="T12" fmla="*/ 21 w 572"/>
                  <a:gd name="T13" fmla="*/ 403 h 670"/>
                  <a:gd name="T14" fmla="*/ 24 w 572"/>
                  <a:gd name="T15" fmla="*/ 417 h 670"/>
                  <a:gd name="T16" fmla="*/ 16 w 572"/>
                  <a:gd name="T17" fmla="*/ 423 h 670"/>
                  <a:gd name="T18" fmla="*/ 39 w 572"/>
                  <a:gd name="T19" fmla="*/ 470 h 670"/>
                  <a:gd name="T20" fmla="*/ 33 w 572"/>
                  <a:gd name="T21" fmla="*/ 509 h 670"/>
                  <a:gd name="T22" fmla="*/ 31 w 572"/>
                  <a:gd name="T23" fmla="*/ 538 h 670"/>
                  <a:gd name="T24" fmla="*/ 12 w 572"/>
                  <a:gd name="T25" fmla="*/ 570 h 670"/>
                  <a:gd name="T26" fmla="*/ 10 w 572"/>
                  <a:gd name="T27" fmla="*/ 605 h 670"/>
                  <a:gd name="T28" fmla="*/ 28 w 572"/>
                  <a:gd name="T29" fmla="*/ 573 h 670"/>
                  <a:gd name="T30" fmla="*/ 47 w 572"/>
                  <a:gd name="T31" fmla="*/ 575 h 670"/>
                  <a:gd name="T32" fmla="*/ 55 w 572"/>
                  <a:gd name="T33" fmla="*/ 571 h 670"/>
                  <a:gd name="T34" fmla="*/ 78 w 572"/>
                  <a:gd name="T35" fmla="*/ 572 h 670"/>
                  <a:gd name="T36" fmla="*/ 78 w 572"/>
                  <a:gd name="T37" fmla="*/ 562 h 670"/>
                  <a:gd name="T38" fmla="*/ 91 w 572"/>
                  <a:gd name="T39" fmla="*/ 569 h 670"/>
                  <a:gd name="T40" fmla="*/ 115 w 572"/>
                  <a:gd name="T41" fmla="*/ 572 h 670"/>
                  <a:gd name="T42" fmla="*/ 136 w 572"/>
                  <a:gd name="T43" fmla="*/ 596 h 670"/>
                  <a:gd name="T44" fmla="*/ 157 w 572"/>
                  <a:gd name="T45" fmla="*/ 593 h 670"/>
                  <a:gd name="T46" fmla="*/ 165 w 572"/>
                  <a:gd name="T47" fmla="*/ 630 h 670"/>
                  <a:gd name="T48" fmla="*/ 179 w 572"/>
                  <a:gd name="T49" fmla="*/ 632 h 670"/>
                  <a:gd name="T50" fmla="*/ 182 w 572"/>
                  <a:gd name="T51" fmla="*/ 648 h 670"/>
                  <a:gd name="T52" fmla="*/ 199 w 572"/>
                  <a:gd name="T53" fmla="*/ 654 h 670"/>
                  <a:gd name="T54" fmla="*/ 208 w 572"/>
                  <a:gd name="T55" fmla="*/ 668 h 670"/>
                  <a:gd name="T56" fmla="*/ 228 w 572"/>
                  <a:gd name="T57" fmla="*/ 667 h 670"/>
                  <a:gd name="T58" fmla="*/ 232 w 572"/>
                  <a:gd name="T59" fmla="*/ 653 h 670"/>
                  <a:gd name="T60" fmla="*/ 247 w 572"/>
                  <a:gd name="T61" fmla="*/ 625 h 670"/>
                  <a:gd name="T62" fmla="*/ 272 w 572"/>
                  <a:gd name="T63" fmla="*/ 650 h 670"/>
                  <a:gd name="T64" fmla="*/ 282 w 572"/>
                  <a:gd name="T65" fmla="*/ 633 h 670"/>
                  <a:gd name="T66" fmla="*/ 304 w 572"/>
                  <a:gd name="T67" fmla="*/ 633 h 670"/>
                  <a:gd name="T68" fmla="*/ 310 w 572"/>
                  <a:gd name="T69" fmla="*/ 639 h 670"/>
                  <a:gd name="T70" fmla="*/ 335 w 572"/>
                  <a:gd name="T71" fmla="*/ 635 h 670"/>
                  <a:gd name="T72" fmla="*/ 345 w 572"/>
                  <a:gd name="T73" fmla="*/ 621 h 670"/>
                  <a:gd name="T74" fmla="*/ 349 w 572"/>
                  <a:gd name="T75" fmla="*/ 631 h 670"/>
                  <a:gd name="T76" fmla="*/ 526 w 572"/>
                  <a:gd name="T77" fmla="*/ 628 h 670"/>
                  <a:gd name="T78" fmla="*/ 531 w 572"/>
                  <a:gd name="T79" fmla="*/ 601 h 670"/>
                  <a:gd name="T80" fmla="*/ 536 w 572"/>
                  <a:gd name="T81" fmla="*/ 590 h 670"/>
                  <a:gd name="T82" fmla="*/ 522 w 572"/>
                  <a:gd name="T83" fmla="*/ 577 h 670"/>
                  <a:gd name="T84" fmla="*/ 491 w 572"/>
                  <a:gd name="T85" fmla="*/ 118 h 670"/>
                  <a:gd name="T86" fmla="*/ 572 w 572"/>
                  <a:gd name="T87" fmla="*/ 121 h 670"/>
                  <a:gd name="T88" fmla="*/ 399 w 572"/>
                  <a:gd name="T89" fmla="*/ 0 h 670"/>
                  <a:gd name="T90" fmla="*/ 397 w 572"/>
                  <a:gd name="T91" fmla="*/ 34 h 670"/>
                  <a:gd name="T92" fmla="*/ 392 w 572"/>
                  <a:gd name="T93" fmla="*/ 38 h 670"/>
                  <a:gd name="T94" fmla="*/ 391 w 572"/>
                  <a:gd name="T95" fmla="*/ 63 h 670"/>
                  <a:gd name="T96" fmla="*/ 243 w 572"/>
                  <a:gd name="T97" fmla="*/ 64 h 670"/>
                  <a:gd name="T98" fmla="*/ 243 w 572"/>
                  <a:gd name="T99" fmla="*/ 74 h 670"/>
                  <a:gd name="T100" fmla="*/ 238 w 572"/>
                  <a:gd name="T101" fmla="*/ 77 h 670"/>
                  <a:gd name="T102" fmla="*/ 235 w 572"/>
                  <a:gd name="T103" fmla="*/ 207 h 670"/>
                  <a:gd name="T104" fmla="*/ 208 w 572"/>
                  <a:gd name="T105" fmla="*/ 212 h 670"/>
                  <a:gd name="T106" fmla="*/ 189 w 572"/>
                  <a:gd name="T107" fmla="*/ 223 h 670"/>
                  <a:gd name="T108" fmla="*/ 187 w 572"/>
                  <a:gd name="T109" fmla="*/ 248 h 670"/>
                  <a:gd name="T110" fmla="*/ 186 w 572"/>
                  <a:gd name="T111" fmla="*/ 317 h 670"/>
                  <a:gd name="T112" fmla="*/ 0 w 572"/>
                  <a:gd name="T113" fmla="*/ 319 h 670"/>
                  <a:gd name="T114" fmla="*/ 0 w 572"/>
                  <a:gd name="T115" fmla="*/ 319 h 670"/>
                  <a:gd name="T116" fmla="*/ 0 w 572"/>
                  <a:gd name="T117" fmla="*/ 332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72" h="670">
                    <a:moveTo>
                      <a:pt x="0" y="332"/>
                    </a:moveTo>
                    <a:cubicBezTo>
                      <a:pt x="0" y="332"/>
                      <a:pt x="11" y="331"/>
                      <a:pt x="11" y="336"/>
                    </a:cubicBezTo>
                    <a:cubicBezTo>
                      <a:pt x="11" y="341"/>
                      <a:pt x="11" y="354"/>
                      <a:pt x="15" y="357"/>
                    </a:cubicBezTo>
                    <a:cubicBezTo>
                      <a:pt x="19" y="360"/>
                      <a:pt x="24" y="349"/>
                      <a:pt x="24" y="349"/>
                    </a:cubicBezTo>
                    <a:cubicBezTo>
                      <a:pt x="32" y="372"/>
                      <a:pt x="32" y="372"/>
                      <a:pt x="32" y="372"/>
                    </a:cubicBezTo>
                    <a:cubicBezTo>
                      <a:pt x="30" y="403"/>
                      <a:pt x="30" y="403"/>
                      <a:pt x="30" y="403"/>
                    </a:cubicBezTo>
                    <a:cubicBezTo>
                      <a:pt x="21" y="403"/>
                      <a:pt x="21" y="403"/>
                      <a:pt x="21" y="403"/>
                    </a:cubicBezTo>
                    <a:cubicBezTo>
                      <a:pt x="24" y="417"/>
                      <a:pt x="24" y="417"/>
                      <a:pt x="24" y="417"/>
                    </a:cubicBezTo>
                    <a:cubicBezTo>
                      <a:pt x="16" y="423"/>
                      <a:pt x="16" y="423"/>
                      <a:pt x="16" y="423"/>
                    </a:cubicBezTo>
                    <a:cubicBezTo>
                      <a:pt x="16" y="423"/>
                      <a:pt x="39" y="452"/>
                      <a:pt x="39" y="470"/>
                    </a:cubicBezTo>
                    <a:cubicBezTo>
                      <a:pt x="39" y="488"/>
                      <a:pt x="33" y="509"/>
                      <a:pt x="33" y="509"/>
                    </a:cubicBezTo>
                    <a:cubicBezTo>
                      <a:pt x="31" y="538"/>
                      <a:pt x="31" y="538"/>
                      <a:pt x="31" y="538"/>
                    </a:cubicBezTo>
                    <a:cubicBezTo>
                      <a:pt x="31" y="538"/>
                      <a:pt x="15" y="555"/>
                      <a:pt x="12" y="570"/>
                    </a:cubicBezTo>
                    <a:cubicBezTo>
                      <a:pt x="10" y="579"/>
                      <a:pt x="10" y="594"/>
                      <a:pt x="10" y="605"/>
                    </a:cubicBezTo>
                    <a:cubicBezTo>
                      <a:pt x="22" y="603"/>
                      <a:pt x="19" y="579"/>
                      <a:pt x="28" y="573"/>
                    </a:cubicBezTo>
                    <a:cubicBezTo>
                      <a:pt x="37" y="567"/>
                      <a:pt x="47" y="575"/>
                      <a:pt x="47" y="575"/>
                    </a:cubicBezTo>
                    <a:cubicBezTo>
                      <a:pt x="55" y="571"/>
                      <a:pt x="55" y="571"/>
                      <a:pt x="55" y="571"/>
                    </a:cubicBezTo>
                    <a:cubicBezTo>
                      <a:pt x="78" y="572"/>
                      <a:pt x="78" y="572"/>
                      <a:pt x="78" y="572"/>
                    </a:cubicBezTo>
                    <a:cubicBezTo>
                      <a:pt x="78" y="562"/>
                      <a:pt x="78" y="562"/>
                      <a:pt x="78" y="562"/>
                    </a:cubicBezTo>
                    <a:cubicBezTo>
                      <a:pt x="91" y="569"/>
                      <a:pt x="91" y="569"/>
                      <a:pt x="91" y="569"/>
                    </a:cubicBezTo>
                    <a:cubicBezTo>
                      <a:pt x="91" y="569"/>
                      <a:pt x="105" y="570"/>
                      <a:pt x="115" y="572"/>
                    </a:cubicBezTo>
                    <a:cubicBezTo>
                      <a:pt x="125" y="574"/>
                      <a:pt x="136" y="596"/>
                      <a:pt x="136" y="596"/>
                    </a:cubicBezTo>
                    <a:cubicBezTo>
                      <a:pt x="136" y="596"/>
                      <a:pt x="150" y="592"/>
                      <a:pt x="157" y="593"/>
                    </a:cubicBezTo>
                    <a:cubicBezTo>
                      <a:pt x="164" y="594"/>
                      <a:pt x="165" y="630"/>
                      <a:pt x="165" y="630"/>
                    </a:cubicBezTo>
                    <a:cubicBezTo>
                      <a:pt x="165" y="630"/>
                      <a:pt x="176" y="631"/>
                      <a:pt x="179" y="632"/>
                    </a:cubicBezTo>
                    <a:cubicBezTo>
                      <a:pt x="182" y="633"/>
                      <a:pt x="182" y="648"/>
                      <a:pt x="182" y="648"/>
                    </a:cubicBezTo>
                    <a:cubicBezTo>
                      <a:pt x="199" y="654"/>
                      <a:pt x="199" y="654"/>
                      <a:pt x="199" y="654"/>
                    </a:cubicBezTo>
                    <a:cubicBezTo>
                      <a:pt x="208" y="668"/>
                      <a:pt x="208" y="668"/>
                      <a:pt x="208" y="668"/>
                    </a:cubicBezTo>
                    <a:cubicBezTo>
                      <a:pt x="208" y="668"/>
                      <a:pt x="220" y="670"/>
                      <a:pt x="228" y="667"/>
                    </a:cubicBezTo>
                    <a:cubicBezTo>
                      <a:pt x="236" y="664"/>
                      <a:pt x="233" y="654"/>
                      <a:pt x="232" y="653"/>
                    </a:cubicBezTo>
                    <a:cubicBezTo>
                      <a:pt x="232" y="634"/>
                      <a:pt x="234" y="625"/>
                      <a:pt x="247" y="625"/>
                    </a:cubicBezTo>
                    <a:cubicBezTo>
                      <a:pt x="260" y="625"/>
                      <a:pt x="272" y="650"/>
                      <a:pt x="272" y="650"/>
                    </a:cubicBezTo>
                    <a:cubicBezTo>
                      <a:pt x="282" y="633"/>
                      <a:pt x="282" y="633"/>
                      <a:pt x="282" y="633"/>
                    </a:cubicBezTo>
                    <a:cubicBezTo>
                      <a:pt x="304" y="633"/>
                      <a:pt x="304" y="633"/>
                      <a:pt x="304" y="633"/>
                    </a:cubicBezTo>
                    <a:cubicBezTo>
                      <a:pt x="310" y="639"/>
                      <a:pt x="310" y="639"/>
                      <a:pt x="310" y="639"/>
                    </a:cubicBezTo>
                    <a:cubicBezTo>
                      <a:pt x="310" y="639"/>
                      <a:pt x="327" y="636"/>
                      <a:pt x="335" y="635"/>
                    </a:cubicBezTo>
                    <a:cubicBezTo>
                      <a:pt x="343" y="634"/>
                      <a:pt x="341" y="622"/>
                      <a:pt x="345" y="621"/>
                    </a:cubicBezTo>
                    <a:cubicBezTo>
                      <a:pt x="349" y="620"/>
                      <a:pt x="349" y="631"/>
                      <a:pt x="349" y="631"/>
                    </a:cubicBezTo>
                    <a:cubicBezTo>
                      <a:pt x="526" y="628"/>
                      <a:pt x="526" y="628"/>
                      <a:pt x="526" y="628"/>
                    </a:cubicBezTo>
                    <a:cubicBezTo>
                      <a:pt x="531" y="601"/>
                      <a:pt x="531" y="601"/>
                      <a:pt x="531" y="601"/>
                    </a:cubicBezTo>
                    <a:cubicBezTo>
                      <a:pt x="531" y="601"/>
                      <a:pt x="537" y="597"/>
                      <a:pt x="536" y="590"/>
                    </a:cubicBezTo>
                    <a:cubicBezTo>
                      <a:pt x="535" y="583"/>
                      <a:pt x="522" y="577"/>
                      <a:pt x="522" y="577"/>
                    </a:cubicBezTo>
                    <a:cubicBezTo>
                      <a:pt x="491" y="118"/>
                      <a:pt x="491" y="118"/>
                      <a:pt x="491" y="118"/>
                    </a:cubicBezTo>
                    <a:cubicBezTo>
                      <a:pt x="572" y="121"/>
                      <a:pt x="572" y="121"/>
                      <a:pt x="572" y="121"/>
                    </a:cubicBezTo>
                    <a:cubicBezTo>
                      <a:pt x="399" y="0"/>
                      <a:pt x="399" y="0"/>
                      <a:pt x="399" y="0"/>
                    </a:cubicBezTo>
                    <a:cubicBezTo>
                      <a:pt x="397" y="34"/>
                      <a:pt x="397" y="34"/>
                      <a:pt x="397" y="34"/>
                    </a:cubicBezTo>
                    <a:cubicBezTo>
                      <a:pt x="392" y="38"/>
                      <a:pt x="392" y="38"/>
                      <a:pt x="392" y="38"/>
                    </a:cubicBezTo>
                    <a:cubicBezTo>
                      <a:pt x="391" y="63"/>
                      <a:pt x="391" y="63"/>
                      <a:pt x="391" y="63"/>
                    </a:cubicBezTo>
                    <a:cubicBezTo>
                      <a:pt x="243" y="64"/>
                      <a:pt x="243" y="64"/>
                      <a:pt x="243" y="64"/>
                    </a:cubicBezTo>
                    <a:cubicBezTo>
                      <a:pt x="243" y="74"/>
                      <a:pt x="243" y="74"/>
                      <a:pt x="243" y="74"/>
                    </a:cubicBezTo>
                    <a:cubicBezTo>
                      <a:pt x="238" y="77"/>
                      <a:pt x="238" y="77"/>
                      <a:pt x="238" y="77"/>
                    </a:cubicBezTo>
                    <a:cubicBezTo>
                      <a:pt x="238" y="77"/>
                      <a:pt x="237" y="201"/>
                      <a:pt x="235" y="207"/>
                    </a:cubicBezTo>
                    <a:cubicBezTo>
                      <a:pt x="233" y="213"/>
                      <a:pt x="208" y="212"/>
                      <a:pt x="208" y="212"/>
                    </a:cubicBezTo>
                    <a:cubicBezTo>
                      <a:pt x="208" y="212"/>
                      <a:pt x="200" y="213"/>
                      <a:pt x="189" y="223"/>
                    </a:cubicBezTo>
                    <a:cubicBezTo>
                      <a:pt x="178" y="233"/>
                      <a:pt x="187" y="248"/>
                      <a:pt x="187" y="248"/>
                    </a:cubicBezTo>
                    <a:cubicBezTo>
                      <a:pt x="186" y="317"/>
                      <a:pt x="186" y="317"/>
                      <a:pt x="186" y="317"/>
                    </a:cubicBezTo>
                    <a:cubicBezTo>
                      <a:pt x="0" y="319"/>
                      <a:pt x="0" y="319"/>
                      <a:pt x="0" y="319"/>
                    </a:cubicBezTo>
                    <a:cubicBezTo>
                      <a:pt x="0" y="319"/>
                      <a:pt x="0" y="319"/>
                      <a:pt x="0" y="319"/>
                    </a:cubicBezTo>
                    <a:cubicBezTo>
                      <a:pt x="0" y="326"/>
                      <a:pt x="0" y="332"/>
                      <a:pt x="0" y="332"/>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34" name="Freeform 156">
                <a:extLst>
                  <a:ext uri="{FF2B5EF4-FFF2-40B4-BE49-F238E27FC236}">
                    <a16:creationId xmlns:a16="http://schemas.microsoft.com/office/drawing/2014/main" id="{D133BB1A-06B2-4E6E-AFA2-4A8BD13A0687}"/>
                  </a:ext>
                </a:extLst>
              </p:cNvPr>
              <p:cNvSpPr>
                <a:spLocks/>
              </p:cNvSpPr>
              <p:nvPr>
                <p:custDataLst>
                  <p:tags r:id="rId115"/>
                </p:custDataLst>
              </p:nvPr>
            </p:nvSpPr>
            <p:spPr bwMode="gray">
              <a:xfrm>
                <a:off x="4327500" y="3933839"/>
                <a:ext cx="228598" cy="166689"/>
              </a:xfrm>
              <a:custGeom>
                <a:avLst/>
                <a:gdLst>
                  <a:gd name="T0" fmla="*/ 3 w 382"/>
                  <a:gd name="T1" fmla="*/ 246 h 300"/>
                  <a:gd name="T2" fmla="*/ 19 w 382"/>
                  <a:gd name="T3" fmla="*/ 256 h 300"/>
                  <a:gd name="T4" fmla="*/ 59 w 382"/>
                  <a:gd name="T5" fmla="*/ 293 h 300"/>
                  <a:gd name="T6" fmla="*/ 124 w 382"/>
                  <a:gd name="T7" fmla="*/ 300 h 300"/>
                  <a:gd name="T8" fmla="*/ 132 w 382"/>
                  <a:gd name="T9" fmla="*/ 299 h 300"/>
                  <a:gd name="T10" fmla="*/ 130 w 382"/>
                  <a:gd name="T11" fmla="*/ 245 h 300"/>
                  <a:gd name="T12" fmla="*/ 132 w 382"/>
                  <a:gd name="T13" fmla="*/ 219 h 300"/>
                  <a:gd name="T14" fmla="*/ 192 w 382"/>
                  <a:gd name="T15" fmla="*/ 219 h 300"/>
                  <a:gd name="T16" fmla="*/ 215 w 382"/>
                  <a:gd name="T17" fmla="*/ 219 h 300"/>
                  <a:gd name="T18" fmla="*/ 251 w 382"/>
                  <a:gd name="T19" fmla="*/ 212 h 300"/>
                  <a:gd name="T20" fmla="*/ 276 w 382"/>
                  <a:gd name="T21" fmla="*/ 215 h 300"/>
                  <a:gd name="T22" fmla="*/ 305 w 382"/>
                  <a:gd name="T23" fmla="*/ 221 h 300"/>
                  <a:gd name="T24" fmla="*/ 318 w 382"/>
                  <a:gd name="T25" fmla="*/ 214 h 300"/>
                  <a:gd name="T26" fmla="*/ 357 w 382"/>
                  <a:gd name="T27" fmla="*/ 197 h 300"/>
                  <a:gd name="T28" fmla="*/ 373 w 382"/>
                  <a:gd name="T29" fmla="*/ 183 h 300"/>
                  <a:gd name="T30" fmla="*/ 382 w 382"/>
                  <a:gd name="T31" fmla="*/ 170 h 300"/>
                  <a:gd name="T32" fmla="*/ 360 w 382"/>
                  <a:gd name="T33" fmla="*/ 145 h 300"/>
                  <a:gd name="T34" fmla="*/ 364 w 382"/>
                  <a:gd name="T35" fmla="*/ 126 h 300"/>
                  <a:gd name="T36" fmla="*/ 310 w 382"/>
                  <a:gd name="T37" fmla="*/ 104 h 300"/>
                  <a:gd name="T38" fmla="*/ 312 w 382"/>
                  <a:gd name="T39" fmla="*/ 87 h 300"/>
                  <a:gd name="T40" fmla="*/ 289 w 382"/>
                  <a:gd name="T41" fmla="*/ 72 h 300"/>
                  <a:gd name="T42" fmla="*/ 277 w 382"/>
                  <a:gd name="T43" fmla="*/ 32 h 300"/>
                  <a:gd name="T44" fmla="*/ 260 w 382"/>
                  <a:gd name="T45" fmla="*/ 2 h 300"/>
                  <a:gd name="T46" fmla="*/ 215 w 382"/>
                  <a:gd name="T47" fmla="*/ 12 h 300"/>
                  <a:gd name="T48" fmla="*/ 190 w 382"/>
                  <a:gd name="T49" fmla="*/ 28 h 300"/>
                  <a:gd name="T50" fmla="*/ 169 w 382"/>
                  <a:gd name="T51" fmla="*/ 50 h 300"/>
                  <a:gd name="T52" fmla="*/ 125 w 382"/>
                  <a:gd name="T53" fmla="*/ 72 h 300"/>
                  <a:gd name="T54" fmla="*/ 112 w 382"/>
                  <a:gd name="T55" fmla="*/ 96 h 300"/>
                  <a:gd name="T56" fmla="*/ 76 w 382"/>
                  <a:gd name="T57" fmla="*/ 82 h 300"/>
                  <a:gd name="T58" fmla="*/ 69 w 382"/>
                  <a:gd name="T59" fmla="*/ 121 h 300"/>
                  <a:gd name="T60" fmla="*/ 57 w 382"/>
                  <a:gd name="T61" fmla="*/ 145 h 300"/>
                  <a:gd name="T62" fmla="*/ 48 w 382"/>
                  <a:gd name="T63" fmla="*/ 161 h 300"/>
                  <a:gd name="T64" fmla="*/ 8 w 382"/>
                  <a:gd name="T65" fmla="*/ 173 h 300"/>
                  <a:gd name="T66" fmla="*/ 15 w 382"/>
                  <a:gd name="T67" fmla="*/ 20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2" h="300">
                    <a:moveTo>
                      <a:pt x="0" y="209"/>
                    </a:moveTo>
                    <a:cubicBezTo>
                      <a:pt x="3" y="246"/>
                      <a:pt x="3" y="246"/>
                      <a:pt x="3" y="246"/>
                    </a:cubicBezTo>
                    <a:cubicBezTo>
                      <a:pt x="6" y="260"/>
                      <a:pt x="6" y="260"/>
                      <a:pt x="6" y="260"/>
                    </a:cubicBezTo>
                    <a:cubicBezTo>
                      <a:pt x="19" y="256"/>
                      <a:pt x="19" y="256"/>
                      <a:pt x="19" y="256"/>
                    </a:cubicBezTo>
                    <a:cubicBezTo>
                      <a:pt x="19" y="256"/>
                      <a:pt x="29" y="287"/>
                      <a:pt x="39" y="288"/>
                    </a:cubicBezTo>
                    <a:cubicBezTo>
                      <a:pt x="49" y="289"/>
                      <a:pt x="59" y="293"/>
                      <a:pt x="59" y="293"/>
                    </a:cubicBezTo>
                    <a:cubicBezTo>
                      <a:pt x="59" y="293"/>
                      <a:pt x="70" y="271"/>
                      <a:pt x="100" y="275"/>
                    </a:cubicBezTo>
                    <a:cubicBezTo>
                      <a:pt x="130" y="279"/>
                      <a:pt x="124" y="300"/>
                      <a:pt x="124" y="300"/>
                    </a:cubicBezTo>
                    <a:cubicBezTo>
                      <a:pt x="136" y="298"/>
                      <a:pt x="136" y="298"/>
                      <a:pt x="136" y="298"/>
                    </a:cubicBezTo>
                    <a:cubicBezTo>
                      <a:pt x="132" y="299"/>
                      <a:pt x="132" y="299"/>
                      <a:pt x="132" y="299"/>
                    </a:cubicBezTo>
                    <a:cubicBezTo>
                      <a:pt x="131" y="263"/>
                      <a:pt x="131" y="263"/>
                      <a:pt x="131" y="263"/>
                    </a:cubicBezTo>
                    <a:cubicBezTo>
                      <a:pt x="130" y="245"/>
                      <a:pt x="130" y="245"/>
                      <a:pt x="130" y="245"/>
                    </a:cubicBezTo>
                    <a:cubicBezTo>
                      <a:pt x="130" y="245"/>
                      <a:pt x="124" y="244"/>
                      <a:pt x="124" y="236"/>
                    </a:cubicBezTo>
                    <a:cubicBezTo>
                      <a:pt x="124" y="228"/>
                      <a:pt x="132" y="219"/>
                      <a:pt x="132" y="219"/>
                    </a:cubicBezTo>
                    <a:cubicBezTo>
                      <a:pt x="187" y="222"/>
                      <a:pt x="187" y="222"/>
                      <a:pt x="187" y="222"/>
                    </a:cubicBezTo>
                    <a:cubicBezTo>
                      <a:pt x="192" y="219"/>
                      <a:pt x="192" y="219"/>
                      <a:pt x="192" y="219"/>
                    </a:cubicBezTo>
                    <a:cubicBezTo>
                      <a:pt x="204" y="222"/>
                      <a:pt x="204" y="222"/>
                      <a:pt x="204" y="222"/>
                    </a:cubicBezTo>
                    <a:cubicBezTo>
                      <a:pt x="215" y="219"/>
                      <a:pt x="215" y="219"/>
                      <a:pt x="215" y="219"/>
                    </a:cubicBezTo>
                    <a:cubicBezTo>
                      <a:pt x="235" y="222"/>
                      <a:pt x="235" y="222"/>
                      <a:pt x="235" y="222"/>
                    </a:cubicBezTo>
                    <a:cubicBezTo>
                      <a:pt x="251" y="212"/>
                      <a:pt x="251" y="212"/>
                      <a:pt x="251" y="212"/>
                    </a:cubicBezTo>
                    <a:cubicBezTo>
                      <a:pt x="265" y="216"/>
                      <a:pt x="265" y="216"/>
                      <a:pt x="265" y="216"/>
                    </a:cubicBezTo>
                    <a:cubicBezTo>
                      <a:pt x="276" y="215"/>
                      <a:pt x="276" y="215"/>
                      <a:pt x="276" y="215"/>
                    </a:cubicBezTo>
                    <a:cubicBezTo>
                      <a:pt x="291" y="222"/>
                      <a:pt x="291" y="222"/>
                      <a:pt x="291" y="222"/>
                    </a:cubicBezTo>
                    <a:cubicBezTo>
                      <a:pt x="305" y="221"/>
                      <a:pt x="305" y="221"/>
                      <a:pt x="305" y="221"/>
                    </a:cubicBezTo>
                    <a:cubicBezTo>
                      <a:pt x="310" y="214"/>
                      <a:pt x="310" y="214"/>
                      <a:pt x="310" y="214"/>
                    </a:cubicBezTo>
                    <a:cubicBezTo>
                      <a:pt x="318" y="214"/>
                      <a:pt x="318" y="214"/>
                      <a:pt x="318" y="214"/>
                    </a:cubicBezTo>
                    <a:cubicBezTo>
                      <a:pt x="318" y="214"/>
                      <a:pt x="320" y="200"/>
                      <a:pt x="331" y="195"/>
                    </a:cubicBezTo>
                    <a:cubicBezTo>
                      <a:pt x="331" y="196"/>
                      <a:pt x="357" y="197"/>
                      <a:pt x="357" y="197"/>
                    </a:cubicBezTo>
                    <a:cubicBezTo>
                      <a:pt x="357" y="197"/>
                      <a:pt x="358" y="190"/>
                      <a:pt x="362" y="187"/>
                    </a:cubicBezTo>
                    <a:cubicBezTo>
                      <a:pt x="366" y="184"/>
                      <a:pt x="373" y="183"/>
                      <a:pt x="373" y="183"/>
                    </a:cubicBezTo>
                    <a:cubicBezTo>
                      <a:pt x="376" y="172"/>
                      <a:pt x="376" y="172"/>
                      <a:pt x="376" y="172"/>
                    </a:cubicBezTo>
                    <a:cubicBezTo>
                      <a:pt x="382" y="170"/>
                      <a:pt x="382" y="170"/>
                      <a:pt x="382" y="170"/>
                    </a:cubicBezTo>
                    <a:cubicBezTo>
                      <a:pt x="375" y="167"/>
                      <a:pt x="375" y="167"/>
                      <a:pt x="375" y="167"/>
                    </a:cubicBezTo>
                    <a:cubicBezTo>
                      <a:pt x="360" y="145"/>
                      <a:pt x="360" y="145"/>
                      <a:pt x="360" y="145"/>
                    </a:cubicBezTo>
                    <a:cubicBezTo>
                      <a:pt x="375" y="140"/>
                      <a:pt x="375" y="140"/>
                      <a:pt x="375" y="140"/>
                    </a:cubicBezTo>
                    <a:cubicBezTo>
                      <a:pt x="375" y="140"/>
                      <a:pt x="373" y="130"/>
                      <a:pt x="364" y="126"/>
                    </a:cubicBezTo>
                    <a:cubicBezTo>
                      <a:pt x="355" y="122"/>
                      <a:pt x="356" y="131"/>
                      <a:pt x="344" y="131"/>
                    </a:cubicBezTo>
                    <a:cubicBezTo>
                      <a:pt x="332" y="131"/>
                      <a:pt x="313" y="109"/>
                      <a:pt x="310" y="104"/>
                    </a:cubicBezTo>
                    <a:cubicBezTo>
                      <a:pt x="307" y="99"/>
                      <a:pt x="322" y="88"/>
                      <a:pt x="322" y="88"/>
                    </a:cubicBezTo>
                    <a:cubicBezTo>
                      <a:pt x="312" y="87"/>
                      <a:pt x="312" y="87"/>
                      <a:pt x="312" y="87"/>
                    </a:cubicBezTo>
                    <a:cubicBezTo>
                      <a:pt x="311" y="78"/>
                      <a:pt x="311" y="78"/>
                      <a:pt x="311" y="78"/>
                    </a:cubicBezTo>
                    <a:cubicBezTo>
                      <a:pt x="311" y="78"/>
                      <a:pt x="299" y="79"/>
                      <a:pt x="289" y="72"/>
                    </a:cubicBezTo>
                    <a:cubicBezTo>
                      <a:pt x="279" y="65"/>
                      <a:pt x="280" y="41"/>
                      <a:pt x="280" y="41"/>
                    </a:cubicBezTo>
                    <a:cubicBezTo>
                      <a:pt x="277" y="32"/>
                      <a:pt x="277" y="32"/>
                      <a:pt x="277" y="32"/>
                    </a:cubicBezTo>
                    <a:cubicBezTo>
                      <a:pt x="276" y="9"/>
                      <a:pt x="276" y="9"/>
                      <a:pt x="276" y="9"/>
                    </a:cubicBezTo>
                    <a:cubicBezTo>
                      <a:pt x="260" y="2"/>
                      <a:pt x="260" y="2"/>
                      <a:pt x="260" y="2"/>
                    </a:cubicBezTo>
                    <a:cubicBezTo>
                      <a:pt x="227" y="0"/>
                      <a:pt x="227" y="0"/>
                      <a:pt x="227" y="0"/>
                    </a:cubicBezTo>
                    <a:cubicBezTo>
                      <a:pt x="227" y="0"/>
                      <a:pt x="225" y="8"/>
                      <a:pt x="215" y="12"/>
                    </a:cubicBezTo>
                    <a:cubicBezTo>
                      <a:pt x="205" y="16"/>
                      <a:pt x="201" y="14"/>
                      <a:pt x="201" y="14"/>
                    </a:cubicBezTo>
                    <a:cubicBezTo>
                      <a:pt x="190" y="28"/>
                      <a:pt x="190" y="28"/>
                      <a:pt x="190" y="28"/>
                    </a:cubicBezTo>
                    <a:cubicBezTo>
                      <a:pt x="173" y="28"/>
                      <a:pt x="173" y="28"/>
                      <a:pt x="173" y="28"/>
                    </a:cubicBezTo>
                    <a:cubicBezTo>
                      <a:pt x="173" y="28"/>
                      <a:pt x="172" y="49"/>
                      <a:pt x="169" y="50"/>
                    </a:cubicBezTo>
                    <a:cubicBezTo>
                      <a:pt x="166" y="51"/>
                      <a:pt x="154" y="39"/>
                      <a:pt x="148" y="41"/>
                    </a:cubicBezTo>
                    <a:cubicBezTo>
                      <a:pt x="142" y="43"/>
                      <a:pt x="125" y="72"/>
                      <a:pt x="125" y="72"/>
                    </a:cubicBezTo>
                    <a:cubicBezTo>
                      <a:pt x="112" y="72"/>
                      <a:pt x="112" y="72"/>
                      <a:pt x="112" y="72"/>
                    </a:cubicBezTo>
                    <a:cubicBezTo>
                      <a:pt x="112" y="96"/>
                      <a:pt x="112" y="96"/>
                      <a:pt x="112" y="96"/>
                    </a:cubicBezTo>
                    <a:cubicBezTo>
                      <a:pt x="97" y="101"/>
                      <a:pt x="97" y="101"/>
                      <a:pt x="97" y="101"/>
                    </a:cubicBezTo>
                    <a:cubicBezTo>
                      <a:pt x="76" y="82"/>
                      <a:pt x="76" y="82"/>
                      <a:pt x="76" y="82"/>
                    </a:cubicBezTo>
                    <a:cubicBezTo>
                      <a:pt x="63" y="102"/>
                      <a:pt x="63" y="102"/>
                      <a:pt x="63" y="102"/>
                    </a:cubicBezTo>
                    <a:cubicBezTo>
                      <a:pt x="63" y="102"/>
                      <a:pt x="71" y="116"/>
                      <a:pt x="69" y="121"/>
                    </a:cubicBezTo>
                    <a:cubicBezTo>
                      <a:pt x="67" y="126"/>
                      <a:pt x="55" y="124"/>
                      <a:pt x="55" y="124"/>
                    </a:cubicBezTo>
                    <a:cubicBezTo>
                      <a:pt x="55" y="124"/>
                      <a:pt x="60" y="141"/>
                      <a:pt x="57" y="145"/>
                    </a:cubicBezTo>
                    <a:cubicBezTo>
                      <a:pt x="54" y="149"/>
                      <a:pt x="47" y="150"/>
                      <a:pt x="47" y="150"/>
                    </a:cubicBezTo>
                    <a:cubicBezTo>
                      <a:pt x="47" y="150"/>
                      <a:pt x="60" y="160"/>
                      <a:pt x="48" y="161"/>
                    </a:cubicBezTo>
                    <a:cubicBezTo>
                      <a:pt x="36" y="162"/>
                      <a:pt x="21" y="165"/>
                      <a:pt x="21" y="165"/>
                    </a:cubicBezTo>
                    <a:cubicBezTo>
                      <a:pt x="8" y="173"/>
                      <a:pt x="8" y="173"/>
                      <a:pt x="8" y="173"/>
                    </a:cubicBezTo>
                    <a:cubicBezTo>
                      <a:pt x="23" y="194"/>
                      <a:pt x="23" y="194"/>
                      <a:pt x="23" y="194"/>
                    </a:cubicBezTo>
                    <a:cubicBezTo>
                      <a:pt x="15" y="209"/>
                      <a:pt x="15" y="209"/>
                      <a:pt x="15" y="209"/>
                    </a:cubicBezTo>
                    <a:lnTo>
                      <a:pt x="0" y="209"/>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35" name="Freeform 157">
                <a:extLst>
                  <a:ext uri="{FF2B5EF4-FFF2-40B4-BE49-F238E27FC236}">
                    <a16:creationId xmlns:a16="http://schemas.microsoft.com/office/drawing/2014/main" id="{10657CF2-4A85-4BCE-977B-BC9856962835}"/>
                  </a:ext>
                </a:extLst>
              </p:cNvPr>
              <p:cNvSpPr>
                <a:spLocks/>
              </p:cNvSpPr>
              <p:nvPr>
                <p:custDataLst>
                  <p:tags r:id="rId116"/>
                </p:custDataLst>
              </p:nvPr>
            </p:nvSpPr>
            <p:spPr bwMode="gray">
              <a:xfrm>
                <a:off x="4238601" y="4064015"/>
                <a:ext cx="176212" cy="188914"/>
              </a:xfrm>
              <a:custGeom>
                <a:avLst/>
                <a:gdLst>
                  <a:gd name="T0" fmla="*/ 266 w 291"/>
                  <a:gd name="T1" fmla="*/ 269 h 343"/>
                  <a:gd name="T2" fmla="*/ 253 w 291"/>
                  <a:gd name="T3" fmla="*/ 219 h 343"/>
                  <a:gd name="T4" fmla="*/ 273 w 291"/>
                  <a:gd name="T5" fmla="*/ 187 h 343"/>
                  <a:gd name="T6" fmla="*/ 274 w 291"/>
                  <a:gd name="T7" fmla="*/ 157 h 343"/>
                  <a:gd name="T8" fmla="*/ 291 w 291"/>
                  <a:gd name="T9" fmla="*/ 130 h 343"/>
                  <a:gd name="T10" fmla="*/ 279 w 291"/>
                  <a:gd name="T11" fmla="*/ 84 h 343"/>
                  <a:gd name="T12" fmla="*/ 287 w 291"/>
                  <a:gd name="T13" fmla="*/ 83 h 343"/>
                  <a:gd name="T14" fmla="*/ 283 w 291"/>
                  <a:gd name="T15" fmla="*/ 64 h 343"/>
                  <a:gd name="T16" fmla="*/ 271 w 291"/>
                  <a:gd name="T17" fmla="*/ 66 h 343"/>
                  <a:gd name="T18" fmla="*/ 247 w 291"/>
                  <a:gd name="T19" fmla="*/ 41 h 343"/>
                  <a:gd name="T20" fmla="*/ 206 w 291"/>
                  <a:gd name="T21" fmla="*/ 59 h 343"/>
                  <a:gd name="T22" fmla="*/ 186 w 291"/>
                  <a:gd name="T23" fmla="*/ 54 h 343"/>
                  <a:gd name="T24" fmla="*/ 166 w 291"/>
                  <a:gd name="T25" fmla="*/ 22 h 343"/>
                  <a:gd name="T26" fmla="*/ 153 w 291"/>
                  <a:gd name="T27" fmla="*/ 26 h 343"/>
                  <a:gd name="T28" fmla="*/ 150 w 291"/>
                  <a:gd name="T29" fmla="*/ 12 h 343"/>
                  <a:gd name="T30" fmla="*/ 131 w 291"/>
                  <a:gd name="T31" fmla="*/ 26 h 343"/>
                  <a:gd name="T32" fmla="*/ 116 w 291"/>
                  <a:gd name="T33" fmla="*/ 24 h 343"/>
                  <a:gd name="T34" fmla="*/ 116 w 291"/>
                  <a:gd name="T35" fmla="*/ 0 h 343"/>
                  <a:gd name="T36" fmla="*/ 108 w 291"/>
                  <a:gd name="T37" fmla="*/ 13 h 343"/>
                  <a:gd name="T38" fmla="*/ 99 w 291"/>
                  <a:gd name="T39" fmla="*/ 1 h 343"/>
                  <a:gd name="T40" fmla="*/ 95 w 291"/>
                  <a:gd name="T41" fmla="*/ 19 h 343"/>
                  <a:gd name="T42" fmla="*/ 85 w 291"/>
                  <a:gd name="T43" fmla="*/ 19 h 343"/>
                  <a:gd name="T44" fmla="*/ 81 w 291"/>
                  <a:gd name="T45" fmla="*/ 31 h 343"/>
                  <a:gd name="T46" fmla="*/ 55 w 291"/>
                  <a:gd name="T47" fmla="*/ 15 h 343"/>
                  <a:gd name="T48" fmla="*/ 42 w 291"/>
                  <a:gd name="T49" fmla="*/ 30 h 343"/>
                  <a:gd name="T50" fmla="*/ 36 w 291"/>
                  <a:gd name="T51" fmla="*/ 27 h 343"/>
                  <a:gd name="T52" fmla="*/ 23 w 291"/>
                  <a:gd name="T53" fmla="*/ 41 h 343"/>
                  <a:gd name="T54" fmla="*/ 28 w 291"/>
                  <a:gd name="T55" fmla="*/ 68 h 343"/>
                  <a:gd name="T56" fmla="*/ 40 w 291"/>
                  <a:gd name="T57" fmla="*/ 69 h 343"/>
                  <a:gd name="T58" fmla="*/ 33 w 291"/>
                  <a:gd name="T59" fmla="*/ 82 h 343"/>
                  <a:gd name="T60" fmla="*/ 43 w 291"/>
                  <a:gd name="T61" fmla="*/ 86 h 343"/>
                  <a:gd name="T62" fmla="*/ 34 w 291"/>
                  <a:gd name="T63" fmla="*/ 103 h 343"/>
                  <a:gd name="T64" fmla="*/ 50 w 291"/>
                  <a:gd name="T65" fmla="*/ 113 h 343"/>
                  <a:gd name="T66" fmla="*/ 49 w 291"/>
                  <a:gd name="T67" fmla="*/ 126 h 343"/>
                  <a:gd name="T68" fmla="*/ 19 w 291"/>
                  <a:gd name="T69" fmla="*/ 122 h 343"/>
                  <a:gd name="T70" fmla="*/ 37 w 291"/>
                  <a:gd name="T71" fmla="*/ 145 h 343"/>
                  <a:gd name="T72" fmla="*/ 25 w 291"/>
                  <a:gd name="T73" fmla="*/ 148 h 343"/>
                  <a:gd name="T74" fmla="*/ 25 w 291"/>
                  <a:gd name="T75" fmla="*/ 169 h 343"/>
                  <a:gd name="T76" fmla="*/ 2 w 291"/>
                  <a:gd name="T77" fmla="*/ 162 h 343"/>
                  <a:gd name="T78" fmla="*/ 15 w 291"/>
                  <a:gd name="T79" fmla="*/ 196 h 343"/>
                  <a:gd name="T80" fmla="*/ 1 w 291"/>
                  <a:gd name="T81" fmla="*/ 228 h 343"/>
                  <a:gd name="T82" fmla="*/ 14 w 291"/>
                  <a:gd name="T83" fmla="*/ 230 h 343"/>
                  <a:gd name="T84" fmla="*/ 14 w 291"/>
                  <a:gd name="T85" fmla="*/ 240 h 343"/>
                  <a:gd name="T86" fmla="*/ 38 w 291"/>
                  <a:gd name="T87" fmla="*/ 236 h 343"/>
                  <a:gd name="T88" fmla="*/ 39 w 291"/>
                  <a:gd name="T89" fmla="*/ 253 h 343"/>
                  <a:gd name="T90" fmla="*/ 60 w 291"/>
                  <a:gd name="T91" fmla="*/ 282 h 343"/>
                  <a:gd name="T92" fmla="*/ 50 w 291"/>
                  <a:gd name="T93" fmla="*/ 316 h 343"/>
                  <a:gd name="T94" fmla="*/ 51 w 291"/>
                  <a:gd name="T95" fmla="*/ 343 h 343"/>
                  <a:gd name="T96" fmla="*/ 66 w 291"/>
                  <a:gd name="T97" fmla="*/ 331 h 343"/>
                  <a:gd name="T98" fmla="*/ 75 w 291"/>
                  <a:gd name="T99" fmla="*/ 331 h 343"/>
                  <a:gd name="T100" fmla="*/ 85 w 291"/>
                  <a:gd name="T101" fmla="*/ 323 h 343"/>
                  <a:gd name="T102" fmla="*/ 151 w 291"/>
                  <a:gd name="T103" fmla="*/ 300 h 343"/>
                  <a:gd name="T104" fmla="*/ 178 w 291"/>
                  <a:gd name="T105" fmla="*/ 296 h 343"/>
                  <a:gd name="T106" fmla="*/ 218 w 291"/>
                  <a:gd name="T107" fmla="*/ 290 h 343"/>
                  <a:gd name="T108" fmla="*/ 236 w 291"/>
                  <a:gd name="T109" fmla="*/ 299 h 343"/>
                  <a:gd name="T110" fmla="*/ 256 w 291"/>
                  <a:gd name="T111" fmla="*/ 289 h 343"/>
                  <a:gd name="T112" fmla="*/ 273 w 291"/>
                  <a:gd name="T113" fmla="*/ 306 h 343"/>
                  <a:gd name="T114" fmla="*/ 285 w 291"/>
                  <a:gd name="T115" fmla="*/ 310 h 343"/>
                  <a:gd name="T116" fmla="*/ 284 w 291"/>
                  <a:gd name="T117" fmla="*/ 275 h 343"/>
                  <a:gd name="T118" fmla="*/ 266 w 291"/>
                  <a:gd name="T119" fmla="*/ 269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1" h="343">
                    <a:moveTo>
                      <a:pt x="266" y="269"/>
                    </a:moveTo>
                    <a:cubicBezTo>
                      <a:pt x="266" y="269"/>
                      <a:pt x="253" y="233"/>
                      <a:pt x="253" y="219"/>
                    </a:cubicBezTo>
                    <a:cubicBezTo>
                      <a:pt x="253" y="205"/>
                      <a:pt x="273" y="187"/>
                      <a:pt x="273" y="187"/>
                    </a:cubicBezTo>
                    <a:cubicBezTo>
                      <a:pt x="273" y="187"/>
                      <a:pt x="274" y="165"/>
                      <a:pt x="274" y="157"/>
                    </a:cubicBezTo>
                    <a:cubicBezTo>
                      <a:pt x="274" y="149"/>
                      <a:pt x="291" y="142"/>
                      <a:pt x="291" y="130"/>
                    </a:cubicBezTo>
                    <a:cubicBezTo>
                      <a:pt x="291" y="118"/>
                      <a:pt x="279" y="84"/>
                      <a:pt x="279" y="84"/>
                    </a:cubicBezTo>
                    <a:cubicBezTo>
                      <a:pt x="287" y="83"/>
                      <a:pt x="287" y="83"/>
                      <a:pt x="287" y="83"/>
                    </a:cubicBezTo>
                    <a:cubicBezTo>
                      <a:pt x="283" y="64"/>
                      <a:pt x="283" y="64"/>
                      <a:pt x="283" y="64"/>
                    </a:cubicBezTo>
                    <a:cubicBezTo>
                      <a:pt x="271" y="66"/>
                      <a:pt x="271" y="66"/>
                      <a:pt x="271" y="66"/>
                    </a:cubicBezTo>
                    <a:cubicBezTo>
                      <a:pt x="271" y="66"/>
                      <a:pt x="277" y="45"/>
                      <a:pt x="247" y="41"/>
                    </a:cubicBezTo>
                    <a:cubicBezTo>
                      <a:pt x="217" y="37"/>
                      <a:pt x="206" y="59"/>
                      <a:pt x="206" y="59"/>
                    </a:cubicBezTo>
                    <a:cubicBezTo>
                      <a:pt x="206" y="59"/>
                      <a:pt x="196" y="55"/>
                      <a:pt x="186" y="54"/>
                    </a:cubicBezTo>
                    <a:cubicBezTo>
                      <a:pt x="176" y="53"/>
                      <a:pt x="166" y="22"/>
                      <a:pt x="166" y="22"/>
                    </a:cubicBezTo>
                    <a:cubicBezTo>
                      <a:pt x="153" y="26"/>
                      <a:pt x="153" y="26"/>
                      <a:pt x="153" y="26"/>
                    </a:cubicBezTo>
                    <a:cubicBezTo>
                      <a:pt x="150" y="12"/>
                      <a:pt x="150" y="12"/>
                      <a:pt x="150" y="12"/>
                    </a:cubicBezTo>
                    <a:cubicBezTo>
                      <a:pt x="135" y="12"/>
                      <a:pt x="131" y="26"/>
                      <a:pt x="131" y="26"/>
                    </a:cubicBezTo>
                    <a:cubicBezTo>
                      <a:pt x="116" y="24"/>
                      <a:pt x="116" y="24"/>
                      <a:pt x="116" y="24"/>
                    </a:cubicBezTo>
                    <a:cubicBezTo>
                      <a:pt x="116" y="0"/>
                      <a:pt x="116" y="0"/>
                      <a:pt x="116" y="0"/>
                    </a:cubicBezTo>
                    <a:cubicBezTo>
                      <a:pt x="108" y="13"/>
                      <a:pt x="108" y="13"/>
                      <a:pt x="108" y="13"/>
                    </a:cubicBezTo>
                    <a:cubicBezTo>
                      <a:pt x="99" y="1"/>
                      <a:pt x="99" y="1"/>
                      <a:pt x="99" y="1"/>
                    </a:cubicBezTo>
                    <a:cubicBezTo>
                      <a:pt x="95" y="19"/>
                      <a:pt x="95" y="19"/>
                      <a:pt x="95" y="19"/>
                    </a:cubicBezTo>
                    <a:cubicBezTo>
                      <a:pt x="85" y="19"/>
                      <a:pt x="85" y="19"/>
                      <a:pt x="85" y="19"/>
                    </a:cubicBezTo>
                    <a:cubicBezTo>
                      <a:pt x="81" y="31"/>
                      <a:pt x="81" y="31"/>
                      <a:pt x="81" y="31"/>
                    </a:cubicBezTo>
                    <a:cubicBezTo>
                      <a:pt x="81" y="31"/>
                      <a:pt x="71" y="17"/>
                      <a:pt x="55" y="15"/>
                    </a:cubicBezTo>
                    <a:cubicBezTo>
                      <a:pt x="39" y="13"/>
                      <a:pt x="42" y="30"/>
                      <a:pt x="42" y="30"/>
                    </a:cubicBezTo>
                    <a:cubicBezTo>
                      <a:pt x="36" y="27"/>
                      <a:pt x="36" y="27"/>
                      <a:pt x="36" y="27"/>
                    </a:cubicBezTo>
                    <a:cubicBezTo>
                      <a:pt x="23" y="41"/>
                      <a:pt x="23" y="41"/>
                      <a:pt x="23" y="41"/>
                    </a:cubicBezTo>
                    <a:cubicBezTo>
                      <a:pt x="28" y="68"/>
                      <a:pt x="28" y="68"/>
                      <a:pt x="28" y="68"/>
                    </a:cubicBezTo>
                    <a:cubicBezTo>
                      <a:pt x="40" y="69"/>
                      <a:pt x="40" y="69"/>
                      <a:pt x="40" y="69"/>
                    </a:cubicBezTo>
                    <a:cubicBezTo>
                      <a:pt x="33" y="82"/>
                      <a:pt x="33" y="82"/>
                      <a:pt x="33" y="82"/>
                    </a:cubicBezTo>
                    <a:cubicBezTo>
                      <a:pt x="43" y="86"/>
                      <a:pt x="43" y="86"/>
                      <a:pt x="43" y="86"/>
                    </a:cubicBezTo>
                    <a:cubicBezTo>
                      <a:pt x="43" y="86"/>
                      <a:pt x="33" y="95"/>
                      <a:pt x="34" y="103"/>
                    </a:cubicBezTo>
                    <a:cubicBezTo>
                      <a:pt x="35" y="111"/>
                      <a:pt x="50" y="106"/>
                      <a:pt x="50" y="113"/>
                    </a:cubicBezTo>
                    <a:cubicBezTo>
                      <a:pt x="50" y="120"/>
                      <a:pt x="49" y="126"/>
                      <a:pt x="49" y="126"/>
                    </a:cubicBezTo>
                    <a:cubicBezTo>
                      <a:pt x="49" y="126"/>
                      <a:pt x="19" y="112"/>
                      <a:pt x="19" y="122"/>
                    </a:cubicBezTo>
                    <a:cubicBezTo>
                      <a:pt x="19" y="132"/>
                      <a:pt x="37" y="145"/>
                      <a:pt x="37" y="145"/>
                    </a:cubicBezTo>
                    <a:cubicBezTo>
                      <a:pt x="25" y="148"/>
                      <a:pt x="25" y="148"/>
                      <a:pt x="25" y="148"/>
                    </a:cubicBezTo>
                    <a:cubicBezTo>
                      <a:pt x="25" y="148"/>
                      <a:pt x="32" y="166"/>
                      <a:pt x="25" y="169"/>
                    </a:cubicBezTo>
                    <a:cubicBezTo>
                      <a:pt x="19" y="171"/>
                      <a:pt x="9" y="164"/>
                      <a:pt x="2" y="162"/>
                    </a:cubicBezTo>
                    <a:cubicBezTo>
                      <a:pt x="7" y="172"/>
                      <a:pt x="15" y="186"/>
                      <a:pt x="15" y="196"/>
                    </a:cubicBezTo>
                    <a:cubicBezTo>
                      <a:pt x="15" y="211"/>
                      <a:pt x="0" y="225"/>
                      <a:pt x="1" y="228"/>
                    </a:cubicBezTo>
                    <a:cubicBezTo>
                      <a:pt x="2" y="231"/>
                      <a:pt x="14" y="230"/>
                      <a:pt x="14" y="230"/>
                    </a:cubicBezTo>
                    <a:cubicBezTo>
                      <a:pt x="14" y="240"/>
                      <a:pt x="14" y="240"/>
                      <a:pt x="14" y="240"/>
                    </a:cubicBezTo>
                    <a:cubicBezTo>
                      <a:pt x="38" y="236"/>
                      <a:pt x="38" y="236"/>
                      <a:pt x="38" y="236"/>
                    </a:cubicBezTo>
                    <a:cubicBezTo>
                      <a:pt x="39" y="253"/>
                      <a:pt x="39" y="253"/>
                      <a:pt x="39" y="253"/>
                    </a:cubicBezTo>
                    <a:cubicBezTo>
                      <a:pt x="39" y="253"/>
                      <a:pt x="60" y="269"/>
                      <a:pt x="60" y="282"/>
                    </a:cubicBezTo>
                    <a:cubicBezTo>
                      <a:pt x="60" y="295"/>
                      <a:pt x="50" y="316"/>
                      <a:pt x="50" y="316"/>
                    </a:cubicBezTo>
                    <a:cubicBezTo>
                      <a:pt x="51" y="343"/>
                      <a:pt x="51" y="343"/>
                      <a:pt x="51" y="343"/>
                    </a:cubicBezTo>
                    <a:cubicBezTo>
                      <a:pt x="63" y="341"/>
                      <a:pt x="66" y="331"/>
                      <a:pt x="66" y="331"/>
                    </a:cubicBezTo>
                    <a:cubicBezTo>
                      <a:pt x="75" y="331"/>
                      <a:pt x="75" y="331"/>
                      <a:pt x="75" y="331"/>
                    </a:cubicBezTo>
                    <a:cubicBezTo>
                      <a:pt x="85" y="323"/>
                      <a:pt x="85" y="323"/>
                      <a:pt x="85" y="323"/>
                    </a:cubicBezTo>
                    <a:cubicBezTo>
                      <a:pt x="85" y="323"/>
                      <a:pt x="131" y="298"/>
                      <a:pt x="151" y="300"/>
                    </a:cubicBezTo>
                    <a:cubicBezTo>
                      <a:pt x="171" y="302"/>
                      <a:pt x="178" y="296"/>
                      <a:pt x="178" y="296"/>
                    </a:cubicBezTo>
                    <a:cubicBezTo>
                      <a:pt x="178" y="296"/>
                      <a:pt x="209" y="285"/>
                      <a:pt x="218" y="290"/>
                    </a:cubicBezTo>
                    <a:cubicBezTo>
                      <a:pt x="227" y="295"/>
                      <a:pt x="229" y="300"/>
                      <a:pt x="236" y="299"/>
                    </a:cubicBezTo>
                    <a:cubicBezTo>
                      <a:pt x="243" y="298"/>
                      <a:pt x="256" y="289"/>
                      <a:pt x="256" y="289"/>
                    </a:cubicBezTo>
                    <a:cubicBezTo>
                      <a:pt x="256" y="289"/>
                      <a:pt x="257" y="299"/>
                      <a:pt x="273" y="306"/>
                    </a:cubicBezTo>
                    <a:cubicBezTo>
                      <a:pt x="277" y="308"/>
                      <a:pt x="281" y="309"/>
                      <a:pt x="285" y="310"/>
                    </a:cubicBezTo>
                    <a:cubicBezTo>
                      <a:pt x="284" y="275"/>
                      <a:pt x="284" y="275"/>
                      <a:pt x="284" y="275"/>
                    </a:cubicBezTo>
                    <a:lnTo>
                      <a:pt x="266" y="269"/>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36" name="Freeform 158">
                <a:extLst>
                  <a:ext uri="{FF2B5EF4-FFF2-40B4-BE49-F238E27FC236}">
                    <a16:creationId xmlns:a16="http://schemas.microsoft.com/office/drawing/2014/main" id="{8D08012C-6F79-4777-BE53-AE9C24A0E7C7}"/>
                  </a:ext>
                </a:extLst>
              </p:cNvPr>
              <p:cNvSpPr>
                <a:spLocks/>
              </p:cNvSpPr>
              <p:nvPr>
                <p:custDataLst>
                  <p:tags r:id="rId117"/>
                </p:custDataLst>
              </p:nvPr>
            </p:nvSpPr>
            <p:spPr bwMode="gray">
              <a:xfrm>
                <a:off x="4494188" y="3681426"/>
                <a:ext cx="446084" cy="350839"/>
              </a:xfrm>
              <a:custGeom>
                <a:avLst/>
                <a:gdLst>
                  <a:gd name="T0" fmla="*/ 36 w 741"/>
                  <a:gd name="T1" fmla="*/ 540 h 628"/>
                  <a:gd name="T2" fmla="*/ 34 w 741"/>
                  <a:gd name="T3" fmla="*/ 557 h 628"/>
                  <a:gd name="T4" fmla="*/ 88 w 741"/>
                  <a:gd name="T5" fmla="*/ 579 h 628"/>
                  <a:gd name="T6" fmla="*/ 84 w 741"/>
                  <a:gd name="T7" fmla="*/ 598 h 628"/>
                  <a:gd name="T8" fmla="*/ 102 w 741"/>
                  <a:gd name="T9" fmla="*/ 604 h 628"/>
                  <a:gd name="T10" fmla="*/ 141 w 741"/>
                  <a:gd name="T11" fmla="*/ 619 h 628"/>
                  <a:gd name="T12" fmla="*/ 159 w 741"/>
                  <a:gd name="T13" fmla="*/ 594 h 628"/>
                  <a:gd name="T14" fmla="*/ 183 w 741"/>
                  <a:gd name="T15" fmla="*/ 542 h 628"/>
                  <a:gd name="T16" fmla="*/ 236 w 741"/>
                  <a:gd name="T17" fmla="*/ 526 h 628"/>
                  <a:gd name="T18" fmla="*/ 269 w 741"/>
                  <a:gd name="T19" fmla="*/ 529 h 628"/>
                  <a:gd name="T20" fmla="*/ 305 w 741"/>
                  <a:gd name="T21" fmla="*/ 544 h 628"/>
                  <a:gd name="T22" fmla="*/ 364 w 741"/>
                  <a:gd name="T23" fmla="*/ 544 h 628"/>
                  <a:gd name="T24" fmla="*/ 442 w 741"/>
                  <a:gd name="T25" fmla="*/ 578 h 628"/>
                  <a:gd name="T26" fmla="*/ 554 w 741"/>
                  <a:gd name="T27" fmla="*/ 557 h 628"/>
                  <a:gd name="T28" fmla="*/ 597 w 741"/>
                  <a:gd name="T29" fmla="*/ 541 h 628"/>
                  <a:gd name="T30" fmla="*/ 621 w 741"/>
                  <a:gd name="T31" fmla="*/ 526 h 628"/>
                  <a:gd name="T32" fmla="*/ 621 w 741"/>
                  <a:gd name="T33" fmla="*/ 484 h 628"/>
                  <a:gd name="T34" fmla="*/ 656 w 741"/>
                  <a:gd name="T35" fmla="*/ 426 h 628"/>
                  <a:gd name="T36" fmla="*/ 727 w 741"/>
                  <a:gd name="T37" fmla="*/ 194 h 628"/>
                  <a:gd name="T38" fmla="*/ 721 w 741"/>
                  <a:gd name="T39" fmla="*/ 145 h 628"/>
                  <a:gd name="T40" fmla="*/ 697 w 741"/>
                  <a:gd name="T41" fmla="*/ 105 h 628"/>
                  <a:gd name="T42" fmla="*/ 692 w 741"/>
                  <a:gd name="T43" fmla="*/ 28 h 628"/>
                  <a:gd name="T44" fmla="*/ 623 w 741"/>
                  <a:gd name="T45" fmla="*/ 16 h 628"/>
                  <a:gd name="T46" fmla="*/ 551 w 741"/>
                  <a:gd name="T47" fmla="*/ 0 h 628"/>
                  <a:gd name="T48" fmla="*/ 261 w 741"/>
                  <a:gd name="T49" fmla="*/ 221 h 628"/>
                  <a:gd name="T50" fmla="*/ 190 w 741"/>
                  <a:gd name="T51" fmla="*/ 372 h 628"/>
                  <a:gd name="T52" fmla="*/ 160 w 741"/>
                  <a:gd name="T53" fmla="*/ 427 h 628"/>
                  <a:gd name="T54" fmla="*/ 124 w 741"/>
                  <a:gd name="T55" fmla="*/ 437 h 628"/>
                  <a:gd name="T56" fmla="*/ 92 w 741"/>
                  <a:gd name="T57" fmla="*/ 444 h 628"/>
                  <a:gd name="T58" fmla="*/ 32 w 741"/>
                  <a:gd name="T59" fmla="*/ 455 h 628"/>
                  <a:gd name="T60" fmla="*/ 1 w 741"/>
                  <a:gd name="T61" fmla="*/ 485 h 628"/>
                  <a:gd name="T62" fmla="*/ 13 w 741"/>
                  <a:gd name="T63" fmla="*/ 525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41" h="628">
                    <a:moveTo>
                      <a:pt x="35" y="531"/>
                    </a:moveTo>
                    <a:cubicBezTo>
                      <a:pt x="36" y="540"/>
                      <a:pt x="36" y="540"/>
                      <a:pt x="36" y="540"/>
                    </a:cubicBezTo>
                    <a:cubicBezTo>
                      <a:pt x="46" y="541"/>
                      <a:pt x="46" y="541"/>
                      <a:pt x="46" y="541"/>
                    </a:cubicBezTo>
                    <a:cubicBezTo>
                      <a:pt x="46" y="541"/>
                      <a:pt x="31" y="552"/>
                      <a:pt x="34" y="557"/>
                    </a:cubicBezTo>
                    <a:cubicBezTo>
                      <a:pt x="37" y="562"/>
                      <a:pt x="56" y="584"/>
                      <a:pt x="68" y="584"/>
                    </a:cubicBezTo>
                    <a:cubicBezTo>
                      <a:pt x="80" y="584"/>
                      <a:pt x="79" y="575"/>
                      <a:pt x="88" y="579"/>
                    </a:cubicBezTo>
                    <a:cubicBezTo>
                      <a:pt x="97" y="583"/>
                      <a:pt x="99" y="593"/>
                      <a:pt x="99" y="593"/>
                    </a:cubicBezTo>
                    <a:cubicBezTo>
                      <a:pt x="84" y="598"/>
                      <a:pt x="84" y="598"/>
                      <a:pt x="84" y="598"/>
                    </a:cubicBezTo>
                    <a:cubicBezTo>
                      <a:pt x="99" y="620"/>
                      <a:pt x="99" y="620"/>
                      <a:pt x="99" y="620"/>
                    </a:cubicBezTo>
                    <a:cubicBezTo>
                      <a:pt x="102" y="604"/>
                      <a:pt x="102" y="604"/>
                      <a:pt x="102" y="604"/>
                    </a:cubicBezTo>
                    <a:cubicBezTo>
                      <a:pt x="119" y="597"/>
                      <a:pt x="119" y="597"/>
                      <a:pt x="119" y="597"/>
                    </a:cubicBezTo>
                    <a:cubicBezTo>
                      <a:pt x="119" y="597"/>
                      <a:pt x="136" y="616"/>
                      <a:pt x="141" y="619"/>
                    </a:cubicBezTo>
                    <a:cubicBezTo>
                      <a:pt x="146" y="622"/>
                      <a:pt x="162" y="628"/>
                      <a:pt x="162" y="628"/>
                    </a:cubicBezTo>
                    <a:cubicBezTo>
                      <a:pt x="159" y="594"/>
                      <a:pt x="159" y="594"/>
                      <a:pt x="159" y="594"/>
                    </a:cubicBezTo>
                    <a:cubicBezTo>
                      <a:pt x="159" y="594"/>
                      <a:pt x="181" y="583"/>
                      <a:pt x="182" y="568"/>
                    </a:cubicBezTo>
                    <a:cubicBezTo>
                      <a:pt x="183" y="553"/>
                      <a:pt x="183" y="542"/>
                      <a:pt x="183" y="542"/>
                    </a:cubicBezTo>
                    <a:cubicBezTo>
                      <a:pt x="202" y="525"/>
                      <a:pt x="202" y="525"/>
                      <a:pt x="202" y="525"/>
                    </a:cubicBezTo>
                    <a:cubicBezTo>
                      <a:pt x="236" y="526"/>
                      <a:pt x="236" y="526"/>
                      <a:pt x="236" y="526"/>
                    </a:cubicBezTo>
                    <a:cubicBezTo>
                      <a:pt x="236" y="526"/>
                      <a:pt x="235" y="520"/>
                      <a:pt x="249" y="519"/>
                    </a:cubicBezTo>
                    <a:cubicBezTo>
                      <a:pt x="263" y="518"/>
                      <a:pt x="262" y="528"/>
                      <a:pt x="269" y="529"/>
                    </a:cubicBezTo>
                    <a:cubicBezTo>
                      <a:pt x="276" y="530"/>
                      <a:pt x="288" y="530"/>
                      <a:pt x="288" y="530"/>
                    </a:cubicBezTo>
                    <a:cubicBezTo>
                      <a:pt x="305" y="544"/>
                      <a:pt x="305" y="544"/>
                      <a:pt x="305" y="544"/>
                    </a:cubicBezTo>
                    <a:cubicBezTo>
                      <a:pt x="305" y="544"/>
                      <a:pt x="310" y="566"/>
                      <a:pt x="319" y="565"/>
                    </a:cubicBezTo>
                    <a:cubicBezTo>
                      <a:pt x="328" y="564"/>
                      <a:pt x="352" y="544"/>
                      <a:pt x="364" y="544"/>
                    </a:cubicBezTo>
                    <a:cubicBezTo>
                      <a:pt x="376" y="544"/>
                      <a:pt x="388" y="572"/>
                      <a:pt x="407" y="573"/>
                    </a:cubicBezTo>
                    <a:cubicBezTo>
                      <a:pt x="426" y="574"/>
                      <a:pt x="442" y="578"/>
                      <a:pt x="442" y="578"/>
                    </a:cubicBezTo>
                    <a:cubicBezTo>
                      <a:pt x="442" y="578"/>
                      <a:pt x="454" y="543"/>
                      <a:pt x="496" y="543"/>
                    </a:cubicBezTo>
                    <a:cubicBezTo>
                      <a:pt x="538" y="543"/>
                      <a:pt x="554" y="557"/>
                      <a:pt x="554" y="557"/>
                    </a:cubicBezTo>
                    <a:cubicBezTo>
                      <a:pt x="572" y="558"/>
                      <a:pt x="572" y="558"/>
                      <a:pt x="572" y="558"/>
                    </a:cubicBezTo>
                    <a:cubicBezTo>
                      <a:pt x="572" y="558"/>
                      <a:pt x="590" y="545"/>
                      <a:pt x="597" y="541"/>
                    </a:cubicBezTo>
                    <a:cubicBezTo>
                      <a:pt x="604" y="537"/>
                      <a:pt x="613" y="540"/>
                      <a:pt x="613" y="540"/>
                    </a:cubicBezTo>
                    <a:cubicBezTo>
                      <a:pt x="613" y="540"/>
                      <a:pt x="617" y="526"/>
                      <a:pt x="621" y="526"/>
                    </a:cubicBezTo>
                    <a:cubicBezTo>
                      <a:pt x="622" y="526"/>
                      <a:pt x="623" y="526"/>
                      <a:pt x="624" y="526"/>
                    </a:cubicBezTo>
                    <a:cubicBezTo>
                      <a:pt x="621" y="484"/>
                      <a:pt x="621" y="484"/>
                      <a:pt x="621" y="484"/>
                    </a:cubicBezTo>
                    <a:cubicBezTo>
                      <a:pt x="634" y="479"/>
                      <a:pt x="634" y="479"/>
                      <a:pt x="634" y="479"/>
                    </a:cubicBezTo>
                    <a:cubicBezTo>
                      <a:pt x="634" y="479"/>
                      <a:pt x="644" y="442"/>
                      <a:pt x="656" y="426"/>
                    </a:cubicBezTo>
                    <a:cubicBezTo>
                      <a:pt x="667" y="409"/>
                      <a:pt x="717" y="356"/>
                      <a:pt x="717" y="356"/>
                    </a:cubicBezTo>
                    <a:cubicBezTo>
                      <a:pt x="727" y="194"/>
                      <a:pt x="727" y="194"/>
                      <a:pt x="727" y="194"/>
                    </a:cubicBezTo>
                    <a:cubicBezTo>
                      <a:pt x="741" y="169"/>
                      <a:pt x="741" y="169"/>
                      <a:pt x="741" y="169"/>
                    </a:cubicBezTo>
                    <a:cubicBezTo>
                      <a:pt x="721" y="145"/>
                      <a:pt x="721" y="145"/>
                      <a:pt x="721" y="145"/>
                    </a:cubicBezTo>
                    <a:cubicBezTo>
                      <a:pt x="716" y="129"/>
                      <a:pt x="716" y="129"/>
                      <a:pt x="716" y="129"/>
                    </a:cubicBezTo>
                    <a:cubicBezTo>
                      <a:pt x="697" y="105"/>
                      <a:pt x="697" y="105"/>
                      <a:pt x="697" y="105"/>
                    </a:cubicBezTo>
                    <a:cubicBezTo>
                      <a:pt x="704" y="72"/>
                      <a:pt x="704" y="72"/>
                      <a:pt x="704" y="72"/>
                    </a:cubicBezTo>
                    <a:cubicBezTo>
                      <a:pt x="692" y="28"/>
                      <a:pt x="692" y="28"/>
                      <a:pt x="692" y="28"/>
                    </a:cubicBezTo>
                    <a:cubicBezTo>
                      <a:pt x="676" y="37"/>
                      <a:pt x="661" y="44"/>
                      <a:pt x="657" y="45"/>
                    </a:cubicBezTo>
                    <a:cubicBezTo>
                      <a:pt x="646" y="46"/>
                      <a:pt x="630" y="18"/>
                      <a:pt x="623" y="16"/>
                    </a:cubicBezTo>
                    <a:cubicBezTo>
                      <a:pt x="616" y="14"/>
                      <a:pt x="576" y="6"/>
                      <a:pt x="576" y="6"/>
                    </a:cubicBezTo>
                    <a:cubicBezTo>
                      <a:pt x="551" y="0"/>
                      <a:pt x="551" y="0"/>
                      <a:pt x="551" y="0"/>
                    </a:cubicBezTo>
                    <a:cubicBezTo>
                      <a:pt x="551" y="0"/>
                      <a:pt x="364" y="136"/>
                      <a:pt x="342" y="151"/>
                    </a:cubicBezTo>
                    <a:cubicBezTo>
                      <a:pt x="320" y="166"/>
                      <a:pt x="275" y="219"/>
                      <a:pt x="261" y="221"/>
                    </a:cubicBezTo>
                    <a:cubicBezTo>
                      <a:pt x="251" y="222"/>
                      <a:pt x="210" y="231"/>
                      <a:pt x="190" y="235"/>
                    </a:cubicBezTo>
                    <a:cubicBezTo>
                      <a:pt x="190" y="372"/>
                      <a:pt x="190" y="372"/>
                      <a:pt x="190" y="372"/>
                    </a:cubicBezTo>
                    <a:cubicBezTo>
                      <a:pt x="175" y="387"/>
                      <a:pt x="175" y="387"/>
                      <a:pt x="175" y="387"/>
                    </a:cubicBezTo>
                    <a:cubicBezTo>
                      <a:pt x="175" y="387"/>
                      <a:pt x="175" y="420"/>
                      <a:pt x="160" y="427"/>
                    </a:cubicBezTo>
                    <a:cubicBezTo>
                      <a:pt x="138" y="438"/>
                      <a:pt x="131" y="432"/>
                      <a:pt x="131" y="432"/>
                    </a:cubicBezTo>
                    <a:cubicBezTo>
                      <a:pt x="124" y="437"/>
                      <a:pt x="124" y="437"/>
                      <a:pt x="124" y="437"/>
                    </a:cubicBezTo>
                    <a:cubicBezTo>
                      <a:pt x="93" y="435"/>
                      <a:pt x="93" y="435"/>
                      <a:pt x="93" y="435"/>
                    </a:cubicBezTo>
                    <a:cubicBezTo>
                      <a:pt x="92" y="444"/>
                      <a:pt x="92" y="444"/>
                      <a:pt x="92" y="444"/>
                    </a:cubicBezTo>
                    <a:cubicBezTo>
                      <a:pt x="50" y="443"/>
                      <a:pt x="50" y="443"/>
                      <a:pt x="50" y="443"/>
                    </a:cubicBezTo>
                    <a:cubicBezTo>
                      <a:pt x="32" y="455"/>
                      <a:pt x="32" y="455"/>
                      <a:pt x="32" y="455"/>
                    </a:cubicBezTo>
                    <a:cubicBezTo>
                      <a:pt x="0" y="462"/>
                      <a:pt x="0" y="462"/>
                      <a:pt x="0" y="462"/>
                    </a:cubicBezTo>
                    <a:cubicBezTo>
                      <a:pt x="1" y="485"/>
                      <a:pt x="1" y="485"/>
                      <a:pt x="1" y="485"/>
                    </a:cubicBezTo>
                    <a:cubicBezTo>
                      <a:pt x="4" y="494"/>
                      <a:pt x="4" y="494"/>
                      <a:pt x="4" y="494"/>
                    </a:cubicBezTo>
                    <a:cubicBezTo>
                      <a:pt x="4" y="494"/>
                      <a:pt x="3" y="518"/>
                      <a:pt x="13" y="525"/>
                    </a:cubicBezTo>
                    <a:cubicBezTo>
                      <a:pt x="23" y="532"/>
                      <a:pt x="35" y="531"/>
                      <a:pt x="35" y="531"/>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37" name="Freeform 159">
                <a:extLst>
                  <a:ext uri="{FF2B5EF4-FFF2-40B4-BE49-F238E27FC236}">
                    <a16:creationId xmlns:a16="http://schemas.microsoft.com/office/drawing/2014/main" id="{7B2B7294-AE64-42AE-9E2B-5C2A79AE148E}"/>
                  </a:ext>
                </a:extLst>
              </p:cNvPr>
              <p:cNvSpPr>
                <a:spLocks/>
              </p:cNvSpPr>
              <p:nvPr>
                <p:custDataLst>
                  <p:tags r:id="rId118"/>
                </p:custDataLst>
              </p:nvPr>
            </p:nvSpPr>
            <p:spPr bwMode="gray">
              <a:xfrm>
                <a:off x="4233839" y="3276612"/>
                <a:ext cx="592134" cy="542927"/>
              </a:xfrm>
              <a:custGeom>
                <a:avLst/>
                <a:gdLst>
                  <a:gd name="T0" fmla="*/ 212 w 983"/>
                  <a:gd name="T1" fmla="*/ 357 h 981"/>
                  <a:gd name="T2" fmla="*/ 155 w 983"/>
                  <a:gd name="T3" fmla="*/ 390 h 981"/>
                  <a:gd name="T4" fmla="*/ 136 w 983"/>
                  <a:gd name="T5" fmla="*/ 399 h 981"/>
                  <a:gd name="T6" fmla="*/ 111 w 983"/>
                  <a:gd name="T7" fmla="*/ 404 h 981"/>
                  <a:gd name="T8" fmla="*/ 81 w 983"/>
                  <a:gd name="T9" fmla="*/ 417 h 981"/>
                  <a:gd name="T10" fmla="*/ 40 w 983"/>
                  <a:gd name="T11" fmla="*/ 454 h 981"/>
                  <a:gd name="T12" fmla="*/ 35 w 983"/>
                  <a:gd name="T13" fmla="*/ 511 h 981"/>
                  <a:gd name="T14" fmla="*/ 37 w 983"/>
                  <a:gd name="T15" fmla="*/ 513 h 981"/>
                  <a:gd name="T16" fmla="*/ 208 w 983"/>
                  <a:gd name="T17" fmla="*/ 656 h 981"/>
                  <a:gd name="T18" fmla="*/ 481 w 983"/>
                  <a:gd name="T19" fmla="*/ 882 h 981"/>
                  <a:gd name="T20" fmla="*/ 510 w 983"/>
                  <a:gd name="T21" fmla="*/ 904 h 981"/>
                  <a:gd name="T22" fmla="*/ 538 w 983"/>
                  <a:gd name="T23" fmla="*/ 923 h 981"/>
                  <a:gd name="T24" fmla="*/ 582 w 983"/>
                  <a:gd name="T25" fmla="*/ 953 h 981"/>
                  <a:gd name="T26" fmla="*/ 610 w 983"/>
                  <a:gd name="T27" fmla="*/ 973 h 981"/>
                  <a:gd name="T28" fmla="*/ 774 w 983"/>
                  <a:gd name="T29" fmla="*/ 886 h 981"/>
                  <a:gd name="T30" fmla="*/ 963 w 983"/>
                  <a:gd name="T31" fmla="*/ 691 h 981"/>
                  <a:gd name="T32" fmla="*/ 909 w 983"/>
                  <a:gd name="T33" fmla="*/ 684 h 981"/>
                  <a:gd name="T34" fmla="*/ 893 w 983"/>
                  <a:gd name="T35" fmla="*/ 639 h 981"/>
                  <a:gd name="T36" fmla="*/ 889 w 983"/>
                  <a:gd name="T37" fmla="*/ 569 h 981"/>
                  <a:gd name="T38" fmla="*/ 880 w 983"/>
                  <a:gd name="T39" fmla="*/ 515 h 981"/>
                  <a:gd name="T40" fmla="*/ 883 w 983"/>
                  <a:gd name="T41" fmla="*/ 488 h 981"/>
                  <a:gd name="T42" fmla="*/ 862 w 983"/>
                  <a:gd name="T43" fmla="*/ 381 h 981"/>
                  <a:gd name="T44" fmla="*/ 870 w 983"/>
                  <a:gd name="T45" fmla="*/ 373 h 981"/>
                  <a:gd name="T46" fmla="*/ 817 w 983"/>
                  <a:gd name="T47" fmla="*/ 252 h 981"/>
                  <a:gd name="T48" fmla="*/ 789 w 983"/>
                  <a:gd name="T49" fmla="*/ 213 h 981"/>
                  <a:gd name="T50" fmla="*/ 782 w 983"/>
                  <a:gd name="T51" fmla="*/ 194 h 981"/>
                  <a:gd name="T52" fmla="*/ 798 w 983"/>
                  <a:gd name="T53" fmla="*/ 148 h 981"/>
                  <a:gd name="T54" fmla="*/ 820 w 983"/>
                  <a:gd name="T55" fmla="*/ 105 h 981"/>
                  <a:gd name="T56" fmla="*/ 820 w 983"/>
                  <a:gd name="T57" fmla="*/ 38 h 981"/>
                  <a:gd name="T58" fmla="*/ 835 w 983"/>
                  <a:gd name="T59" fmla="*/ 21 h 981"/>
                  <a:gd name="T60" fmla="*/ 815 w 983"/>
                  <a:gd name="T61" fmla="*/ 10 h 981"/>
                  <a:gd name="T62" fmla="*/ 779 w 983"/>
                  <a:gd name="T63" fmla="*/ 3 h 981"/>
                  <a:gd name="T64" fmla="*/ 769 w 983"/>
                  <a:gd name="T65" fmla="*/ 14 h 981"/>
                  <a:gd name="T66" fmla="*/ 728 w 983"/>
                  <a:gd name="T67" fmla="*/ 0 h 981"/>
                  <a:gd name="T68" fmla="*/ 704 w 983"/>
                  <a:gd name="T69" fmla="*/ 14 h 981"/>
                  <a:gd name="T70" fmla="*/ 631 w 983"/>
                  <a:gd name="T71" fmla="*/ 18 h 981"/>
                  <a:gd name="T72" fmla="*/ 545 w 983"/>
                  <a:gd name="T73" fmla="*/ 27 h 981"/>
                  <a:gd name="T74" fmla="*/ 503 w 983"/>
                  <a:gd name="T75" fmla="*/ 33 h 981"/>
                  <a:gd name="T76" fmla="*/ 446 w 983"/>
                  <a:gd name="T77" fmla="*/ 72 h 981"/>
                  <a:gd name="T78" fmla="*/ 355 w 983"/>
                  <a:gd name="T79" fmla="*/ 113 h 981"/>
                  <a:gd name="T80" fmla="*/ 349 w 983"/>
                  <a:gd name="T81" fmla="*/ 112 h 981"/>
                  <a:gd name="T82" fmla="*/ 360 w 983"/>
                  <a:gd name="T83" fmla="*/ 141 h 981"/>
                  <a:gd name="T84" fmla="*/ 365 w 983"/>
                  <a:gd name="T85" fmla="*/ 186 h 981"/>
                  <a:gd name="T86" fmla="*/ 364 w 983"/>
                  <a:gd name="T87" fmla="*/ 218 h 981"/>
                  <a:gd name="T88" fmla="*/ 375 w 983"/>
                  <a:gd name="T89" fmla="*/ 238 h 981"/>
                  <a:gd name="T90" fmla="*/ 382 w 983"/>
                  <a:gd name="T91" fmla="*/ 259 h 981"/>
                  <a:gd name="T92" fmla="*/ 343 w 983"/>
                  <a:gd name="T93" fmla="*/ 274 h 981"/>
                  <a:gd name="T94" fmla="*/ 321 w 983"/>
                  <a:gd name="T95" fmla="*/ 275 h 981"/>
                  <a:gd name="T96" fmla="*/ 303 w 983"/>
                  <a:gd name="T97" fmla="*/ 288 h 981"/>
                  <a:gd name="T98" fmla="*/ 267 w 983"/>
                  <a:gd name="T99" fmla="*/ 318 h 981"/>
                  <a:gd name="T100" fmla="*/ 260 w 983"/>
                  <a:gd name="T101" fmla="*/ 337 h 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83" h="981">
                    <a:moveTo>
                      <a:pt x="242" y="356"/>
                    </a:moveTo>
                    <a:cubicBezTo>
                      <a:pt x="236" y="356"/>
                      <a:pt x="212" y="357"/>
                      <a:pt x="212" y="357"/>
                    </a:cubicBezTo>
                    <a:cubicBezTo>
                      <a:pt x="212" y="357"/>
                      <a:pt x="197" y="388"/>
                      <a:pt x="189" y="391"/>
                    </a:cubicBezTo>
                    <a:cubicBezTo>
                      <a:pt x="181" y="394"/>
                      <a:pt x="155" y="390"/>
                      <a:pt x="155" y="390"/>
                    </a:cubicBezTo>
                    <a:cubicBezTo>
                      <a:pt x="154" y="398"/>
                      <a:pt x="154" y="398"/>
                      <a:pt x="154" y="398"/>
                    </a:cubicBezTo>
                    <a:cubicBezTo>
                      <a:pt x="136" y="399"/>
                      <a:pt x="136" y="399"/>
                      <a:pt x="136" y="399"/>
                    </a:cubicBezTo>
                    <a:cubicBezTo>
                      <a:pt x="136" y="399"/>
                      <a:pt x="136" y="411"/>
                      <a:pt x="130" y="412"/>
                    </a:cubicBezTo>
                    <a:cubicBezTo>
                      <a:pt x="124" y="413"/>
                      <a:pt x="111" y="404"/>
                      <a:pt x="111" y="404"/>
                    </a:cubicBezTo>
                    <a:cubicBezTo>
                      <a:pt x="93" y="418"/>
                      <a:pt x="93" y="418"/>
                      <a:pt x="93" y="418"/>
                    </a:cubicBezTo>
                    <a:cubicBezTo>
                      <a:pt x="81" y="417"/>
                      <a:pt x="81" y="417"/>
                      <a:pt x="81" y="417"/>
                    </a:cubicBezTo>
                    <a:cubicBezTo>
                      <a:pt x="81" y="417"/>
                      <a:pt x="67" y="437"/>
                      <a:pt x="60" y="442"/>
                    </a:cubicBezTo>
                    <a:cubicBezTo>
                      <a:pt x="53" y="447"/>
                      <a:pt x="40" y="454"/>
                      <a:pt x="40" y="454"/>
                    </a:cubicBezTo>
                    <a:cubicBezTo>
                      <a:pt x="37" y="472"/>
                      <a:pt x="37" y="472"/>
                      <a:pt x="37" y="472"/>
                    </a:cubicBezTo>
                    <a:cubicBezTo>
                      <a:pt x="35" y="511"/>
                      <a:pt x="35" y="511"/>
                      <a:pt x="35" y="511"/>
                    </a:cubicBezTo>
                    <a:cubicBezTo>
                      <a:pt x="0" y="511"/>
                      <a:pt x="0" y="511"/>
                      <a:pt x="0" y="511"/>
                    </a:cubicBezTo>
                    <a:cubicBezTo>
                      <a:pt x="37" y="513"/>
                      <a:pt x="37" y="513"/>
                      <a:pt x="37" y="513"/>
                    </a:cubicBezTo>
                    <a:cubicBezTo>
                      <a:pt x="35" y="535"/>
                      <a:pt x="35" y="535"/>
                      <a:pt x="35" y="535"/>
                    </a:cubicBezTo>
                    <a:cubicBezTo>
                      <a:pt x="208" y="656"/>
                      <a:pt x="208" y="656"/>
                      <a:pt x="208" y="656"/>
                    </a:cubicBezTo>
                    <a:cubicBezTo>
                      <a:pt x="482" y="865"/>
                      <a:pt x="482" y="865"/>
                      <a:pt x="482" y="865"/>
                    </a:cubicBezTo>
                    <a:cubicBezTo>
                      <a:pt x="481" y="882"/>
                      <a:pt x="481" y="882"/>
                      <a:pt x="481" y="882"/>
                    </a:cubicBezTo>
                    <a:cubicBezTo>
                      <a:pt x="481" y="882"/>
                      <a:pt x="498" y="878"/>
                      <a:pt x="500" y="886"/>
                    </a:cubicBezTo>
                    <a:cubicBezTo>
                      <a:pt x="502" y="894"/>
                      <a:pt x="500" y="901"/>
                      <a:pt x="510" y="904"/>
                    </a:cubicBezTo>
                    <a:cubicBezTo>
                      <a:pt x="520" y="907"/>
                      <a:pt x="533" y="905"/>
                      <a:pt x="533" y="905"/>
                    </a:cubicBezTo>
                    <a:cubicBezTo>
                      <a:pt x="538" y="923"/>
                      <a:pt x="538" y="923"/>
                      <a:pt x="538" y="923"/>
                    </a:cubicBezTo>
                    <a:cubicBezTo>
                      <a:pt x="538" y="923"/>
                      <a:pt x="561" y="917"/>
                      <a:pt x="571" y="925"/>
                    </a:cubicBezTo>
                    <a:cubicBezTo>
                      <a:pt x="581" y="933"/>
                      <a:pt x="582" y="953"/>
                      <a:pt x="582" y="953"/>
                    </a:cubicBezTo>
                    <a:cubicBezTo>
                      <a:pt x="582" y="953"/>
                      <a:pt x="558" y="967"/>
                      <a:pt x="573" y="974"/>
                    </a:cubicBezTo>
                    <a:cubicBezTo>
                      <a:pt x="588" y="981"/>
                      <a:pt x="610" y="973"/>
                      <a:pt x="610" y="973"/>
                    </a:cubicBezTo>
                    <a:cubicBezTo>
                      <a:pt x="610" y="973"/>
                      <a:pt x="679" y="958"/>
                      <a:pt x="693" y="956"/>
                    </a:cubicBezTo>
                    <a:cubicBezTo>
                      <a:pt x="707" y="954"/>
                      <a:pt x="752" y="901"/>
                      <a:pt x="774" y="886"/>
                    </a:cubicBezTo>
                    <a:cubicBezTo>
                      <a:pt x="796" y="871"/>
                      <a:pt x="983" y="735"/>
                      <a:pt x="983" y="735"/>
                    </a:cubicBezTo>
                    <a:cubicBezTo>
                      <a:pt x="983" y="735"/>
                      <a:pt x="968" y="694"/>
                      <a:pt x="963" y="691"/>
                    </a:cubicBezTo>
                    <a:cubicBezTo>
                      <a:pt x="958" y="688"/>
                      <a:pt x="930" y="675"/>
                      <a:pt x="924" y="678"/>
                    </a:cubicBezTo>
                    <a:cubicBezTo>
                      <a:pt x="918" y="681"/>
                      <a:pt x="913" y="686"/>
                      <a:pt x="909" y="684"/>
                    </a:cubicBezTo>
                    <a:cubicBezTo>
                      <a:pt x="905" y="682"/>
                      <a:pt x="893" y="671"/>
                      <a:pt x="893" y="664"/>
                    </a:cubicBezTo>
                    <a:cubicBezTo>
                      <a:pt x="893" y="657"/>
                      <a:pt x="898" y="647"/>
                      <a:pt x="893" y="639"/>
                    </a:cubicBezTo>
                    <a:cubicBezTo>
                      <a:pt x="888" y="631"/>
                      <a:pt x="861" y="595"/>
                      <a:pt x="862" y="589"/>
                    </a:cubicBezTo>
                    <a:cubicBezTo>
                      <a:pt x="863" y="583"/>
                      <a:pt x="889" y="581"/>
                      <a:pt x="889" y="569"/>
                    </a:cubicBezTo>
                    <a:cubicBezTo>
                      <a:pt x="889" y="557"/>
                      <a:pt x="885" y="551"/>
                      <a:pt x="885" y="551"/>
                    </a:cubicBezTo>
                    <a:cubicBezTo>
                      <a:pt x="880" y="515"/>
                      <a:pt x="880" y="515"/>
                      <a:pt x="880" y="515"/>
                    </a:cubicBezTo>
                    <a:cubicBezTo>
                      <a:pt x="889" y="502"/>
                      <a:pt x="889" y="502"/>
                      <a:pt x="889" y="502"/>
                    </a:cubicBezTo>
                    <a:cubicBezTo>
                      <a:pt x="883" y="488"/>
                      <a:pt x="883" y="488"/>
                      <a:pt x="883" y="488"/>
                    </a:cubicBezTo>
                    <a:cubicBezTo>
                      <a:pt x="883" y="488"/>
                      <a:pt x="892" y="458"/>
                      <a:pt x="891" y="448"/>
                    </a:cubicBezTo>
                    <a:cubicBezTo>
                      <a:pt x="890" y="438"/>
                      <a:pt x="863" y="387"/>
                      <a:pt x="862" y="381"/>
                    </a:cubicBezTo>
                    <a:cubicBezTo>
                      <a:pt x="862" y="378"/>
                      <a:pt x="866" y="376"/>
                      <a:pt x="870" y="373"/>
                    </a:cubicBezTo>
                    <a:cubicBezTo>
                      <a:pt x="870" y="373"/>
                      <a:pt x="870" y="373"/>
                      <a:pt x="870" y="373"/>
                    </a:cubicBezTo>
                    <a:cubicBezTo>
                      <a:pt x="864" y="350"/>
                      <a:pt x="849" y="288"/>
                      <a:pt x="849" y="277"/>
                    </a:cubicBezTo>
                    <a:cubicBezTo>
                      <a:pt x="849" y="264"/>
                      <a:pt x="817" y="252"/>
                      <a:pt x="817" y="252"/>
                    </a:cubicBezTo>
                    <a:cubicBezTo>
                      <a:pt x="817" y="252"/>
                      <a:pt x="817" y="234"/>
                      <a:pt x="816" y="226"/>
                    </a:cubicBezTo>
                    <a:cubicBezTo>
                      <a:pt x="815" y="218"/>
                      <a:pt x="789" y="213"/>
                      <a:pt x="789" y="213"/>
                    </a:cubicBezTo>
                    <a:cubicBezTo>
                      <a:pt x="789" y="194"/>
                      <a:pt x="789" y="194"/>
                      <a:pt x="789" y="194"/>
                    </a:cubicBezTo>
                    <a:cubicBezTo>
                      <a:pt x="782" y="194"/>
                      <a:pt x="782" y="194"/>
                      <a:pt x="782" y="194"/>
                    </a:cubicBezTo>
                    <a:cubicBezTo>
                      <a:pt x="782" y="194"/>
                      <a:pt x="782" y="181"/>
                      <a:pt x="782" y="171"/>
                    </a:cubicBezTo>
                    <a:cubicBezTo>
                      <a:pt x="782" y="161"/>
                      <a:pt x="798" y="148"/>
                      <a:pt x="798" y="148"/>
                    </a:cubicBezTo>
                    <a:cubicBezTo>
                      <a:pt x="812" y="137"/>
                      <a:pt x="812" y="137"/>
                      <a:pt x="812" y="137"/>
                    </a:cubicBezTo>
                    <a:cubicBezTo>
                      <a:pt x="812" y="137"/>
                      <a:pt x="819" y="115"/>
                      <a:pt x="820" y="105"/>
                    </a:cubicBezTo>
                    <a:cubicBezTo>
                      <a:pt x="821" y="95"/>
                      <a:pt x="819" y="83"/>
                      <a:pt x="815" y="76"/>
                    </a:cubicBezTo>
                    <a:cubicBezTo>
                      <a:pt x="811" y="69"/>
                      <a:pt x="820" y="38"/>
                      <a:pt x="820" y="38"/>
                    </a:cubicBezTo>
                    <a:cubicBezTo>
                      <a:pt x="807" y="34"/>
                      <a:pt x="807" y="34"/>
                      <a:pt x="807" y="34"/>
                    </a:cubicBezTo>
                    <a:cubicBezTo>
                      <a:pt x="835" y="21"/>
                      <a:pt x="835" y="21"/>
                      <a:pt x="835" y="21"/>
                    </a:cubicBezTo>
                    <a:cubicBezTo>
                      <a:pt x="835" y="11"/>
                      <a:pt x="835" y="11"/>
                      <a:pt x="835" y="11"/>
                    </a:cubicBezTo>
                    <a:cubicBezTo>
                      <a:pt x="826" y="11"/>
                      <a:pt x="815" y="10"/>
                      <a:pt x="815" y="10"/>
                    </a:cubicBezTo>
                    <a:cubicBezTo>
                      <a:pt x="806" y="15"/>
                      <a:pt x="806" y="15"/>
                      <a:pt x="806" y="15"/>
                    </a:cubicBezTo>
                    <a:cubicBezTo>
                      <a:pt x="779" y="3"/>
                      <a:pt x="779" y="3"/>
                      <a:pt x="779" y="3"/>
                    </a:cubicBezTo>
                    <a:cubicBezTo>
                      <a:pt x="769" y="5"/>
                      <a:pt x="769" y="5"/>
                      <a:pt x="769" y="5"/>
                    </a:cubicBezTo>
                    <a:cubicBezTo>
                      <a:pt x="769" y="14"/>
                      <a:pt x="769" y="14"/>
                      <a:pt x="769" y="14"/>
                    </a:cubicBezTo>
                    <a:cubicBezTo>
                      <a:pt x="744" y="12"/>
                      <a:pt x="744" y="12"/>
                      <a:pt x="744" y="12"/>
                    </a:cubicBezTo>
                    <a:cubicBezTo>
                      <a:pt x="728" y="0"/>
                      <a:pt x="728" y="0"/>
                      <a:pt x="728" y="0"/>
                    </a:cubicBezTo>
                    <a:cubicBezTo>
                      <a:pt x="724" y="19"/>
                      <a:pt x="724" y="19"/>
                      <a:pt x="724" y="19"/>
                    </a:cubicBezTo>
                    <a:cubicBezTo>
                      <a:pt x="704" y="14"/>
                      <a:pt x="704" y="14"/>
                      <a:pt x="704" y="14"/>
                    </a:cubicBezTo>
                    <a:cubicBezTo>
                      <a:pt x="686" y="29"/>
                      <a:pt x="686" y="29"/>
                      <a:pt x="686" y="29"/>
                    </a:cubicBezTo>
                    <a:cubicBezTo>
                      <a:pt x="686" y="29"/>
                      <a:pt x="662" y="17"/>
                      <a:pt x="631" y="18"/>
                    </a:cubicBezTo>
                    <a:cubicBezTo>
                      <a:pt x="600" y="19"/>
                      <a:pt x="599" y="26"/>
                      <a:pt x="585" y="27"/>
                    </a:cubicBezTo>
                    <a:cubicBezTo>
                      <a:pt x="571" y="28"/>
                      <a:pt x="545" y="27"/>
                      <a:pt x="545" y="27"/>
                    </a:cubicBezTo>
                    <a:cubicBezTo>
                      <a:pt x="542" y="34"/>
                      <a:pt x="542" y="34"/>
                      <a:pt x="542" y="34"/>
                    </a:cubicBezTo>
                    <a:cubicBezTo>
                      <a:pt x="503" y="33"/>
                      <a:pt x="503" y="33"/>
                      <a:pt x="503" y="33"/>
                    </a:cubicBezTo>
                    <a:cubicBezTo>
                      <a:pt x="503" y="33"/>
                      <a:pt x="456" y="43"/>
                      <a:pt x="455" y="51"/>
                    </a:cubicBezTo>
                    <a:cubicBezTo>
                      <a:pt x="454" y="59"/>
                      <a:pt x="446" y="72"/>
                      <a:pt x="446" y="72"/>
                    </a:cubicBezTo>
                    <a:cubicBezTo>
                      <a:pt x="446" y="72"/>
                      <a:pt x="396" y="74"/>
                      <a:pt x="394" y="83"/>
                    </a:cubicBezTo>
                    <a:cubicBezTo>
                      <a:pt x="392" y="92"/>
                      <a:pt x="370" y="113"/>
                      <a:pt x="355" y="113"/>
                    </a:cubicBezTo>
                    <a:cubicBezTo>
                      <a:pt x="353" y="113"/>
                      <a:pt x="351" y="113"/>
                      <a:pt x="349" y="112"/>
                    </a:cubicBezTo>
                    <a:cubicBezTo>
                      <a:pt x="349" y="112"/>
                      <a:pt x="349" y="112"/>
                      <a:pt x="349" y="112"/>
                    </a:cubicBezTo>
                    <a:cubicBezTo>
                      <a:pt x="350" y="116"/>
                      <a:pt x="354" y="125"/>
                      <a:pt x="364" y="129"/>
                    </a:cubicBezTo>
                    <a:cubicBezTo>
                      <a:pt x="364" y="130"/>
                      <a:pt x="360" y="141"/>
                      <a:pt x="360" y="141"/>
                    </a:cubicBezTo>
                    <a:cubicBezTo>
                      <a:pt x="368" y="141"/>
                      <a:pt x="368" y="141"/>
                      <a:pt x="368" y="141"/>
                    </a:cubicBezTo>
                    <a:cubicBezTo>
                      <a:pt x="365" y="186"/>
                      <a:pt x="365" y="186"/>
                      <a:pt x="365" y="186"/>
                    </a:cubicBezTo>
                    <a:cubicBezTo>
                      <a:pt x="371" y="197"/>
                      <a:pt x="371" y="197"/>
                      <a:pt x="371" y="197"/>
                    </a:cubicBezTo>
                    <a:cubicBezTo>
                      <a:pt x="364" y="218"/>
                      <a:pt x="364" y="218"/>
                      <a:pt x="364" y="218"/>
                    </a:cubicBezTo>
                    <a:cubicBezTo>
                      <a:pt x="378" y="218"/>
                      <a:pt x="378" y="218"/>
                      <a:pt x="378" y="218"/>
                    </a:cubicBezTo>
                    <a:cubicBezTo>
                      <a:pt x="375" y="238"/>
                      <a:pt x="375" y="238"/>
                      <a:pt x="375" y="238"/>
                    </a:cubicBezTo>
                    <a:cubicBezTo>
                      <a:pt x="393" y="250"/>
                      <a:pt x="393" y="250"/>
                      <a:pt x="393" y="250"/>
                    </a:cubicBezTo>
                    <a:cubicBezTo>
                      <a:pt x="393" y="250"/>
                      <a:pt x="384" y="256"/>
                      <a:pt x="382" y="259"/>
                    </a:cubicBezTo>
                    <a:cubicBezTo>
                      <a:pt x="380" y="262"/>
                      <a:pt x="381" y="269"/>
                      <a:pt x="381" y="269"/>
                    </a:cubicBezTo>
                    <a:cubicBezTo>
                      <a:pt x="343" y="274"/>
                      <a:pt x="343" y="274"/>
                      <a:pt x="343" y="274"/>
                    </a:cubicBezTo>
                    <a:cubicBezTo>
                      <a:pt x="343" y="274"/>
                      <a:pt x="333" y="268"/>
                      <a:pt x="329" y="268"/>
                    </a:cubicBezTo>
                    <a:cubicBezTo>
                      <a:pt x="325" y="268"/>
                      <a:pt x="321" y="275"/>
                      <a:pt x="321" y="275"/>
                    </a:cubicBezTo>
                    <a:cubicBezTo>
                      <a:pt x="321" y="275"/>
                      <a:pt x="313" y="270"/>
                      <a:pt x="308" y="273"/>
                    </a:cubicBezTo>
                    <a:cubicBezTo>
                      <a:pt x="303" y="276"/>
                      <a:pt x="310" y="283"/>
                      <a:pt x="303" y="288"/>
                    </a:cubicBezTo>
                    <a:cubicBezTo>
                      <a:pt x="296" y="293"/>
                      <a:pt x="274" y="287"/>
                      <a:pt x="266" y="294"/>
                    </a:cubicBezTo>
                    <a:cubicBezTo>
                      <a:pt x="258" y="301"/>
                      <a:pt x="267" y="318"/>
                      <a:pt x="267" y="318"/>
                    </a:cubicBezTo>
                    <a:cubicBezTo>
                      <a:pt x="277" y="330"/>
                      <a:pt x="277" y="330"/>
                      <a:pt x="277" y="330"/>
                    </a:cubicBezTo>
                    <a:cubicBezTo>
                      <a:pt x="260" y="337"/>
                      <a:pt x="260" y="337"/>
                      <a:pt x="260" y="337"/>
                    </a:cubicBezTo>
                    <a:cubicBezTo>
                      <a:pt x="260" y="337"/>
                      <a:pt x="248" y="356"/>
                      <a:pt x="242" y="356"/>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38" name="Freeform 160">
                <a:extLst>
                  <a:ext uri="{FF2B5EF4-FFF2-40B4-BE49-F238E27FC236}">
                    <a16:creationId xmlns:a16="http://schemas.microsoft.com/office/drawing/2014/main" id="{A5359AB9-F2F6-4EE1-B07A-EA27B47E4780}"/>
                  </a:ext>
                </a:extLst>
              </p:cNvPr>
              <p:cNvSpPr>
                <a:spLocks/>
              </p:cNvSpPr>
              <p:nvPr>
                <p:custDataLst>
                  <p:tags r:id="rId119"/>
                </p:custDataLst>
              </p:nvPr>
            </p:nvSpPr>
            <p:spPr bwMode="gray">
              <a:xfrm>
                <a:off x="4751361" y="3394087"/>
                <a:ext cx="439734" cy="407990"/>
              </a:xfrm>
              <a:custGeom>
                <a:avLst/>
                <a:gdLst>
                  <a:gd name="T0" fmla="*/ 104 w 731"/>
                  <a:gd name="T1" fmla="*/ 37 h 737"/>
                  <a:gd name="T2" fmla="*/ 69 w 731"/>
                  <a:gd name="T3" fmla="*/ 55 h 737"/>
                  <a:gd name="T4" fmla="*/ 50 w 731"/>
                  <a:gd name="T5" fmla="*/ 78 h 737"/>
                  <a:gd name="T6" fmla="*/ 35 w 731"/>
                  <a:gd name="T7" fmla="*/ 89 h 737"/>
                  <a:gd name="T8" fmla="*/ 44 w 731"/>
                  <a:gd name="T9" fmla="*/ 127 h 737"/>
                  <a:gd name="T10" fmla="*/ 25 w 731"/>
                  <a:gd name="T11" fmla="*/ 153 h 737"/>
                  <a:gd name="T12" fmla="*/ 1 w 731"/>
                  <a:gd name="T13" fmla="*/ 167 h 737"/>
                  <a:gd name="T14" fmla="*/ 30 w 731"/>
                  <a:gd name="T15" fmla="*/ 234 h 737"/>
                  <a:gd name="T16" fmla="*/ 22 w 731"/>
                  <a:gd name="T17" fmla="*/ 274 h 737"/>
                  <a:gd name="T18" fmla="*/ 28 w 731"/>
                  <a:gd name="T19" fmla="*/ 288 h 737"/>
                  <a:gd name="T20" fmla="*/ 19 w 731"/>
                  <a:gd name="T21" fmla="*/ 301 h 737"/>
                  <a:gd name="T22" fmla="*/ 24 w 731"/>
                  <a:gd name="T23" fmla="*/ 337 h 737"/>
                  <a:gd name="T24" fmla="*/ 28 w 731"/>
                  <a:gd name="T25" fmla="*/ 355 h 737"/>
                  <a:gd name="T26" fmla="*/ 1 w 731"/>
                  <a:gd name="T27" fmla="*/ 375 h 737"/>
                  <a:gd name="T28" fmla="*/ 32 w 731"/>
                  <a:gd name="T29" fmla="*/ 425 h 737"/>
                  <a:gd name="T30" fmla="*/ 32 w 731"/>
                  <a:gd name="T31" fmla="*/ 450 h 737"/>
                  <a:gd name="T32" fmla="*/ 48 w 731"/>
                  <a:gd name="T33" fmla="*/ 470 h 737"/>
                  <a:gd name="T34" fmla="*/ 63 w 731"/>
                  <a:gd name="T35" fmla="*/ 464 h 737"/>
                  <a:gd name="T36" fmla="*/ 102 w 731"/>
                  <a:gd name="T37" fmla="*/ 477 h 737"/>
                  <a:gd name="T38" fmla="*/ 122 w 731"/>
                  <a:gd name="T39" fmla="*/ 521 h 737"/>
                  <a:gd name="T40" fmla="*/ 147 w 731"/>
                  <a:gd name="T41" fmla="*/ 527 h 737"/>
                  <a:gd name="T42" fmla="*/ 194 w 731"/>
                  <a:gd name="T43" fmla="*/ 537 h 737"/>
                  <a:gd name="T44" fmla="*/ 228 w 731"/>
                  <a:gd name="T45" fmla="*/ 566 h 737"/>
                  <a:gd name="T46" fmla="*/ 311 w 731"/>
                  <a:gd name="T47" fmla="*/ 521 h 737"/>
                  <a:gd name="T48" fmla="*/ 684 w 731"/>
                  <a:gd name="T49" fmla="*/ 737 h 737"/>
                  <a:gd name="T50" fmla="*/ 683 w 731"/>
                  <a:gd name="T51" fmla="*/ 708 h 737"/>
                  <a:gd name="T52" fmla="*/ 731 w 731"/>
                  <a:gd name="T53" fmla="*/ 707 h 737"/>
                  <a:gd name="T54" fmla="*/ 730 w 731"/>
                  <a:gd name="T55" fmla="*/ 599 h 737"/>
                  <a:gd name="T56" fmla="*/ 717 w 731"/>
                  <a:gd name="T57" fmla="*/ 201 h 737"/>
                  <a:gd name="T58" fmla="*/ 699 w 731"/>
                  <a:gd name="T59" fmla="*/ 163 h 737"/>
                  <a:gd name="T60" fmla="*/ 713 w 731"/>
                  <a:gd name="T61" fmla="*/ 135 h 737"/>
                  <a:gd name="T62" fmla="*/ 703 w 731"/>
                  <a:gd name="T63" fmla="*/ 115 h 737"/>
                  <a:gd name="T64" fmla="*/ 707 w 731"/>
                  <a:gd name="T65" fmla="*/ 94 h 737"/>
                  <a:gd name="T66" fmla="*/ 720 w 731"/>
                  <a:gd name="T67" fmla="*/ 81 h 737"/>
                  <a:gd name="T68" fmla="*/ 716 w 731"/>
                  <a:gd name="T69" fmla="*/ 63 h 737"/>
                  <a:gd name="T70" fmla="*/ 701 w 731"/>
                  <a:gd name="T71" fmla="*/ 68 h 737"/>
                  <a:gd name="T72" fmla="*/ 694 w 731"/>
                  <a:gd name="T73" fmla="*/ 59 h 737"/>
                  <a:gd name="T74" fmla="*/ 682 w 731"/>
                  <a:gd name="T75" fmla="*/ 67 h 737"/>
                  <a:gd name="T76" fmla="*/ 658 w 731"/>
                  <a:gd name="T77" fmla="*/ 50 h 737"/>
                  <a:gd name="T78" fmla="*/ 628 w 731"/>
                  <a:gd name="T79" fmla="*/ 49 h 737"/>
                  <a:gd name="T80" fmla="*/ 617 w 731"/>
                  <a:gd name="T81" fmla="*/ 28 h 737"/>
                  <a:gd name="T82" fmla="*/ 590 w 731"/>
                  <a:gd name="T83" fmla="*/ 23 h 737"/>
                  <a:gd name="T84" fmla="*/ 561 w 731"/>
                  <a:gd name="T85" fmla="*/ 15 h 737"/>
                  <a:gd name="T86" fmla="*/ 553 w 731"/>
                  <a:gd name="T87" fmla="*/ 23 h 737"/>
                  <a:gd name="T88" fmla="*/ 510 w 731"/>
                  <a:gd name="T89" fmla="*/ 31 h 737"/>
                  <a:gd name="T90" fmla="*/ 480 w 731"/>
                  <a:gd name="T91" fmla="*/ 70 h 737"/>
                  <a:gd name="T92" fmla="*/ 496 w 731"/>
                  <a:gd name="T93" fmla="*/ 114 h 737"/>
                  <a:gd name="T94" fmla="*/ 463 w 731"/>
                  <a:gd name="T95" fmla="*/ 154 h 737"/>
                  <a:gd name="T96" fmla="*/ 419 w 731"/>
                  <a:gd name="T97" fmla="*/ 144 h 737"/>
                  <a:gd name="T98" fmla="*/ 351 w 731"/>
                  <a:gd name="T99" fmla="*/ 105 h 737"/>
                  <a:gd name="T100" fmla="*/ 289 w 731"/>
                  <a:gd name="T101" fmla="*/ 97 h 737"/>
                  <a:gd name="T102" fmla="*/ 271 w 731"/>
                  <a:gd name="T103" fmla="*/ 53 h 737"/>
                  <a:gd name="T104" fmla="*/ 244 w 731"/>
                  <a:gd name="T105" fmla="*/ 40 h 737"/>
                  <a:gd name="T106" fmla="*/ 212 w 731"/>
                  <a:gd name="T107" fmla="*/ 21 h 737"/>
                  <a:gd name="T108" fmla="*/ 173 w 731"/>
                  <a:gd name="T109" fmla="*/ 20 h 737"/>
                  <a:gd name="T110" fmla="*/ 143 w 731"/>
                  <a:gd name="T111" fmla="*/ 24 h 737"/>
                  <a:gd name="T112" fmla="*/ 107 w 731"/>
                  <a:gd name="T113" fmla="*/ 3 h 737"/>
                  <a:gd name="T114" fmla="*/ 96 w 731"/>
                  <a:gd name="T115" fmla="*/ 0 h 737"/>
                  <a:gd name="T116" fmla="*/ 93 w 731"/>
                  <a:gd name="T117" fmla="*/ 27 h 737"/>
                  <a:gd name="T118" fmla="*/ 104 w 731"/>
                  <a:gd name="T119" fmla="*/ 37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31" h="737">
                    <a:moveTo>
                      <a:pt x="104" y="37"/>
                    </a:moveTo>
                    <a:cubicBezTo>
                      <a:pt x="100" y="45"/>
                      <a:pt x="75" y="49"/>
                      <a:pt x="69" y="55"/>
                    </a:cubicBezTo>
                    <a:cubicBezTo>
                      <a:pt x="63" y="61"/>
                      <a:pt x="50" y="78"/>
                      <a:pt x="50" y="78"/>
                    </a:cubicBezTo>
                    <a:cubicBezTo>
                      <a:pt x="50" y="78"/>
                      <a:pt x="37" y="83"/>
                      <a:pt x="35" y="89"/>
                    </a:cubicBezTo>
                    <a:cubicBezTo>
                      <a:pt x="33" y="95"/>
                      <a:pt x="43" y="115"/>
                      <a:pt x="44" y="127"/>
                    </a:cubicBezTo>
                    <a:cubicBezTo>
                      <a:pt x="45" y="139"/>
                      <a:pt x="25" y="153"/>
                      <a:pt x="25" y="153"/>
                    </a:cubicBezTo>
                    <a:cubicBezTo>
                      <a:pt x="25" y="153"/>
                      <a:pt x="0" y="161"/>
                      <a:pt x="1" y="167"/>
                    </a:cubicBezTo>
                    <a:cubicBezTo>
                      <a:pt x="2" y="173"/>
                      <a:pt x="29" y="224"/>
                      <a:pt x="30" y="234"/>
                    </a:cubicBezTo>
                    <a:cubicBezTo>
                      <a:pt x="31" y="244"/>
                      <a:pt x="22" y="274"/>
                      <a:pt x="22" y="274"/>
                    </a:cubicBezTo>
                    <a:cubicBezTo>
                      <a:pt x="28" y="288"/>
                      <a:pt x="28" y="288"/>
                      <a:pt x="28" y="288"/>
                    </a:cubicBezTo>
                    <a:cubicBezTo>
                      <a:pt x="19" y="301"/>
                      <a:pt x="19" y="301"/>
                      <a:pt x="19" y="301"/>
                    </a:cubicBezTo>
                    <a:cubicBezTo>
                      <a:pt x="24" y="337"/>
                      <a:pt x="24" y="337"/>
                      <a:pt x="24" y="337"/>
                    </a:cubicBezTo>
                    <a:cubicBezTo>
                      <a:pt x="24" y="337"/>
                      <a:pt x="28" y="343"/>
                      <a:pt x="28" y="355"/>
                    </a:cubicBezTo>
                    <a:cubicBezTo>
                      <a:pt x="28" y="367"/>
                      <a:pt x="2" y="369"/>
                      <a:pt x="1" y="375"/>
                    </a:cubicBezTo>
                    <a:cubicBezTo>
                      <a:pt x="0" y="381"/>
                      <a:pt x="27" y="417"/>
                      <a:pt x="32" y="425"/>
                    </a:cubicBezTo>
                    <a:cubicBezTo>
                      <a:pt x="37" y="433"/>
                      <a:pt x="32" y="443"/>
                      <a:pt x="32" y="450"/>
                    </a:cubicBezTo>
                    <a:cubicBezTo>
                      <a:pt x="32" y="457"/>
                      <a:pt x="44" y="468"/>
                      <a:pt x="48" y="470"/>
                    </a:cubicBezTo>
                    <a:cubicBezTo>
                      <a:pt x="52" y="472"/>
                      <a:pt x="57" y="467"/>
                      <a:pt x="63" y="464"/>
                    </a:cubicBezTo>
                    <a:cubicBezTo>
                      <a:pt x="69" y="461"/>
                      <a:pt x="97" y="474"/>
                      <a:pt x="102" y="477"/>
                    </a:cubicBezTo>
                    <a:cubicBezTo>
                      <a:pt x="107" y="480"/>
                      <a:pt x="122" y="521"/>
                      <a:pt x="122" y="521"/>
                    </a:cubicBezTo>
                    <a:cubicBezTo>
                      <a:pt x="147" y="527"/>
                      <a:pt x="147" y="527"/>
                      <a:pt x="147" y="527"/>
                    </a:cubicBezTo>
                    <a:cubicBezTo>
                      <a:pt x="147" y="527"/>
                      <a:pt x="187" y="535"/>
                      <a:pt x="194" y="537"/>
                    </a:cubicBezTo>
                    <a:cubicBezTo>
                      <a:pt x="201" y="539"/>
                      <a:pt x="217" y="567"/>
                      <a:pt x="228" y="566"/>
                    </a:cubicBezTo>
                    <a:cubicBezTo>
                      <a:pt x="239" y="565"/>
                      <a:pt x="311" y="521"/>
                      <a:pt x="311" y="521"/>
                    </a:cubicBezTo>
                    <a:cubicBezTo>
                      <a:pt x="684" y="737"/>
                      <a:pt x="684" y="737"/>
                      <a:pt x="684" y="737"/>
                    </a:cubicBezTo>
                    <a:cubicBezTo>
                      <a:pt x="683" y="708"/>
                      <a:pt x="683" y="708"/>
                      <a:pt x="683" y="708"/>
                    </a:cubicBezTo>
                    <a:cubicBezTo>
                      <a:pt x="731" y="707"/>
                      <a:pt x="731" y="707"/>
                      <a:pt x="731" y="707"/>
                    </a:cubicBezTo>
                    <a:cubicBezTo>
                      <a:pt x="730" y="599"/>
                      <a:pt x="730" y="599"/>
                      <a:pt x="730" y="599"/>
                    </a:cubicBezTo>
                    <a:cubicBezTo>
                      <a:pt x="730" y="599"/>
                      <a:pt x="717" y="214"/>
                      <a:pt x="717" y="201"/>
                    </a:cubicBezTo>
                    <a:cubicBezTo>
                      <a:pt x="717" y="188"/>
                      <a:pt x="702" y="170"/>
                      <a:pt x="699" y="163"/>
                    </a:cubicBezTo>
                    <a:cubicBezTo>
                      <a:pt x="696" y="156"/>
                      <a:pt x="710" y="144"/>
                      <a:pt x="713" y="135"/>
                    </a:cubicBezTo>
                    <a:cubicBezTo>
                      <a:pt x="716" y="126"/>
                      <a:pt x="704" y="119"/>
                      <a:pt x="703" y="115"/>
                    </a:cubicBezTo>
                    <a:cubicBezTo>
                      <a:pt x="702" y="111"/>
                      <a:pt x="702" y="97"/>
                      <a:pt x="707" y="94"/>
                    </a:cubicBezTo>
                    <a:cubicBezTo>
                      <a:pt x="711" y="92"/>
                      <a:pt x="717" y="85"/>
                      <a:pt x="720" y="81"/>
                    </a:cubicBezTo>
                    <a:cubicBezTo>
                      <a:pt x="714" y="72"/>
                      <a:pt x="716" y="63"/>
                      <a:pt x="716" y="63"/>
                    </a:cubicBezTo>
                    <a:cubicBezTo>
                      <a:pt x="701" y="68"/>
                      <a:pt x="701" y="68"/>
                      <a:pt x="701" y="68"/>
                    </a:cubicBezTo>
                    <a:cubicBezTo>
                      <a:pt x="694" y="59"/>
                      <a:pt x="694" y="59"/>
                      <a:pt x="694" y="59"/>
                    </a:cubicBezTo>
                    <a:cubicBezTo>
                      <a:pt x="694" y="59"/>
                      <a:pt x="689" y="67"/>
                      <a:pt x="682" y="67"/>
                    </a:cubicBezTo>
                    <a:cubicBezTo>
                      <a:pt x="675" y="67"/>
                      <a:pt x="667" y="50"/>
                      <a:pt x="658" y="50"/>
                    </a:cubicBezTo>
                    <a:cubicBezTo>
                      <a:pt x="649" y="50"/>
                      <a:pt x="639" y="57"/>
                      <a:pt x="628" y="49"/>
                    </a:cubicBezTo>
                    <a:cubicBezTo>
                      <a:pt x="617" y="41"/>
                      <a:pt x="626" y="32"/>
                      <a:pt x="617" y="28"/>
                    </a:cubicBezTo>
                    <a:cubicBezTo>
                      <a:pt x="608" y="24"/>
                      <a:pt x="590" y="23"/>
                      <a:pt x="590" y="23"/>
                    </a:cubicBezTo>
                    <a:cubicBezTo>
                      <a:pt x="590" y="23"/>
                      <a:pt x="569" y="15"/>
                      <a:pt x="561" y="15"/>
                    </a:cubicBezTo>
                    <a:cubicBezTo>
                      <a:pt x="553" y="15"/>
                      <a:pt x="553" y="23"/>
                      <a:pt x="553" y="23"/>
                    </a:cubicBezTo>
                    <a:cubicBezTo>
                      <a:pt x="553" y="23"/>
                      <a:pt x="523" y="21"/>
                      <a:pt x="510" y="31"/>
                    </a:cubicBezTo>
                    <a:cubicBezTo>
                      <a:pt x="497" y="41"/>
                      <a:pt x="480" y="54"/>
                      <a:pt x="480" y="70"/>
                    </a:cubicBezTo>
                    <a:cubicBezTo>
                      <a:pt x="480" y="86"/>
                      <a:pt x="496" y="105"/>
                      <a:pt x="496" y="114"/>
                    </a:cubicBezTo>
                    <a:cubicBezTo>
                      <a:pt x="496" y="123"/>
                      <a:pt x="475" y="152"/>
                      <a:pt x="463" y="154"/>
                    </a:cubicBezTo>
                    <a:cubicBezTo>
                      <a:pt x="451" y="156"/>
                      <a:pt x="433" y="159"/>
                      <a:pt x="419" y="144"/>
                    </a:cubicBezTo>
                    <a:cubicBezTo>
                      <a:pt x="405" y="129"/>
                      <a:pt x="366" y="106"/>
                      <a:pt x="351" y="105"/>
                    </a:cubicBezTo>
                    <a:cubicBezTo>
                      <a:pt x="336" y="104"/>
                      <a:pt x="302" y="113"/>
                      <a:pt x="289" y="97"/>
                    </a:cubicBezTo>
                    <a:cubicBezTo>
                      <a:pt x="276" y="81"/>
                      <a:pt x="280" y="69"/>
                      <a:pt x="271" y="53"/>
                    </a:cubicBezTo>
                    <a:cubicBezTo>
                      <a:pt x="262" y="37"/>
                      <a:pt x="244" y="40"/>
                      <a:pt x="244" y="40"/>
                    </a:cubicBezTo>
                    <a:cubicBezTo>
                      <a:pt x="244" y="40"/>
                      <a:pt x="220" y="22"/>
                      <a:pt x="212" y="21"/>
                    </a:cubicBezTo>
                    <a:cubicBezTo>
                      <a:pt x="204" y="20"/>
                      <a:pt x="180" y="19"/>
                      <a:pt x="173" y="20"/>
                    </a:cubicBezTo>
                    <a:cubicBezTo>
                      <a:pt x="166" y="21"/>
                      <a:pt x="154" y="28"/>
                      <a:pt x="143" y="24"/>
                    </a:cubicBezTo>
                    <a:cubicBezTo>
                      <a:pt x="132" y="20"/>
                      <a:pt x="112" y="4"/>
                      <a:pt x="107" y="3"/>
                    </a:cubicBezTo>
                    <a:cubicBezTo>
                      <a:pt x="104" y="2"/>
                      <a:pt x="100" y="1"/>
                      <a:pt x="96" y="0"/>
                    </a:cubicBezTo>
                    <a:cubicBezTo>
                      <a:pt x="93" y="27"/>
                      <a:pt x="93" y="27"/>
                      <a:pt x="93" y="27"/>
                    </a:cubicBezTo>
                    <a:cubicBezTo>
                      <a:pt x="93" y="27"/>
                      <a:pt x="108" y="29"/>
                      <a:pt x="104" y="37"/>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39" name="Freeform 161">
                <a:extLst>
                  <a:ext uri="{FF2B5EF4-FFF2-40B4-BE49-F238E27FC236}">
                    <a16:creationId xmlns:a16="http://schemas.microsoft.com/office/drawing/2014/main" id="{6841299B-F4CD-4FD7-BBE1-761C0FF869E5}"/>
                  </a:ext>
                </a:extLst>
              </p:cNvPr>
              <p:cNvSpPr>
                <a:spLocks noEditPoints="1"/>
              </p:cNvSpPr>
              <p:nvPr>
                <p:custDataLst>
                  <p:tags r:id="rId120"/>
                </p:custDataLst>
              </p:nvPr>
            </p:nvSpPr>
            <p:spPr bwMode="gray">
              <a:xfrm>
                <a:off x="4816448" y="4510104"/>
                <a:ext cx="357186" cy="409577"/>
              </a:xfrm>
              <a:custGeom>
                <a:avLst/>
                <a:gdLst>
                  <a:gd name="T0" fmla="*/ 32 w 597"/>
                  <a:gd name="T1" fmla="*/ 79 h 735"/>
                  <a:gd name="T2" fmla="*/ 41 w 597"/>
                  <a:gd name="T3" fmla="*/ 42 h 735"/>
                  <a:gd name="T4" fmla="*/ 68 w 597"/>
                  <a:gd name="T5" fmla="*/ 17 h 735"/>
                  <a:gd name="T6" fmla="*/ 38 w 597"/>
                  <a:gd name="T7" fmla="*/ 15 h 735"/>
                  <a:gd name="T8" fmla="*/ 27 w 597"/>
                  <a:gd name="T9" fmla="*/ 29 h 735"/>
                  <a:gd name="T10" fmla="*/ 26 w 597"/>
                  <a:gd name="T11" fmla="*/ 39 h 735"/>
                  <a:gd name="T12" fmla="*/ 583 w 597"/>
                  <a:gd name="T13" fmla="*/ 362 h 735"/>
                  <a:gd name="T14" fmla="*/ 558 w 597"/>
                  <a:gd name="T15" fmla="*/ 357 h 735"/>
                  <a:gd name="T16" fmla="*/ 535 w 597"/>
                  <a:gd name="T17" fmla="*/ 367 h 735"/>
                  <a:gd name="T18" fmla="*/ 511 w 597"/>
                  <a:gd name="T19" fmla="*/ 375 h 735"/>
                  <a:gd name="T20" fmla="*/ 503 w 597"/>
                  <a:gd name="T21" fmla="*/ 346 h 735"/>
                  <a:gd name="T22" fmla="*/ 496 w 597"/>
                  <a:gd name="T23" fmla="*/ 299 h 735"/>
                  <a:gd name="T24" fmla="*/ 488 w 597"/>
                  <a:gd name="T25" fmla="*/ 256 h 735"/>
                  <a:gd name="T26" fmla="*/ 493 w 597"/>
                  <a:gd name="T27" fmla="*/ 224 h 735"/>
                  <a:gd name="T28" fmla="*/ 477 w 597"/>
                  <a:gd name="T29" fmla="*/ 190 h 735"/>
                  <a:gd name="T30" fmla="*/ 484 w 597"/>
                  <a:gd name="T31" fmla="*/ 162 h 735"/>
                  <a:gd name="T32" fmla="*/ 423 w 597"/>
                  <a:gd name="T33" fmla="*/ 155 h 735"/>
                  <a:gd name="T34" fmla="*/ 409 w 597"/>
                  <a:gd name="T35" fmla="*/ 148 h 735"/>
                  <a:gd name="T36" fmla="*/ 381 w 597"/>
                  <a:gd name="T37" fmla="*/ 170 h 735"/>
                  <a:gd name="T38" fmla="*/ 369 w 597"/>
                  <a:gd name="T39" fmla="*/ 197 h 735"/>
                  <a:gd name="T40" fmla="*/ 335 w 597"/>
                  <a:gd name="T41" fmla="*/ 195 h 735"/>
                  <a:gd name="T42" fmla="*/ 313 w 597"/>
                  <a:gd name="T43" fmla="*/ 201 h 735"/>
                  <a:gd name="T44" fmla="*/ 302 w 597"/>
                  <a:gd name="T45" fmla="*/ 203 h 735"/>
                  <a:gd name="T46" fmla="*/ 278 w 597"/>
                  <a:gd name="T47" fmla="*/ 194 h 735"/>
                  <a:gd name="T48" fmla="*/ 265 w 597"/>
                  <a:gd name="T49" fmla="*/ 172 h 735"/>
                  <a:gd name="T50" fmla="*/ 255 w 597"/>
                  <a:gd name="T51" fmla="*/ 141 h 735"/>
                  <a:gd name="T52" fmla="*/ 243 w 597"/>
                  <a:gd name="T53" fmla="*/ 98 h 735"/>
                  <a:gd name="T54" fmla="*/ 209 w 597"/>
                  <a:gd name="T55" fmla="*/ 84 h 735"/>
                  <a:gd name="T56" fmla="*/ 185 w 597"/>
                  <a:gd name="T57" fmla="*/ 86 h 735"/>
                  <a:gd name="T58" fmla="*/ 155 w 597"/>
                  <a:gd name="T59" fmla="*/ 84 h 735"/>
                  <a:gd name="T60" fmla="*/ 112 w 597"/>
                  <a:gd name="T61" fmla="*/ 82 h 735"/>
                  <a:gd name="T62" fmla="*/ 89 w 597"/>
                  <a:gd name="T63" fmla="*/ 84 h 735"/>
                  <a:gd name="T64" fmla="*/ 67 w 597"/>
                  <a:gd name="T65" fmla="*/ 84 h 735"/>
                  <a:gd name="T66" fmla="*/ 43 w 597"/>
                  <a:gd name="T67" fmla="*/ 97 h 735"/>
                  <a:gd name="T68" fmla="*/ 48 w 597"/>
                  <a:gd name="T69" fmla="*/ 128 h 735"/>
                  <a:gd name="T70" fmla="*/ 56 w 597"/>
                  <a:gd name="T71" fmla="*/ 157 h 735"/>
                  <a:gd name="T72" fmla="*/ 69 w 597"/>
                  <a:gd name="T73" fmla="*/ 254 h 735"/>
                  <a:gd name="T74" fmla="*/ 75 w 597"/>
                  <a:gd name="T75" fmla="*/ 270 h 735"/>
                  <a:gd name="T76" fmla="*/ 108 w 597"/>
                  <a:gd name="T77" fmla="*/ 388 h 735"/>
                  <a:gd name="T78" fmla="*/ 93 w 597"/>
                  <a:gd name="T79" fmla="*/ 442 h 735"/>
                  <a:gd name="T80" fmla="*/ 66 w 597"/>
                  <a:gd name="T81" fmla="*/ 460 h 735"/>
                  <a:gd name="T82" fmla="*/ 44 w 597"/>
                  <a:gd name="T83" fmla="*/ 484 h 735"/>
                  <a:gd name="T84" fmla="*/ 34 w 597"/>
                  <a:gd name="T85" fmla="*/ 524 h 735"/>
                  <a:gd name="T86" fmla="*/ 21 w 597"/>
                  <a:gd name="T87" fmla="*/ 579 h 735"/>
                  <a:gd name="T88" fmla="*/ 6 w 597"/>
                  <a:gd name="T89" fmla="*/ 618 h 735"/>
                  <a:gd name="T90" fmla="*/ 13 w 597"/>
                  <a:gd name="T91" fmla="*/ 654 h 735"/>
                  <a:gd name="T92" fmla="*/ 3 w 597"/>
                  <a:gd name="T93" fmla="*/ 696 h 735"/>
                  <a:gd name="T94" fmla="*/ 24 w 597"/>
                  <a:gd name="T95" fmla="*/ 691 h 735"/>
                  <a:gd name="T96" fmla="*/ 50 w 597"/>
                  <a:gd name="T97" fmla="*/ 695 h 735"/>
                  <a:gd name="T98" fmla="*/ 81 w 597"/>
                  <a:gd name="T99" fmla="*/ 681 h 735"/>
                  <a:gd name="T100" fmla="*/ 322 w 597"/>
                  <a:gd name="T101" fmla="*/ 703 h 735"/>
                  <a:gd name="T102" fmla="*/ 361 w 597"/>
                  <a:gd name="T103" fmla="*/ 724 h 735"/>
                  <a:gd name="T104" fmla="*/ 411 w 597"/>
                  <a:gd name="T105" fmla="*/ 729 h 735"/>
                  <a:gd name="T106" fmla="*/ 463 w 597"/>
                  <a:gd name="T107" fmla="*/ 735 h 735"/>
                  <a:gd name="T108" fmla="*/ 493 w 597"/>
                  <a:gd name="T109" fmla="*/ 657 h 735"/>
                  <a:gd name="T110" fmla="*/ 487 w 597"/>
                  <a:gd name="T111" fmla="*/ 635 h 735"/>
                  <a:gd name="T112" fmla="*/ 571 w 597"/>
                  <a:gd name="T113" fmla="*/ 470 h 735"/>
                  <a:gd name="T114" fmla="*/ 580 w 597"/>
                  <a:gd name="T115" fmla="*/ 440 h 735"/>
                  <a:gd name="T116" fmla="*/ 585 w 597"/>
                  <a:gd name="T117" fmla="*/ 426 h 735"/>
                  <a:gd name="T118" fmla="*/ 594 w 597"/>
                  <a:gd name="T119" fmla="*/ 386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35">
                    <a:moveTo>
                      <a:pt x="30" y="77"/>
                    </a:moveTo>
                    <a:cubicBezTo>
                      <a:pt x="30" y="77"/>
                      <a:pt x="31" y="78"/>
                      <a:pt x="32" y="79"/>
                    </a:cubicBezTo>
                    <a:cubicBezTo>
                      <a:pt x="37" y="76"/>
                      <a:pt x="42" y="74"/>
                      <a:pt x="45" y="72"/>
                    </a:cubicBezTo>
                    <a:cubicBezTo>
                      <a:pt x="53" y="68"/>
                      <a:pt x="41" y="42"/>
                      <a:pt x="41" y="42"/>
                    </a:cubicBezTo>
                    <a:cubicBezTo>
                      <a:pt x="65" y="25"/>
                      <a:pt x="65" y="25"/>
                      <a:pt x="65" y="25"/>
                    </a:cubicBezTo>
                    <a:cubicBezTo>
                      <a:pt x="68" y="17"/>
                      <a:pt x="68" y="17"/>
                      <a:pt x="68" y="17"/>
                    </a:cubicBezTo>
                    <a:cubicBezTo>
                      <a:pt x="68" y="17"/>
                      <a:pt x="66" y="0"/>
                      <a:pt x="59" y="1"/>
                    </a:cubicBezTo>
                    <a:cubicBezTo>
                      <a:pt x="52" y="2"/>
                      <a:pt x="38" y="15"/>
                      <a:pt x="38" y="15"/>
                    </a:cubicBezTo>
                    <a:cubicBezTo>
                      <a:pt x="38" y="29"/>
                      <a:pt x="38" y="29"/>
                      <a:pt x="38" y="29"/>
                    </a:cubicBezTo>
                    <a:cubicBezTo>
                      <a:pt x="27" y="29"/>
                      <a:pt x="27" y="29"/>
                      <a:pt x="27" y="29"/>
                    </a:cubicBezTo>
                    <a:cubicBezTo>
                      <a:pt x="23" y="35"/>
                      <a:pt x="23" y="35"/>
                      <a:pt x="23" y="35"/>
                    </a:cubicBezTo>
                    <a:cubicBezTo>
                      <a:pt x="26" y="39"/>
                      <a:pt x="26" y="39"/>
                      <a:pt x="26" y="39"/>
                    </a:cubicBezTo>
                    <a:lnTo>
                      <a:pt x="30" y="77"/>
                    </a:lnTo>
                    <a:close/>
                    <a:moveTo>
                      <a:pt x="583" y="362"/>
                    </a:moveTo>
                    <a:cubicBezTo>
                      <a:pt x="569" y="364"/>
                      <a:pt x="569" y="364"/>
                      <a:pt x="569" y="364"/>
                    </a:cubicBezTo>
                    <a:cubicBezTo>
                      <a:pt x="569" y="364"/>
                      <a:pt x="565" y="357"/>
                      <a:pt x="558" y="357"/>
                    </a:cubicBezTo>
                    <a:cubicBezTo>
                      <a:pt x="551" y="357"/>
                      <a:pt x="551" y="362"/>
                      <a:pt x="551" y="362"/>
                    </a:cubicBezTo>
                    <a:cubicBezTo>
                      <a:pt x="535" y="367"/>
                      <a:pt x="535" y="367"/>
                      <a:pt x="535" y="367"/>
                    </a:cubicBezTo>
                    <a:cubicBezTo>
                      <a:pt x="517" y="363"/>
                      <a:pt x="517" y="363"/>
                      <a:pt x="517" y="363"/>
                    </a:cubicBezTo>
                    <a:cubicBezTo>
                      <a:pt x="511" y="375"/>
                      <a:pt x="511" y="375"/>
                      <a:pt x="511" y="375"/>
                    </a:cubicBezTo>
                    <a:cubicBezTo>
                      <a:pt x="511" y="375"/>
                      <a:pt x="503" y="373"/>
                      <a:pt x="500" y="369"/>
                    </a:cubicBezTo>
                    <a:cubicBezTo>
                      <a:pt x="497" y="365"/>
                      <a:pt x="500" y="353"/>
                      <a:pt x="503" y="346"/>
                    </a:cubicBezTo>
                    <a:cubicBezTo>
                      <a:pt x="506" y="339"/>
                      <a:pt x="507" y="324"/>
                      <a:pt x="507" y="324"/>
                    </a:cubicBezTo>
                    <a:cubicBezTo>
                      <a:pt x="507" y="324"/>
                      <a:pt x="503" y="306"/>
                      <a:pt x="496" y="299"/>
                    </a:cubicBezTo>
                    <a:cubicBezTo>
                      <a:pt x="489" y="292"/>
                      <a:pt x="483" y="284"/>
                      <a:pt x="483" y="276"/>
                    </a:cubicBezTo>
                    <a:cubicBezTo>
                      <a:pt x="483" y="268"/>
                      <a:pt x="488" y="256"/>
                      <a:pt x="488" y="256"/>
                    </a:cubicBezTo>
                    <a:cubicBezTo>
                      <a:pt x="485" y="240"/>
                      <a:pt x="485" y="240"/>
                      <a:pt x="485" y="240"/>
                    </a:cubicBezTo>
                    <a:cubicBezTo>
                      <a:pt x="485" y="240"/>
                      <a:pt x="493" y="231"/>
                      <a:pt x="493" y="224"/>
                    </a:cubicBezTo>
                    <a:cubicBezTo>
                      <a:pt x="493" y="217"/>
                      <a:pt x="480" y="204"/>
                      <a:pt x="480" y="204"/>
                    </a:cubicBezTo>
                    <a:cubicBezTo>
                      <a:pt x="477" y="190"/>
                      <a:pt x="477" y="190"/>
                      <a:pt x="477" y="190"/>
                    </a:cubicBezTo>
                    <a:cubicBezTo>
                      <a:pt x="484" y="180"/>
                      <a:pt x="484" y="180"/>
                      <a:pt x="484" y="180"/>
                    </a:cubicBezTo>
                    <a:cubicBezTo>
                      <a:pt x="484" y="162"/>
                      <a:pt x="484" y="162"/>
                      <a:pt x="484" y="162"/>
                    </a:cubicBezTo>
                    <a:cubicBezTo>
                      <a:pt x="424" y="163"/>
                      <a:pt x="424" y="163"/>
                      <a:pt x="424" y="163"/>
                    </a:cubicBezTo>
                    <a:cubicBezTo>
                      <a:pt x="423" y="155"/>
                      <a:pt x="423" y="155"/>
                      <a:pt x="423" y="155"/>
                    </a:cubicBezTo>
                    <a:cubicBezTo>
                      <a:pt x="423" y="155"/>
                      <a:pt x="427" y="146"/>
                      <a:pt x="418" y="143"/>
                    </a:cubicBezTo>
                    <a:cubicBezTo>
                      <a:pt x="409" y="140"/>
                      <a:pt x="409" y="148"/>
                      <a:pt x="409" y="148"/>
                    </a:cubicBezTo>
                    <a:cubicBezTo>
                      <a:pt x="409" y="148"/>
                      <a:pt x="380" y="145"/>
                      <a:pt x="375" y="149"/>
                    </a:cubicBezTo>
                    <a:cubicBezTo>
                      <a:pt x="370" y="153"/>
                      <a:pt x="381" y="165"/>
                      <a:pt x="381" y="170"/>
                    </a:cubicBezTo>
                    <a:cubicBezTo>
                      <a:pt x="381" y="175"/>
                      <a:pt x="374" y="175"/>
                      <a:pt x="371" y="179"/>
                    </a:cubicBezTo>
                    <a:cubicBezTo>
                      <a:pt x="368" y="183"/>
                      <a:pt x="369" y="197"/>
                      <a:pt x="369" y="197"/>
                    </a:cubicBezTo>
                    <a:cubicBezTo>
                      <a:pt x="339" y="200"/>
                      <a:pt x="339" y="200"/>
                      <a:pt x="339" y="200"/>
                    </a:cubicBezTo>
                    <a:cubicBezTo>
                      <a:pt x="335" y="195"/>
                      <a:pt x="335" y="195"/>
                      <a:pt x="335" y="195"/>
                    </a:cubicBezTo>
                    <a:cubicBezTo>
                      <a:pt x="328" y="201"/>
                      <a:pt x="328" y="201"/>
                      <a:pt x="328" y="201"/>
                    </a:cubicBezTo>
                    <a:cubicBezTo>
                      <a:pt x="313" y="201"/>
                      <a:pt x="313" y="201"/>
                      <a:pt x="313" y="201"/>
                    </a:cubicBezTo>
                    <a:cubicBezTo>
                      <a:pt x="309" y="208"/>
                      <a:pt x="309" y="208"/>
                      <a:pt x="309" y="208"/>
                    </a:cubicBezTo>
                    <a:cubicBezTo>
                      <a:pt x="302" y="203"/>
                      <a:pt x="302" y="203"/>
                      <a:pt x="302" y="203"/>
                    </a:cubicBezTo>
                    <a:cubicBezTo>
                      <a:pt x="281" y="204"/>
                      <a:pt x="281" y="204"/>
                      <a:pt x="281" y="204"/>
                    </a:cubicBezTo>
                    <a:cubicBezTo>
                      <a:pt x="278" y="194"/>
                      <a:pt x="278" y="194"/>
                      <a:pt x="278" y="194"/>
                    </a:cubicBezTo>
                    <a:cubicBezTo>
                      <a:pt x="272" y="186"/>
                      <a:pt x="272" y="186"/>
                      <a:pt x="272" y="186"/>
                    </a:cubicBezTo>
                    <a:cubicBezTo>
                      <a:pt x="272" y="186"/>
                      <a:pt x="270" y="178"/>
                      <a:pt x="265" y="172"/>
                    </a:cubicBezTo>
                    <a:cubicBezTo>
                      <a:pt x="260" y="166"/>
                      <a:pt x="254" y="163"/>
                      <a:pt x="254" y="163"/>
                    </a:cubicBezTo>
                    <a:cubicBezTo>
                      <a:pt x="254" y="163"/>
                      <a:pt x="256" y="147"/>
                      <a:pt x="255" y="141"/>
                    </a:cubicBezTo>
                    <a:cubicBezTo>
                      <a:pt x="254" y="135"/>
                      <a:pt x="244" y="128"/>
                      <a:pt x="244" y="128"/>
                    </a:cubicBezTo>
                    <a:cubicBezTo>
                      <a:pt x="243" y="98"/>
                      <a:pt x="243" y="98"/>
                      <a:pt x="243" y="98"/>
                    </a:cubicBezTo>
                    <a:cubicBezTo>
                      <a:pt x="243" y="98"/>
                      <a:pt x="237" y="94"/>
                      <a:pt x="232" y="85"/>
                    </a:cubicBezTo>
                    <a:cubicBezTo>
                      <a:pt x="227" y="76"/>
                      <a:pt x="209" y="84"/>
                      <a:pt x="209" y="84"/>
                    </a:cubicBezTo>
                    <a:cubicBezTo>
                      <a:pt x="195" y="83"/>
                      <a:pt x="195" y="83"/>
                      <a:pt x="195" y="83"/>
                    </a:cubicBezTo>
                    <a:cubicBezTo>
                      <a:pt x="185" y="86"/>
                      <a:pt x="185" y="86"/>
                      <a:pt x="185" y="86"/>
                    </a:cubicBezTo>
                    <a:cubicBezTo>
                      <a:pt x="185" y="86"/>
                      <a:pt x="178" y="86"/>
                      <a:pt x="173" y="86"/>
                    </a:cubicBezTo>
                    <a:cubicBezTo>
                      <a:pt x="168" y="86"/>
                      <a:pt x="155" y="84"/>
                      <a:pt x="155" y="84"/>
                    </a:cubicBezTo>
                    <a:cubicBezTo>
                      <a:pt x="155" y="84"/>
                      <a:pt x="137" y="87"/>
                      <a:pt x="130" y="88"/>
                    </a:cubicBezTo>
                    <a:cubicBezTo>
                      <a:pt x="123" y="89"/>
                      <a:pt x="112" y="82"/>
                      <a:pt x="112" y="82"/>
                    </a:cubicBezTo>
                    <a:cubicBezTo>
                      <a:pt x="97" y="86"/>
                      <a:pt x="97" y="86"/>
                      <a:pt x="97" y="86"/>
                    </a:cubicBezTo>
                    <a:cubicBezTo>
                      <a:pt x="89" y="84"/>
                      <a:pt x="89" y="84"/>
                      <a:pt x="89" y="84"/>
                    </a:cubicBezTo>
                    <a:cubicBezTo>
                      <a:pt x="84" y="86"/>
                      <a:pt x="84" y="86"/>
                      <a:pt x="84" y="86"/>
                    </a:cubicBezTo>
                    <a:cubicBezTo>
                      <a:pt x="67" y="84"/>
                      <a:pt x="67" y="84"/>
                      <a:pt x="67" y="84"/>
                    </a:cubicBezTo>
                    <a:cubicBezTo>
                      <a:pt x="44" y="94"/>
                      <a:pt x="44" y="94"/>
                      <a:pt x="44" y="94"/>
                    </a:cubicBezTo>
                    <a:cubicBezTo>
                      <a:pt x="44" y="95"/>
                      <a:pt x="44" y="96"/>
                      <a:pt x="43" y="97"/>
                    </a:cubicBezTo>
                    <a:cubicBezTo>
                      <a:pt x="37" y="101"/>
                      <a:pt x="32" y="102"/>
                      <a:pt x="32" y="102"/>
                    </a:cubicBezTo>
                    <a:cubicBezTo>
                      <a:pt x="32" y="102"/>
                      <a:pt x="45" y="121"/>
                      <a:pt x="48" y="128"/>
                    </a:cubicBezTo>
                    <a:cubicBezTo>
                      <a:pt x="51" y="135"/>
                      <a:pt x="60" y="138"/>
                      <a:pt x="60" y="138"/>
                    </a:cubicBezTo>
                    <a:cubicBezTo>
                      <a:pt x="56" y="157"/>
                      <a:pt x="56" y="157"/>
                      <a:pt x="56" y="157"/>
                    </a:cubicBezTo>
                    <a:cubicBezTo>
                      <a:pt x="56" y="157"/>
                      <a:pt x="88" y="194"/>
                      <a:pt x="85" y="221"/>
                    </a:cubicBezTo>
                    <a:cubicBezTo>
                      <a:pt x="82" y="248"/>
                      <a:pt x="69" y="254"/>
                      <a:pt x="69" y="254"/>
                    </a:cubicBezTo>
                    <a:cubicBezTo>
                      <a:pt x="68" y="271"/>
                      <a:pt x="68" y="271"/>
                      <a:pt x="68" y="271"/>
                    </a:cubicBezTo>
                    <a:cubicBezTo>
                      <a:pt x="75" y="270"/>
                      <a:pt x="75" y="270"/>
                      <a:pt x="75" y="270"/>
                    </a:cubicBezTo>
                    <a:cubicBezTo>
                      <a:pt x="75" y="270"/>
                      <a:pt x="71" y="293"/>
                      <a:pt x="85" y="314"/>
                    </a:cubicBezTo>
                    <a:cubicBezTo>
                      <a:pt x="99" y="335"/>
                      <a:pt x="111" y="373"/>
                      <a:pt x="108" y="388"/>
                    </a:cubicBezTo>
                    <a:cubicBezTo>
                      <a:pt x="105" y="403"/>
                      <a:pt x="94" y="420"/>
                      <a:pt x="94" y="420"/>
                    </a:cubicBezTo>
                    <a:cubicBezTo>
                      <a:pt x="94" y="420"/>
                      <a:pt x="101" y="436"/>
                      <a:pt x="93" y="442"/>
                    </a:cubicBezTo>
                    <a:cubicBezTo>
                      <a:pt x="85" y="448"/>
                      <a:pt x="72" y="446"/>
                      <a:pt x="72" y="446"/>
                    </a:cubicBezTo>
                    <a:cubicBezTo>
                      <a:pt x="66" y="460"/>
                      <a:pt x="66" y="460"/>
                      <a:pt x="66" y="460"/>
                    </a:cubicBezTo>
                    <a:cubicBezTo>
                      <a:pt x="68" y="475"/>
                      <a:pt x="68" y="475"/>
                      <a:pt x="68" y="475"/>
                    </a:cubicBezTo>
                    <a:cubicBezTo>
                      <a:pt x="68" y="475"/>
                      <a:pt x="43" y="472"/>
                      <a:pt x="44" y="484"/>
                    </a:cubicBezTo>
                    <a:cubicBezTo>
                      <a:pt x="45" y="496"/>
                      <a:pt x="41" y="514"/>
                      <a:pt x="41" y="514"/>
                    </a:cubicBezTo>
                    <a:cubicBezTo>
                      <a:pt x="34" y="524"/>
                      <a:pt x="34" y="524"/>
                      <a:pt x="34" y="524"/>
                    </a:cubicBezTo>
                    <a:cubicBezTo>
                      <a:pt x="34" y="524"/>
                      <a:pt x="38" y="556"/>
                      <a:pt x="35" y="566"/>
                    </a:cubicBezTo>
                    <a:cubicBezTo>
                      <a:pt x="32" y="576"/>
                      <a:pt x="21" y="579"/>
                      <a:pt x="21" y="579"/>
                    </a:cubicBezTo>
                    <a:cubicBezTo>
                      <a:pt x="21" y="606"/>
                      <a:pt x="21" y="606"/>
                      <a:pt x="21" y="606"/>
                    </a:cubicBezTo>
                    <a:cubicBezTo>
                      <a:pt x="6" y="618"/>
                      <a:pt x="6" y="618"/>
                      <a:pt x="6" y="618"/>
                    </a:cubicBezTo>
                    <a:cubicBezTo>
                      <a:pt x="6" y="645"/>
                      <a:pt x="6" y="645"/>
                      <a:pt x="6" y="645"/>
                    </a:cubicBezTo>
                    <a:cubicBezTo>
                      <a:pt x="13" y="654"/>
                      <a:pt x="13" y="654"/>
                      <a:pt x="13" y="654"/>
                    </a:cubicBezTo>
                    <a:cubicBezTo>
                      <a:pt x="0" y="669"/>
                      <a:pt x="0" y="669"/>
                      <a:pt x="0" y="669"/>
                    </a:cubicBezTo>
                    <a:cubicBezTo>
                      <a:pt x="3" y="696"/>
                      <a:pt x="3" y="696"/>
                      <a:pt x="3" y="696"/>
                    </a:cubicBezTo>
                    <a:cubicBezTo>
                      <a:pt x="13" y="695"/>
                      <a:pt x="13" y="695"/>
                      <a:pt x="13" y="695"/>
                    </a:cubicBezTo>
                    <a:cubicBezTo>
                      <a:pt x="24" y="691"/>
                      <a:pt x="24" y="691"/>
                      <a:pt x="24" y="691"/>
                    </a:cubicBezTo>
                    <a:cubicBezTo>
                      <a:pt x="31" y="696"/>
                      <a:pt x="31" y="696"/>
                      <a:pt x="31" y="696"/>
                    </a:cubicBezTo>
                    <a:cubicBezTo>
                      <a:pt x="31" y="696"/>
                      <a:pt x="43" y="696"/>
                      <a:pt x="50" y="695"/>
                    </a:cubicBezTo>
                    <a:cubicBezTo>
                      <a:pt x="57" y="694"/>
                      <a:pt x="61" y="680"/>
                      <a:pt x="61" y="680"/>
                    </a:cubicBezTo>
                    <a:cubicBezTo>
                      <a:pt x="61" y="680"/>
                      <a:pt x="82" y="682"/>
                      <a:pt x="81" y="681"/>
                    </a:cubicBezTo>
                    <a:cubicBezTo>
                      <a:pt x="85" y="692"/>
                      <a:pt x="119" y="705"/>
                      <a:pt x="119" y="705"/>
                    </a:cubicBezTo>
                    <a:cubicBezTo>
                      <a:pt x="322" y="703"/>
                      <a:pt x="322" y="703"/>
                      <a:pt x="322" y="703"/>
                    </a:cubicBezTo>
                    <a:cubicBezTo>
                      <a:pt x="322" y="703"/>
                      <a:pt x="331" y="722"/>
                      <a:pt x="338" y="724"/>
                    </a:cubicBezTo>
                    <a:cubicBezTo>
                      <a:pt x="345" y="726"/>
                      <a:pt x="361" y="724"/>
                      <a:pt x="361" y="724"/>
                    </a:cubicBezTo>
                    <a:cubicBezTo>
                      <a:pt x="365" y="730"/>
                      <a:pt x="365" y="730"/>
                      <a:pt x="365" y="730"/>
                    </a:cubicBezTo>
                    <a:cubicBezTo>
                      <a:pt x="411" y="729"/>
                      <a:pt x="411" y="729"/>
                      <a:pt x="411" y="729"/>
                    </a:cubicBezTo>
                    <a:cubicBezTo>
                      <a:pt x="417" y="735"/>
                      <a:pt x="417" y="735"/>
                      <a:pt x="417" y="735"/>
                    </a:cubicBezTo>
                    <a:cubicBezTo>
                      <a:pt x="417" y="735"/>
                      <a:pt x="435" y="735"/>
                      <a:pt x="463" y="735"/>
                    </a:cubicBezTo>
                    <a:cubicBezTo>
                      <a:pt x="491" y="735"/>
                      <a:pt x="551" y="715"/>
                      <a:pt x="551" y="715"/>
                    </a:cubicBezTo>
                    <a:cubicBezTo>
                      <a:pt x="493" y="657"/>
                      <a:pt x="493" y="657"/>
                      <a:pt x="493" y="657"/>
                    </a:cubicBezTo>
                    <a:cubicBezTo>
                      <a:pt x="493" y="645"/>
                      <a:pt x="493" y="645"/>
                      <a:pt x="493" y="645"/>
                    </a:cubicBezTo>
                    <a:cubicBezTo>
                      <a:pt x="487" y="635"/>
                      <a:pt x="487" y="635"/>
                      <a:pt x="487" y="635"/>
                    </a:cubicBezTo>
                    <a:cubicBezTo>
                      <a:pt x="488" y="468"/>
                      <a:pt x="488" y="468"/>
                      <a:pt x="488" y="468"/>
                    </a:cubicBezTo>
                    <a:cubicBezTo>
                      <a:pt x="571" y="470"/>
                      <a:pt x="571" y="470"/>
                      <a:pt x="571" y="470"/>
                    </a:cubicBezTo>
                    <a:cubicBezTo>
                      <a:pt x="571" y="470"/>
                      <a:pt x="582" y="470"/>
                      <a:pt x="584" y="463"/>
                    </a:cubicBezTo>
                    <a:cubicBezTo>
                      <a:pt x="586" y="456"/>
                      <a:pt x="580" y="440"/>
                      <a:pt x="580" y="440"/>
                    </a:cubicBezTo>
                    <a:cubicBezTo>
                      <a:pt x="593" y="437"/>
                      <a:pt x="593" y="437"/>
                      <a:pt x="593" y="437"/>
                    </a:cubicBezTo>
                    <a:cubicBezTo>
                      <a:pt x="585" y="426"/>
                      <a:pt x="585" y="426"/>
                      <a:pt x="585" y="426"/>
                    </a:cubicBezTo>
                    <a:cubicBezTo>
                      <a:pt x="583" y="391"/>
                      <a:pt x="583" y="391"/>
                      <a:pt x="583" y="391"/>
                    </a:cubicBezTo>
                    <a:cubicBezTo>
                      <a:pt x="583" y="391"/>
                      <a:pt x="591" y="389"/>
                      <a:pt x="594" y="386"/>
                    </a:cubicBezTo>
                    <a:cubicBezTo>
                      <a:pt x="597" y="383"/>
                      <a:pt x="583" y="362"/>
                      <a:pt x="583" y="362"/>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40" name="Freeform 162">
                <a:extLst>
                  <a:ext uri="{FF2B5EF4-FFF2-40B4-BE49-F238E27FC236}">
                    <a16:creationId xmlns:a16="http://schemas.microsoft.com/office/drawing/2014/main" id="{18AF413A-D597-493B-850D-5EDBEC0AB9A8}"/>
                  </a:ext>
                </a:extLst>
              </p:cNvPr>
              <p:cNvSpPr>
                <a:spLocks/>
              </p:cNvSpPr>
              <p:nvPr>
                <p:custDataLst>
                  <p:tags r:id="rId121"/>
                </p:custDataLst>
              </p:nvPr>
            </p:nvSpPr>
            <p:spPr bwMode="gray">
              <a:xfrm>
                <a:off x="5305395" y="4414854"/>
                <a:ext cx="61912" cy="53975"/>
              </a:xfrm>
              <a:custGeom>
                <a:avLst/>
                <a:gdLst>
                  <a:gd name="T0" fmla="*/ 35 w 104"/>
                  <a:gd name="T1" fmla="*/ 98 h 98"/>
                  <a:gd name="T2" fmla="*/ 52 w 104"/>
                  <a:gd name="T3" fmla="*/ 91 h 98"/>
                  <a:gd name="T4" fmla="*/ 57 w 104"/>
                  <a:gd name="T5" fmla="*/ 74 h 98"/>
                  <a:gd name="T6" fmla="*/ 87 w 104"/>
                  <a:gd name="T7" fmla="*/ 74 h 98"/>
                  <a:gd name="T8" fmla="*/ 90 w 104"/>
                  <a:gd name="T9" fmla="*/ 74 h 98"/>
                  <a:gd name="T10" fmla="*/ 104 w 104"/>
                  <a:gd name="T11" fmla="*/ 64 h 98"/>
                  <a:gd name="T12" fmla="*/ 98 w 104"/>
                  <a:gd name="T13" fmla="*/ 44 h 98"/>
                  <a:gd name="T14" fmla="*/ 100 w 104"/>
                  <a:gd name="T15" fmla="*/ 31 h 98"/>
                  <a:gd name="T16" fmla="*/ 86 w 104"/>
                  <a:gd name="T17" fmla="*/ 13 h 98"/>
                  <a:gd name="T18" fmla="*/ 91 w 104"/>
                  <a:gd name="T19" fmla="*/ 0 h 98"/>
                  <a:gd name="T20" fmla="*/ 75 w 104"/>
                  <a:gd name="T21" fmla="*/ 1 h 98"/>
                  <a:gd name="T22" fmla="*/ 64 w 104"/>
                  <a:gd name="T23" fmla="*/ 25 h 98"/>
                  <a:gd name="T24" fmla="*/ 52 w 104"/>
                  <a:gd name="T25" fmla="*/ 17 h 98"/>
                  <a:gd name="T26" fmla="*/ 42 w 104"/>
                  <a:gd name="T27" fmla="*/ 17 h 98"/>
                  <a:gd name="T28" fmla="*/ 17 w 104"/>
                  <a:gd name="T29" fmla="*/ 36 h 98"/>
                  <a:gd name="T30" fmla="*/ 24 w 104"/>
                  <a:gd name="T31" fmla="*/ 58 h 98"/>
                  <a:gd name="T32" fmla="*/ 4 w 104"/>
                  <a:gd name="T33" fmla="*/ 80 h 98"/>
                  <a:gd name="T34" fmla="*/ 22 w 104"/>
                  <a:gd name="T35" fmla="*/ 85 h 98"/>
                  <a:gd name="T36" fmla="*/ 35 w 104"/>
                  <a:gd name="T3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4" h="98">
                    <a:moveTo>
                      <a:pt x="35" y="98"/>
                    </a:moveTo>
                    <a:cubicBezTo>
                      <a:pt x="39" y="98"/>
                      <a:pt x="52" y="91"/>
                      <a:pt x="52" y="91"/>
                    </a:cubicBezTo>
                    <a:cubicBezTo>
                      <a:pt x="57" y="74"/>
                      <a:pt x="57" y="74"/>
                      <a:pt x="57" y="74"/>
                    </a:cubicBezTo>
                    <a:cubicBezTo>
                      <a:pt x="87" y="74"/>
                      <a:pt x="87" y="74"/>
                      <a:pt x="87" y="74"/>
                    </a:cubicBezTo>
                    <a:cubicBezTo>
                      <a:pt x="90" y="74"/>
                      <a:pt x="90" y="74"/>
                      <a:pt x="90" y="74"/>
                    </a:cubicBezTo>
                    <a:cubicBezTo>
                      <a:pt x="96" y="73"/>
                      <a:pt x="104" y="71"/>
                      <a:pt x="104" y="64"/>
                    </a:cubicBezTo>
                    <a:cubicBezTo>
                      <a:pt x="104" y="52"/>
                      <a:pt x="98" y="44"/>
                      <a:pt x="98" y="44"/>
                    </a:cubicBezTo>
                    <a:cubicBezTo>
                      <a:pt x="98" y="44"/>
                      <a:pt x="104" y="39"/>
                      <a:pt x="100" y="31"/>
                    </a:cubicBezTo>
                    <a:cubicBezTo>
                      <a:pt x="96" y="23"/>
                      <a:pt x="86" y="13"/>
                      <a:pt x="86" y="13"/>
                    </a:cubicBezTo>
                    <a:cubicBezTo>
                      <a:pt x="91" y="0"/>
                      <a:pt x="91" y="0"/>
                      <a:pt x="91" y="0"/>
                    </a:cubicBezTo>
                    <a:cubicBezTo>
                      <a:pt x="75" y="1"/>
                      <a:pt x="75" y="1"/>
                      <a:pt x="75" y="1"/>
                    </a:cubicBezTo>
                    <a:cubicBezTo>
                      <a:pt x="75" y="1"/>
                      <a:pt x="71" y="17"/>
                      <a:pt x="64" y="25"/>
                    </a:cubicBezTo>
                    <a:cubicBezTo>
                      <a:pt x="58" y="32"/>
                      <a:pt x="52" y="17"/>
                      <a:pt x="52" y="17"/>
                    </a:cubicBezTo>
                    <a:cubicBezTo>
                      <a:pt x="42" y="17"/>
                      <a:pt x="42" y="17"/>
                      <a:pt x="42" y="17"/>
                    </a:cubicBezTo>
                    <a:cubicBezTo>
                      <a:pt x="42" y="17"/>
                      <a:pt x="18" y="28"/>
                      <a:pt x="17" y="36"/>
                    </a:cubicBezTo>
                    <a:cubicBezTo>
                      <a:pt x="15" y="44"/>
                      <a:pt x="25" y="55"/>
                      <a:pt x="24" y="58"/>
                    </a:cubicBezTo>
                    <a:cubicBezTo>
                      <a:pt x="22" y="62"/>
                      <a:pt x="0" y="72"/>
                      <a:pt x="4" y="80"/>
                    </a:cubicBezTo>
                    <a:cubicBezTo>
                      <a:pt x="8" y="88"/>
                      <a:pt x="22" y="85"/>
                      <a:pt x="22" y="85"/>
                    </a:cubicBezTo>
                    <a:cubicBezTo>
                      <a:pt x="22" y="85"/>
                      <a:pt x="31" y="98"/>
                      <a:pt x="35" y="98"/>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41" name="Freeform 163">
                <a:extLst>
                  <a:ext uri="{FF2B5EF4-FFF2-40B4-BE49-F238E27FC236}">
                    <a16:creationId xmlns:a16="http://schemas.microsoft.com/office/drawing/2014/main" id="{2F6BDD73-8C27-4CDC-8D78-88DB231F09CC}"/>
                  </a:ext>
                </a:extLst>
              </p:cNvPr>
              <p:cNvSpPr>
                <a:spLocks/>
              </p:cNvSpPr>
              <p:nvPr>
                <p:custDataLst>
                  <p:tags r:id="rId122"/>
                </p:custDataLst>
              </p:nvPr>
            </p:nvSpPr>
            <p:spPr bwMode="gray">
              <a:xfrm>
                <a:off x="4894235" y="4056078"/>
                <a:ext cx="368298" cy="260351"/>
              </a:xfrm>
              <a:custGeom>
                <a:avLst/>
                <a:gdLst>
                  <a:gd name="T0" fmla="*/ 589 w 614"/>
                  <a:gd name="T1" fmla="*/ 267 h 467"/>
                  <a:gd name="T2" fmla="*/ 575 w 614"/>
                  <a:gd name="T3" fmla="*/ 253 h 467"/>
                  <a:gd name="T4" fmla="*/ 573 w 614"/>
                  <a:gd name="T5" fmla="*/ 236 h 467"/>
                  <a:gd name="T6" fmla="*/ 542 w 614"/>
                  <a:gd name="T7" fmla="*/ 203 h 467"/>
                  <a:gd name="T8" fmla="*/ 521 w 614"/>
                  <a:gd name="T9" fmla="*/ 175 h 467"/>
                  <a:gd name="T10" fmla="*/ 502 w 614"/>
                  <a:gd name="T11" fmla="*/ 152 h 467"/>
                  <a:gd name="T12" fmla="*/ 467 w 614"/>
                  <a:gd name="T13" fmla="*/ 130 h 467"/>
                  <a:gd name="T14" fmla="*/ 433 w 614"/>
                  <a:gd name="T15" fmla="*/ 120 h 467"/>
                  <a:gd name="T16" fmla="*/ 431 w 614"/>
                  <a:gd name="T17" fmla="*/ 102 h 467"/>
                  <a:gd name="T18" fmla="*/ 402 w 614"/>
                  <a:gd name="T19" fmla="*/ 8 h 467"/>
                  <a:gd name="T20" fmla="*/ 385 w 614"/>
                  <a:gd name="T21" fmla="*/ 0 h 467"/>
                  <a:gd name="T22" fmla="*/ 345 w 614"/>
                  <a:gd name="T23" fmla="*/ 38 h 467"/>
                  <a:gd name="T24" fmla="*/ 320 w 614"/>
                  <a:gd name="T25" fmla="*/ 55 h 467"/>
                  <a:gd name="T26" fmla="*/ 222 w 614"/>
                  <a:gd name="T27" fmla="*/ 107 h 467"/>
                  <a:gd name="T28" fmla="*/ 223 w 614"/>
                  <a:gd name="T29" fmla="*/ 132 h 467"/>
                  <a:gd name="T30" fmla="*/ 151 w 614"/>
                  <a:gd name="T31" fmla="*/ 160 h 467"/>
                  <a:gd name="T32" fmla="*/ 108 w 614"/>
                  <a:gd name="T33" fmla="*/ 165 h 467"/>
                  <a:gd name="T34" fmla="*/ 56 w 614"/>
                  <a:gd name="T35" fmla="*/ 186 h 467"/>
                  <a:gd name="T36" fmla="*/ 35 w 614"/>
                  <a:gd name="T37" fmla="*/ 224 h 467"/>
                  <a:gd name="T38" fmla="*/ 24 w 614"/>
                  <a:gd name="T39" fmla="*/ 249 h 467"/>
                  <a:gd name="T40" fmla="*/ 15 w 614"/>
                  <a:gd name="T41" fmla="*/ 273 h 467"/>
                  <a:gd name="T42" fmla="*/ 7 w 614"/>
                  <a:gd name="T43" fmla="*/ 306 h 467"/>
                  <a:gd name="T44" fmla="*/ 19 w 614"/>
                  <a:gd name="T45" fmla="*/ 344 h 467"/>
                  <a:gd name="T46" fmla="*/ 36 w 614"/>
                  <a:gd name="T47" fmla="*/ 381 h 467"/>
                  <a:gd name="T48" fmla="*/ 79 w 614"/>
                  <a:gd name="T49" fmla="*/ 428 h 467"/>
                  <a:gd name="T50" fmla="*/ 83 w 614"/>
                  <a:gd name="T51" fmla="*/ 461 h 467"/>
                  <a:gd name="T52" fmla="*/ 106 w 614"/>
                  <a:gd name="T53" fmla="*/ 441 h 467"/>
                  <a:gd name="T54" fmla="*/ 108 w 614"/>
                  <a:gd name="T55" fmla="*/ 400 h 467"/>
                  <a:gd name="T56" fmla="*/ 147 w 614"/>
                  <a:gd name="T57" fmla="*/ 390 h 467"/>
                  <a:gd name="T58" fmla="*/ 193 w 614"/>
                  <a:gd name="T59" fmla="*/ 394 h 467"/>
                  <a:gd name="T60" fmla="*/ 203 w 614"/>
                  <a:gd name="T61" fmla="*/ 370 h 467"/>
                  <a:gd name="T62" fmla="*/ 218 w 614"/>
                  <a:gd name="T63" fmla="*/ 344 h 467"/>
                  <a:gd name="T64" fmla="*/ 273 w 614"/>
                  <a:gd name="T65" fmla="*/ 330 h 467"/>
                  <a:gd name="T66" fmla="*/ 295 w 614"/>
                  <a:gd name="T67" fmla="*/ 351 h 467"/>
                  <a:gd name="T68" fmla="*/ 335 w 614"/>
                  <a:gd name="T69" fmla="*/ 362 h 467"/>
                  <a:gd name="T70" fmla="*/ 385 w 614"/>
                  <a:gd name="T71" fmla="*/ 368 h 467"/>
                  <a:gd name="T72" fmla="*/ 410 w 614"/>
                  <a:gd name="T73" fmla="*/ 328 h 467"/>
                  <a:gd name="T74" fmla="*/ 449 w 614"/>
                  <a:gd name="T75" fmla="*/ 330 h 467"/>
                  <a:gd name="T76" fmla="*/ 477 w 614"/>
                  <a:gd name="T77" fmla="*/ 316 h 467"/>
                  <a:gd name="T78" fmla="*/ 512 w 614"/>
                  <a:gd name="T79" fmla="*/ 321 h 467"/>
                  <a:gd name="T80" fmla="*/ 539 w 614"/>
                  <a:gd name="T81" fmla="*/ 311 h 467"/>
                  <a:gd name="T82" fmla="*/ 586 w 614"/>
                  <a:gd name="T83" fmla="*/ 319 h 467"/>
                  <a:gd name="T84" fmla="*/ 606 w 614"/>
                  <a:gd name="T85" fmla="*/ 281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4" h="467">
                    <a:moveTo>
                      <a:pt x="606" y="281"/>
                    </a:moveTo>
                    <a:cubicBezTo>
                      <a:pt x="598" y="273"/>
                      <a:pt x="589" y="267"/>
                      <a:pt x="589" y="267"/>
                    </a:cubicBezTo>
                    <a:cubicBezTo>
                      <a:pt x="574" y="266"/>
                      <a:pt x="574" y="266"/>
                      <a:pt x="574" y="266"/>
                    </a:cubicBezTo>
                    <a:cubicBezTo>
                      <a:pt x="575" y="253"/>
                      <a:pt x="575" y="253"/>
                      <a:pt x="575" y="253"/>
                    </a:cubicBezTo>
                    <a:cubicBezTo>
                      <a:pt x="575" y="253"/>
                      <a:pt x="568" y="250"/>
                      <a:pt x="567" y="244"/>
                    </a:cubicBezTo>
                    <a:cubicBezTo>
                      <a:pt x="566" y="238"/>
                      <a:pt x="573" y="244"/>
                      <a:pt x="573" y="236"/>
                    </a:cubicBezTo>
                    <a:cubicBezTo>
                      <a:pt x="573" y="228"/>
                      <a:pt x="558" y="227"/>
                      <a:pt x="558" y="227"/>
                    </a:cubicBezTo>
                    <a:cubicBezTo>
                      <a:pt x="558" y="227"/>
                      <a:pt x="549" y="204"/>
                      <a:pt x="542" y="203"/>
                    </a:cubicBezTo>
                    <a:cubicBezTo>
                      <a:pt x="535" y="202"/>
                      <a:pt x="521" y="200"/>
                      <a:pt x="515" y="190"/>
                    </a:cubicBezTo>
                    <a:cubicBezTo>
                      <a:pt x="509" y="180"/>
                      <a:pt x="524" y="186"/>
                      <a:pt x="521" y="175"/>
                    </a:cubicBezTo>
                    <a:cubicBezTo>
                      <a:pt x="518" y="164"/>
                      <a:pt x="502" y="165"/>
                      <a:pt x="502" y="165"/>
                    </a:cubicBezTo>
                    <a:cubicBezTo>
                      <a:pt x="502" y="152"/>
                      <a:pt x="502" y="152"/>
                      <a:pt x="502" y="152"/>
                    </a:cubicBezTo>
                    <a:cubicBezTo>
                      <a:pt x="502" y="152"/>
                      <a:pt x="472" y="154"/>
                      <a:pt x="466" y="146"/>
                    </a:cubicBezTo>
                    <a:cubicBezTo>
                      <a:pt x="460" y="138"/>
                      <a:pt x="467" y="130"/>
                      <a:pt x="467" y="130"/>
                    </a:cubicBezTo>
                    <a:cubicBezTo>
                      <a:pt x="467" y="123"/>
                      <a:pt x="467" y="123"/>
                      <a:pt x="467" y="123"/>
                    </a:cubicBezTo>
                    <a:cubicBezTo>
                      <a:pt x="433" y="120"/>
                      <a:pt x="433" y="120"/>
                      <a:pt x="433" y="120"/>
                    </a:cubicBezTo>
                    <a:cubicBezTo>
                      <a:pt x="439" y="109"/>
                      <a:pt x="439" y="109"/>
                      <a:pt x="439" y="109"/>
                    </a:cubicBezTo>
                    <a:cubicBezTo>
                      <a:pt x="439" y="109"/>
                      <a:pt x="430" y="112"/>
                      <a:pt x="431" y="102"/>
                    </a:cubicBezTo>
                    <a:cubicBezTo>
                      <a:pt x="432" y="92"/>
                      <a:pt x="447" y="85"/>
                      <a:pt x="443" y="63"/>
                    </a:cubicBezTo>
                    <a:cubicBezTo>
                      <a:pt x="439" y="41"/>
                      <a:pt x="402" y="8"/>
                      <a:pt x="402" y="8"/>
                    </a:cubicBezTo>
                    <a:cubicBezTo>
                      <a:pt x="401" y="1"/>
                      <a:pt x="401" y="1"/>
                      <a:pt x="401" y="1"/>
                    </a:cubicBezTo>
                    <a:cubicBezTo>
                      <a:pt x="385" y="0"/>
                      <a:pt x="385" y="0"/>
                      <a:pt x="385" y="0"/>
                    </a:cubicBezTo>
                    <a:cubicBezTo>
                      <a:pt x="348" y="18"/>
                      <a:pt x="348" y="18"/>
                      <a:pt x="348" y="18"/>
                    </a:cubicBezTo>
                    <a:cubicBezTo>
                      <a:pt x="345" y="38"/>
                      <a:pt x="345" y="38"/>
                      <a:pt x="345" y="38"/>
                    </a:cubicBezTo>
                    <a:cubicBezTo>
                      <a:pt x="333" y="50"/>
                      <a:pt x="333" y="50"/>
                      <a:pt x="333" y="50"/>
                    </a:cubicBezTo>
                    <a:cubicBezTo>
                      <a:pt x="320" y="55"/>
                      <a:pt x="320" y="55"/>
                      <a:pt x="320" y="55"/>
                    </a:cubicBezTo>
                    <a:cubicBezTo>
                      <a:pt x="320" y="55"/>
                      <a:pt x="325" y="77"/>
                      <a:pt x="293" y="92"/>
                    </a:cubicBezTo>
                    <a:cubicBezTo>
                      <a:pt x="262" y="107"/>
                      <a:pt x="222" y="107"/>
                      <a:pt x="222" y="107"/>
                    </a:cubicBezTo>
                    <a:cubicBezTo>
                      <a:pt x="208" y="115"/>
                      <a:pt x="208" y="115"/>
                      <a:pt x="208" y="115"/>
                    </a:cubicBezTo>
                    <a:cubicBezTo>
                      <a:pt x="208" y="115"/>
                      <a:pt x="228" y="125"/>
                      <a:pt x="223" y="132"/>
                    </a:cubicBezTo>
                    <a:cubicBezTo>
                      <a:pt x="218" y="138"/>
                      <a:pt x="203" y="160"/>
                      <a:pt x="203" y="160"/>
                    </a:cubicBezTo>
                    <a:cubicBezTo>
                      <a:pt x="203" y="160"/>
                      <a:pt x="170" y="160"/>
                      <a:pt x="151" y="160"/>
                    </a:cubicBezTo>
                    <a:cubicBezTo>
                      <a:pt x="133" y="160"/>
                      <a:pt x="138" y="180"/>
                      <a:pt x="120" y="185"/>
                    </a:cubicBezTo>
                    <a:cubicBezTo>
                      <a:pt x="101" y="190"/>
                      <a:pt x="108" y="165"/>
                      <a:pt x="108" y="165"/>
                    </a:cubicBezTo>
                    <a:cubicBezTo>
                      <a:pt x="108" y="165"/>
                      <a:pt x="88" y="180"/>
                      <a:pt x="78" y="187"/>
                    </a:cubicBezTo>
                    <a:cubicBezTo>
                      <a:pt x="68" y="193"/>
                      <a:pt x="56" y="186"/>
                      <a:pt x="56" y="186"/>
                    </a:cubicBezTo>
                    <a:cubicBezTo>
                      <a:pt x="56" y="186"/>
                      <a:pt x="38" y="196"/>
                      <a:pt x="37" y="204"/>
                    </a:cubicBezTo>
                    <a:cubicBezTo>
                      <a:pt x="36" y="212"/>
                      <a:pt x="35" y="224"/>
                      <a:pt x="35" y="224"/>
                    </a:cubicBezTo>
                    <a:cubicBezTo>
                      <a:pt x="29" y="224"/>
                      <a:pt x="29" y="224"/>
                      <a:pt x="29" y="224"/>
                    </a:cubicBezTo>
                    <a:cubicBezTo>
                      <a:pt x="24" y="249"/>
                      <a:pt x="24" y="249"/>
                      <a:pt x="24" y="249"/>
                    </a:cubicBezTo>
                    <a:cubicBezTo>
                      <a:pt x="24" y="249"/>
                      <a:pt x="2" y="256"/>
                      <a:pt x="1" y="264"/>
                    </a:cubicBezTo>
                    <a:cubicBezTo>
                      <a:pt x="0" y="272"/>
                      <a:pt x="15" y="273"/>
                      <a:pt x="15" y="273"/>
                    </a:cubicBezTo>
                    <a:cubicBezTo>
                      <a:pt x="14" y="298"/>
                      <a:pt x="14" y="298"/>
                      <a:pt x="14" y="298"/>
                    </a:cubicBezTo>
                    <a:cubicBezTo>
                      <a:pt x="7" y="306"/>
                      <a:pt x="7" y="306"/>
                      <a:pt x="7" y="306"/>
                    </a:cubicBezTo>
                    <a:cubicBezTo>
                      <a:pt x="19" y="313"/>
                      <a:pt x="19" y="313"/>
                      <a:pt x="19" y="313"/>
                    </a:cubicBezTo>
                    <a:cubicBezTo>
                      <a:pt x="19" y="344"/>
                      <a:pt x="19" y="344"/>
                      <a:pt x="19" y="344"/>
                    </a:cubicBezTo>
                    <a:cubicBezTo>
                      <a:pt x="19" y="344"/>
                      <a:pt x="36" y="355"/>
                      <a:pt x="38" y="358"/>
                    </a:cubicBezTo>
                    <a:cubicBezTo>
                      <a:pt x="40" y="361"/>
                      <a:pt x="36" y="381"/>
                      <a:pt x="36" y="381"/>
                    </a:cubicBezTo>
                    <a:cubicBezTo>
                      <a:pt x="36" y="381"/>
                      <a:pt x="47" y="404"/>
                      <a:pt x="57" y="412"/>
                    </a:cubicBezTo>
                    <a:cubicBezTo>
                      <a:pt x="67" y="420"/>
                      <a:pt x="79" y="428"/>
                      <a:pt x="79" y="428"/>
                    </a:cubicBezTo>
                    <a:cubicBezTo>
                      <a:pt x="83" y="442"/>
                      <a:pt x="83" y="442"/>
                      <a:pt x="83" y="442"/>
                    </a:cubicBezTo>
                    <a:cubicBezTo>
                      <a:pt x="83" y="461"/>
                      <a:pt x="83" y="461"/>
                      <a:pt x="83" y="461"/>
                    </a:cubicBezTo>
                    <a:cubicBezTo>
                      <a:pt x="88" y="467"/>
                      <a:pt x="88" y="467"/>
                      <a:pt x="88" y="467"/>
                    </a:cubicBezTo>
                    <a:cubicBezTo>
                      <a:pt x="88" y="467"/>
                      <a:pt x="104" y="448"/>
                      <a:pt x="106" y="441"/>
                    </a:cubicBezTo>
                    <a:cubicBezTo>
                      <a:pt x="108" y="434"/>
                      <a:pt x="98" y="421"/>
                      <a:pt x="98" y="421"/>
                    </a:cubicBezTo>
                    <a:cubicBezTo>
                      <a:pt x="108" y="400"/>
                      <a:pt x="108" y="400"/>
                      <a:pt x="108" y="400"/>
                    </a:cubicBezTo>
                    <a:cubicBezTo>
                      <a:pt x="128" y="401"/>
                      <a:pt x="128" y="401"/>
                      <a:pt x="128" y="401"/>
                    </a:cubicBezTo>
                    <a:cubicBezTo>
                      <a:pt x="128" y="401"/>
                      <a:pt x="141" y="390"/>
                      <a:pt x="147" y="390"/>
                    </a:cubicBezTo>
                    <a:cubicBezTo>
                      <a:pt x="153" y="390"/>
                      <a:pt x="167" y="398"/>
                      <a:pt x="178" y="399"/>
                    </a:cubicBezTo>
                    <a:cubicBezTo>
                      <a:pt x="189" y="400"/>
                      <a:pt x="193" y="394"/>
                      <a:pt x="193" y="394"/>
                    </a:cubicBezTo>
                    <a:cubicBezTo>
                      <a:pt x="203" y="380"/>
                      <a:pt x="203" y="380"/>
                      <a:pt x="203" y="380"/>
                    </a:cubicBezTo>
                    <a:cubicBezTo>
                      <a:pt x="203" y="370"/>
                      <a:pt x="203" y="370"/>
                      <a:pt x="203" y="370"/>
                    </a:cubicBezTo>
                    <a:cubicBezTo>
                      <a:pt x="203" y="370"/>
                      <a:pt x="193" y="367"/>
                      <a:pt x="201" y="357"/>
                    </a:cubicBezTo>
                    <a:cubicBezTo>
                      <a:pt x="209" y="347"/>
                      <a:pt x="208" y="358"/>
                      <a:pt x="218" y="344"/>
                    </a:cubicBezTo>
                    <a:cubicBezTo>
                      <a:pt x="228" y="330"/>
                      <a:pt x="218" y="311"/>
                      <a:pt x="247" y="313"/>
                    </a:cubicBezTo>
                    <a:cubicBezTo>
                      <a:pt x="276" y="315"/>
                      <a:pt x="273" y="330"/>
                      <a:pt x="273" y="330"/>
                    </a:cubicBezTo>
                    <a:cubicBezTo>
                      <a:pt x="273" y="330"/>
                      <a:pt x="286" y="328"/>
                      <a:pt x="289" y="332"/>
                    </a:cubicBezTo>
                    <a:cubicBezTo>
                      <a:pt x="292" y="336"/>
                      <a:pt x="280" y="351"/>
                      <a:pt x="295" y="351"/>
                    </a:cubicBezTo>
                    <a:cubicBezTo>
                      <a:pt x="310" y="351"/>
                      <a:pt x="319" y="351"/>
                      <a:pt x="319" y="351"/>
                    </a:cubicBezTo>
                    <a:cubicBezTo>
                      <a:pt x="319" y="351"/>
                      <a:pt x="325" y="363"/>
                      <a:pt x="335" y="362"/>
                    </a:cubicBezTo>
                    <a:cubicBezTo>
                      <a:pt x="345" y="361"/>
                      <a:pt x="363" y="361"/>
                      <a:pt x="363" y="361"/>
                    </a:cubicBezTo>
                    <a:cubicBezTo>
                      <a:pt x="363" y="361"/>
                      <a:pt x="376" y="375"/>
                      <a:pt x="385" y="368"/>
                    </a:cubicBezTo>
                    <a:cubicBezTo>
                      <a:pt x="394" y="361"/>
                      <a:pt x="389" y="347"/>
                      <a:pt x="396" y="344"/>
                    </a:cubicBezTo>
                    <a:cubicBezTo>
                      <a:pt x="403" y="341"/>
                      <a:pt x="410" y="328"/>
                      <a:pt x="410" y="328"/>
                    </a:cubicBezTo>
                    <a:cubicBezTo>
                      <a:pt x="410" y="328"/>
                      <a:pt x="424" y="349"/>
                      <a:pt x="430" y="344"/>
                    </a:cubicBezTo>
                    <a:cubicBezTo>
                      <a:pt x="436" y="339"/>
                      <a:pt x="449" y="330"/>
                      <a:pt x="449" y="330"/>
                    </a:cubicBezTo>
                    <a:cubicBezTo>
                      <a:pt x="461" y="330"/>
                      <a:pt x="461" y="330"/>
                      <a:pt x="461" y="330"/>
                    </a:cubicBezTo>
                    <a:cubicBezTo>
                      <a:pt x="477" y="316"/>
                      <a:pt x="477" y="316"/>
                      <a:pt x="477" y="316"/>
                    </a:cubicBezTo>
                    <a:cubicBezTo>
                      <a:pt x="477" y="316"/>
                      <a:pt x="486" y="326"/>
                      <a:pt x="490" y="326"/>
                    </a:cubicBezTo>
                    <a:cubicBezTo>
                      <a:pt x="494" y="326"/>
                      <a:pt x="512" y="321"/>
                      <a:pt x="512" y="321"/>
                    </a:cubicBezTo>
                    <a:cubicBezTo>
                      <a:pt x="512" y="321"/>
                      <a:pt x="517" y="300"/>
                      <a:pt x="524" y="299"/>
                    </a:cubicBezTo>
                    <a:cubicBezTo>
                      <a:pt x="531" y="298"/>
                      <a:pt x="539" y="311"/>
                      <a:pt x="539" y="311"/>
                    </a:cubicBezTo>
                    <a:cubicBezTo>
                      <a:pt x="560" y="308"/>
                      <a:pt x="560" y="308"/>
                      <a:pt x="560" y="308"/>
                    </a:cubicBezTo>
                    <a:cubicBezTo>
                      <a:pt x="560" y="308"/>
                      <a:pt x="566" y="324"/>
                      <a:pt x="586" y="319"/>
                    </a:cubicBezTo>
                    <a:cubicBezTo>
                      <a:pt x="606" y="314"/>
                      <a:pt x="610" y="303"/>
                      <a:pt x="610" y="303"/>
                    </a:cubicBezTo>
                    <a:cubicBezTo>
                      <a:pt x="610" y="303"/>
                      <a:pt x="614" y="289"/>
                      <a:pt x="606" y="281"/>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42" name="Freeform 164">
                <a:extLst>
                  <a:ext uri="{FF2B5EF4-FFF2-40B4-BE49-F238E27FC236}">
                    <a16:creationId xmlns:a16="http://schemas.microsoft.com/office/drawing/2014/main" id="{B74D8FEB-3353-401D-B26B-850A1395D7E9}"/>
                  </a:ext>
                </a:extLst>
              </p:cNvPr>
              <p:cNvSpPr>
                <a:spLocks/>
              </p:cNvSpPr>
              <p:nvPr>
                <p:custDataLst>
                  <p:tags r:id="rId123"/>
                </p:custDataLst>
              </p:nvPr>
            </p:nvSpPr>
            <p:spPr bwMode="gray">
              <a:xfrm>
                <a:off x="4800573" y="4273566"/>
                <a:ext cx="214312" cy="257176"/>
              </a:xfrm>
              <a:custGeom>
                <a:avLst/>
                <a:gdLst>
                  <a:gd name="T0" fmla="*/ 238 w 356"/>
                  <a:gd name="T1" fmla="*/ 83 h 466"/>
                  <a:gd name="T2" fmla="*/ 219 w 356"/>
                  <a:gd name="T3" fmla="*/ 95 h 466"/>
                  <a:gd name="T4" fmla="*/ 166 w 356"/>
                  <a:gd name="T5" fmla="*/ 83 h 466"/>
                  <a:gd name="T6" fmla="*/ 96 w 356"/>
                  <a:gd name="T7" fmla="*/ 108 h 466"/>
                  <a:gd name="T8" fmla="*/ 115 w 356"/>
                  <a:gd name="T9" fmla="*/ 134 h 466"/>
                  <a:gd name="T10" fmla="*/ 149 w 356"/>
                  <a:gd name="T11" fmla="*/ 128 h 466"/>
                  <a:gd name="T12" fmla="*/ 159 w 356"/>
                  <a:gd name="T13" fmla="*/ 146 h 466"/>
                  <a:gd name="T14" fmla="*/ 140 w 356"/>
                  <a:gd name="T15" fmla="*/ 172 h 466"/>
                  <a:gd name="T16" fmla="*/ 130 w 356"/>
                  <a:gd name="T17" fmla="*/ 212 h 466"/>
                  <a:gd name="T18" fmla="*/ 147 w 356"/>
                  <a:gd name="T19" fmla="*/ 225 h 466"/>
                  <a:gd name="T20" fmla="*/ 158 w 356"/>
                  <a:gd name="T21" fmla="*/ 243 h 466"/>
                  <a:gd name="T22" fmla="*/ 155 w 356"/>
                  <a:gd name="T23" fmla="*/ 284 h 466"/>
                  <a:gd name="T24" fmla="*/ 146 w 356"/>
                  <a:gd name="T25" fmla="*/ 316 h 466"/>
                  <a:gd name="T26" fmla="*/ 127 w 356"/>
                  <a:gd name="T27" fmla="*/ 311 h 466"/>
                  <a:gd name="T28" fmla="*/ 90 w 356"/>
                  <a:gd name="T29" fmla="*/ 327 h 466"/>
                  <a:gd name="T30" fmla="*/ 64 w 356"/>
                  <a:gd name="T31" fmla="*/ 297 h 466"/>
                  <a:gd name="T32" fmla="*/ 58 w 356"/>
                  <a:gd name="T33" fmla="*/ 329 h 466"/>
                  <a:gd name="T34" fmla="*/ 25 w 356"/>
                  <a:gd name="T35" fmla="*/ 346 h 466"/>
                  <a:gd name="T36" fmla="*/ 35 w 356"/>
                  <a:gd name="T37" fmla="*/ 359 h 466"/>
                  <a:gd name="T38" fmla="*/ 38 w 356"/>
                  <a:gd name="T39" fmla="*/ 376 h 466"/>
                  <a:gd name="T40" fmla="*/ 19 w 356"/>
                  <a:gd name="T41" fmla="*/ 389 h 466"/>
                  <a:gd name="T42" fmla="*/ 0 w 356"/>
                  <a:gd name="T43" fmla="*/ 411 h 466"/>
                  <a:gd name="T44" fmla="*/ 37 w 356"/>
                  <a:gd name="T45" fmla="*/ 454 h 466"/>
                  <a:gd name="T46" fmla="*/ 50 w 356"/>
                  <a:gd name="T47" fmla="*/ 460 h 466"/>
                  <a:gd name="T48" fmla="*/ 61 w 356"/>
                  <a:gd name="T49" fmla="*/ 446 h 466"/>
                  <a:gd name="T50" fmla="*/ 91 w 356"/>
                  <a:gd name="T51" fmla="*/ 448 h 466"/>
                  <a:gd name="T52" fmla="*/ 114 w 356"/>
                  <a:gd name="T53" fmla="*/ 461 h 466"/>
                  <a:gd name="T54" fmla="*/ 138 w 356"/>
                  <a:gd name="T55" fmla="*/ 441 h 466"/>
                  <a:gd name="T56" fmla="*/ 159 w 356"/>
                  <a:gd name="T57" fmla="*/ 462 h 466"/>
                  <a:gd name="T58" fmla="*/ 209 w 356"/>
                  <a:gd name="T59" fmla="*/ 418 h 466"/>
                  <a:gd name="T60" fmla="*/ 242 w 356"/>
                  <a:gd name="T61" fmla="*/ 385 h 466"/>
                  <a:gd name="T62" fmla="*/ 260 w 356"/>
                  <a:gd name="T63" fmla="*/ 302 h 466"/>
                  <a:gd name="T64" fmla="*/ 298 w 356"/>
                  <a:gd name="T65" fmla="*/ 251 h 466"/>
                  <a:gd name="T66" fmla="*/ 317 w 356"/>
                  <a:gd name="T67" fmla="*/ 197 h 466"/>
                  <a:gd name="T68" fmla="*/ 320 w 356"/>
                  <a:gd name="T69" fmla="*/ 152 h 466"/>
                  <a:gd name="T70" fmla="*/ 332 w 356"/>
                  <a:gd name="T71" fmla="*/ 77 h 466"/>
                  <a:gd name="T72" fmla="*/ 356 w 356"/>
                  <a:gd name="T73" fmla="*/ 11 h 466"/>
                  <a:gd name="T74" fmla="*/ 332 w 356"/>
                  <a:gd name="T75" fmla="*/ 9 h 466"/>
                  <a:gd name="T76" fmla="*/ 282 w 356"/>
                  <a:gd name="T77" fmla="*/ 11 h 466"/>
                  <a:gd name="T78" fmla="*/ 252 w 356"/>
                  <a:gd name="T79" fmla="*/ 31 h 466"/>
                  <a:gd name="T80" fmla="*/ 242 w 356"/>
                  <a:gd name="T81" fmla="*/ 77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56" h="466">
                    <a:moveTo>
                      <a:pt x="242" y="77"/>
                    </a:moveTo>
                    <a:cubicBezTo>
                      <a:pt x="238" y="83"/>
                      <a:pt x="238" y="83"/>
                      <a:pt x="238" y="83"/>
                    </a:cubicBezTo>
                    <a:cubicBezTo>
                      <a:pt x="237" y="110"/>
                      <a:pt x="237" y="110"/>
                      <a:pt x="237" y="110"/>
                    </a:cubicBezTo>
                    <a:cubicBezTo>
                      <a:pt x="219" y="95"/>
                      <a:pt x="219" y="95"/>
                      <a:pt x="219" y="95"/>
                    </a:cubicBezTo>
                    <a:cubicBezTo>
                      <a:pt x="199" y="96"/>
                      <a:pt x="199" y="96"/>
                      <a:pt x="199" y="96"/>
                    </a:cubicBezTo>
                    <a:cubicBezTo>
                      <a:pt x="199" y="96"/>
                      <a:pt x="171" y="83"/>
                      <a:pt x="166" y="83"/>
                    </a:cubicBezTo>
                    <a:cubicBezTo>
                      <a:pt x="161" y="83"/>
                      <a:pt x="106" y="86"/>
                      <a:pt x="106" y="86"/>
                    </a:cubicBezTo>
                    <a:cubicBezTo>
                      <a:pt x="96" y="108"/>
                      <a:pt x="96" y="108"/>
                      <a:pt x="96" y="108"/>
                    </a:cubicBezTo>
                    <a:cubicBezTo>
                      <a:pt x="98" y="129"/>
                      <a:pt x="98" y="129"/>
                      <a:pt x="98" y="129"/>
                    </a:cubicBezTo>
                    <a:cubicBezTo>
                      <a:pt x="98" y="129"/>
                      <a:pt x="106" y="134"/>
                      <a:pt x="115" y="134"/>
                    </a:cubicBezTo>
                    <a:cubicBezTo>
                      <a:pt x="124" y="134"/>
                      <a:pt x="124" y="119"/>
                      <a:pt x="129" y="119"/>
                    </a:cubicBezTo>
                    <a:cubicBezTo>
                      <a:pt x="134" y="119"/>
                      <a:pt x="146" y="124"/>
                      <a:pt x="149" y="128"/>
                    </a:cubicBezTo>
                    <a:cubicBezTo>
                      <a:pt x="152" y="132"/>
                      <a:pt x="153" y="142"/>
                      <a:pt x="153" y="142"/>
                    </a:cubicBezTo>
                    <a:cubicBezTo>
                      <a:pt x="159" y="146"/>
                      <a:pt x="159" y="146"/>
                      <a:pt x="159" y="146"/>
                    </a:cubicBezTo>
                    <a:cubicBezTo>
                      <a:pt x="159" y="146"/>
                      <a:pt x="159" y="159"/>
                      <a:pt x="153" y="166"/>
                    </a:cubicBezTo>
                    <a:cubicBezTo>
                      <a:pt x="147" y="173"/>
                      <a:pt x="140" y="172"/>
                      <a:pt x="140" y="172"/>
                    </a:cubicBezTo>
                    <a:cubicBezTo>
                      <a:pt x="131" y="188"/>
                      <a:pt x="131" y="188"/>
                      <a:pt x="131" y="188"/>
                    </a:cubicBezTo>
                    <a:cubicBezTo>
                      <a:pt x="130" y="212"/>
                      <a:pt x="130" y="212"/>
                      <a:pt x="130" y="212"/>
                    </a:cubicBezTo>
                    <a:cubicBezTo>
                      <a:pt x="142" y="213"/>
                      <a:pt x="142" y="213"/>
                      <a:pt x="142" y="213"/>
                    </a:cubicBezTo>
                    <a:cubicBezTo>
                      <a:pt x="147" y="225"/>
                      <a:pt x="147" y="225"/>
                      <a:pt x="147" y="225"/>
                    </a:cubicBezTo>
                    <a:cubicBezTo>
                      <a:pt x="147" y="225"/>
                      <a:pt x="163" y="226"/>
                      <a:pt x="165" y="232"/>
                    </a:cubicBezTo>
                    <a:cubicBezTo>
                      <a:pt x="167" y="238"/>
                      <a:pt x="158" y="243"/>
                      <a:pt x="158" y="243"/>
                    </a:cubicBezTo>
                    <a:cubicBezTo>
                      <a:pt x="159" y="273"/>
                      <a:pt x="159" y="273"/>
                      <a:pt x="159" y="273"/>
                    </a:cubicBezTo>
                    <a:cubicBezTo>
                      <a:pt x="155" y="284"/>
                      <a:pt x="155" y="284"/>
                      <a:pt x="155" y="284"/>
                    </a:cubicBezTo>
                    <a:cubicBezTo>
                      <a:pt x="159" y="298"/>
                      <a:pt x="159" y="298"/>
                      <a:pt x="159" y="298"/>
                    </a:cubicBezTo>
                    <a:cubicBezTo>
                      <a:pt x="159" y="298"/>
                      <a:pt x="146" y="302"/>
                      <a:pt x="146" y="316"/>
                    </a:cubicBezTo>
                    <a:cubicBezTo>
                      <a:pt x="146" y="330"/>
                      <a:pt x="144" y="336"/>
                      <a:pt x="134" y="336"/>
                    </a:cubicBezTo>
                    <a:cubicBezTo>
                      <a:pt x="124" y="336"/>
                      <a:pt x="131" y="314"/>
                      <a:pt x="127" y="311"/>
                    </a:cubicBezTo>
                    <a:cubicBezTo>
                      <a:pt x="123" y="308"/>
                      <a:pt x="120" y="324"/>
                      <a:pt x="112" y="326"/>
                    </a:cubicBezTo>
                    <a:cubicBezTo>
                      <a:pt x="104" y="328"/>
                      <a:pt x="90" y="327"/>
                      <a:pt x="90" y="327"/>
                    </a:cubicBezTo>
                    <a:cubicBezTo>
                      <a:pt x="81" y="298"/>
                      <a:pt x="81" y="298"/>
                      <a:pt x="81" y="298"/>
                    </a:cubicBezTo>
                    <a:cubicBezTo>
                      <a:pt x="81" y="298"/>
                      <a:pt x="70" y="296"/>
                      <a:pt x="64" y="297"/>
                    </a:cubicBezTo>
                    <a:cubicBezTo>
                      <a:pt x="58" y="298"/>
                      <a:pt x="71" y="316"/>
                      <a:pt x="71" y="316"/>
                    </a:cubicBezTo>
                    <a:cubicBezTo>
                      <a:pt x="71" y="316"/>
                      <a:pt x="62" y="324"/>
                      <a:pt x="58" y="329"/>
                    </a:cubicBezTo>
                    <a:cubicBezTo>
                      <a:pt x="54" y="334"/>
                      <a:pt x="30" y="325"/>
                      <a:pt x="24" y="323"/>
                    </a:cubicBezTo>
                    <a:cubicBezTo>
                      <a:pt x="18" y="321"/>
                      <a:pt x="25" y="346"/>
                      <a:pt x="25" y="346"/>
                    </a:cubicBezTo>
                    <a:cubicBezTo>
                      <a:pt x="18" y="346"/>
                      <a:pt x="18" y="346"/>
                      <a:pt x="18" y="346"/>
                    </a:cubicBezTo>
                    <a:cubicBezTo>
                      <a:pt x="35" y="359"/>
                      <a:pt x="35" y="359"/>
                      <a:pt x="35" y="359"/>
                    </a:cubicBezTo>
                    <a:cubicBezTo>
                      <a:pt x="26" y="368"/>
                      <a:pt x="26" y="368"/>
                      <a:pt x="26" y="368"/>
                    </a:cubicBezTo>
                    <a:cubicBezTo>
                      <a:pt x="38" y="376"/>
                      <a:pt x="38" y="376"/>
                      <a:pt x="38" y="376"/>
                    </a:cubicBezTo>
                    <a:cubicBezTo>
                      <a:pt x="38" y="376"/>
                      <a:pt x="42" y="389"/>
                      <a:pt x="38" y="398"/>
                    </a:cubicBezTo>
                    <a:cubicBezTo>
                      <a:pt x="34" y="407"/>
                      <a:pt x="19" y="389"/>
                      <a:pt x="19" y="389"/>
                    </a:cubicBezTo>
                    <a:cubicBezTo>
                      <a:pt x="5" y="398"/>
                      <a:pt x="5" y="398"/>
                      <a:pt x="5" y="398"/>
                    </a:cubicBezTo>
                    <a:cubicBezTo>
                      <a:pt x="0" y="411"/>
                      <a:pt x="0" y="411"/>
                      <a:pt x="0" y="411"/>
                    </a:cubicBezTo>
                    <a:cubicBezTo>
                      <a:pt x="36" y="442"/>
                      <a:pt x="36" y="442"/>
                      <a:pt x="36" y="442"/>
                    </a:cubicBezTo>
                    <a:cubicBezTo>
                      <a:pt x="37" y="454"/>
                      <a:pt x="37" y="454"/>
                      <a:pt x="37" y="454"/>
                    </a:cubicBezTo>
                    <a:cubicBezTo>
                      <a:pt x="46" y="466"/>
                      <a:pt x="46" y="466"/>
                      <a:pt x="46" y="466"/>
                    </a:cubicBezTo>
                    <a:cubicBezTo>
                      <a:pt x="50" y="460"/>
                      <a:pt x="50" y="460"/>
                      <a:pt x="50" y="460"/>
                    </a:cubicBezTo>
                    <a:cubicBezTo>
                      <a:pt x="61" y="460"/>
                      <a:pt x="61" y="460"/>
                      <a:pt x="61" y="460"/>
                    </a:cubicBezTo>
                    <a:cubicBezTo>
                      <a:pt x="61" y="446"/>
                      <a:pt x="61" y="446"/>
                      <a:pt x="61" y="446"/>
                    </a:cubicBezTo>
                    <a:cubicBezTo>
                      <a:pt x="61" y="446"/>
                      <a:pt x="75" y="433"/>
                      <a:pt x="82" y="432"/>
                    </a:cubicBezTo>
                    <a:cubicBezTo>
                      <a:pt x="89" y="431"/>
                      <a:pt x="91" y="448"/>
                      <a:pt x="91" y="448"/>
                    </a:cubicBezTo>
                    <a:cubicBezTo>
                      <a:pt x="98" y="445"/>
                      <a:pt x="98" y="445"/>
                      <a:pt x="98" y="445"/>
                    </a:cubicBezTo>
                    <a:cubicBezTo>
                      <a:pt x="98" y="445"/>
                      <a:pt x="102" y="466"/>
                      <a:pt x="114" y="461"/>
                    </a:cubicBezTo>
                    <a:cubicBezTo>
                      <a:pt x="126" y="456"/>
                      <a:pt x="125" y="440"/>
                      <a:pt x="125" y="440"/>
                    </a:cubicBezTo>
                    <a:cubicBezTo>
                      <a:pt x="138" y="441"/>
                      <a:pt x="138" y="441"/>
                      <a:pt x="138" y="441"/>
                    </a:cubicBezTo>
                    <a:cubicBezTo>
                      <a:pt x="138" y="441"/>
                      <a:pt x="148" y="425"/>
                      <a:pt x="155" y="432"/>
                    </a:cubicBezTo>
                    <a:cubicBezTo>
                      <a:pt x="162" y="439"/>
                      <a:pt x="144" y="462"/>
                      <a:pt x="159" y="462"/>
                    </a:cubicBezTo>
                    <a:cubicBezTo>
                      <a:pt x="174" y="462"/>
                      <a:pt x="177" y="457"/>
                      <a:pt x="184" y="448"/>
                    </a:cubicBezTo>
                    <a:cubicBezTo>
                      <a:pt x="191" y="439"/>
                      <a:pt x="203" y="418"/>
                      <a:pt x="209" y="418"/>
                    </a:cubicBezTo>
                    <a:cubicBezTo>
                      <a:pt x="215" y="418"/>
                      <a:pt x="225" y="415"/>
                      <a:pt x="225" y="415"/>
                    </a:cubicBezTo>
                    <a:cubicBezTo>
                      <a:pt x="242" y="385"/>
                      <a:pt x="242" y="385"/>
                      <a:pt x="242" y="385"/>
                    </a:cubicBezTo>
                    <a:cubicBezTo>
                      <a:pt x="241" y="318"/>
                      <a:pt x="241" y="318"/>
                      <a:pt x="241" y="318"/>
                    </a:cubicBezTo>
                    <a:cubicBezTo>
                      <a:pt x="241" y="318"/>
                      <a:pt x="259" y="311"/>
                      <a:pt x="260" y="302"/>
                    </a:cubicBezTo>
                    <a:cubicBezTo>
                      <a:pt x="261" y="293"/>
                      <a:pt x="261" y="270"/>
                      <a:pt x="268" y="267"/>
                    </a:cubicBezTo>
                    <a:cubicBezTo>
                      <a:pt x="275" y="264"/>
                      <a:pt x="288" y="258"/>
                      <a:pt x="298" y="251"/>
                    </a:cubicBezTo>
                    <a:cubicBezTo>
                      <a:pt x="308" y="244"/>
                      <a:pt x="314" y="229"/>
                      <a:pt x="314" y="229"/>
                    </a:cubicBezTo>
                    <a:cubicBezTo>
                      <a:pt x="317" y="197"/>
                      <a:pt x="317" y="197"/>
                      <a:pt x="317" y="197"/>
                    </a:cubicBezTo>
                    <a:cubicBezTo>
                      <a:pt x="317" y="197"/>
                      <a:pt x="327" y="189"/>
                      <a:pt x="327" y="178"/>
                    </a:cubicBezTo>
                    <a:cubicBezTo>
                      <a:pt x="327" y="167"/>
                      <a:pt x="318" y="160"/>
                      <a:pt x="320" y="152"/>
                    </a:cubicBezTo>
                    <a:cubicBezTo>
                      <a:pt x="322" y="144"/>
                      <a:pt x="332" y="136"/>
                      <a:pt x="331" y="125"/>
                    </a:cubicBezTo>
                    <a:cubicBezTo>
                      <a:pt x="330" y="114"/>
                      <a:pt x="323" y="87"/>
                      <a:pt x="332" y="77"/>
                    </a:cubicBezTo>
                    <a:cubicBezTo>
                      <a:pt x="341" y="67"/>
                      <a:pt x="356" y="38"/>
                      <a:pt x="356" y="30"/>
                    </a:cubicBezTo>
                    <a:cubicBezTo>
                      <a:pt x="356" y="22"/>
                      <a:pt x="356" y="11"/>
                      <a:pt x="356" y="11"/>
                    </a:cubicBezTo>
                    <a:cubicBezTo>
                      <a:pt x="347" y="4"/>
                      <a:pt x="347" y="4"/>
                      <a:pt x="347" y="4"/>
                    </a:cubicBezTo>
                    <a:cubicBezTo>
                      <a:pt x="347" y="4"/>
                      <a:pt x="343" y="10"/>
                      <a:pt x="332" y="9"/>
                    </a:cubicBezTo>
                    <a:cubicBezTo>
                      <a:pt x="321" y="8"/>
                      <a:pt x="307" y="0"/>
                      <a:pt x="301" y="0"/>
                    </a:cubicBezTo>
                    <a:cubicBezTo>
                      <a:pt x="295" y="0"/>
                      <a:pt x="282" y="11"/>
                      <a:pt x="282" y="11"/>
                    </a:cubicBezTo>
                    <a:cubicBezTo>
                      <a:pt x="262" y="10"/>
                      <a:pt x="262" y="10"/>
                      <a:pt x="262" y="10"/>
                    </a:cubicBezTo>
                    <a:cubicBezTo>
                      <a:pt x="252" y="31"/>
                      <a:pt x="252" y="31"/>
                      <a:pt x="252" y="31"/>
                    </a:cubicBezTo>
                    <a:cubicBezTo>
                      <a:pt x="252" y="31"/>
                      <a:pt x="262" y="44"/>
                      <a:pt x="260" y="51"/>
                    </a:cubicBezTo>
                    <a:cubicBezTo>
                      <a:pt x="258" y="58"/>
                      <a:pt x="242" y="77"/>
                      <a:pt x="242" y="77"/>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43" name="Freeform 165">
                <a:extLst>
                  <a:ext uri="{FF2B5EF4-FFF2-40B4-BE49-F238E27FC236}">
                    <a16:creationId xmlns:a16="http://schemas.microsoft.com/office/drawing/2014/main" id="{C250CAF9-2C43-4B42-A109-83385D641D58}"/>
                  </a:ext>
                </a:extLst>
              </p:cNvPr>
              <p:cNvSpPr>
                <a:spLocks/>
              </p:cNvSpPr>
              <p:nvPr>
                <p:custDataLst>
                  <p:tags r:id="rId124"/>
                </p:custDataLst>
              </p:nvPr>
            </p:nvSpPr>
            <p:spPr bwMode="gray">
              <a:xfrm>
                <a:off x="5103784" y="3695714"/>
                <a:ext cx="471484" cy="584203"/>
              </a:xfrm>
              <a:custGeom>
                <a:avLst/>
                <a:gdLst>
                  <a:gd name="T0" fmla="*/ 569 w 781"/>
                  <a:gd name="T1" fmla="*/ 46 h 1054"/>
                  <a:gd name="T2" fmla="*/ 443 w 781"/>
                  <a:gd name="T3" fmla="*/ 56 h 1054"/>
                  <a:gd name="T4" fmla="*/ 143 w 781"/>
                  <a:gd name="T5" fmla="*/ 56 h 1054"/>
                  <a:gd name="T6" fmla="*/ 101 w 781"/>
                  <a:gd name="T7" fmla="*/ 398 h 1054"/>
                  <a:gd name="T8" fmla="*/ 41 w 781"/>
                  <a:gd name="T9" fmla="*/ 434 h 1054"/>
                  <a:gd name="T10" fmla="*/ 30 w 781"/>
                  <a:gd name="T11" fmla="*/ 468 h 1054"/>
                  <a:gd name="T12" fmla="*/ 15 w 781"/>
                  <a:gd name="T13" fmla="*/ 504 h 1054"/>
                  <a:gd name="T14" fmla="*/ 11 w 781"/>
                  <a:gd name="T15" fmla="*/ 565 h 1054"/>
                  <a:gd name="T16" fmla="*/ 42 w 781"/>
                  <a:gd name="T17" fmla="*/ 598 h 1054"/>
                  <a:gd name="T18" fmla="*/ 56 w 781"/>
                  <a:gd name="T19" fmla="*/ 634 h 1054"/>
                  <a:gd name="T20" fmla="*/ 93 w 781"/>
                  <a:gd name="T21" fmla="*/ 714 h 1054"/>
                  <a:gd name="T22" fmla="*/ 83 w 781"/>
                  <a:gd name="T23" fmla="*/ 771 h 1054"/>
                  <a:gd name="T24" fmla="*/ 116 w 781"/>
                  <a:gd name="T25" fmla="*/ 797 h 1054"/>
                  <a:gd name="T26" fmla="*/ 171 w 781"/>
                  <a:gd name="T27" fmla="*/ 826 h 1054"/>
                  <a:gd name="T28" fmla="*/ 208 w 781"/>
                  <a:gd name="T29" fmla="*/ 878 h 1054"/>
                  <a:gd name="T30" fmla="*/ 225 w 781"/>
                  <a:gd name="T31" fmla="*/ 904 h 1054"/>
                  <a:gd name="T32" fmla="*/ 256 w 781"/>
                  <a:gd name="T33" fmla="*/ 932 h 1054"/>
                  <a:gd name="T34" fmla="*/ 285 w 781"/>
                  <a:gd name="T35" fmla="*/ 981 h 1054"/>
                  <a:gd name="T36" fmla="*/ 333 w 781"/>
                  <a:gd name="T37" fmla="*/ 994 h 1054"/>
                  <a:gd name="T38" fmla="*/ 390 w 781"/>
                  <a:gd name="T39" fmla="*/ 1017 h 1054"/>
                  <a:gd name="T40" fmla="*/ 431 w 781"/>
                  <a:gd name="T41" fmla="*/ 1049 h 1054"/>
                  <a:gd name="T42" fmla="*/ 474 w 781"/>
                  <a:gd name="T43" fmla="*/ 1037 h 1054"/>
                  <a:gd name="T44" fmla="*/ 508 w 781"/>
                  <a:gd name="T45" fmla="*/ 1039 h 1054"/>
                  <a:gd name="T46" fmla="*/ 553 w 781"/>
                  <a:gd name="T47" fmla="*/ 1040 h 1054"/>
                  <a:gd name="T48" fmla="*/ 597 w 781"/>
                  <a:gd name="T49" fmla="*/ 995 h 1054"/>
                  <a:gd name="T50" fmla="*/ 669 w 781"/>
                  <a:gd name="T51" fmla="*/ 976 h 1054"/>
                  <a:gd name="T52" fmla="*/ 628 w 781"/>
                  <a:gd name="T53" fmla="*/ 912 h 1054"/>
                  <a:gd name="T54" fmla="*/ 610 w 781"/>
                  <a:gd name="T55" fmla="*/ 882 h 1054"/>
                  <a:gd name="T56" fmla="*/ 587 w 781"/>
                  <a:gd name="T57" fmla="*/ 846 h 1054"/>
                  <a:gd name="T58" fmla="*/ 542 w 781"/>
                  <a:gd name="T59" fmla="*/ 802 h 1054"/>
                  <a:gd name="T60" fmla="*/ 568 w 781"/>
                  <a:gd name="T61" fmla="*/ 792 h 1054"/>
                  <a:gd name="T62" fmla="*/ 580 w 781"/>
                  <a:gd name="T63" fmla="*/ 719 h 1054"/>
                  <a:gd name="T64" fmla="*/ 603 w 781"/>
                  <a:gd name="T65" fmla="*/ 656 h 1054"/>
                  <a:gd name="T66" fmla="*/ 621 w 781"/>
                  <a:gd name="T67" fmla="*/ 631 h 1054"/>
                  <a:gd name="T68" fmla="*/ 642 w 781"/>
                  <a:gd name="T69" fmla="*/ 596 h 1054"/>
                  <a:gd name="T70" fmla="*/ 677 w 781"/>
                  <a:gd name="T71" fmla="*/ 555 h 1054"/>
                  <a:gd name="T72" fmla="*/ 691 w 781"/>
                  <a:gd name="T73" fmla="*/ 471 h 1054"/>
                  <a:gd name="T74" fmla="*/ 696 w 781"/>
                  <a:gd name="T75" fmla="*/ 414 h 1054"/>
                  <a:gd name="T76" fmla="*/ 703 w 781"/>
                  <a:gd name="T77" fmla="*/ 346 h 1054"/>
                  <a:gd name="T78" fmla="*/ 733 w 781"/>
                  <a:gd name="T79" fmla="*/ 321 h 1054"/>
                  <a:gd name="T80" fmla="*/ 781 w 781"/>
                  <a:gd name="T81" fmla="*/ 271 h 1054"/>
                  <a:gd name="T82" fmla="*/ 722 w 781"/>
                  <a:gd name="T83" fmla="*/ 228 h 1054"/>
                  <a:gd name="T84" fmla="*/ 708 w 781"/>
                  <a:gd name="T85" fmla="*/ 127 h 1054"/>
                  <a:gd name="T86" fmla="*/ 696 w 781"/>
                  <a:gd name="T87" fmla="*/ 84 h 1054"/>
                  <a:gd name="T88" fmla="*/ 661 w 781"/>
                  <a:gd name="T89" fmla="*/ 23 h 1054"/>
                  <a:gd name="T90" fmla="*/ 618 w 781"/>
                  <a:gd name="T91" fmla="*/ 15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81" h="1054">
                    <a:moveTo>
                      <a:pt x="601" y="16"/>
                    </a:moveTo>
                    <a:cubicBezTo>
                      <a:pt x="601" y="16"/>
                      <a:pt x="601" y="39"/>
                      <a:pt x="591" y="43"/>
                    </a:cubicBezTo>
                    <a:cubicBezTo>
                      <a:pt x="581" y="47"/>
                      <a:pt x="579" y="43"/>
                      <a:pt x="569" y="46"/>
                    </a:cubicBezTo>
                    <a:cubicBezTo>
                      <a:pt x="559" y="49"/>
                      <a:pt x="560" y="70"/>
                      <a:pt x="547" y="77"/>
                    </a:cubicBezTo>
                    <a:cubicBezTo>
                      <a:pt x="534" y="84"/>
                      <a:pt x="522" y="59"/>
                      <a:pt x="522" y="59"/>
                    </a:cubicBezTo>
                    <a:cubicBezTo>
                      <a:pt x="443" y="56"/>
                      <a:pt x="443" y="56"/>
                      <a:pt x="443" y="56"/>
                    </a:cubicBezTo>
                    <a:cubicBezTo>
                      <a:pt x="443" y="56"/>
                      <a:pt x="445" y="46"/>
                      <a:pt x="438" y="48"/>
                    </a:cubicBezTo>
                    <a:cubicBezTo>
                      <a:pt x="431" y="50"/>
                      <a:pt x="429" y="60"/>
                      <a:pt x="429" y="60"/>
                    </a:cubicBezTo>
                    <a:cubicBezTo>
                      <a:pt x="143" y="56"/>
                      <a:pt x="143" y="56"/>
                      <a:pt x="143" y="56"/>
                    </a:cubicBezTo>
                    <a:cubicBezTo>
                      <a:pt x="144" y="164"/>
                      <a:pt x="144" y="164"/>
                      <a:pt x="144" y="164"/>
                    </a:cubicBezTo>
                    <a:cubicBezTo>
                      <a:pt x="96" y="165"/>
                      <a:pt x="96" y="165"/>
                      <a:pt x="96" y="165"/>
                    </a:cubicBezTo>
                    <a:cubicBezTo>
                      <a:pt x="101" y="398"/>
                      <a:pt x="101" y="398"/>
                      <a:pt x="101" y="398"/>
                    </a:cubicBezTo>
                    <a:cubicBezTo>
                      <a:pt x="101" y="398"/>
                      <a:pt x="69" y="393"/>
                      <a:pt x="56" y="397"/>
                    </a:cubicBezTo>
                    <a:cubicBezTo>
                      <a:pt x="43" y="401"/>
                      <a:pt x="52" y="412"/>
                      <a:pt x="54" y="420"/>
                    </a:cubicBezTo>
                    <a:cubicBezTo>
                      <a:pt x="56" y="428"/>
                      <a:pt x="47" y="428"/>
                      <a:pt x="41" y="434"/>
                    </a:cubicBezTo>
                    <a:cubicBezTo>
                      <a:pt x="35" y="440"/>
                      <a:pt x="37" y="452"/>
                      <a:pt x="37" y="452"/>
                    </a:cubicBezTo>
                    <a:cubicBezTo>
                      <a:pt x="27" y="452"/>
                      <a:pt x="27" y="452"/>
                      <a:pt x="27" y="452"/>
                    </a:cubicBezTo>
                    <a:cubicBezTo>
                      <a:pt x="30" y="468"/>
                      <a:pt x="30" y="468"/>
                      <a:pt x="30" y="468"/>
                    </a:cubicBezTo>
                    <a:cubicBezTo>
                      <a:pt x="35" y="479"/>
                      <a:pt x="35" y="479"/>
                      <a:pt x="35" y="479"/>
                    </a:cubicBezTo>
                    <a:cubicBezTo>
                      <a:pt x="24" y="486"/>
                      <a:pt x="24" y="486"/>
                      <a:pt x="24" y="486"/>
                    </a:cubicBezTo>
                    <a:cubicBezTo>
                      <a:pt x="24" y="486"/>
                      <a:pt x="9" y="494"/>
                      <a:pt x="15" y="504"/>
                    </a:cubicBezTo>
                    <a:cubicBezTo>
                      <a:pt x="21" y="514"/>
                      <a:pt x="24" y="518"/>
                      <a:pt x="22" y="527"/>
                    </a:cubicBezTo>
                    <a:cubicBezTo>
                      <a:pt x="20" y="536"/>
                      <a:pt x="6" y="536"/>
                      <a:pt x="3" y="547"/>
                    </a:cubicBezTo>
                    <a:cubicBezTo>
                      <a:pt x="0" y="558"/>
                      <a:pt x="6" y="563"/>
                      <a:pt x="11" y="565"/>
                    </a:cubicBezTo>
                    <a:cubicBezTo>
                      <a:pt x="16" y="567"/>
                      <a:pt x="21" y="557"/>
                      <a:pt x="28" y="560"/>
                    </a:cubicBezTo>
                    <a:cubicBezTo>
                      <a:pt x="35" y="563"/>
                      <a:pt x="33" y="590"/>
                      <a:pt x="33" y="590"/>
                    </a:cubicBezTo>
                    <a:cubicBezTo>
                      <a:pt x="42" y="598"/>
                      <a:pt x="42" y="598"/>
                      <a:pt x="42" y="598"/>
                    </a:cubicBezTo>
                    <a:cubicBezTo>
                      <a:pt x="31" y="603"/>
                      <a:pt x="31" y="603"/>
                      <a:pt x="31" y="603"/>
                    </a:cubicBezTo>
                    <a:cubicBezTo>
                      <a:pt x="35" y="620"/>
                      <a:pt x="35" y="620"/>
                      <a:pt x="35" y="620"/>
                    </a:cubicBezTo>
                    <a:cubicBezTo>
                      <a:pt x="35" y="620"/>
                      <a:pt x="44" y="621"/>
                      <a:pt x="56" y="634"/>
                    </a:cubicBezTo>
                    <a:cubicBezTo>
                      <a:pt x="68" y="647"/>
                      <a:pt x="50" y="643"/>
                      <a:pt x="50" y="643"/>
                    </a:cubicBezTo>
                    <a:cubicBezTo>
                      <a:pt x="52" y="659"/>
                      <a:pt x="52" y="659"/>
                      <a:pt x="52" y="659"/>
                    </a:cubicBezTo>
                    <a:cubicBezTo>
                      <a:pt x="52" y="659"/>
                      <a:pt x="89" y="692"/>
                      <a:pt x="93" y="714"/>
                    </a:cubicBezTo>
                    <a:cubicBezTo>
                      <a:pt x="97" y="736"/>
                      <a:pt x="82" y="743"/>
                      <a:pt x="81" y="753"/>
                    </a:cubicBezTo>
                    <a:cubicBezTo>
                      <a:pt x="80" y="763"/>
                      <a:pt x="89" y="760"/>
                      <a:pt x="89" y="760"/>
                    </a:cubicBezTo>
                    <a:cubicBezTo>
                      <a:pt x="83" y="771"/>
                      <a:pt x="83" y="771"/>
                      <a:pt x="83" y="771"/>
                    </a:cubicBezTo>
                    <a:cubicBezTo>
                      <a:pt x="117" y="774"/>
                      <a:pt x="117" y="774"/>
                      <a:pt x="117" y="774"/>
                    </a:cubicBezTo>
                    <a:cubicBezTo>
                      <a:pt x="117" y="781"/>
                      <a:pt x="117" y="781"/>
                      <a:pt x="117" y="781"/>
                    </a:cubicBezTo>
                    <a:cubicBezTo>
                      <a:pt x="117" y="781"/>
                      <a:pt x="110" y="789"/>
                      <a:pt x="116" y="797"/>
                    </a:cubicBezTo>
                    <a:cubicBezTo>
                      <a:pt x="122" y="805"/>
                      <a:pt x="152" y="803"/>
                      <a:pt x="152" y="803"/>
                    </a:cubicBezTo>
                    <a:cubicBezTo>
                      <a:pt x="152" y="816"/>
                      <a:pt x="152" y="816"/>
                      <a:pt x="152" y="816"/>
                    </a:cubicBezTo>
                    <a:cubicBezTo>
                      <a:pt x="152" y="816"/>
                      <a:pt x="168" y="815"/>
                      <a:pt x="171" y="826"/>
                    </a:cubicBezTo>
                    <a:cubicBezTo>
                      <a:pt x="174" y="837"/>
                      <a:pt x="159" y="831"/>
                      <a:pt x="165" y="841"/>
                    </a:cubicBezTo>
                    <a:cubicBezTo>
                      <a:pt x="171" y="851"/>
                      <a:pt x="185" y="853"/>
                      <a:pt x="192" y="854"/>
                    </a:cubicBezTo>
                    <a:cubicBezTo>
                      <a:pt x="199" y="855"/>
                      <a:pt x="208" y="878"/>
                      <a:pt x="208" y="878"/>
                    </a:cubicBezTo>
                    <a:cubicBezTo>
                      <a:pt x="208" y="878"/>
                      <a:pt x="223" y="879"/>
                      <a:pt x="223" y="887"/>
                    </a:cubicBezTo>
                    <a:cubicBezTo>
                      <a:pt x="223" y="895"/>
                      <a:pt x="216" y="889"/>
                      <a:pt x="217" y="895"/>
                    </a:cubicBezTo>
                    <a:cubicBezTo>
                      <a:pt x="218" y="901"/>
                      <a:pt x="225" y="904"/>
                      <a:pt x="225" y="904"/>
                    </a:cubicBezTo>
                    <a:cubicBezTo>
                      <a:pt x="224" y="917"/>
                      <a:pt x="224" y="917"/>
                      <a:pt x="224" y="917"/>
                    </a:cubicBezTo>
                    <a:cubicBezTo>
                      <a:pt x="239" y="918"/>
                      <a:pt x="239" y="918"/>
                      <a:pt x="239" y="918"/>
                    </a:cubicBezTo>
                    <a:cubicBezTo>
                      <a:pt x="239" y="918"/>
                      <a:pt x="248" y="924"/>
                      <a:pt x="256" y="932"/>
                    </a:cubicBezTo>
                    <a:cubicBezTo>
                      <a:pt x="264" y="940"/>
                      <a:pt x="260" y="954"/>
                      <a:pt x="260" y="954"/>
                    </a:cubicBezTo>
                    <a:cubicBezTo>
                      <a:pt x="264" y="962"/>
                      <a:pt x="264" y="962"/>
                      <a:pt x="264" y="962"/>
                    </a:cubicBezTo>
                    <a:cubicBezTo>
                      <a:pt x="285" y="981"/>
                      <a:pt x="285" y="981"/>
                      <a:pt x="285" y="981"/>
                    </a:cubicBezTo>
                    <a:cubicBezTo>
                      <a:pt x="285" y="995"/>
                      <a:pt x="285" y="995"/>
                      <a:pt x="285" y="995"/>
                    </a:cubicBezTo>
                    <a:cubicBezTo>
                      <a:pt x="316" y="1010"/>
                      <a:pt x="316" y="1010"/>
                      <a:pt x="316" y="1010"/>
                    </a:cubicBezTo>
                    <a:cubicBezTo>
                      <a:pt x="316" y="1010"/>
                      <a:pt x="324" y="994"/>
                      <a:pt x="333" y="994"/>
                    </a:cubicBezTo>
                    <a:cubicBezTo>
                      <a:pt x="342" y="994"/>
                      <a:pt x="343" y="1006"/>
                      <a:pt x="354" y="1006"/>
                    </a:cubicBezTo>
                    <a:cubicBezTo>
                      <a:pt x="365" y="1006"/>
                      <a:pt x="364" y="988"/>
                      <a:pt x="371" y="988"/>
                    </a:cubicBezTo>
                    <a:cubicBezTo>
                      <a:pt x="378" y="988"/>
                      <a:pt x="382" y="1005"/>
                      <a:pt x="390" y="1017"/>
                    </a:cubicBezTo>
                    <a:cubicBezTo>
                      <a:pt x="398" y="1029"/>
                      <a:pt x="417" y="1033"/>
                      <a:pt x="417" y="1033"/>
                    </a:cubicBezTo>
                    <a:cubicBezTo>
                      <a:pt x="420" y="1047"/>
                      <a:pt x="420" y="1047"/>
                      <a:pt x="420" y="1047"/>
                    </a:cubicBezTo>
                    <a:cubicBezTo>
                      <a:pt x="431" y="1049"/>
                      <a:pt x="431" y="1049"/>
                      <a:pt x="431" y="1049"/>
                    </a:cubicBezTo>
                    <a:cubicBezTo>
                      <a:pt x="431" y="1049"/>
                      <a:pt x="442" y="1036"/>
                      <a:pt x="447" y="1036"/>
                    </a:cubicBezTo>
                    <a:cubicBezTo>
                      <a:pt x="452" y="1036"/>
                      <a:pt x="461" y="1043"/>
                      <a:pt x="467" y="1044"/>
                    </a:cubicBezTo>
                    <a:cubicBezTo>
                      <a:pt x="473" y="1045"/>
                      <a:pt x="474" y="1037"/>
                      <a:pt x="474" y="1037"/>
                    </a:cubicBezTo>
                    <a:cubicBezTo>
                      <a:pt x="481" y="1036"/>
                      <a:pt x="481" y="1036"/>
                      <a:pt x="481" y="1036"/>
                    </a:cubicBezTo>
                    <a:cubicBezTo>
                      <a:pt x="495" y="1054"/>
                      <a:pt x="495" y="1054"/>
                      <a:pt x="495" y="1054"/>
                    </a:cubicBezTo>
                    <a:cubicBezTo>
                      <a:pt x="508" y="1039"/>
                      <a:pt x="508" y="1039"/>
                      <a:pt x="508" y="1039"/>
                    </a:cubicBezTo>
                    <a:cubicBezTo>
                      <a:pt x="524" y="1040"/>
                      <a:pt x="524" y="1040"/>
                      <a:pt x="524" y="1040"/>
                    </a:cubicBezTo>
                    <a:cubicBezTo>
                      <a:pt x="524" y="1040"/>
                      <a:pt x="531" y="1032"/>
                      <a:pt x="536" y="1032"/>
                    </a:cubicBezTo>
                    <a:cubicBezTo>
                      <a:pt x="541" y="1032"/>
                      <a:pt x="540" y="1038"/>
                      <a:pt x="553" y="1040"/>
                    </a:cubicBezTo>
                    <a:cubicBezTo>
                      <a:pt x="566" y="1042"/>
                      <a:pt x="575" y="1015"/>
                      <a:pt x="575" y="1015"/>
                    </a:cubicBezTo>
                    <a:cubicBezTo>
                      <a:pt x="583" y="1015"/>
                      <a:pt x="583" y="1015"/>
                      <a:pt x="583" y="1015"/>
                    </a:cubicBezTo>
                    <a:cubicBezTo>
                      <a:pt x="597" y="995"/>
                      <a:pt x="597" y="995"/>
                      <a:pt x="597" y="995"/>
                    </a:cubicBezTo>
                    <a:cubicBezTo>
                      <a:pt x="657" y="994"/>
                      <a:pt x="657" y="994"/>
                      <a:pt x="657" y="994"/>
                    </a:cubicBezTo>
                    <a:cubicBezTo>
                      <a:pt x="670" y="986"/>
                      <a:pt x="670" y="986"/>
                      <a:pt x="670" y="986"/>
                    </a:cubicBezTo>
                    <a:cubicBezTo>
                      <a:pt x="669" y="976"/>
                      <a:pt x="669" y="976"/>
                      <a:pt x="669" y="976"/>
                    </a:cubicBezTo>
                    <a:cubicBezTo>
                      <a:pt x="669" y="976"/>
                      <a:pt x="670" y="962"/>
                      <a:pt x="665" y="954"/>
                    </a:cubicBezTo>
                    <a:cubicBezTo>
                      <a:pt x="660" y="946"/>
                      <a:pt x="650" y="955"/>
                      <a:pt x="640" y="947"/>
                    </a:cubicBezTo>
                    <a:cubicBezTo>
                      <a:pt x="630" y="939"/>
                      <a:pt x="628" y="912"/>
                      <a:pt x="628" y="912"/>
                    </a:cubicBezTo>
                    <a:cubicBezTo>
                      <a:pt x="621" y="908"/>
                      <a:pt x="621" y="908"/>
                      <a:pt x="621" y="908"/>
                    </a:cubicBezTo>
                    <a:cubicBezTo>
                      <a:pt x="619" y="883"/>
                      <a:pt x="619" y="883"/>
                      <a:pt x="619" y="883"/>
                    </a:cubicBezTo>
                    <a:cubicBezTo>
                      <a:pt x="610" y="882"/>
                      <a:pt x="610" y="882"/>
                      <a:pt x="610" y="882"/>
                    </a:cubicBezTo>
                    <a:cubicBezTo>
                      <a:pt x="607" y="869"/>
                      <a:pt x="607" y="869"/>
                      <a:pt x="607" y="869"/>
                    </a:cubicBezTo>
                    <a:cubicBezTo>
                      <a:pt x="607" y="869"/>
                      <a:pt x="596" y="871"/>
                      <a:pt x="592" y="866"/>
                    </a:cubicBezTo>
                    <a:cubicBezTo>
                      <a:pt x="588" y="861"/>
                      <a:pt x="587" y="846"/>
                      <a:pt x="587" y="846"/>
                    </a:cubicBezTo>
                    <a:cubicBezTo>
                      <a:pt x="587" y="846"/>
                      <a:pt x="570" y="831"/>
                      <a:pt x="562" y="827"/>
                    </a:cubicBezTo>
                    <a:cubicBezTo>
                      <a:pt x="554" y="823"/>
                      <a:pt x="538" y="829"/>
                      <a:pt x="535" y="824"/>
                    </a:cubicBezTo>
                    <a:cubicBezTo>
                      <a:pt x="532" y="819"/>
                      <a:pt x="542" y="802"/>
                      <a:pt x="542" y="802"/>
                    </a:cubicBezTo>
                    <a:cubicBezTo>
                      <a:pt x="540" y="786"/>
                      <a:pt x="540" y="786"/>
                      <a:pt x="540" y="786"/>
                    </a:cubicBezTo>
                    <a:cubicBezTo>
                      <a:pt x="563" y="787"/>
                      <a:pt x="563" y="787"/>
                      <a:pt x="563" y="787"/>
                    </a:cubicBezTo>
                    <a:cubicBezTo>
                      <a:pt x="568" y="792"/>
                      <a:pt x="568" y="792"/>
                      <a:pt x="568" y="792"/>
                    </a:cubicBezTo>
                    <a:cubicBezTo>
                      <a:pt x="568" y="792"/>
                      <a:pt x="575" y="787"/>
                      <a:pt x="582" y="782"/>
                    </a:cubicBezTo>
                    <a:cubicBezTo>
                      <a:pt x="589" y="777"/>
                      <a:pt x="586" y="746"/>
                      <a:pt x="586" y="746"/>
                    </a:cubicBezTo>
                    <a:cubicBezTo>
                      <a:pt x="586" y="746"/>
                      <a:pt x="579" y="727"/>
                      <a:pt x="580" y="719"/>
                    </a:cubicBezTo>
                    <a:cubicBezTo>
                      <a:pt x="581" y="711"/>
                      <a:pt x="596" y="700"/>
                      <a:pt x="597" y="697"/>
                    </a:cubicBezTo>
                    <a:cubicBezTo>
                      <a:pt x="598" y="694"/>
                      <a:pt x="592" y="683"/>
                      <a:pt x="592" y="676"/>
                    </a:cubicBezTo>
                    <a:cubicBezTo>
                      <a:pt x="592" y="669"/>
                      <a:pt x="598" y="656"/>
                      <a:pt x="603" y="656"/>
                    </a:cubicBezTo>
                    <a:cubicBezTo>
                      <a:pt x="608" y="656"/>
                      <a:pt x="610" y="667"/>
                      <a:pt x="610" y="667"/>
                    </a:cubicBezTo>
                    <a:cubicBezTo>
                      <a:pt x="610" y="667"/>
                      <a:pt x="616" y="670"/>
                      <a:pt x="622" y="662"/>
                    </a:cubicBezTo>
                    <a:cubicBezTo>
                      <a:pt x="628" y="654"/>
                      <a:pt x="621" y="631"/>
                      <a:pt x="621" y="631"/>
                    </a:cubicBezTo>
                    <a:cubicBezTo>
                      <a:pt x="628" y="620"/>
                      <a:pt x="628" y="620"/>
                      <a:pt x="628" y="620"/>
                    </a:cubicBezTo>
                    <a:cubicBezTo>
                      <a:pt x="626" y="605"/>
                      <a:pt x="626" y="605"/>
                      <a:pt x="626" y="605"/>
                    </a:cubicBezTo>
                    <a:cubicBezTo>
                      <a:pt x="626" y="605"/>
                      <a:pt x="637" y="601"/>
                      <a:pt x="642" y="596"/>
                    </a:cubicBezTo>
                    <a:cubicBezTo>
                      <a:pt x="647" y="591"/>
                      <a:pt x="642" y="581"/>
                      <a:pt x="643" y="576"/>
                    </a:cubicBezTo>
                    <a:cubicBezTo>
                      <a:pt x="644" y="571"/>
                      <a:pt x="655" y="557"/>
                      <a:pt x="655" y="557"/>
                    </a:cubicBezTo>
                    <a:cubicBezTo>
                      <a:pt x="677" y="555"/>
                      <a:pt x="677" y="555"/>
                      <a:pt x="677" y="555"/>
                    </a:cubicBezTo>
                    <a:cubicBezTo>
                      <a:pt x="677" y="555"/>
                      <a:pt x="675" y="537"/>
                      <a:pt x="675" y="529"/>
                    </a:cubicBezTo>
                    <a:cubicBezTo>
                      <a:pt x="675" y="521"/>
                      <a:pt x="691" y="501"/>
                      <a:pt x="691" y="501"/>
                    </a:cubicBezTo>
                    <a:cubicBezTo>
                      <a:pt x="691" y="471"/>
                      <a:pt x="691" y="471"/>
                      <a:pt x="691" y="471"/>
                    </a:cubicBezTo>
                    <a:cubicBezTo>
                      <a:pt x="689" y="438"/>
                      <a:pt x="689" y="438"/>
                      <a:pt x="689" y="438"/>
                    </a:cubicBezTo>
                    <a:cubicBezTo>
                      <a:pt x="689" y="438"/>
                      <a:pt x="683" y="436"/>
                      <a:pt x="684" y="428"/>
                    </a:cubicBezTo>
                    <a:cubicBezTo>
                      <a:pt x="685" y="420"/>
                      <a:pt x="696" y="421"/>
                      <a:pt x="696" y="414"/>
                    </a:cubicBezTo>
                    <a:cubicBezTo>
                      <a:pt x="696" y="407"/>
                      <a:pt x="697" y="397"/>
                      <a:pt x="697" y="397"/>
                    </a:cubicBezTo>
                    <a:cubicBezTo>
                      <a:pt x="697" y="397"/>
                      <a:pt x="709" y="395"/>
                      <a:pt x="709" y="377"/>
                    </a:cubicBezTo>
                    <a:cubicBezTo>
                      <a:pt x="709" y="359"/>
                      <a:pt x="703" y="349"/>
                      <a:pt x="703" y="346"/>
                    </a:cubicBezTo>
                    <a:cubicBezTo>
                      <a:pt x="703" y="343"/>
                      <a:pt x="714" y="338"/>
                      <a:pt x="714" y="338"/>
                    </a:cubicBezTo>
                    <a:cubicBezTo>
                      <a:pt x="714" y="328"/>
                      <a:pt x="714" y="328"/>
                      <a:pt x="714" y="328"/>
                    </a:cubicBezTo>
                    <a:cubicBezTo>
                      <a:pt x="714" y="328"/>
                      <a:pt x="732" y="328"/>
                      <a:pt x="733" y="321"/>
                    </a:cubicBezTo>
                    <a:cubicBezTo>
                      <a:pt x="734" y="314"/>
                      <a:pt x="734" y="306"/>
                      <a:pt x="734" y="306"/>
                    </a:cubicBezTo>
                    <a:cubicBezTo>
                      <a:pt x="734" y="306"/>
                      <a:pt x="761" y="304"/>
                      <a:pt x="770" y="296"/>
                    </a:cubicBezTo>
                    <a:cubicBezTo>
                      <a:pt x="775" y="292"/>
                      <a:pt x="779" y="280"/>
                      <a:pt x="781" y="271"/>
                    </a:cubicBezTo>
                    <a:cubicBezTo>
                      <a:pt x="756" y="256"/>
                      <a:pt x="756" y="256"/>
                      <a:pt x="756" y="256"/>
                    </a:cubicBezTo>
                    <a:cubicBezTo>
                      <a:pt x="756" y="256"/>
                      <a:pt x="753" y="240"/>
                      <a:pt x="747" y="236"/>
                    </a:cubicBezTo>
                    <a:cubicBezTo>
                      <a:pt x="741" y="232"/>
                      <a:pt x="726" y="242"/>
                      <a:pt x="722" y="228"/>
                    </a:cubicBezTo>
                    <a:cubicBezTo>
                      <a:pt x="718" y="214"/>
                      <a:pt x="717" y="176"/>
                      <a:pt x="717" y="176"/>
                    </a:cubicBezTo>
                    <a:cubicBezTo>
                      <a:pt x="710" y="174"/>
                      <a:pt x="710" y="174"/>
                      <a:pt x="710" y="174"/>
                    </a:cubicBezTo>
                    <a:cubicBezTo>
                      <a:pt x="710" y="174"/>
                      <a:pt x="708" y="132"/>
                      <a:pt x="708" y="127"/>
                    </a:cubicBezTo>
                    <a:cubicBezTo>
                      <a:pt x="708" y="122"/>
                      <a:pt x="703" y="111"/>
                      <a:pt x="703" y="111"/>
                    </a:cubicBezTo>
                    <a:cubicBezTo>
                      <a:pt x="715" y="108"/>
                      <a:pt x="715" y="108"/>
                      <a:pt x="715" y="108"/>
                    </a:cubicBezTo>
                    <a:cubicBezTo>
                      <a:pt x="715" y="108"/>
                      <a:pt x="697" y="93"/>
                      <a:pt x="696" y="84"/>
                    </a:cubicBezTo>
                    <a:cubicBezTo>
                      <a:pt x="695" y="75"/>
                      <a:pt x="701" y="59"/>
                      <a:pt x="693" y="53"/>
                    </a:cubicBezTo>
                    <a:cubicBezTo>
                      <a:pt x="685" y="47"/>
                      <a:pt x="674" y="39"/>
                      <a:pt x="674" y="39"/>
                    </a:cubicBezTo>
                    <a:cubicBezTo>
                      <a:pt x="674" y="39"/>
                      <a:pt x="665" y="27"/>
                      <a:pt x="661" y="23"/>
                    </a:cubicBezTo>
                    <a:cubicBezTo>
                      <a:pt x="657" y="19"/>
                      <a:pt x="656" y="26"/>
                      <a:pt x="650" y="22"/>
                    </a:cubicBezTo>
                    <a:cubicBezTo>
                      <a:pt x="646" y="19"/>
                      <a:pt x="639" y="10"/>
                      <a:pt x="634" y="0"/>
                    </a:cubicBezTo>
                    <a:cubicBezTo>
                      <a:pt x="618" y="15"/>
                      <a:pt x="618" y="15"/>
                      <a:pt x="618" y="15"/>
                    </a:cubicBezTo>
                    <a:lnTo>
                      <a:pt x="601" y="16"/>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44" name="Freeform 166">
                <a:extLst>
                  <a:ext uri="{FF2B5EF4-FFF2-40B4-BE49-F238E27FC236}">
                    <a16:creationId xmlns:a16="http://schemas.microsoft.com/office/drawing/2014/main" id="{FD790CB4-7374-403E-88EC-345E96113EA7}"/>
                  </a:ext>
                </a:extLst>
              </p:cNvPr>
              <p:cNvSpPr>
                <a:spLocks/>
              </p:cNvSpPr>
              <p:nvPr>
                <p:custDataLst>
                  <p:tags r:id="rId125"/>
                </p:custDataLst>
              </p:nvPr>
            </p:nvSpPr>
            <p:spPr bwMode="gray">
              <a:xfrm>
                <a:off x="4746598" y="4314840"/>
                <a:ext cx="63499" cy="38100"/>
              </a:xfrm>
              <a:custGeom>
                <a:avLst/>
                <a:gdLst>
                  <a:gd name="T0" fmla="*/ 97 w 103"/>
                  <a:gd name="T1" fmla="*/ 29 h 71"/>
                  <a:gd name="T2" fmla="*/ 100 w 103"/>
                  <a:gd name="T3" fmla="*/ 6 h 71"/>
                  <a:gd name="T4" fmla="*/ 36 w 103"/>
                  <a:gd name="T5" fmla="*/ 6 h 71"/>
                  <a:gd name="T6" fmla="*/ 30 w 103"/>
                  <a:gd name="T7" fmla="*/ 0 h 71"/>
                  <a:gd name="T8" fmla="*/ 24 w 103"/>
                  <a:gd name="T9" fmla="*/ 3 h 71"/>
                  <a:gd name="T10" fmla="*/ 23 w 103"/>
                  <a:gd name="T11" fmla="*/ 29 h 71"/>
                  <a:gd name="T12" fmla="*/ 4 w 103"/>
                  <a:gd name="T13" fmla="*/ 57 h 71"/>
                  <a:gd name="T14" fmla="*/ 21 w 103"/>
                  <a:gd name="T15" fmla="*/ 67 h 71"/>
                  <a:gd name="T16" fmla="*/ 29 w 103"/>
                  <a:gd name="T17" fmla="*/ 65 h 71"/>
                  <a:gd name="T18" fmla="*/ 31 w 103"/>
                  <a:gd name="T19" fmla="*/ 71 h 71"/>
                  <a:gd name="T20" fmla="*/ 98 w 103"/>
                  <a:gd name="T21" fmla="*/ 69 h 71"/>
                  <a:gd name="T22" fmla="*/ 103 w 103"/>
                  <a:gd name="T23" fmla="*/ 33 h 71"/>
                  <a:gd name="T24" fmla="*/ 97 w 103"/>
                  <a:gd name="T25" fmla="*/ 2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71">
                    <a:moveTo>
                      <a:pt x="97" y="29"/>
                    </a:moveTo>
                    <a:cubicBezTo>
                      <a:pt x="100" y="6"/>
                      <a:pt x="100" y="6"/>
                      <a:pt x="100" y="6"/>
                    </a:cubicBezTo>
                    <a:cubicBezTo>
                      <a:pt x="36" y="6"/>
                      <a:pt x="36" y="6"/>
                      <a:pt x="36" y="6"/>
                    </a:cubicBezTo>
                    <a:cubicBezTo>
                      <a:pt x="30" y="0"/>
                      <a:pt x="30" y="0"/>
                      <a:pt x="30" y="0"/>
                    </a:cubicBezTo>
                    <a:cubicBezTo>
                      <a:pt x="24" y="3"/>
                      <a:pt x="24" y="3"/>
                      <a:pt x="24" y="3"/>
                    </a:cubicBezTo>
                    <a:cubicBezTo>
                      <a:pt x="24" y="3"/>
                      <a:pt x="28" y="21"/>
                      <a:pt x="23" y="29"/>
                    </a:cubicBezTo>
                    <a:cubicBezTo>
                      <a:pt x="18" y="37"/>
                      <a:pt x="0" y="50"/>
                      <a:pt x="4" y="57"/>
                    </a:cubicBezTo>
                    <a:cubicBezTo>
                      <a:pt x="7" y="63"/>
                      <a:pt x="17" y="66"/>
                      <a:pt x="21" y="67"/>
                    </a:cubicBezTo>
                    <a:cubicBezTo>
                      <a:pt x="29" y="65"/>
                      <a:pt x="29" y="65"/>
                      <a:pt x="29" y="65"/>
                    </a:cubicBezTo>
                    <a:cubicBezTo>
                      <a:pt x="31" y="71"/>
                      <a:pt x="31" y="71"/>
                      <a:pt x="31" y="71"/>
                    </a:cubicBezTo>
                    <a:cubicBezTo>
                      <a:pt x="31" y="71"/>
                      <a:pt x="93" y="70"/>
                      <a:pt x="98" y="69"/>
                    </a:cubicBezTo>
                    <a:cubicBezTo>
                      <a:pt x="103" y="68"/>
                      <a:pt x="103" y="33"/>
                      <a:pt x="103" y="33"/>
                    </a:cubicBezTo>
                    <a:lnTo>
                      <a:pt x="97" y="29"/>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45" name="Freeform 167">
                <a:extLst>
                  <a:ext uri="{FF2B5EF4-FFF2-40B4-BE49-F238E27FC236}">
                    <a16:creationId xmlns:a16="http://schemas.microsoft.com/office/drawing/2014/main" id="{1ECAEFC8-BC40-4CFF-B5DA-BA3CF437FEA0}"/>
                  </a:ext>
                </a:extLst>
              </p:cNvPr>
              <p:cNvSpPr>
                <a:spLocks noEditPoints="1"/>
              </p:cNvSpPr>
              <p:nvPr>
                <p:custDataLst>
                  <p:tags r:id="rId126"/>
                </p:custDataLst>
              </p:nvPr>
            </p:nvSpPr>
            <p:spPr bwMode="gray">
              <a:xfrm>
                <a:off x="4946622" y="5043506"/>
                <a:ext cx="457198" cy="379413"/>
              </a:xfrm>
              <a:custGeom>
                <a:avLst/>
                <a:gdLst>
                  <a:gd name="T0" fmla="*/ 725 w 759"/>
                  <a:gd name="T1" fmla="*/ 254 h 682"/>
                  <a:gd name="T2" fmla="*/ 696 w 759"/>
                  <a:gd name="T3" fmla="*/ 278 h 682"/>
                  <a:gd name="T4" fmla="*/ 673 w 759"/>
                  <a:gd name="T5" fmla="*/ 221 h 682"/>
                  <a:gd name="T6" fmla="*/ 708 w 759"/>
                  <a:gd name="T7" fmla="*/ 206 h 682"/>
                  <a:gd name="T8" fmla="*/ 727 w 759"/>
                  <a:gd name="T9" fmla="*/ 125 h 682"/>
                  <a:gd name="T10" fmla="*/ 696 w 759"/>
                  <a:gd name="T11" fmla="*/ 15 h 682"/>
                  <a:gd name="T12" fmla="*/ 649 w 759"/>
                  <a:gd name="T13" fmla="*/ 8 h 682"/>
                  <a:gd name="T14" fmla="*/ 586 w 759"/>
                  <a:gd name="T15" fmla="*/ 2 h 682"/>
                  <a:gd name="T16" fmla="*/ 549 w 759"/>
                  <a:gd name="T17" fmla="*/ 25 h 682"/>
                  <a:gd name="T18" fmla="*/ 495 w 759"/>
                  <a:gd name="T19" fmla="*/ 77 h 682"/>
                  <a:gd name="T20" fmla="*/ 461 w 759"/>
                  <a:gd name="T21" fmla="*/ 137 h 682"/>
                  <a:gd name="T22" fmla="*/ 436 w 759"/>
                  <a:gd name="T23" fmla="*/ 152 h 682"/>
                  <a:gd name="T24" fmla="*/ 402 w 759"/>
                  <a:gd name="T25" fmla="*/ 192 h 682"/>
                  <a:gd name="T26" fmla="*/ 364 w 759"/>
                  <a:gd name="T27" fmla="*/ 190 h 682"/>
                  <a:gd name="T28" fmla="*/ 337 w 759"/>
                  <a:gd name="T29" fmla="*/ 179 h 682"/>
                  <a:gd name="T30" fmla="*/ 290 w 759"/>
                  <a:gd name="T31" fmla="*/ 212 h 682"/>
                  <a:gd name="T32" fmla="*/ 263 w 759"/>
                  <a:gd name="T33" fmla="*/ 240 h 682"/>
                  <a:gd name="T34" fmla="*/ 244 w 759"/>
                  <a:gd name="T35" fmla="*/ 251 h 682"/>
                  <a:gd name="T36" fmla="*/ 193 w 759"/>
                  <a:gd name="T37" fmla="*/ 231 h 682"/>
                  <a:gd name="T38" fmla="*/ 196 w 759"/>
                  <a:gd name="T39" fmla="*/ 189 h 682"/>
                  <a:gd name="T40" fmla="*/ 166 w 759"/>
                  <a:gd name="T41" fmla="*/ 143 h 682"/>
                  <a:gd name="T42" fmla="*/ 142 w 759"/>
                  <a:gd name="T43" fmla="*/ 343 h 682"/>
                  <a:gd name="T44" fmla="*/ 129 w 759"/>
                  <a:gd name="T45" fmla="*/ 353 h 682"/>
                  <a:gd name="T46" fmla="*/ 114 w 759"/>
                  <a:gd name="T47" fmla="*/ 367 h 682"/>
                  <a:gd name="T48" fmla="*/ 88 w 759"/>
                  <a:gd name="T49" fmla="*/ 369 h 682"/>
                  <a:gd name="T50" fmla="*/ 65 w 759"/>
                  <a:gd name="T51" fmla="*/ 357 h 682"/>
                  <a:gd name="T52" fmla="*/ 41 w 759"/>
                  <a:gd name="T53" fmla="*/ 330 h 682"/>
                  <a:gd name="T54" fmla="*/ 12 w 759"/>
                  <a:gd name="T55" fmla="*/ 340 h 682"/>
                  <a:gd name="T56" fmla="*/ 0 w 759"/>
                  <a:gd name="T57" fmla="*/ 345 h 682"/>
                  <a:gd name="T58" fmla="*/ 31 w 759"/>
                  <a:gd name="T59" fmla="*/ 407 h 682"/>
                  <a:gd name="T60" fmla="*/ 83 w 759"/>
                  <a:gd name="T61" fmla="*/ 523 h 682"/>
                  <a:gd name="T62" fmla="*/ 61 w 759"/>
                  <a:gd name="T63" fmla="*/ 572 h 682"/>
                  <a:gd name="T64" fmla="*/ 81 w 759"/>
                  <a:gd name="T65" fmla="*/ 649 h 682"/>
                  <a:gd name="T66" fmla="*/ 103 w 759"/>
                  <a:gd name="T67" fmla="*/ 650 h 682"/>
                  <a:gd name="T68" fmla="*/ 145 w 759"/>
                  <a:gd name="T69" fmla="*/ 679 h 682"/>
                  <a:gd name="T70" fmla="*/ 233 w 759"/>
                  <a:gd name="T71" fmla="*/ 662 h 682"/>
                  <a:gd name="T72" fmla="*/ 292 w 759"/>
                  <a:gd name="T73" fmla="*/ 646 h 682"/>
                  <a:gd name="T74" fmla="*/ 366 w 759"/>
                  <a:gd name="T75" fmla="*/ 646 h 682"/>
                  <a:gd name="T76" fmla="*/ 406 w 759"/>
                  <a:gd name="T77" fmla="*/ 637 h 682"/>
                  <a:gd name="T78" fmla="*/ 473 w 759"/>
                  <a:gd name="T79" fmla="*/ 617 h 682"/>
                  <a:gd name="T80" fmla="*/ 538 w 759"/>
                  <a:gd name="T81" fmla="*/ 565 h 682"/>
                  <a:gd name="T82" fmla="*/ 615 w 759"/>
                  <a:gd name="T83" fmla="*/ 500 h 682"/>
                  <a:gd name="T84" fmla="*/ 686 w 759"/>
                  <a:gd name="T85" fmla="*/ 379 h 682"/>
                  <a:gd name="T86" fmla="*/ 748 w 759"/>
                  <a:gd name="T87" fmla="*/ 297 h 682"/>
                  <a:gd name="T88" fmla="*/ 746 w 759"/>
                  <a:gd name="T89" fmla="*/ 250 h 682"/>
                  <a:gd name="T90" fmla="*/ 563 w 759"/>
                  <a:gd name="T91" fmla="*/ 428 h 682"/>
                  <a:gd name="T92" fmla="*/ 531 w 759"/>
                  <a:gd name="T93" fmla="*/ 456 h 682"/>
                  <a:gd name="T94" fmla="*/ 498 w 759"/>
                  <a:gd name="T95" fmla="*/ 437 h 682"/>
                  <a:gd name="T96" fmla="*/ 481 w 759"/>
                  <a:gd name="T97" fmla="*/ 401 h 682"/>
                  <a:gd name="T98" fmla="*/ 500 w 759"/>
                  <a:gd name="T99" fmla="*/ 389 h 682"/>
                  <a:gd name="T100" fmla="*/ 519 w 759"/>
                  <a:gd name="T101" fmla="*/ 362 h 682"/>
                  <a:gd name="T102" fmla="*/ 535 w 759"/>
                  <a:gd name="T103" fmla="*/ 351 h 682"/>
                  <a:gd name="T104" fmla="*/ 564 w 759"/>
                  <a:gd name="T105" fmla="*/ 349 h 682"/>
                  <a:gd name="T106" fmla="*/ 591 w 759"/>
                  <a:gd name="T107" fmla="*/ 377 h 682"/>
                  <a:gd name="T108" fmla="*/ 577 w 759"/>
                  <a:gd name="T109" fmla="*/ 406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59" h="682">
                    <a:moveTo>
                      <a:pt x="746" y="250"/>
                    </a:moveTo>
                    <a:cubicBezTo>
                      <a:pt x="738" y="246"/>
                      <a:pt x="725" y="254"/>
                      <a:pt x="725" y="254"/>
                    </a:cubicBezTo>
                    <a:cubicBezTo>
                      <a:pt x="718" y="279"/>
                      <a:pt x="718" y="279"/>
                      <a:pt x="718" y="279"/>
                    </a:cubicBezTo>
                    <a:cubicBezTo>
                      <a:pt x="718" y="279"/>
                      <a:pt x="703" y="278"/>
                      <a:pt x="696" y="278"/>
                    </a:cubicBezTo>
                    <a:cubicBezTo>
                      <a:pt x="689" y="278"/>
                      <a:pt x="666" y="262"/>
                      <a:pt x="664" y="250"/>
                    </a:cubicBezTo>
                    <a:cubicBezTo>
                      <a:pt x="662" y="238"/>
                      <a:pt x="670" y="225"/>
                      <a:pt x="673" y="221"/>
                    </a:cubicBezTo>
                    <a:cubicBezTo>
                      <a:pt x="676" y="217"/>
                      <a:pt x="682" y="192"/>
                      <a:pt x="689" y="192"/>
                    </a:cubicBezTo>
                    <a:cubicBezTo>
                      <a:pt x="696" y="192"/>
                      <a:pt x="708" y="206"/>
                      <a:pt x="708" y="206"/>
                    </a:cubicBezTo>
                    <a:cubicBezTo>
                      <a:pt x="726" y="182"/>
                      <a:pt x="726" y="182"/>
                      <a:pt x="726" y="182"/>
                    </a:cubicBezTo>
                    <a:cubicBezTo>
                      <a:pt x="726" y="182"/>
                      <a:pt x="726" y="134"/>
                      <a:pt x="727" y="125"/>
                    </a:cubicBezTo>
                    <a:cubicBezTo>
                      <a:pt x="728" y="116"/>
                      <a:pt x="707" y="84"/>
                      <a:pt x="705" y="75"/>
                    </a:cubicBezTo>
                    <a:cubicBezTo>
                      <a:pt x="703" y="66"/>
                      <a:pt x="696" y="15"/>
                      <a:pt x="696" y="15"/>
                    </a:cubicBezTo>
                    <a:cubicBezTo>
                      <a:pt x="684" y="8"/>
                      <a:pt x="684" y="8"/>
                      <a:pt x="684" y="8"/>
                    </a:cubicBezTo>
                    <a:cubicBezTo>
                      <a:pt x="684" y="8"/>
                      <a:pt x="657" y="9"/>
                      <a:pt x="649" y="8"/>
                    </a:cubicBezTo>
                    <a:cubicBezTo>
                      <a:pt x="641" y="7"/>
                      <a:pt x="625" y="0"/>
                      <a:pt x="625" y="0"/>
                    </a:cubicBezTo>
                    <a:cubicBezTo>
                      <a:pt x="586" y="2"/>
                      <a:pt x="586" y="2"/>
                      <a:pt x="586" y="2"/>
                    </a:cubicBezTo>
                    <a:cubicBezTo>
                      <a:pt x="578" y="18"/>
                      <a:pt x="578" y="18"/>
                      <a:pt x="578" y="18"/>
                    </a:cubicBezTo>
                    <a:cubicBezTo>
                      <a:pt x="578" y="18"/>
                      <a:pt x="554" y="19"/>
                      <a:pt x="549" y="25"/>
                    </a:cubicBezTo>
                    <a:cubicBezTo>
                      <a:pt x="544" y="31"/>
                      <a:pt x="530" y="57"/>
                      <a:pt x="519" y="64"/>
                    </a:cubicBezTo>
                    <a:cubicBezTo>
                      <a:pt x="508" y="71"/>
                      <a:pt x="505" y="70"/>
                      <a:pt x="495" y="77"/>
                    </a:cubicBezTo>
                    <a:cubicBezTo>
                      <a:pt x="485" y="84"/>
                      <a:pt x="484" y="107"/>
                      <a:pt x="484" y="113"/>
                    </a:cubicBezTo>
                    <a:cubicBezTo>
                      <a:pt x="484" y="119"/>
                      <a:pt x="461" y="137"/>
                      <a:pt x="461" y="137"/>
                    </a:cubicBezTo>
                    <a:cubicBezTo>
                      <a:pt x="450" y="140"/>
                      <a:pt x="450" y="140"/>
                      <a:pt x="450" y="140"/>
                    </a:cubicBezTo>
                    <a:cubicBezTo>
                      <a:pt x="436" y="152"/>
                      <a:pt x="436" y="152"/>
                      <a:pt x="436" y="152"/>
                    </a:cubicBezTo>
                    <a:cubicBezTo>
                      <a:pt x="436" y="152"/>
                      <a:pt x="432" y="185"/>
                      <a:pt x="421" y="192"/>
                    </a:cubicBezTo>
                    <a:cubicBezTo>
                      <a:pt x="410" y="199"/>
                      <a:pt x="402" y="192"/>
                      <a:pt x="402" y="192"/>
                    </a:cubicBezTo>
                    <a:cubicBezTo>
                      <a:pt x="402" y="192"/>
                      <a:pt x="399" y="197"/>
                      <a:pt x="389" y="199"/>
                    </a:cubicBezTo>
                    <a:cubicBezTo>
                      <a:pt x="379" y="201"/>
                      <a:pt x="364" y="190"/>
                      <a:pt x="364" y="190"/>
                    </a:cubicBezTo>
                    <a:cubicBezTo>
                      <a:pt x="347" y="189"/>
                      <a:pt x="347" y="189"/>
                      <a:pt x="347" y="189"/>
                    </a:cubicBezTo>
                    <a:cubicBezTo>
                      <a:pt x="337" y="179"/>
                      <a:pt x="337" y="179"/>
                      <a:pt x="337" y="179"/>
                    </a:cubicBezTo>
                    <a:cubicBezTo>
                      <a:pt x="337" y="179"/>
                      <a:pt x="321" y="167"/>
                      <a:pt x="308" y="167"/>
                    </a:cubicBezTo>
                    <a:cubicBezTo>
                      <a:pt x="295" y="167"/>
                      <a:pt x="290" y="205"/>
                      <a:pt x="290" y="212"/>
                    </a:cubicBezTo>
                    <a:cubicBezTo>
                      <a:pt x="290" y="219"/>
                      <a:pt x="279" y="217"/>
                      <a:pt x="272" y="220"/>
                    </a:cubicBezTo>
                    <a:cubicBezTo>
                      <a:pt x="265" y="223"/>
                      <a:pt x="263" y="240"/>
                      <a:pt x="263" y="240"/>
                    </a:cubicBezTo>
                    <a:cubicBezTo>
                      <a:pt x="263" y="240"/>
                      <a:pt x="253" y="238"/>
                      <a:pt x="249" y="239"/>
                    </a:cubicBezTo>
                    <a:cubicBezTo>
                      <a:pt x="245" y="240"/>
                      <a:pt x="244" y="251"/>
                      <a:pt x="244" y="251"/>
                    </a:cubicBezTo>
                    <a:cubicBezTo>
                      <a:pt x="244" y="251"/>
                      <a:pt x="198" y="256"/>
                      <a:pt x="193" y="253"/>
                    </a:cubicBezTo>
                    <a:cubicBezTo>
                      <a:pt x="188" y="250"/>
                      <a:pt x="193" y="231"/>
                      <a:pt x="193" y="231"/>
                    </a:cubicBezTo>
                    <a:cubicBezTo>
                      <a:pt x="193" y="231"/>
                      <a:pt x="201" y="218"/>
                      <a:pt x="203" y="209"/>
                    </a:cubicBezTo>
                    <a:cubicBezTo>
                      <a:pt x="205" y="200"/>
                      <a:pt x="196" y="189"/>
                      <a:pt x="196" y="189"/>
                    </a:cubicBezTo>
                    <a:cubicBezTo>
                      <a:pt x="196" y="189"/>
                      <a:pt x="197" y="179"/>
                      <a:pt x="188" y="160"/>
                    </a:cubicBezTo>
                    <a:cubicBezTo>
                      <a:pt x="184" y="152"/>
                      <a:pt x="175" y="147"/>
                      <a:pt x="166" y="143"/>
                    </a:cubicBezTo>
                    <a:cubicBezTo>
                      <a:pt x="163" y="339"/>
                      <a:pt x="163" y="339"/>
                      <a:pt x="163" y="339"/>
                    </a:cubicBezTo>
                    <a:cubicBezTo>
                      <a:pt x="163" y="339"/>
                      <a:pt x="149" y="340"/>
                      <a:pt x="142" y="343"/>
                    </a:cubicBezTo>
                    <a:cubicBezTo>
                      <a:pt x="135" y="346"/>
                      <a:pt x="137" y="351"/>
                      <a:pt x="137" y="351"/>
                    </a:cubicBezTo>
                    <a:cubicBezTo>
                      <a:pt x="129" y="353"/>
                      <a:pt x="129" y="353"/>
                      <a:pt x="129" y="353"/>
                    </a:cubicBezTo>
                    <a:cubicBezTo>
                      <a:pt x="129" y="353"/>
                      <a:pt x="132" y="367"/>
                      <a:pt x="126" y="367"/>
                    </a:cubicBezTo>
                    <a:cubicBezTo>
                      <a:pt x="121" y="367"/>
                      <a:pt x="114" y="367"/>
                      <a:pt x="114" y="367"/>
                    </a:cubicBezTo>
                    <a:cubicBezTo>
                      <a:pt x="114" y="367"/>
                      <a:pt x="110" y="361"/>
                      <a:pt x="102" y="361"/>
                    </a:cubicBezTo>
                    <a:cubicBezTo>
                      <a:pt x="94" y="361"/>
                      <a:pt x="88" y="369"/>
                      <a:pt x="88" y="369"/>
                    </a:cubicBezTo>
                    <a:cubicBezTo>
                      <a:pt x="76" y="369"/>
                      <a:pt x="76" y="369"/>
                      <a:pt x="76" y="369"/>
                    </a:cubicBezTo>
                    <a:cubicBezTo>
                      <a:pt x="76" y="369"/>
                      <a:pt x="72" y="361"/>
                      <a:pt x="65" y="357"/>
                    </a:cubicBezTo>
                    <a:cubicBezTo>
                      <a:pt x="58" y="353"/>
                      <a:pt x="49" y="359"/>
                      <a:pt x="45" y="352"/>
                    </a:cubicBezTo>
                    <a:cubicBezTo>
                      <a:pt x="40" y="345"/>
                      <a:pt x="41" y="330"/>
                      <a:pt x="41" y="330"/>
                    </a:cubicBezTo>
                    <a:cubicBezTo>
                      <a:pt x="41" y="330"/>
                      <a:pt x="31" y="318"/>
                      <a:pt x="27" y="317"/>
                    </a:cubicBezTo>
                    <a:cubicBezTo>
                      <a:pt x="23" y="316"/>
                      <a:pt x="12" y="340"/>
                      <a:pt x="12" y="340"/>
                    </a:cubicBezTo>
                    <a:cubicBezTo>
                      <a:pt x="0" y="346"/>
                      <a:pt x="0" y="346"/>
                      <a:pt x="0" y="346"/>
                    </a:cubicBezTo>
                    <a:cubicBezTo>
                      <a:pt x="0" y="345"/>
                      <a:pt x="0" y="345"/>
                      <a:pt x="0" y="345"/>
                    </a:cubicBezTo>
                    <a:cubicBezTo>
                      <a:pt x="0" y="345"/>
                      <a:pt x="7" y="368"/>
                      <a:pt x="11" y="372"/>
                    </a:cubicBezTo>
                    <a:cubicBezTo>
                      <a:pt x="15" y="376"/>
                      <a:pt x="31" y="394"/>
                      <a:pt x="31" y="407"/>
                    </a:cubicBezTo>
                    <a:cubicBezTo>
                      <a:pt x="31" y="420"/>
                      <a:pt x="28" y="446"/>
                      <a:pt x="38" y="461"/>
                    </a:cubicBezTo>
                    <a:cubicBezTo>
                      <a:pt x="48" y="476"/>
                      <a:pt x="83" y="509"/>
                      <a:pt x="83" y="523"/>
                    </a:cubicBezTo>
                    <a:cubicBezTo>
                      <a:pt x="83" y="537"/>
                      <a:pt x="82" y="564"/>
                      <a:pt x="78" y="568"/>
                    </a:cubicBezTo>
                    <a:cubicBezTo>
                      <a:pt x="74" y="572"/>
                      <a:pt x="62" y="564"/>
                      <a:pt x="61" y="572"/>
                    </a:cubicBezTo>
                    <a:cubicBezTo>
                      <a:pt x="60" y="580"/>
                      <a:pt x="63" y="588"/>
                      <a:pt x="73" y="605"/>
                    </a:cubicBezTo>
                    <a:cubicBezTo>
                      <a:pt x="83" y="622"/>
                      <a:pt x="75" y="641"/>
                      <a:pt x="81" y="649"/>
                    </a:cubicBezTo>
                    <a:cubicBezTo>
                      <a:pt x="87" y="657"/>
                      <a:pt x="84" y="646"/>
                      <a:pt x="90" y="643"/>
                    </a:cubicBezTo>
                    <a:cubicBezTo>
                      <a:pt x="96" y="640"/>
                      <a:pt x="103" y="650"/>
                      <a:pt x="103" y="650"/>
                    </a:cubicBezTo>
                    <a:cubicBezTo>
                      <a:pt x="121" y="656"/>
                      <a:pt x="121" y="656"/>
                      <a:pt x="121" y="656"/>
                    </a:cubicBezTo>
                    <a:cubicBezTo>
                      <a:pt x="121" y="656"/>
                      <a:pt x="126" y="682"/>
                      <a:pt x="145" y="679"/>
                    </a:cubicBezTo>
                    <a:cubicBezTo>
                      <a:pt x="164" y="676"/>
                      <a:pt x="165" y="662"/>
                      <a:pt x="177" y="658"/>
                    </a:cubicBezTo>
                    <a:cubicBezTo>
                      <a:pt x="189" y="654"/>
                      <a:pt x="224" y="665"/>
                      <a:pt x="233" y="662"/>
                    </a:cubicBezTo>
                    <a:cubicBezTo>
                      <a:pt x="242" y="659"/>
                      <a:pt x="238" y="638"/>
                      <a:pt x="261" y="638"/>
                    </a:cubicBezTo>
                    <a:cubicBezTo>
                      <a:pt x="284" y="638"/>
                      <a:pt x="292" y="646"/>
                      <a:pt x="292" y="646"/>
                    </a:cubicBezTo>
                    <a:cubicBezTo>
                      <a:pt x="292" y="646"/>
                      <a:pt x="303" y="635"/>
                      <a:pt x="326" y="636"/>
                    </a:cubicBezTo>
                    <a:cubicBezTo>
                      <a:pt x="349" y="637"/>
                      <a:pt x="361" y="647"/>
                      <a:pt x="366" y="646"/>
                    </a:cubicBezTo>
                    <a:cubicBezTo>
                      <a:pt x="371" y="645"/>
                      <a:pt x="383" y="635"/>
                      <a:pt x="383" y="635"/>
                    </a:cubicBezTo>
                    <a:cubicBezTo>
                      <a:pt x="383" y="635"/>
                      <a:pt x="397" y="642"/>
                      <a:pt x="406" y="637"/>
                    </a:cubicBezTo>
                    <a:cubicBezTo>
                      <a:pt x="415" y="632"/>
                      <a:pt x="427" y="624"/>
                      <a:pt x="427" y="624"/>
                    </a:cubicBezTo>
                    <a:cubicBezTo>
                      <a:pt x="427" y="624"/>
                      <a:pt x="451" y="632"/>
                      <a:pt x="473" y="617"/>
                    </a:cubicBezTo>
                    <a:cubicBezTo>
                      <a:pt x="495" y="602"/>
                      <a:pt x="525" y="573"/>
                      <a:pt x="525" y="573"/>
                    </a:cubicBezTo>
                    <a:cubicBezTo>
                      <a:pt x="538" y="565"/>
                      <a:pt x="538" y="565"/>
                      <a:pt x="538" y="565"/>
                    </a:cubicBezTo>
                    <a:cubicBezTo>
                      <a:pt x="600" y="499"/>
                      <a:pt x="600" y="499"/>
                      <a:pt x="600" y="499"/>
                    </a:cubicBezTo>
                    <a:cubicBezTo>
                      <a:pt x="615" y="500"/>
                      <a:pt x="615" y="500"/>
                      <a:pt x="615" y="500"/>
                    </a:cubicBezTo>
                    <a:cubicBezTo>
                      <a:pt x="615" y="500"/>
                      <a:pt x="652" y="449"/>
                      <a:pt x="656" y="435"/>
                    </a:cubicBezTo>
                    <a:cubicBezTo>
                      <a:pt x="660" y="421"/>
                      <a:pt x="677" y="385"/>
                      <a:pt x="686" y="379"/>
                    </a:cubicBezTo>
                    <a:cubicBezTo>
                      <a:pt x="695" y="373"/>
                      <a:pt x="726" y="360"/>
                      <a:pt x="729" y="349"/>
                    </a:cubicBezTo>
                    <a:cubicBezTo>
                      <a:pt x="732" y="338"/>
                      <a:pt x="748" y="297"/>
                      <a:pt x="748" y="297"/>
                    </a:cubicBezTo>
                    <a:cubicBezTo>
                      <a:pt x="748" y="297"/>
                      <a:pt x="754" y="280"/>
                      <a:pt x="759" y="264"/>
                    </a:cubicBezTo>
                    <a:cubicBezTo>
                      <a:pt x="755" y="258"/>
                      <a:pt x="750" y="252"/>
                      <a:pt x="746" y="250"/>
                    </a:cubicBezTo>
                    <a:close/>
                    <a:moveTo>
                      <a:pt x="580" y="418"/>
                    </a:moveTo>
                    <a:cubicBezTo>
                      <a:pt x="580" y="418"/>
                      <a:pt x="571" y="426"/>
                      <a:pt x="563" y="428"/>
                    </a:cubicBezTo>
                    <a:cubicBezTo>
                      <a:pt x="555" y="430"/>
                      <a:pt x="552" y="428"/>
                      <a:pt x="542" y="432"/>
                    </a:cubicBezTo>
                    <a:cubicBezTo>
                      <a:pt x="532" y="436"/>
                      <a:pt x="531" y="456"/>
                      <a:pt x="531" y="456"/>
                    </a:cubicBezTo>
                    <a:cubicBezTo>
                      <a:pt x="516" y="457"/>
                      <a:pt x="516" y="457"/>
                      <a:pt x="516" y="457"/>
                    </a:cubicBezTo>
                    <a:cubicBezTo>
                      <a:pt x="498" y="437"/>
                      <a:pt x="498" y="437"/>
                      <a:pt x="498" y="437"/>
                    </a:cubicBezTo>
                    <a:cubicBezTo>
                      <a:pt x="498" y="426"/>
                      <a:pt x="498" y="426"/>
                      <a:pt x="498" y="426"/>
                    </a:cubicBezTo>
                    <a:cubicBezTo>
                      <a:pt x="481" y="401"/>
                      <a:pt x="481" y="401"/>
                      <a:pt x="481" y="401"/>
                    </a:cubicBezTo>
                    <a:cubicBezTo>
                      <a:pt x="498" y="399"/>
                      <a:pt x="498" y="399"/>
                      <a:pt x="498" y="399"/>
                    </a:cubicBezTo>
                    <a:cubicBezTo>
                      <a:pt x="500" y="389"/>
                      <a:pt x="500" y="389"/>
                      <a:pt x="500" y="389"/>
                    </a:cubicBezTo>
                    <a:cubicBezTo>
                      <a:pt x="512" y="376"/>
                      <a:pt x="512" y="376"/>
                      <a:pt x="512" y="376"/>
                    </a:cubicBezTo>
                    <a:cubicBezTo>
                      <a:pt x="512" y="376"/>
                      <a:pt x="514" y="366"/>
                      <a:pt x="519" y="362"/>
                    </a:cubicBezTo>
                    <a:cubicBezTo>
                      <a:pt x="524" y="358"/>
                      <a:pt x="534" y="361"/>
                      <a:pt x="534" y="361"/>
                    </a:cubicBezTo>
                    <a:cubicBezTo>
                      <a:pt x="535" y="351"/>
                      <a:pt x="535" y="351"/>
                      <a:pt x="535" y="351"/>
                    </a:cubicBezTo>
                    <a:cubicBezTo>
                      <a:pt x="543" y="348"/>
                      <a:pt x="543" y="348"/>
                      <a:pt x="543" y="348"/>
                    </a:cubicBezTo>
                    <a:cubicBezTo>
                      <a:pt x="543" y="348"/>
                      <a:pt x="559" y="343"/>
                      <a:pt x="564" y="349"/>
                    </a:cubicBezTo>
                    <a:cubicBezTo>
                      <a:pt x="569" y="355"/>
                      <a:pt x="581" y="374"/>
                      <a:pt x="581" y="374"/>
                    </a:cubicBezTo>
                    <a:cubicBezTo>
                      <a:pt x="591" y="377"/>
                      <a:pt x="591" y="377"/>
                      <a:pt x="591" y="377"/>
                    </a:cubicBezTo>
                    <a:cubicBezTo>
                      <a:pt x="592" y="393"/>
                      <a:pt x="592" y="393"/>
                      <a:pt x="592" y="393"/>
                    </a:cubicBezTo>
                    <a:cubicBezTo>
                      <a:pt x="577" y="406"/>
                      <a:pt x="577" y="406"/>
                      <a:pt x="577" y="406"/>
                    </a:cubicBezTo>
                    <a:lnTo>
                      <a:pt x="580" y="418"/>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46" name="Freeform 168">
                <a:extLst>
                  <a:ext uri="{FF2B5EF4-FFF2-40B4-BE49-F238E27FC236}">
                    <a16:creationId xmlns:a16="http://schemas.microsoft.com/office/drawing/2014/main" id="{E72968F4-D2A0-4957-AA69-87E192551A8D}"/>
                  </a:ext>
                </a:extLst>
              </p:cNvPr>
              <p:cNvSpPr>
                <a:spLocks/>
              </p:cNvSpPr>
              <p:nvPr>
                <p:custDataLst>
                  <p:tags r:id="rId127"/>
                </p:custDataLst>
              </p:nvPr>
            </p:nvSpPr>
            <p:spPr bwMode="gray">
              <a:xfrm>
                <a:off x="5337145" y="4694255"/>
                <a:ext cx="303211" cy="495302"/>
              </a:xfrm>
              <a:custGeom>
                <a:avLst/>
                <a:gdLst>
                  <a:gd name="T0" fmla="*/ 507 w 508"/>
                  <a:gd name="T1" fmla="*/ 210 h 891"/>
                  <a:gd name="T2" fmla="*/ 499 w 508"/>
                  <a:gd name="T3" fmla="*/ 170 h 891"/>
                  <a:gd name="T4" fmla="*/ 502 w 508"/>
                  <a:gd name="T5" fmla="*/ 155 h 891"/>
                  <a:gd name="T6" fmla="*/ 503 w 508"/>
                  <a:gd name="T7" fmla="*/ 104 h 891"/>
                  <a:gd name="T8" fmla="*/ 505 w 508"/>
                  <a:gd name="T9" fmla="*/ 13 h 891"/>
                  <a:gd name="T10" fmla="*/ 497 w 508"/>
                  <a:gd name="T11" fmla="*/ 0 h 891"/>
                  <a:gd name="T12" fmla="*/ 425 w 508"/>
                  <a:gd name="T13" fmla="*/ 38 h 891"/>
                  <a:gd name="T14" fmla="*/ 393 w 508"/>
                  <a:gd name="T15" fmla="*/ 45 h 891"/>
                  <a:gd name="T16" fmla="*/ 354 w 508"/>
                  <a:gd name="T17" fmla="*/ 66 h 891"/>
                  <a:gd name="T18" fmla="*/ 325 w 508"/>
                  <a:gd name="T19" fmla="*/ 61 h 891"/>
                  <a:gd name="T20" fmla="*/ 279 w 508"/>
                  <a:gd name="T21" fmla="*/ 51 h 891"/>
                  <a:gd name="T22" fmla="*/ 237 w 508"/>
                  <a:gd name="T23" fmla="*/ 62 h 891"/>
                  <a:gd name="T24" fmla="*/ 224 w 508"/>
                  <a:gd name="T25" fmla="*/ 89 h 891"/>
                  <a:gd name="T26" fmla="*/ 228 w 508"/>
                  <a:gd name="T27" fmla="*/ 144 h 891"/>
                  <a:gd name="T28" fmla="*/ 235 w 508"/>
                  <a:gd name="T29" fmla="*/ 166 h 891"/>
                  <a:gd name="T30" fmla="*/ 281 w 508"/>
                  <a:gd name="T31" fmla="*/ 231 h 891"/>
                  <a:gd name="T32" fmla="*/ 268 w 508"/>
                  <a:gd name="T33" fmla="*/ 300 h 891"/>
                  <a:gd name="T34" fmla="*/ 246 w 508"/>
                  <a:gd name="T35" fmla="*/ 333 h 891"/>
                  <a:gd name="T36" fmla="*/ 234 w 508"/>
                  <a:gd name="T37" fmla="*/ 340 h 891"/>
                  <a:gd name="T38" fmla="*/ 202 w 508"/>
                  <a:gd name="T39" fmla="*/ 297 h 891"/>
                  <a:gd name="T40" fmla="*/ 208 w 508"/>
                  <a:gd name="T41" fmla="*/ 279 h 891"/>
                  <a:gd name="T42" fmla="*/ 210 w 508"/>
                  <a:gd name="T43" fmla="*/ 263 h 891"/>
                  <a:gd name="T44" fmla="*/ 208 w 508"/>
                  <a:gd name="T45" fmla="*/ 234 h 891"/>
                  <a:gd name="T46" fmla="*/ 189 w 508"/>
                  <a:gd name="T47" fmla="*/ 218 h 891"/>
                  <a:gd name="T48" fmla="*/ 148 w 508"/>
                  <a:gd name="T49" fmla="*/ 189 h 891"/>
                  <a:gd name="T50" fmla="*/ 43 w 508"/>
                  <a:gd name="T51" fmla="*/ 227 h 891"/>
                  <a:gd name="T52" fmla="*/ 5 w 508"/>
                  <a:gd name="T53" fmla="*/ 243 h 891"/>
                  <a:gd name="T54" fmla="*/ 17 w 508"/>
                  <a:gd name="T55" fmla="*/ 297 h 891"/>
                  <a:gd name="T56" fmla="*/ 64 w 508"/>
                  <a:gd name="T57" fmla="*/ 309 h 891"/>
                  <a:gd name="T58" fmla="*/ 89 w 508"/>
                  <a:gd name="T59" fmla="*/ 322 h 891"/>
                  <a:gd name="T60" fmla="*/ 120 w 508"/>
                  <a:gd name="T61" fmla="*/ 331 h 891"/>
                  <a:gd name="T62" fmla="*/ 129 w 508"/>
                  <a:gd name="T63" fmla="*/ 357 h 891"/>
                  <a:gd name="T64" fmla="*/ 131 w 508"/>
                  <a:gd name="T65" fmla="*/ 375 h 891"/>
                  <a:gd name="T66" fmla="*/ 129 w 508"/>
                  <a:gd name="T67" fmla="*/ 395 h 891"/>
                  <a:gd name="T68" fmla="*/ 131 w 508"/>
                  <a:gd name="T69" fmla="*/ 434 h 891"/>
                  <a:gd name="T70" fmla="*/ 117 w 508"/>
                  <a:gd name="T71" fmla="*/ 450 h 891"/>
                  <a:gd name="T72" fmla="*/ 117 w 508"/>
                  <a:gd name="T73" fmla="*/ 482 h 891"/>
                  <a:gd name="T74" fmla="*/ 125 w 508"/>
                  <a:gd name="T75" fmla="*/ 518 h 891"/>
                  <a:gd name="T76" fmla="*/ 105 w 508"/>
                  <a:gd name="T77" fmla="*/ 542 h 891"/>
                  <a:gd name="T78" fmla="*/ 96 w 508"/>
                  <a:gd name="T79" fmla="*/ 570 h 891"/>
                  <a:gd name="T80" fmla="*/ 95 w 508"/>
                  <a:gd name="T81" fmla="*/ 586 h 891"/>
                  <a:gd name="T82" fmla="*/ 57 w 508"/>
                  <a:gd name="T83" fmla="*/ 702 h 891"/>
                  <a:gd name="T84" fmla="*/ 78 w 508"/>
                  <a:gd name="T85" fmla="*/ 809 h 891"/>
                  <a:gd name="T86" fmla="*/ 76 w 508"/>
                  <a:gd name="T87" fmla="*/ 830 h 891"/>
                  <a:gd name="T88" fmla="*/ 83 w 508"/>
                  <a:gd name="T89" fmla="*/ 861 h 891"/>
                  <a:gd name="T90" fmla="*/ 98 w 508"/>
                  <a:gd name="T91" fmla="*/ 877 h 891"/>
                  <a:gd name="T92" fmla="*/ 115 w 508"/>
                  <a:gd name="T93" fmla="*/ 871 h 891"/>
                  <a:gd name="T94" fmla="*/ 109 w 508"/>
                  <a:gd name="T95" fmla="*/ 819 h 891"/>
                  <a:gd name="T96" fmla="*/ 242 w 508"/>
                  <a:gd name="T97" fmla="*/ 735 h 891"/>
                  <a:gd name="T98" fmla="*/ 230 w 508"/>
                  <a:gd name="T99" fmla="*/ 713 h 891"/>
                  <a:gd name="T100" fmla="*/ 241 w 508"/>
                  <a:gd name="T101" fmla="*/ 650 h 891"/>
                  <a:gd name="T102" fmla="*/ 246 w 508"/>
                  <a:gd name="T103" fmla="*/ 626 h 891"/>
                  <a:gd name="T104" fmla="*/ 238 w 508"/>
                  <a:gd name="T105" fmla="*/ 612 h 891"/>
                  <a:gd name="T106" fmla="*/ 225 w 508"/>
                  <a:gd name="T107" fmla="*/ 555 h 891"/>
                  <a:gd name="T108" fmla="*/ 222 w 508"/>
                  <a:gd name="T109" fmla="*/ 503 h 891"/>
                  <a:gd name="T110" fmla="*/ 267 w 508"/>
                  <a:gd name="T111" fmla="*/ 455 h 891"/>
                  <a:gd name="T112" fmla="*/ 312 w 508"/>
                  <a:gd name="T113" fmla="*/ 419 h 891"/>
                  <a:gd name="T114" fmla="*/ 417 w 508"/>
                  <a:gd name="T115" fmla="*/ 348 h 891"/>
                  <a:gd name="T116" fmla="*/ 458 w 508"/>
                  <a:gd name="T117" fmla="*/ 314 h 891"/>
                  <a:gd name="T118" fmla="*/ 498 w 508"/>
                  <a:gd name="T119" fmla="*/ 263 h 891"/>
                  <a:gd name="T120" fmla="*/ 508 w 508"/>
                  <a:gd name="T121" fmla="*/ 229 h 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08" h="891">
                    <a:moveTo>
                      <a:pt x="508" y="229"/>
                    </a:moveTo>
                    <a:cubicBezTo>
                      <a:pt x="508" y="221"/>
                      <a:pt x="507" y="210"/>
                      <a:pt x="507" y="210"/>
                    </a:cubicBezTo>
                    <a:cubicBezTo>
                      <a:pt x="499" y="211"/>
                      <a:pt x="499" y="211"/>
                      <a:pt x="499" y="211"/>
                    </a:cubicBezTo>
                    <a:cubicBezTo>
                      <a:pt x="499" y="170"/>
                      <a:pt x="499" y="170"/>
                      <a:pt x="499" y="170"/>
                    </a:cubicBezTo>
                    <a:cubicBezTo>
                      <a:pt x="491" y="162"/>
                      <a:pt x="491" y="162"/>
                      <a:pt x="491" y="162"/>
                    </a:cubicBezTo>
                    <a:cubicBezTo>
                      <a:pt x="502" y="155"/>
                      <a:pt x="502" y="155"/>
                      <a:pt x="502" y="155"/>
                    </a:cubicBezTo>
                    <a:cubicBezTo>
                      <a:pt x="495" y="124"/>
                      <a:pt x="495" y="124"/>
                      <a:pt x="495" y="124"/>
                    </a:cubicBezTo>
                    <a:cubicBezTo>
                      <a:pt x="503" y="104"/>
                      <a:pt x="503" y="104"/>
                      <a:pt x="503" y="104"/>
                    </a:cubicBezTo>
                    <a:cubicBezTo>
                      <a:pt x="493" y="78"/>
                      <a:pt x="493" y="78"/>
                      <a:pt x="493" y="78"/>
                    </a:cubicBezTo>
                    <a:cubicBezTo>
                      <a:pt x="493" y="78"/>
                      <a:pt x="505" y="21"/>
                      <a:pt x="505" y="13"/>
                    </a:cubicBezTo>
                    <a:cubicBezTo>
                      <a:pt x="505" y="5"/>
                      <a:pt x="497" y="0"/>
                      <a:pt x="497" y="0"/>
                    </a:cubicBezTo>
                    <a:cubicBezTo>
                      <a:pt x="497" y="0"/>
                      <a:pt x="497" y="0"/>
                      <a:pt x="497" y="0"/>
                    </a:cubicBezTo>
                    <a:cubicBezTo>
                      <a:pt x="444" y="37"/>
                      <a:pt x="444" y="37"/>
                      <a:pt x="444" y="37"/>
                    </a:cubicBezTo>
                    <a:cubicBezTo>
                      <a:pt x="425" y="38"/>
                      <a:pt x="425" y="38"/>
                      <a:pt x="425" y="38"/>
                    </a:cubicBezTo>
                    <a:cubicBezTo>
                      <a:pt x="425" y="38"/>
                      <a:pt x="404" y="51"/>
                      <a:pt x="400" y="52"/>
                    </a:cubicBezTo>
                    <a:cubicBezTo>
                      <a:pt x="396" y="53"/>
                      <a:pt x="393" y="45"/>
                      <a:pt x="393" y="45"/>
                    </a:cubicBezTo>
                    <a:cubicBezTo>
                      <a:pt x="377" y="45"/>
                      <a:pt x="377" y="45"/>
                      <a:pt x="377" y="45"/>
                    </a:cubicBezTo>
                    <a:cubicBezTo>
                      <a:pt x="377" y="45"/>
                      <a:pt x="361" y="63"/>
                      <a:pt x="354" y="66"/>
                    </a:cubicBezTo>
                    <a:cubicBezTo>
                      <a:pt x="347" y="69"/>
                      <a:pt x="343" y="67"/>
                      <a:pt x="343" y="67"/>
                    </a:cubicBezTo>
                    <a:cubicBezTo>
                      <a:pt x="343" y="67"/>
                      <a:pt x="329" y="59"/>
                      <a:pt x="325" y="61"/>
                    </a:cubicBezTo>
                    <a:cubicBezTo>
                      <a:pt x="321" y="63"/>
                      <a:pt x="316" y="72"/>
                      <a:pt x="311" y="72"/>
                    </a:cubicBezTo>
                    <a:cubicBezTo>
                      <a:pt x="306" y="72"/>
                      <a:pt x="287" y="51"/>
                      <a:pt x="279" y="51"/>
                    </a:cubicBezTo>
                    <a:cubicBezTo>
                      <a:pt x="271" y="51"/>
                      <a:pt x="267" y="61"/>
                      <a:pt x="267" y="61"/>
                    </a:cubicBezTo>
                    <a:cubicBezTo>
                      <a:pt x="267" y="61"/>
                      <a:pt x="250" y="62"/>
                      <a:pt x="237" y="62"/>
                    </a:cubicBezTo>
                    <a:cubicBezTo>
                      <a:pt x="236" y="66"/>
                      <a:pt x="236" y="70"/>
                      <a:pt x="236" y="72"/>
                    </a:cubicBezTo>
                    <a:cubicBezTo>
                      <a:pt x="236" y="75"/>
                      <a:pt x="233" y="81"/>
                      <a:pt x="224" y="89"/>
                    </a:cubicBezTo>
                    <a:cubicBezTo>
                      <a:pt x="215" y="97"/>
                      <a:pt x="225" y="104"/>
                      <a:pt x="229" y="109"/>
                    </a:cubicBezTo>
                    <a:cubicBezTo>
                      <a:pt x="233" y="114"/>
                      <a:pt x="233" y="132"/>
                      <a:pt x="228" y="144"/>
                    </a:cubicBezTo>
                    <a:cubicBezTo>
                      <a:pt x="225" y="151"/>
                      <a:pt x="225" y="159"/>
                      <a:pt x="226" y="164"/>
                    </a:cubicBezTo>
                    <a:cubicBezTo>
                      <a:pt x="229" y="165"/>
                      <a:pt x="233" y="165"/>
                      <a:pt x="235" y="166"/>
                    </a:cubicBezTo>
                    <a:cubicBezTo>
                      <a:pt x="239" y="169"/>
                      <a:pt x="257" y="196"/>
                      <a:pt x="261" y="204"/>
                    </a:cubicBezTo>
                    <a:cubicBezTo>
                      <a:pt x="265" y="212"/>
                      <a:pt x="275" y="222"/>
                      <a:pt x="281" y="231"/>
                    </a:cubicBezTo>
                    <a:cubicBezTo>
                      <a:pt x="287" y="240"/>
                      <a:pt x="270" y="258"/>
                      <a:pt x="270" y="258"/>
                    </a:cubicBezTo>
                    <a:cubicBezTo>
                      <a:pt x="270" y="258"/>
                      <a:pt x="274" y="293"/>
                      <a:pt x="268" y="300"/>
                    </a:cubicBezTo>
                    <a:cubicBezTo>
                      <a:pt x="262" y="307"/>
                      <a:pt x="244" y="299"/>
                      <a:pt x="238" y="317"/>
                    </a:cubicBezTo>
                    <a:cubicBezTo>
                      <a:pt x="232" y="335"/>
                      <a:pt x="242" y="323"/>
                      <a:pt x="246" y="333"/>
                    </a:cubicBezTo>
                    <a:cubicBezTo>
                      <a:pt x="250" y="343"/>
                      <a:pt x="243" y="360"/>
                      <a:pt x="232" y="358"/>
                    </a:cubicBezTo>
                    <a:cubicBezTo>
                      <a:pt x="221" y="356"/>
                      <a:pt x="235" y="346"/>
                      <a:pt x="234" y="340"/>
                    </a:cubicBezTo>
                    <a:cubicBezTo>
                      <a:pt x="233" y="334"/>
                      <a:pt x="202" y="314"/>
                      <a:pt x="202" y="314"/>
                    </a:cubicBezTo>
                    <a:cubicBezTo>
                      <a:pt x="202" y="297"/>
                      <a:pt x="202" y="297"/>
                      <a:pt x="202" y="297"/>
                    </a:cubicBezTo>
                    <a:cubicBezTo>
                      <a:pt x="202" y="297"/>
                      <a:pt x="197" y="297"/>
                      <a:pt x="195" y="294"/>
                    </a:cubicBezTo>
                    <a:cubicBezTo>
                      <a:pt x="193" y="291"/>
                      <a:pt x="208" y="279"/>
                      <a:pt x="208" y="279"/>
                    </a:cubicBezTo>
                    <a:cubicBezTo>
                      <a:pt x="200" y="266"/>
                      <a:pt x="200" y="266"/>
                      <a:pt x="200" y="266"/>
                    </a:cubicBezTo>
                    <a:cubicBezTo>
                      <a:pt x="210" y="263"/>
                      <a:pt x="210" y="263"/>
                      <a:pt x="210" y="263"/>
                    </a:cubicBezTo>
                    <a:cubicBezTo>
                      <a:pt x="213" y="242"/>
                      <a:pt x="213" y="242"/>
                      <a:pt x="213" y="242"/>
                    </a:cubicBezTo>
                    <a:cubicBezTo>
                      <a:pt x="213" y="242"/>
                      <a:pt x="207" y="243"/>
                      <a:pt x="208" y="234"/>
                    </a:cubicBezTo>
                    <a:cubicBezTo>
                      <a:pt x="209" y="225"/>
                      <a:pt x="205" y="214"/>
                      <a:pt x="205" y="214"/>
                    </a:cubicBezTo>
                    <a:cubicBezTo>
                      <a:pt x="199" y="211"/>
                      <a:pt x="189" y="218"/>
                      <a:pt x="189" y="218"/>
                    </a:cubicBezTo>
                    <a:cubicBezTo>
                      <a:pt x="169" y="221"/>
                      <a:pt x="169" y="221"/>
                      <a:pt x="169" y="221"/>
                    </a:cubicBezTo>
                    <a:cubicBezTo>
                      <a:pt x="148" y="189"/>
                      <a:pt x="148" y="189"/>
                      <a:pt x="148" y="189"/>
                    </a:cubicBezTo>
                    <a:cubicBezTo>
                      <a:pt x="148" y="189"/>
                      <a:pt x="104" y="209"/>
                      <a:pt x="95" y="214"/>
                    </a:cubicBezTo>
                    <a:cubicBezTo>
                      <a:pt x="85" y="219"/>
                      <a:pt x="43" y="227"/>
                      <a:pt x="43" y="227"/>
                    </a:cubicBezTo>
                    <a:cubicBezTo>
                      <a:pt x="31" y="238"/>
                      <a:pt x="31" y="238"/>
                      <a:pt x="31" y="238"/>
                    </a:cubicBezTo>
                    <a:cubicBezTo>
                      <a:pt x="31" y="238"/>
                      <a:pt x="11" y="239"/>
                      <a:pt x="5" y="243"/>
                    </a:cubicBezTo>
                    <a:cubicBezTo>
                      <a:pt x="0" y="247"/>
                      <a:pt x="15" y="261"/>
                      <a:pt x="15" y="261"/>
                    </a:cubicBezTo>
                    <a:cubicBezTo>
                      <a:pt x="17" y="297"/>
                      <a:pt x="17" y="297"/>
                      <a:pt x="17" y="297"/>
                    </a:cubicBezTo>
                    <a:cubicBezTo>
                      <a:pt x="56" y="297"/>
                      <a:pt x="56" y="297"/>
                      <a:pt x="56" y="297"/>
                    </a:cubicBezTo>
                    <a:cubicBezTo>
                      <a:pt x="64" y="309"/>
                      <a:pt x="64" y="309"/>
                      <a:pt x="64" y="309"/>
                    </a:cubicBezTo>
                    <a:cubicBezTo>
                      <a:pt x="79" y="306"/>
                      <a:pt x="79" y="306"/>
                      <a:pt x="79" y="306"/>
                    </a:cubicBezTo>
                    <a:cubicBezTo>
                      <a:pt x="89" y="322"/>
                      <a:pt x="89" y="322"/>
                      <a:pt x="89" y="322"/>
                    </a:cubicBezTo>
                    <a:cubicBezTo>
                      <a:pt x="89" y="322"/>
                      <a:pt x="99" y="319"/>
                      <a:pt x="107" y="319"/>
                    </a:cubicBezTo>
                    <a:cubicBezTo>
                      <a:pt x="115" y="319"/>
                      <a:pt x="120" y="331"/>
                      <a:pt x="120" y="331"/>
                    </a:cubicBezTo>
                    <a:cubicBezTo>
                      <a:pt x="120" y="331"/>
                      <a:pt x="135" y="331"/>
                      <a:pt x="139" y="339"/>
                    </a:cubicBezTo>
                    <a:cubicBezTo>
                      <a:pt x="143" y="347"/>
                      <a:pt x="129" y="357"/>
                      <a:pt x="129" y="357"/>
                    </a:cubicBezTo>
                    <a:cubicBezTo>
                      <a:pt x="137" y="366"/>
                      <a:pt x="137" y="366"/>
                      <a:pt x="137" y="366"/>
                    </a:cubicBezTo>
                    <a:cubicBezTo>
                      <a:pt x="131" y="375"/>
                      <a:pt x="131" y="375"/>
                      <a:pt x="131" y="375"/>
                    </a:cubicBezTo>
                    <a:cubicBezTo>
                      <a:pt x="137" y="383"/>
                      <a:pt x="137" y="383"/>
                      <a:pt x="137" y="383"/>
                    </a:cubicBezTo>
                    <a:cubicBezTo>
                      <a:pt x="137" y="383"/>
                      <a:pt x="132" y="390"/>
                      <a:pt x="129" y="395"/>
                    </a:cubicBezTo>
                    <a:cubicBezTo>
                      <a:pt x="127" y="401"/>
                      <a:pt x="135" y="407"/>
                      <a:pt x="137" y="421"/>
                    </a:cubicBezTo>
                    <a:cubicBezTo>
                      <a:pt x="140" y="434"/>
                      <a:pt x="131" y="434"/>
                      <a:pt x="131" y="434"/>
                    </a:cubicBezTo>
                    <a:cubicBezTo>
                      <a:pt x="131" y="443"/>
                      <a:pt x="131" y="443"/>
                      <a:pt x="131" y="443"/>
                    </a:cubicBezTo>
                    <a:cubicBezTo>
                      <a:pt x="117" y="450"/>
                      <a:pt x="117" y="450"/>
                      <a:pt x="117" y="450"/>
                    </a:cubicBezTo>
                    <a:cubicBezTo>
                      <a:pt x="131" y="466"/>
                      <a:pt x="131" y="466"/>
                      <a:pt x="131" y="466"/>
                    </a:cubicBezTo>
                    <a:cubicBezTo>
                      <a:pt x="131" y="466"/>
                      <a:pt x="119" y="477"/>
                      <a:pt x="117" y="482"/>
                    </a:cubicBezTo>
                    <a:cubicBezTo>
                      <a:pt x="116" y="487"/>
                      <a:pt x="133" y="498"/>
                      <a:pt x="135" y="505"/>
                    </a:cubicBezTo>
                    <a:cubicBezTo>
                      <a:pt x="136" y="511"/>
                      <a:pt x="125" y="518"/>
                      <a:pt x="125" y="518"/>
                    </a:cubicBezTo>
                    <a:cubicBezTo>
                      <a:pt x="125" y="518"/>
                      <a:pt x="123" y="525"/>
                      <a:pt x="121" y="533"/>
                    </a:cubicBezTo>
                    <a:cubicBezTo>
                      <a:pt x="120" y="541"/>
                      <a:pt x="105" y="542"/>
                      <a:pt x="105" y="542"/>
                    </a:cubicBezTo>
                    <a:cubicBezTo>
                      <a:pt x="104" y="565"/>
                      <a:pt x="104" y="565"/>
                      <a:pt x="104" y="565"/>
                    </a:cubicBezTo>
                    <a:cubicBezTo>
                      <a:pt x="96" y="570"/>
                      <a:pt x="96" y="570"/>
                      <a:pt x="96" y="570"/>
                    </a:cubicBezTo>
                    <a:cubicBezTo>
                      <a:pt x="105" y="583"/>
                      <a:pt x="105" y="583"/>
                      <a:pt x="105" y="583"/>
                    </a:cubicBezTo>
                    <a:cubicBezTo>
                      <a:pt x="95" y="586"/>
                      <a:pt x="95" y="586"/>
                      <a:pt x="95" y="586"/>
                    </a:cubicBezTo>
                    <a:cubicBezTo>
                      <a:pt x="48" y="642"/>
                      <a:pt x="48" y="642"/>
                      <a:pt x="48" y="642"/>
                    </a:cubicBezTo>
                    <a:cubicBezTo>
                      <a:pt x="48" y="642"/>
                      <a:pt x="55" y="693"/>
                      <a:pt x="57" y="702"/>
                    </a:cubicBezTo>
                    <a:cubicBezTo>
                      <a:pt x="59" y="711"/>
                      <a:pt x="80" y="743"/>
                      <a:pt x="79" y="752"/>
                    </a:cubicBezTo>
                    <a:cubicBezTo>
                      <a:pt x="78" y="761"/>
                      <a:pt x="78" y="809"/>
                      <a:pt x="78" y="809"/>
                    </a:cubicBezTo>
                    <a:cubicBezTo>
                      <a:pt x="60" y="833"/>
                      <a:pt x="60" y="833"/>
                      <a:pt x="60" y="833"/>
                    </a:cubicBezTo>
                    <a:cubicBezTo>
                      <a:pt x="76" y="830"/>
                      <a:pt x="76" y="830"/>
                      <a:pt x="76" y="830"/>
                    </a:cubicBezTo>
                    <a:cubicBezTo>
                      <a:pt x="76" y="830"/>
                      <a:pt x="71" y="847"/>
                      <a:pt x="73" y="854"/>
                    </a:cubicBezTo>
                    <a:cubicBezTo>
                      <a:pt x="76" y="861"/>
                      <a:pt x="83" y="861"/>
                      <a:pt x="83" y="861"/>
                    </a:cubicBezTo>
                    <a:cubicBezTo>
                      <a:pt x="87" y="877"/>
                      <a:pt x="87" y="877"/>
                      <a:pt x="87" y="877"/>
                    </a:cubicBezTo>
                    <a:cubicBezTo>
                      <a:pt x="91" y="876"/>
                      <a:pt x="95" y="875"/>
                      <a:pt x="98" y="877"/>
                    </a:cubicBezTo>
                    <a:cubicBezTo>
                      <a:pt x="102" y="879"/>
                      <a:pt x="107" y="885"/>
                      <a:pt x="111" y="891"/>
                    </a:cubicBezTo>
                    <a:cubicBezTo>
                      <a:pt x="113" y="883"/>
                      <a:pt x="115" y="876"/>
                      <a:pt x="115" y="871"/>
                    </a:cubicBezTo>
                    <a:cubicBezTo>
                      <a:pt x="116" y="856"/>
                      <a:pt x="107" y="845"/>
                      <a:pt x="107" y="845"/>
                    </a:cubicBezTo>
                    <a:cubicBezTo>
                      <a:pt x="107" y="845"/>
                      <a:pt x="88" y="839"/>
                      <a:pt x="109" y="819"/>
                    </a:cubicBezTo>
                    <a:cubicBezTo>
                      <a:pt x="130" y="799"/>
                      <a:pt x="165" y="785"/>
                      <a:pt x="186" y="773"/>
                    </a:cubicBezTo>
                    <a:cubicBezTo>
                      <a:pt x="207" y="761"/>
                      <a:pt x="242" y="744"/>
                      <a:pt x="242" y="735"/>
                    </a:cubicBezTo>
                    <a:cubicBezTo>
                      <a:pt x="242" y="726"/>
                      <a:pt x="242" y="718"/>
                      <a:pt x="242" y="718"/>
                    </a:cubicBezTo>
                    <a:cubicBezTo>
                      <a:pt x="242" y="718"/>
                      <a:pt x="231" y="727"/>
                      <a:pt x="230" y="713"/>
                    </a:cubicBezTo>
                    <a:cubicBezTo>
                      <a:pt x="229" y="699"/>
                      <a:pt x="249" y="684"/>
                      <a:pt x="247" y="674"/>
                    </a:cubicBezTo>
                    <a:cubicBezTo>
                      <a:pt x="245" y="664"/>
                      <a:pt x="241" y="650"/>
                      <a:pt x="241" y="650"/>
                    </a:cubicBezTo>
                    <a:cubicBezTo>
                      <a:pt x="248" y="631"/>
                      <a:pt x="248" y="631"/>
                      <a:pt x="248" y="631"/>
                    </a:cubicBezTo>
                    <a:cubicBezTo>
                      <a:pt x="246" y="626"/>
                      <a:pt x="246" y="626"/>
                      <a:pt x="246" y="626"/>
                    </a:cubicBezTo>
                    <a:cubicBezTo>
                      <a:pt x="235" y="639"/>
                      <a:pt x="235" y="639"/>
                      <a:pt x="235" y="639"/>
                    </a:cubicBezTo>
                    <a:cubicBezTo>
                      <a:pt x="238" y="612"/>
                      <a:pt x="238" y="612"/>
                      <a:pt x="238" y="612"/>
                    </a:cubicBezTo>
                    <a:cubicBezTo>
                      <a:pt x="238" y="612"/>
                      <a:pt x="223" y="597"/>
                      <a:pt x="222" y="587"/>
                    </a:cubicBezTo>
                    <a:cubicBezTo>
                      <a:pt x="221" y="577"/>
                      <a:pt x="230" y="567"/>
                      <a:pt x="225" y="555"/>
                    </a:cubicBezTo>
                    <a:cubicBezTo>
                      <a:pt x="220" y="543"/>
                      <a:pt x="208" y="554"/>
                      <a:pt x="208" y="541"/>
                    </a:cubicBezTo>
                    <a:cubicBezTo>
                      <a:pt x="208" y="528"/>
                      <a:pt x="219" y="507"/>
                      <a:pt x="222" y="503"/>
                    </a:cubicBezTo>
                    <a:cubicBezTo>
                      <a:pt x="225" y="499"/>
                      <a:pt x="249" y="493"/>
                      <a:pt x="252" y="484"/>
                    </a:cubicBezTo>
                    <a:cubicBezTo>
                      <a:pt x="255" y="475"/>
                      <a:pt x="260" y="460"/>
                      <a:pt x="267" y="455"/>
                    </a:cubicBezTo>
                    <a:cubicBezTo>
                      <a:pt x="274" y="450"/>
                      <a:pt x="279" y="455"/>
                      <a:pt x="287" y="449"/>
                    </a:cubicBezTo>
                    <a:cubicBezTo>
                      <a:pt x="295" y="443"/>
                      <a:pt x="310" y="435"/>
                      <a:pt x="312" y="419"/>
                    </a:cubicBezTo>
                    <a:cubicBezTo>
                      <a:pt x="314" y="403"/>
                      <a:pt x="331" y="385"/>
                      <a:pt x="348" y="377"/>
                    </a:cubicBezTo>
                    <a:cubicBezTo>
                      <a:pt x="365" y="369"/>
                      <a:pt x="409" y="355"/>
                      <a:pt x="417" y="348"/>
                    </a:cubicBezTo>
                    <a:cubicBezTo>
                      <a:pt x="425" y="341"/>
                      <a:pt x="458" y="324"/>
                      <a:pt x="458" y="324"/>
                    </a:cubicBezTo>
                    <a:cubicBezTo>
                      <a:pt x="458" y="314"/>
                      <a:pt x="458" y="314"/>
                      <a:pt x="458" y="314"/>
                    </a:cubicBezTo>
                    <a:cubicBezTo>
                      <a:pt x="458" y="314"/>
                      <a:pt x="476" y="295"/>
                      <a:pt x="476" y="290"/>
                    </a:cubicBezTo>
                    <a:cubicBezTo>
                      <a:pt x="476" y="285"/>
                      <a:pt x="498" y="263"/>
                      <a:pt x="498" y="263"/>
                    </a:cubicBezTo>
                    <a:cubicBezTo>
                      <a:pt x="496" y="254"/>
                      <a:pt x="496" y="254"/>
                      <a:pt x="496" y="254"/>
                    </a:cubicBezTo>
                    <a:cubicBezTo>
                      <a:pt x="496" y="254"/>
                      <a:pt x="508" y="237"/>
                      <a:pt x="508" y="229"/>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47" name="Freeform 169">
                <a:extLst>
                  <a:ext uri="{FF2B5EF4-FFF2-40B4-BE49-F238E27FC236}">
                    <a16:creationId xmlns:a16="http://schemas.microsoft.com/office/drawing/2014/main" id="{9C311AEF-CCD5-41D5-A81F-5E0DA948C0FC}"/>
                  </a:ext>
                </a:extLst>
              </p:cNvPr>
              <p:cNvSpPr>
                <a:spLocks/>
              </p:cNvSpPr>
              <p:nvPr>
                <p:custDataLst>
                  <p:tags r:id="rId128"/>
                </p:custDataLst>
              </p:nvPr>
            </p:nvSpPr>
            <p:spPr bwMode="gray">
              <a:xfrm>
                <a:off x="5411758" y="4665679"/>
                <a:ext cx="98424" cy="230188"/>
              </a:xfrm>
              <a:custGeom>
                <a:avLst/>
                <a:gdLst>
                  <a:gd name="T0" fmla="*/ 156 w 162"/>
                  <a:gd name="T1" fmla="*/ 287 h 416"/>
                  <a:gd name="T2" fmla="*/ 136 w 162"/>
                  <a:gd name="T3" fmla="*/ 260 h 416"/>
                  <a:gd name="T4" fmla="*/ 110 w 162"/>
                  <a:gd name="T5" fmla="*/ 222 h 416"/>
                  <a:gd name="T6" fmla="*/ 101 w 162"/>
                  <a:gd name="T7" fmla="*/ 220 h 416"/>
                  <a:gd name="T8" fmla="*/ 105 w 162"/>
                  <a:gd name="T9" fmla="*/ 229 h 416"/>
                  <a:gd name="T10" fmla="*/ 114 w 162"/>
                  <a:gd name="T11" fmla="*/ 237 h 416"/>
                  <a:gd name="T12" fmla="*/ 113 w 162"/>
                  <a:gd name="T13" fmla="*/ 264 h 416"/>
                  <a:gd name="T14" fmla="*/ 105 w 162"/>
                  <a:gd name="T15" fmla="*/ 253 h 416"/>
                  <a:gd name="T16" fmla="*/ 90 w 162"/>
                  <a:gd name="T17" fmla="*/ 257 h 416"/>
                  <a:gd name="T18" fmla="*/ 86 w 162"/>
                  <a:gd name="T19" fmla="*/ 234 h 416"/>
                  <a:gd name="T20" fmla="*/ 81 w 162"/>
                  <a:gd name="T21" fmla="*/ 220 h 416"/>
                  <a:gd name="T22" fmla="*/ 81 w 162"/>
                  <a:gd name="T23" fmla="*/ 195 h 416"/>
                  <a:gd name="T24" fmla="*/ 64 w 162"/>
                  <a:gd name="T25" fmla="*/ 171 h 416"/>
                  <a:gd name="T26" fmla="*/ 59 w 162"/>
                  <a:gd name="T27" fmla="*/ 154 h 416"/>
                  <a:gd name="T28" fmla="*/ 77 w 162"/>
                  <a:gd name="T29" fmla="*/ 126 h 416"/>
                  <a:gd name="T30" fmla="*/ 84 w 162"/>
                  <a:gd name="T31" fmla="*/ 108 h 416"/>
                  <a:gd name="T32" fmla="*/ 81 w 162"/>
                  <a:gd name="T33" fmla="*/ 90 h 416"/>
                  <a:gd name="T34" fmla="*/ 78 w 162"/>
                  <a:gd name="T35" fmla="*/ 51 h 416"/>
                  <a:gd name="T36" fmla="*/ 64 w 162"/>
                  <a:gd name="T37" fmla="*/ 37 h 416"/>
                  <a:gd name="T38" fmla="*/ 60 w 162"/>
                  <a:gd name="T39" fmla="*/ 10 h 416"/>
                  <a:gd name="T40" fmla="*/ 41 w 162"/>
                  <a:gd name="T41" fmla="*/ 10 h 416"/>
                  <a:gd name="T42" fmla="*/ 35 w 162"/>
                  <a:gd name="T43" fmla="*/ 0 h 416"/>
                  <a:gd name="T44" fmla="*/ 20 w 162"/>
                  <a:gd name="T45" fmla="*/ 1 h 416"/>
                  <a:gd name="T46" fmla="*/ 20 w 162"/>
                  <a:gd name="T47" fmla="*/ 9 h 416"/>
                  <a:gd name="T48" fmla="*/ 35 w 162"/>
                  <a:gd name="T49" fmla="*/ 16 h 416"/>
                  <a:gd name="T50" fmla="*/ 37 w 162"/>
                  <a:gd name="T51" fmla="*/ 42 h 416"/>
                  <a:gd name="T52" fmla="*/ 46 w 162"/>
                  <a:gd name="T53" fmla="*/ 41 h 416"/>
                  <a:gd name="T54" fmla="*/ 46 w 162"/>
                  <a:gd name="T55" fmla="*/ 54 h 416"/>
                  <a:gd name="T56" fmla="*/ 52 w 162"/>
                  <a:gd name="T57" fmla="*/ 64 h 416"/>
                  <a:gd name="T58" fmla="*/ 30 w 162"/>
                  <a:gd name="T59" fmla="*/ 75 h 416"/>
                  <a:gd name="T60" fmla="*/ 30 w 162"/>
                  <a:gd name="T61" fmla="*/ 86 h 416"/>
                  <a:gd name="T62" fmla="*/ 37 w 162"/>
                  <a:gd name="T63" fmla="*/ 92 h 416"/>
                  <a:gd name="T64" fmla="*/ 33 w 162"/>
                  <a:gd name="T65" fmla="*/ 105 h 416"/>
                  <a:gd name="T66" fmla="*/ 34 w 162"/>
                  <a:gd name="T67" fmla="*/ 153 h 416"/>
                  <a:gd name="T68" fmla="*/ 42 w 162"/>
                  <a:gd name="T69" fmla="*/ 157 h 416"/>
                  <a:gd name="T70" fmla="*/ 14 w 162"/>
                  <a:gd name="T71" fmla="*/ 175 h 416"/>
                  <a:gd name="T72" fmla="*/ 16 w 162"/>
                  <a:gd name="T73" fmla="*/ 200 h 416"/>
                  <a:gd name="T74" fmla="*/ 1 w 162"/>
                  <a:gd name="T75" fmla="*/ 226 h 416"/>
                  <a:gd name="T76" fmla="*/ 23 w 162"/>
                  <a:gd name="T77" fmla="*/ 245 h 416"/>
                  <a:gd name="T78" fmla="*/ 44 w 162"/>
                  <a:gd name="T79" fmla="*/ 277 h 416"/>
                  <a:gd name="T80" fmla="*/ 64 w 162"/>
                  <a:gd name="T81" fmla="*/ 274 h 416"/>
                  <a:gd name="T82" fmla="*/ 80 w 162"/>
                  <a:gd name="T83" fmla="*/ 270 h 416"/>
                  <a:gd name="T84" fmla="*/ 83 w 162"/>
                  <a:gd name="T85" fmla="*/ 290 h 416"/>
                  <a:gd name="T86" fmla="*/ 88 w 162"/>
                  <a:gd name="T87" fmla="*/ 298 h 416"/>
                  <a:gd name="T88" fmla="*/ 85 w 162"/>
                  <a:gd name="T89" fmla="*/ 319 h 416"/>
                  <a:gd name="T90" fmla="*/ 75 w 162"/>
                  <a:gd name="T91" fmla="*/ 322 h 416"/>
                  <a:gd name="T92" fmla="*/ 83 w 162"/>
                  <a:gd name="T93" fmla="*/ 335 h 416"/>
                  <a:gd name="T94" fmla="*/ 70 w 162"/>
                  <a:gd name="T95" fmla="*/ 350 h 416"/>
                  <a:gd name="T96" fmla="*/ 77 w 162"/>
                  <a:gd name="T97" fmla="*/ 353 h 416"/>
                  <a:gd name="T98" fmla="*/ 77 w 162"/>
                  <a:gd name="T99" fmla="*/ 370 h 416"/>
                  <a:gd name="T100" fmla="*/ 109 w 162"/>
                  <a:gd name="T101" fmla="*/ 396 h 416"/>
                  <a:gd name="T102" fmla="*/ 107 w 162"/>
                  <a:gd name="T103" fmla="*/ 414 h 416"/>
                  <a:gd name="T104" fmla="*/ 121 w 162"/>
                  <a:gd name="T105" fmla="*/ 389 h 416"/>
                  <a:gd name="T106" fmla="*/ 113 w 162"/>
                  <a:gd name="T107" fmla="*/ 373 h 416"/>
                  <a:gd name="T108" fmla="*/ 143 w 162"/>
                  <a:gd name="T109" fmla="*/ 356 h 416"/>
                  <a:gd name="T110" fmla="*/ 145 w 162"/>
                  <a:gd name="T111" fmla="*/ 314 h 416"/>
                  <a:gd name="T112" fmla="*/ 156 w 162"/>
                  <a:gd name="T113" fmla="*/ 287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2" h="416">
                    <a:moveTo>
                      <a:pt x="156" y="287"/>
                    </a:moveTo>
                    <a:cubicBezTo>
                      <a:pt x="150" y="278"/>
                      <a:pt x="140" y="268"/>
                      <a:pt x="136" y="260"/>
                    </a:cubicBezTo>
                    <a:cubicBezTo>
                      <a:pt x="132" y="252"/>
                      <a:pt x="114" y="225"/>
                      <a:pt x="110" y="222"/>
                    </a:cubicBezTo>
                    <a:cubicBezTo>
                      <a:pt x="108" y="221"/>
                      <a:pt x="104" y="221"/>
                      <a:pt x="101" y="220"/>
                    </a:cubicBezTo>
                    <a:cubicBezTo>
                      <a:pt x="101" y="225"/>
                      <a:pt x="103" y="228"/>
                      <a:pt x="105" y="229"/>
                    </a:cubicBezTo>
                    <a:cubicBezTo>
                      <a:pt x="110" y="231"/>
                      <a:pt x="114" y="237"/>
                      <a:pt x="114" y="237"/>
                    </a:cubicBezTo>
                    <a:cubicBezTo>
                      <a:pt x="114" y="237"/>
                      <a:pt x="119" y="262"/>
                      <a:pt x="113" y="264"/>
                    </a:cubicBezTo>
                    <a:cubicBezTo>
                      <a:pt x="107" y="266"/>
                      <a:pt x="105" y="253"/>
                      <a:pt x="105" y="253"/>
                    </a:cubicBezTo>
                    <a:cubicBezTo>
                      <a:pt x="105" y="253"/>
                      <a:pt x="93" y="259"/>
                      <a:pt x="90" y="257"/>
                    </a:cubicBezTo>
                    <a:cubicBezTo>
                      <a:pt x="87" y="255"/>
                      <a:pt x="87" y="241"/>
                      <a:pt x="86" y="234"/>
                    </a:cubicBezTo>
                    <a:cubicBezTo>
                      <a:pt x="85" y="227"/>
                      <a:pt x="83" y="224"/>
                      <a:pt x="81" y="220"/>
                    </a:cubicBezTo>
                    <a:cubicBezTo>
                      <a:pt x="79" y="216"/>
                      <a:pt x="81" y="203"/>
                      <a:pt x="81" y="195"/>
                    </a:cubicBezTo>
                    <a:cubicBezTo>
                      <a:pt x="81" y="187"/>
                      <a:pt x="76" y="181"/>
                      <a:pt x="64" y="171"/>
                    </a:cubicBezTo>
                    <a:cubicBezTo>
                      <a:pt x="52" y="161"/>
                      <a:pt x="61" y="163"/>
                      <a:pt x="59" y="154"/>
                    </a:cubicBezTo>
                    <a:cubicBezTo>
                      <a:pt x="57" y="145"/>
                      <a:pt x="67" y="137"/>
                      <a:pt x="77" y="126"/>
                    </a:cubicBezTo>
                    <a:cubicBezTo>
                      <a:pt x="87" y="115"/>
                      <a:pt x="83" y="113"/>
                      <a:pt x="84" y="108"/>
                    </a:cubicBezTo>
                    <a:cubicBezTo>
                      <a:pt x="85" y="103"/>
                      <a:pt x="81" y="98"/>
                      <a:pt x="81" y="90"/>
                    </a:cubicBezTo>
                    <a:cubicBezTo>
                      <a:pt x="81" y="82"/>
                      <a:pt x="79" y="67"/>
                      <a:pt x="78" y="51"/>
                    </a:cubicBezTo>
                    <a:cubicBezTo>
                      <a:pt x="77" y="35"/>
                      <a:pt x="75" y="44"/>
                      <a:pt x="64" y="37"/>
                    </a:cubicBezTo>
                    <a:cubicBezTo>
                      <a:pt x="53" y="30"/>
                      <a:pt x="61" y="21"/>
                      <a:pt x="60" y="10"/>
                    </a:cubicBezTo>
                    <a:cubicBezTo>
                      <a:pt x="41" y="10"/>
                      <a:pt x="41" y="10"/>
                      <a:pt x="41" y="10"/>
                    </a:cubicBezTo>
                    <a:cubicBezTo>
                      <a:pt x="35" y="0"/>
                      <a:pt x="35" y="0"/>
                      <a:pt x="35" y="0"/>
                    </a:cubicBezTo>
                    <a:cubicBezTo>
                      <a:pt x="20" y="1"/>
                      <a:pt x="20" y="1"/>
                      <a:pt x="20" y="1"/>
                    </a:cubicBezTo>
                    <a:cubicBezTo>
                      <a:pt x="20" y="9"/>
                      <a:pt x="20" y="9"/>
                      <a:pt x="20" y="9"/>
                    </a:cubicBezTo>
                    <a:cubicBezTo>
                      <a:pt x="20" y="9"/>
                      <a:pt x="34" y="9"/>
                      <a:pt x="35" y="16"/>
                    </a:cubicBezTo>
                    <a:cubicBezTo>
                      <a:pt x="36" y="23"/>
                      <a:pt x="34" y="42"/>
                      <a:pt x="37" y="42"/>
                    </a:cubicBezTo>
                    <a:cubicBezTo>
                      <a:pt x="40" y="42"/>
                      <a:pt x="46" y="41"/>
                      <a:pt x="46" y="41"/>
                    </a:cubicBezTo>
                    <a:cubicBezTo>
                      <a:pt x="46" y="54"/>
                      <a:pt x="46" y="54"/>
                      <a:pt x="46" y="54"/>
                    </a:cubicBezTo>
                    <a:cubicBezTo>
                      <a:pt x="46" y="54"/>
                      <a:pt x="58" y="57"/>
                      <a:pt x="52" y="64"/>
                    </a:cubicBezTo>
                    <a:cubicBezTo>
                      <a:pt x="46" y="71"/>
                      <a:pt x="30" y="75"/>
                      <a:pt x="30" y="75"/>
                    </a:cubicBezTo>
                    <a:cubicBezTo>
                      <a:pt x="30" y="86"/>
                      <a:pt x="30" y="86"/>
                      <a:pt x="30" y="86"/>
                    </a:cubicBezTo>
                    <a:cubicBezTo>
                      <a:pt x="37" y="92"/>
                      <a:pt x="37" y="92"/>
                      <a:pt x="37" y="92"/>
                    </a:cubicBezTo>
                    <a:cubicBezTo>
                      <a:pt x="33" y="105"/>
                      <a:pt x="33" y="105"/>
                      <a:pt x="33" y="105"/>
                    </a:cubicBezTo>
                    <a:cubicBezTo>
                      <a:pt x="34" y="153"/>
                      <a:pt x="34" y="153"/>
                      <a:pt x="34" y="153"/>
                    </a:cubicBezTo>
                    <a:cubicBezTo>
                      <a:pt x="34" y="153"/>
                      <a:pt x="45" y="150"/>
                      <a:pt x="42" y="157"/>
                    </a:cubicBezTo>
                    <a:cubicBezTo>
                      <a:pt x="39" y="164"/>
                      <a:pt x="14" y="175"/>
                      <a:pt x="14" y="175"/>
                    </a:cubicBezTo>
                    <a:cubicBezTo>
                      <a:pt x="16" y="200"/>
                      <a:pt x="16" y="200"/>
                      <a:pt x="16" y="200"/>
                    </a:cubicBezTo>
                    <a:cubicBezTo>
                      <a:pt x="16" y="200"/>
                      <a:pt x="0" y="223"/>
                      <a:pt x="1" y="226"/>
                    </a:cubicBezTo>
                    <a:cubicBezTo>
                      <a:pt x="2" y="229"/>
                      <a:pt x="23" y="245"/>
                      <a:pt x="23" y="245"/>
                    </a:cubicBezTo>
                    <a:cubicBezTo>
                      <a:pt x="44" y="277"/>
                      <a:pt x="44" y="277"/>
                      <a:pt x="44" y="277"/>
                    </a:cubicBezTo>
                    <a:cubicBezTo>
                      <a:pt x="64" y="274"/>
                      <a:pt x="64" y="274"/>
                      <a:pt x="64" y="274"/>
                    </a:cubicBezTo>
                    <a:cubicBezTo>
                      <a:pt x="64" y="274"/>
                      <a:pt x="74" y="267"/>
                      <a:pt x="80" y="270"/>
                    </a:cubicBezTo>
                    <a:cubicBezTo>
                      <a:pt x="80" y="270"/>
                      <a:pt x="84" y="281"/>
                      <a:pt x="83" y="290"/>
                    </a:cubicBezTo>
                    <a:cubicBezTo>
                      <a:pt x="82" y="299"/>
                      <a:pt x="88" y="298"/>
                      <a:pt x="88" y="298"/>
                    </a:cubicBezTo>
                    <a:cubicBezTo>
                      <a:pt x="85" y="319"/>
                      <a:pt x="85" y="319"/>
                      <a:pt x="85" y="319"/>
                    </a:cubicBezTo>
                    <a:cubicBezTo>
                      <a:pt x="75" y="322"/>
                      <a:pt x="75" y="322"/>
                      <a:pt x="75" y="322"/>
                    </a:cubicBezTo>
                    <a:cubicBezTo>
                      <a:pt x="83" y="335"/>
                      <a:pt x="83" y="335"/>
                      <a:pt x="83" y="335"/>
                    </a:cubicBezTo>
                    <a:cubicBezTo>
                      <a:pt x="83" y="335"/>
                      <a:pt x="68" y="347"/>
                      <a:pt x="70" y="350"/>
                    </a:cubicBezTo>
                    <a:cubicBezTo>
                      <a:pt x="72" y="353"/>
                      <a:pt x="77" y="353"/>
                      <a:pt x="77" y="353"/>
                    </a:cubicBezTo>
                    <a:cubicBezTo>
                      <a:pt x="77" y="370"/>
                      <a:pt x="77" y="370"/>
                      <a:pt x="77" y="370"/>
                    </a:cubicBezTo>
                    <a:cubicBezTo>
                      <a:pt x="77" y="370"/>
                      <a:pt x="108" y="390"/>
                      <a:pt x="109" y="396"/>
                    </a:cubicBezTo>
                    <a:cubicBezTo>
                      <a:pt x="110" y="402"/>
                      <a:pt x="96" y="412"/>
                      <a:pt x="107" y="414"/>
                    </a:cubicBezTo>
                    <a:cubicBezTo>
                      <a:pt x="118" y="416"/>
                      <a:pt x="125" y="399"/>
                      <a:pt x="121" y="389"/>
                    </a:cubicBezTo>
                    <a:cubicBezTo>
                      <a:pt x="117" y="379"/>
                      <a:pt x="107" y="391"/>
                      <a:pt x="113" y="373"/>
                    </a:cubicBezTo>
                    <a:cubicBezTo>
                      <a:pt x="119" y="355"/>
                      <a:pt x="137" y="363"/>
                      <a:pt x="143" y="356"/>
                    </a:cubicBezTo>
                    <a:cubicBezTo>
                      <a:pt x="149" y="349"/>
                      <a:pt x="145" y="314"/>
                      <a:pt x="145" y="314"/>
                    </a:cubicBezTo>
                    <a:cubicBezTo>
                      <a:pt x="145" y="314"/>
                      <a:pt x="162" y="296"/>
                      <a:pt x="156" y="287"/>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48" name="Freeform 170">
                <a:extLst>
                  <a:ext uri="{FF2B5EF4-FFF2-40B4-BE49-F238E27FC236}">
                    <a16:creationId xmlns:a16="http://schemas.microsoft.com/office/drawing/2014/main" id="{0AA7ACA0-2652-47F8-B5CE-E64BF6BF3AF0}"/>
                  </a:ext>
                </a:extLst>
              </p:cNvPr>
              <p:cNvSpPr>
                <a:spLocks/>
              </p:cNvSpPr>
              <p:nvPr>
                <p:custDataLst>
                  <p:tags r:id="rId129"/>
                </p:custDataLst>
              </p:nvPr>
            </p:nvSpPr>
            <p:spPr bwMode="gray">
              <a:xfrm>
                <a:off x="5108546" y="4625992"/>
                <a:ext cx="336548" cy="298451"/>
              </a:xfrm>
              <a:custGeom>
                <a:avLst/>
                <a:gdLst>
                  <a:gd name="T0" fmla="*/ 551 w 563"/>
                  <a:gd name="T1" fmla="*/ 109 h 536"/>
                  <a:gd name="T2" fmla="*/ 540 w 563"/>
                  <a:gd name="T3" fmla="*/ 84 h 536"/>
                  <a:gd name="T4" fmla="*/ 525 w 563"/>
                  <a:gd name="T5" fmla="*/ 69 h 536"/>
                  <a:gd name="T6" fmla="*/ 502 w 563"/>
                  <a:gd name="T7" fmla="*/ 60 h 536"/>
                  <a:gd name="T8" fmla="*/ 485 w 563"/>
                  <a:gd name="T9" fmla="*/ 51 h 536"/>
                  <a:gd name="T10" fmla="*/ 461 w 563"/>
                  <a:gd name="T11" fmla="*/ 38 h 536"/>
                  <a:gd name="T12" fmla="*/ 436 w 563"/>
                  <a:gd name="T13" fmla="*/ 26 h 536"/>
                  <a:gd name="T14" fmla="*/ 419 w 563"/>
                  <a:gd name="T15" fmla="*/ 25 h 536"/>
                  <a:gd name="T16" fmla="*/ 402 w 563"/>
                  <a:gd name="T17" fmla="*/ 0 h 536"/>
                  <a:gd name="T18" fmla="*/ 333 w 563"/>
                  <a:gd name="T19" fmla="*/ 15 h 536"/>
                  <a:gd name="T20" fmla="*/ 306 w 563"/>
                  <a:gd name="T21" fmla="*/ 57 h 536"/>
                  <a:gd name="T22" fmla="*/ 320 w 563"/>
                  <a:gd name="T23" fmla="*/ 87 h 536"/>
                  <a:gd name="T24" fmla="*/ 304 w 563"/>
                  <a:gd name="T25" fmla="*/ 189 h 536"/>
                  <a:gd name="T26" fmla="*/ 351 w 563"/>
                  <a:gd name="T27" fmla="*/ 230 h 536"/>
                  <a:gd name="T28" fmla="*/ 364 w 563"/>
                  <a:gd name="T29" fmla="*/ 214 h 536"/>
                  <a:gd name="T30" fmla="*/ 367 w 563"/>
                  <a:gd name="T31" fmla="*/ 282 h 536"/>
                  <a:gd name="T32" fmla="*/ 344 w 563"/>
                  <a:gd name="T33" fmla="*/ 281 h 536"/>
                  <a:gd name="T34" fmla="*/ 324 w 563"/>
                  <a:gd name="T35" fmla="*/ 251 h 536"/>
                  <a:gd name="T36" fmla="*/ 305 w 563"/>
                  <a:gd name="T37" fmla="*/ 228 h 536"/>
                  <a:gd name="T38" fmla="*/ 282 w 563"/>
                  <a:gd name="T39" fmla="*/ 216 h 536"/>
                  <a:gd name="T40" fmla="*/ 267 w 563"/>
                  <a:gd name="T41" fmla="*/ 203 h 536"/>
                  <a:gd name="T42" fmla="*/ 246 w 563"/>
                  <a:gd name="T43" fmla="*/ 179 h 536"/>
                  <a:gd name="T44" fmla="*/ 165 w 563"/>
                  <a:gd name="T45" fmla="*/ 188 h 536"/>
                  <a:gd name="T46" fmla="*/ 128 w 563"/>
                  <a:gd name="T47" fmla="*/ 168 h 536"/>
                  <a:gd name="T48" fmla="*/ 117 w 563"/>
                  <a:gd name="T49" fmla="*/ 151 h 536"/>
                  <a:gd name="T50" fmla="*/ 101 w 563"/>
                  <a:gd name="T51" fmla="*/ 144 h 536"/>
                  <a:gd name="T52" fmla="*/ 107 w 563"/>
                  <a:gd name="T53" fmla="*/ 178 h 536"/>
                  <a:gd name="T54" fmla="*/ 98 w 563"/>
                  <a:gd name="T55" fmla="*/ 218 h 536"/>
                  <a:gd name="T56" fmla="*/ 93 w 563"/>
                  <a:gd name="T57" fmla="*/ 232 h 536"/>
                  <a:gd name="T58" fmla="*/ 84 w 563"/>
                  <a:gd name="T59" fmla="*/ 262 h 536"/>
                  <a:gd name="T60" fmla="*/ 0 w 563"/>
                  <a:gd name="T61" fmla="*/ 427 h 536"/>
                  <a:gd name="T62" fmla="*/ 6 w 563"/>
                  <a:gd name="T63" fmla="*/ 449 h 536"/>
                  <a:gd name="T64" fmla="*/ 79 w 563"/>
                  <a:gd name="T65" fmla="*/ 511 h 536"/>
                  <a:gd name="T66" fmla="*/ 108 w 563"/>
                  <a:gd name="T67" fmla="*/ 498 h 536"/>
                  <a:gd name="T68" fmla="*/ 138 w 563"/>
                  <a:gd name="T69" fmla="*/ 504 h 536"/>
                  <a:gd name="T70" fmla="*/ 177 w 563"/>
                  <a:gd name="T71" fmla="*/ 517 h 536"/>
                  <a:gd name="T72" fmla="*/ 202 w 563"/>
                  <a:gd name="T73" fmla="*/ 521 h 536"/>
                  <a:gd name="T74" fmla="*/ 267 w 563"/>
                  <a:gd name="T75" fmla="*/ 491 h 536"/>
                  <a:gd name="T76" fmla="*/ 323 w 563"/>
                  <a:gd name="T77" fmla="*/ 449 h 536"/>
                  <a:gd name="T78" fmla="*/ 356 w 563"/>
                  <a:gd name="T79" fmla="*/ 405 h 536"/>
                  <a:gd name="T80" fmla="*/ 395 w 563"/>
                  <a:gd name="T81" fmla="*/ 385 h 536"/>
                  <a:gd name="T82" fmla="*/ 411 w 563"/>
                  <a:gd name="T83" fmla="*/ 362 h 536"/>
                  <a:gd name="T84" fmla="*/ 475 w 563"/>
                  <a:gd name="T85" fmla="*/ 338 h 536"/>
                  <a:gd name="T86" fmla="*/ 506 w 563"/>
                  <a:gd name="T87" fmla="*/ 294 h 536"/>
                  <a:gd name="T88" fmla="*/ 519 w 563"/>
                  <a:gd name="T89" fmla="*/ 243 h 536"/>
                  <a:gd name="T90" fmla="*/ 539 w 563"/>
                  <a:gd name="T91" fmla="*/ 221 h 536"/>
                  <a:gd name="T92" fmla="*/ 542 w 563"/>
                  <a:gd name="T93" fmla="*/ 160 h 536"/>
                  <a:gd name="T94" fmla="*/ 535 w 563"/>
                  <a:gd name="T95" fmla="*/ 143 h 536"/>
                  <a:gd name="T96" fmla="*/ 551 w 563"/>
                  <a:gd name="T97" fmla="*/ 122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63" h="536">
                    <a:moveTo>
                      <a:pt x="551" y="122"/>
                    </a:moveTo>
                    <a:cubicBezTo>
                      <a:pt x="551" y="109"/>
                      <a:pt x="551" y="109"/>
                      <a:pt x="551" y="109"/>
                    </a:cubicBezTo>
                    <a:cubicBezTo>
                      <a:pt x="551" y="109"/>
                      <a:pt x="545" y="110"/>
                      <a:pt x="542" y="110"/>
                    </a:cubicBezTo>
                    <a:cubicBezTo>
                      <a:pt x="539" y="110"/>
                      <a:pt x="541" y="91"/>
                      <a:pt x="540" y="84"/>
                    </a:cubicBezTo>
                    <a:cubicBezTo>
                      <a:pt x="539" y="77"/>
                      <a:pt x="525" y="77"/>
                      <a:pt x="525" y="77"/>
                    </a:cubicBezTo>
                    <a:cubicBezTo>
                      <a:pt x="525" y="69"/>
                      <a:pt x="525" y="69"/>
                      <a:pt x="525" y="69"/>
                    </a:cubicBezTo>
                    <a:cubicBezTo>
                      <a:pt x="514" y="59"/>
                      <a:pt x="514" y="59"/>
                      <a:pt x="514" y="59"/>
                    </a:cubicBezTo>
                    <a:cubicBezTo>
                      <a:pt x="502" y="60"/>
                      <a:pt x="502" y="60"/>
                      <a:pt x="502" y="60"/>
                    </a:cubicBezTo>
                    <a:cubicBezTo>
                      <a:pt x="500" y="49"/>
                      <a:pt x="500" y="49"/>
                      <a:pt x="500" y="49"/>
                    </a:cubicBezTo>
                    <a:cubicBezTo>
                      <a:pt x="500" y="49"/>
                      <a:pt x="490" y="55"/>
                      <a:pt x="485" y="51"/>
                    </a:cubicBezTo>
                    <a:cubicBezTo>
                      <a:pt x="480" y="47"/>
                      <a:pt x="473" y="38"/>
                      <a:pt x="473" y="38"/>
                    </a:cubicBezTo>
                    <a:cubicBezTo>
                      <a:pt x="473" y="38"/>
                      <a:pt x="464" y="41"/>
                      <a:pt x="461" y="38"/>
                    </a:cubicBezTo>
                    <a:cubicBezTo>
                      <a:pt x="458" y="35"/>
                      <a:pt x="456" y="23"/>
                      <a:pt x="456" y="23"/>
                    </a:cubicBezTo>
                    <a:cubicBezTo>
                      <a:pt x="456" y="23"/>
                      <a:pt x="444" y="27"/>
                      <a:pt x="436" y="26"/>
                    </a:cubicBezTo>
                    <a:cubicBezTo>
                      <a:pt x="434" y="31"/>
                      <a:pt x="431" y="36"/>
                      <a:pt x="428" y="38"/>
                    </a:cubicBezTo>
                    <a:cubicBezTo>
                      <a:pt x="420" y="42"/>
                      <a:pt x="419" y="25"/>
                      <a:pt x="419" y="25"/>
                    </a:cubicBezTo>
                    <a:cubicBezTo>
                      <a:pt x="419" y="25"/>
                      <a:pt x="411" y="20"/>
                      <a:pt x="400" y="16"/>
                    </a:cubicBezTo>
                    <a:cubicBezTo>
                      <a:pt x="393" y="13"/>
                      <a:pt x="398" y="6"/>
                      <a:pt x="402" y="0"/>
                    </a:cubicBezTo>
                    <a:cubicBezTo>
                      <a:pt x="394" y="4"/>
                      <a:pt x="387" y="6"/>
                      <a:pt x="383" y="7"/>
                    </a:cubicBezTo>
                    <a:cubicBezTo>
                      <a:pt x="370" y="10"/>
                      <a:pt x="333" y="15"/>
                      <a:pt x="333" y="15"/>
                    </a:cubicBezTo>
                    <a:cubicBezTo>
                      <a:pt x="333" y="15"/>
                      <a:pt x="333" y="28"/>
                      <a:pt x="333" y="35"/>
                    </a:cubicBezTo>
                    <a:cubicBezTo>
                      <a:pt x="333" y="42"/>
                      <a:pt x="306" y="57"/>
                      <a:pt x="306" y="57"/>
                    </a:cubicBezTo>
                    <a:cubicBezTo>
                      <a:pt x="306" y="57"/>
                      <a:pt x="312" y="64"/>
                      <a:pt x="315" y="66"/>
                    </a:cubicBezTo>
                    <a:cubicBezTo>
                      <a:pt x="318" y="68"/>
                      <a:pt x="320" y="87"/>
                      <a:pt x="320" y="87"/>
                    </a:cubicBezTo>
                    <a:cubicBezTo>
                      <a:pt x="320" y="87"/>
                      <a:pt x="324" y="121"/>
                      <a:pt x="324" y="135"/>
                    </a:cubicBezTo>
                    <a:cubicBezTo>
                      <a:pt x="324" y="149"/>
                      <a:pt x="302" y="171"/>
                      <a:pt x="304" y="189"/>
                    </a:cubicBezTo>
                    <a:cubicBezTo>
                      <a:pt x="306" y="207"/>
                      <a:pt x="317" y="202"/>
                      <a:pt x="323" y="209"/>
                    </a:cubicBezTo>
                    <a:cubicBezTo>
                      <a:pt x="329" y="216"/>
                      <a:pt x="341" y="230"/>
                      <a:pt x="351" y="230"/>
                    </a:cubicBezTo>
                    <a:cubicBezTo>
                      <a:pt x="361" y="230"/>
                      <a:pt x="358" y="217"/>
                      <a:pt x="358" y="217"/>
                    </a:cubicBezTo>
                    <a:cubicBezTo>
                      <a:pt x="364" y="214"/>
                      <a:pt x="364" y="214"/>
                      <a:pt x="364" y="214"/>
                    </a:cubicBezTo>
                    <a:cubicBezTo>
                      <a:pt x="372" y="214"/>
                      <a:pt x="372" y="214"/>
                      <a:pt x="372" y="214"/>
                    </a:cubicBezTo>
                    <a:cubicBezTo>
                      <a:pt x="372" y="214"/>
                      <a:pt x="373" y="279"/>
                      <a:pt x="367" y="282"/>
                    </a:cubicBezTo>
                    <a:cubicBezTo>
                      <a:pt x="361" y="285"/>
                      <a:pt x="359" y="271"/>
                      <a:pt x="359" y="271"/>
                    </a:cubicBezTo>
                    <a:cubicBezTo>
                      <a:pt x="344" y="281"/>
                      <a:pt x="344" y="281"/>
                      <a:pt x="344" y="281"/>
                    </a:cubicBezTo>
                    <a:cubicBezTo>
                      <a:pt x="332" y="281"/>
                      <a:pt x="332" y="281"/>
                      <a:pt x="332" y="281"/>
                    </a:cubicBezTo>
                    <a:cubicBezTo>
                      <a:pt x="332" y="281"/>
                      <a:pt x="329" y="258"/>
                      <a:pt x="324" y="251"/>
                    </a:cubicBezTo>
                    <a:cubicBezTo>
                      <a:pt x="319" y="244"/>
                      <a:pt x="313" y="247"/>
                      <a:pt x="313" y="247"/>
                    </a:cubicBezTo>
                    <a:cubicBezTo>
                      <a:pt x="313" y="247"/>
                      <a:pt x="311" y="236"/>
                      <a:pt x="305" y="228"/>
                    </a:cubicBezTo>
                    <a:cubicBezTo>
                      <a:pt x="299" y="220"/>
                      <a:pt x="294" y="228"/>
                      <a:pt x="290" y="228"/>
                    </a:cubicBezTo>
                    <a:cubicBezTo>
                      <a:pt x="286" y="228"/>
                      <a:pt x="287" y="220"/>
                      <a:pt x="282" y="216"/>
                    </a:cubicBezTo>
                    <a:cubicBezTo>
                      <a:pt x="277" y="212"/>
                      <a:pt x="275" y="218"/>
                      <a:pt x="267" y="217"/>
                    </a:cubicBezTo>
                    <a:cubicBezTo>
                      <a:pt x="259" y="216"/>
                      <a:pt x="267" y="207"/>
                      <a:pt x="267" y="203"/>
                    </a:cubicBezTo>
                    <a:cubicBezTo>
                      <a:pt x="267" y="199"/>
                      <a:pt x="257" y="199"/>
                      <a:pt x="253" y="194"/>
                    </a:cubicBezTo>
                    <a:cubicBezTo>
                      <a:pt x="249" y="189"/>
                      <a:pt x="258" y="184"/>
                      <a:pt x="246" y="179"/>
                    </a:cubicBezTo>
                    <a:cubicBezTo>
                      <a:pt x="234" y="174"/>
                      <a:pt x="237" y="200"/>
                      <a:pt x="232" y="204"/>
                    </a:cubicBezTo>
                    <a:cubicBezTo>
                      <a:pt x="227" y="208"/>
                      <a:pt x="175" y="195"/>
                      <a:pt x="165" y="188"/>
                    </a:cubicBezTo>
                    <a:cubicBezTo>
                      <a:pt x="155" y="181"/>
                      <a:pt x="159" y="162"/>
                      <a:pt x="159" y="162"/>
                    </a:cubicBezTo>
                    <a:cubicBezTo>
                      <a:pt x="128" y="168"/>
                      <a:pt x="128" y="168"/>
                      <a:pt x="128" y="168"/>
                    </a:cubicBezTo>
                    <a:cubicBezTo>
                      <a:pt x="128" y="168"/>
                      <a:pt x="142" y="178"/>
                      <a:pt x="125" y="177"/>
                    </a:cubicBezTo>
                    <a:cubicBezTo>
                      <a:pt x="108" y="176"/>
                      <a:pt x="117" y="151"/>
                      <a:pt x="117" y="151"/>
                    </a:cubicBezTo>
                    <a:cubicBezTo>
                      <a:pt x="106" y="153"/>
                      <a:pt x="106" y="153"/>
                      <a:pt x="106" y="153"/>
                    </a:cubicBezTo>
                    <a:cubicBezTo>
                      <a:pt x="101" y="144"/>
                      <a:pt x="101" y="144"/>
                      <a:pt x="101" y="144"/>
                    </a:cubicBezTo>
                    <a:cubicBezTo>
                      <a:pt x="96" y="154"/>
                      <a:pt x="96" y="154"/>
                      <a:pt x="96" y="154"/>
                    </a:cubicBezTo>
                    <a:cubicBezTo>
                      <a:pt x="96" y="154"/>
                      <a:pt x="110" y="175"/>
                      <a:pt x="107" y="178"/>
                    </a:cubicBezTo>
                    <a:cubicBezTo>
                      <a:pt x="104" y="181"/>
                      <a:pt x="96" y="183"/>
                      <a:pt x="96" y="183"/>
                    </a:cubicBezTo>
                    <a:cubicBezTo>
                      <a:pt x="98" y="218"/>
                      <a:pt x="98" y="218"/>
                      <a:pt x="98" y="218"/>
                    </a:cubicBezTo>
                    <a:cubicBezTo>
                      <a:pt x="106" y="229"/>
                      <a:pt x="106" y="229"/>
                      <a:pt x="106" y="229"/>
                    </a:cubicBezTo>
                    <a:cubicBezTo>
                      <a:pt x="93" y="232"/>
                      <a:pt x="93" y="232"/>
                      <a:pt x="93" y="232"/>
                    </a:cubicBezTo>
                    <a:cubicBezTo>
                      <a:pt x="93" y="232"/>
                      <a:pt x="99" y="248"/>
                      <a:pt x="97" y="255"/>
                    </a:cubicBezTo>
                    <a:cubicBezTo>
                      <a:pt x="95" y="262"/>
                      <a:pt x="84" y="262"/>
                      <a:pt x="84" y="262"/>
                    </a:cubicBezTo>
                    <a:cubicBezTo>
                      <a:pt x="1" y="260"/>
                      <a:pt x="1" y="260"/>
                      <a:pt x="1" y="260"/>
                    </a:cubicBezTo>
                    <a:cubicBezTo>
                      <a:pt x="0" y="427"/>
                      <a:pt x="0" y="427"/>
                      <a:pt x="0" y="427"/>
                    </a:cubicBezTo>
                    <a:cubicBezTo>
                      <a:pt x="6" y="437"/>
                      <a:pt x="6" y="437"/>
                      <a:pt x="6" y="437"/>
                    </a:cubicBezTo>
                    <a:cubicBezTo>
                      <a:pt x="6" y="449"/>
                      <a:pt x="6" y="449"/>
                      <a:pt x="6" y="449"/>
                    </a:cubicBezTo>
                    <a:cubicBezTo>
                      <a:pt x="64" y="507"/>
                      <a:pt x="64" y="507"/>
                      <a:pt x="64" y="507"/>
                    </a:cubicBezTo>
                    <a:cubicBezTo>
                      <a:pt x="79" y="511"/>
                      <a:pt x="79" y="511"/>
                      <a:pt x="79" y="511"/>
                    </a:cubicBezTo>
                    <a:cubicBezTo>
                      <a:pt x="92" y="503"/>
                      <a:pt x="92" y="503"/>
                      <a:pt x="92" y="503"/>
                    </a:cubicBezTo>
                    <a:cubicBezTo>
                      <a:pt x="92" y="503"/>
                      <a:pt x="99" y="498"/>
                      <a:pt x="108" y="498"/>
                    </a:cubicBezTo>
                    <a:cubicBezTo>
                      <a:pt x="117" y="498"/>
                      <a:pt x="118" y="506"/>
                      <a:pt x="118" y="506"/>
                    </a:cubicBezTo>
                    <a:cubicBezTo>
                      <a:pt x="138" y="504"/>
                      <a:pt x="138" y="504"/>
                      <a:pt x="138" y="504"/>
                    </a:cubicBezTo>
                    <a:cubicBezTo>
                      <a:pt x="151" y="517"/>
                      <a:pt x="151" y="517"/>
                      <a:pt x="151" y="517"/>
                    </a:cubicBezTo>
                    <a:cubicBezTo>
                      <a:pt x="151" y="517"/>
                      <a:pt x="175" y="513"/>
                      <a:pt x="177" y="517"/>
                    </a:cubicBezTo>
                    <a:cubicBezTo>
                      <a:pt x="179" y="521"/>
                      <a:pt x="185" y="527"/>
                      <a:pt x="189" y="527"/>
                    </a:cubicBezTo>
                    <a:cubicBezTo>
                      <a:pt x="193" y="527"/>
                      <a:pt x="195" y="515"/>
                      <a:pt x="202" y="521"/>
                    </a:cubicBezTo>
                    <a:cubicBezTo>
                      <a:pt x="209" y="527"/>
                      <a:pt x="210" y="536"/>
                      <a:pt x="228" y="527"/>
                    </a:cubicBezTo>
                    <a:cubicBezTo>
                      <a:pt x="246" y="518"/>
                      <a:pt x="267" y="491"/>
                      <a:pt x="267" y="491"/>
                    </a:cubicBezTo>
                    <a:cubicBezTo>
                      <a:pt x="267" y="491"/>
                      <a:pt x="269" y="475"/>
                      <a:pt x="276" y="468"/>
                    </a:cubicBezTo>
                    <a:cubicBezTo>
                      <a:pt x="283" y="461"/>
                      <a:pt x="322" y="450"/>
                      <a:pt x="323" y="449"/>
                    </a:cubicBezTo>
                    <a:cubicBezTo>
                      <a:pt x="324" y="448"/>
                      <a:pt x="321" y="425"/>
                      <a:pt x="321" y="425"/>
                    </a:cubicBezTo>
                    <a:cubicBezTo>
                      <a:pt x="321" y="425"/>
                      <a:pt x="339" y="411"/>
                      <a:pt x="356" y="405"/>
                    </a:cubicBezTo>
                    <a:cubicBezTo>
                      <a:pt x="369" y="400"/>
                      <a:pt x="387" y="400"/>
                      <a:pt x="396" y="401"/>
                    </a:cubicBezTo>
                    <a:cubicBezTo>
                      <a:pt x="395" y="385"/>
                      <a:pt x="395" y="385"/>
                      <a:pt x="395" y="385"/>
                    </a:cubicBezTo>
                    <a:cubicBezTo>
                      <a:pt x="395" y="385"/>
                      <a:pt x="380" y="371"/>
                      <a:pt x="385" y="367"/>
                    </a:cubicBezTo>
                    <a:cubicBezTo>
                      <a:pt x="391" y="363"/>
                      <a:pt x="411" y="362"/>
                      <a:pt x="411" y="362"/>
                    </a:cubicBezTo>
                    <a:cubicBezTo>
                      <a:pt x="423" y="351"/>
                      <a:pt x="423" y="351"/>
                      <a:pt x="423" y="351"/>
                    </a:cubicBezTo>
                    <a:cubicBezTo>
                      <a:pt x="423" y="351"/>
                      <a:pt x="465" y="343"/>
                      <a:pt x="475" y="338"/>
                    </a:cubicBezTo>
                    <a:cubicBezTo>
                      <a:pt x="484" y="333"/>
                      <a:pt x="528" y="313"/>
                      <a:pt x="528" y="313"/>
                    </a:cubicBezTo>
                    <a:cubicBezTo>
                      <a:pt x="528" y="313"/>
                      <a:pt x="507" y="297"/>
                      <a:pt x="506" y="294"/>
                    </a:cubicBezTo>
                    <a:cubicBezTo>
                      <a:pt x="505" y="291"/>
                      <a:pt x="521" y="268"/>
                      <a:pt x="521" y="268"/>
                    </a:cubicBezTo>
                    <a:cubicBezTo>
                      <a:pt x="519" y="243"/>
                      <a:pt x="519" y="243"/>
                      <a:pt x="519" y="243"/>
                    </a:cubicBezTo>
                    <a:cubicBezTo>
                      <a:pt x="519" y="243"/>
                      <a:pt x="544" y="232"/>
                      <a:pt x="547" y="225"/>
                    </a:cubicBezTo>
                    <a:cubicBezTo>
                      <a:pt x="550" y="218"/>
                      <a:pt x="539" y="221"/>
                      <a:pt x="539" y="221"/>
                    </a:cubicBezTo>
                    <a:cubicBezTo>
                      <a:pt x="538" y="173"/>
                      <a:pt x="538" y="173"/>
                      <a:pt x="538" y="173"/>
                    </a:cubicBezTo>
                    <a:cubicBezTo>
                      <a:pt x="542" y="160"/>
                      <a:pt x="542" y="160"/>
                      <a:pt x="542" y="160"/>
                    </a:cubicBezTo>
                    <a:cubicBezTo>
                      <a:pt x="535" y="154"/>
                      <a:pt x="535" y="154"/>
                      <a:pt x="535" y="154"/>
                    </a:cubicBezTo>
                    <a:cubicBezTo>
                      <a:pt x="535" y="143"/>
                      <a:pt x="535" y="143"/>
                      <a:pt x="535" y="143"/>
                    </a:cubicBezTo>
                    <a:cubicBezTo>
                      <a:pt x="535" y="143"/>
                      <a:pt x="551" y="139"/>
                      <a:pt x="557" y="132"/>
                    </a:cubicBezTo>
                    <a:cubicBezTo>
                      <a:pt x="563" y="125"/>
                      <a:pt x="551" y="122"/>
                      <a:pt x="551" y="122"/>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49" name="Freeform 171">
                <a:extLst>
                  <a:ext uri="{FF2B5EF4-FFF2-40B4-BE49-F238E27FC236}">
                    <a16:creationId xmlns:a16="http://schemas.microsoft.com/office/drawing/2014/main" id="{41A46B67-250B-4417-88AA-08F61AF9E512}"/>
                  </a:ext>
                </a:extLst>
              </p:cNvPr>
              <p:cNvSpPr>
                <a:spLocks/>
              </p:cNvSpPr>
              <p:nvPr>
                <p:custDataLst>
                  <p:tags r:id="rId130"/>
                </p:custDataLst>
              </p:nvPr>
            </p:nvSpPr>
            <p:spPr bwMode="gray">
              <a:xfrm>
                <a:off x="4835498" y="4222765"/>
                <a:ext cx="541335" cy="561977"/>
              </a:xfrm>
              <a:custGeom>
                <a:avLst/>
                <a:gdLst>
                  <a:gd name="T0" fmla="*/ 838 w 902"/>
                  <a:gd name="T1" fmla="*/ 264 h 1016"/>
                  <a:gd name="T2" fmla="*/ 853 w 902"/>
                  <a:gd name="T3" fmla="*/ 230 h 1016"/>
                  <a:gd name="T4" fmla="*/ 890 w 902"/>
                  <a:gd name="T5" fmla="*/ 163 h 1016"/>
                  <a:gd name="T6" fmla="*/ 873 w 902"/>
                  <a:gd name="T7" fmla="*/ 127 h 1016"/>
                  <a:gd name="T8" fmla="*/ 869 w 902"/>
                  <a:gd name="T9" fmla="*/ 98 h 1016"/>
                  <a:gd name="T10" fmla="*/ 820 w 902"/>
                  <a:gd name="T11" fmla="*/ 39 h 1016"/>
                  <a:gd name="T12" fmla="*/ 765 w 902"/>
                  <a:gd name="T13" fmla="*/ 61 h 1016"/>
                  <a:gd name="T14" fmla="*/ 713 w 902"/>
                  <a:gd name="T15" fmla="*/ 13 h 1016"/>
                  <a:gd name="T16" fmla="*/ 659 w 902"/>
                  <a:gd name="T17" fmla="*/ 10 h 1016"/>
                  <a:gd name="T18" fmla="*/ 611 w 902"/>
                  <a:gd name="T19" fmla="*/ 23 h 1016"/>
                  <a:gd name="T20" fmla="*/ 560 w 902"/>
                  <a:gd name="T21" fmla="*/ 32 h 1016"/>
                  <a:gd name="T22" fmla="*/ 509 w 902"/>
                  <a:gd name="T23" fmla="*/ 30 h 1016"/>
                  <a:gd name="T24" fmla="*/ 462 w 902"/>
                  <a:gd name="T25" fmla="*/ 63 h 1016"/>
                  <a:gd name="T26" fmla="*/ 394 w 902"/>
                  <a:gd name="T27" fmla="*/ 53 h 1016"/>
                  <a:gd name="T28" fmla="*/ 346 w 902"/>
                  <a:gd name="T29" fmla="*/ 15 h 1016"/>
                  <a:gd name="T30" fmla="*/ 302 w 902"/>
                  <a:gd name="T31" fmla="*/ 72 h 1016"/>
                  <a:gd name="T32" fmla="*/ 301 w 902"/>
                  <a:gd name="T33" fmla="*/ 103 h 1016"/>
                  <a:gd name="T34" fmla="*/ 276 w 902"/>
                  <a:gd name="T35" fmla="*/ 217 h 1016"/>
                  <a:gd name="T36" fmla="*/ 262 w 902"/>
                  <a:gd name="T37" fmla="*/ 289 h 1016"/>
                  <a:gd name="T38" fmla="*/ 213 w 902"/>
                  <a:gd name="T39" fmla="*/ 359 h 1016"/>
                  <a:gd name="T40" fmla="*/ 187 w 902"/>
                  <a:gd name="T41" fmla="*/ 477 h 1016"/>
                  <a:gd name="T42" fmla="*/ 129 w 902"/>
                  <a:gd name="T43" fmla="*/ 540 h 1016"/>
                  <a:gd name="T44" fmla="*/ 83 w 902"/>
                  <a:gd name="T45" fmla="*/ 533 h 1016"/>
                  <a:gd name="T46" fmla="*/ 43 w 902"/>
                  <a:gd name="T47" fmla="*/ 537 h 1016"/>
                  <a:gd name="T48" fmla="*/ 9 w 902"/>
                  <a:gd name="T49" fmla="*/ 565 h 1016"/>
                  <a:gd name="T50" fmla="*/ 12 w 902"/>
                  <a:gd name="T51" fmla="*/ 617 h 1016"/>
                  <a:gd name="T52" fmla="*/ 57 w 902"/>
                  <a:gd name="T53" fmla="*/ 607 h 1016"/>
                  <a:gd name="T54" fmla="*/ 98 w 902"/>
                  <a:gd name="T55" fmla="*/ 611 h 1016"/>
                  <a:gd name="T56" fmla="*/ 153 w 902"/>
                  <a:gd name="T57" fmla="*/ 609 h 1016"/>
                  <a:gd name="T58" fmla="*/ 200 w 902"/>
                  <a:gd name="T59" fmla="*/ 608 h 1016"/>
                  <a:gd name="T60" fmla="*/ 223 w 902"/>
                  <a:gd name="T61" fmla="*/ 664 h 1016"/>
                  <a:gd name="T62" fmla="*/ 240 w 902"/>
                  <a:gd name="T63" fmla="*/ 709 h 1016"/>
                  <a:gd name="T64" fmla="*/ 270 w 902"/>
                  <a:gd name="T65" fmla="*/ 726 h 1016"/>
                  <a:gd name="T66" fmla="*/ 296 w 902"/>
                  <a:gd name="T67" fmla="*/ 724 h 1016"/>
                  <a:gd name="T68" fmla="*/ 337 w 902"/>
                  <a:gd name="T69" fmla="*/ 720 h 1016"/>
                  <a:gd name="T70" fmla="*/ 343 w 902"/>
                  <a:gd name="T71" fmla="*/ 672 h 1016"/>
                  <a:gd name="T72" fmla="*/ 391 w 902"/>
                  <a:gd name="T73" fmla="*/ 678 h 1016"/>
                  <a:gd name="T74" fmla="*/ 452 w 902"/>
                  <a:gd name="T75" fmla="*/ 703 h 1016"/>
                  <a:gd name="T76" fmla="*/ 461 w 902"/>
                  <a:gd name="T77" fmla="*/ 747 h 1016"/>
                  <a:gd name="T78" fmla="*/ 451 w 902"/>
                  <a:gd name="T79" fmla="*/ 799 h 1016"/>
                  <a:gd name="T80" fmla="*/ 471 w 902"/>
                  <a:gd name="T81" fmla="*/ 869 h 1016"/>
                  <a:gd name="T82" fmla="*/ 485 w 902"/>
                  <a:gd name="T83" fmla="*/ 886 h 1016"/>
                  <a:gd name="T84" fmla="*/ 526 w 902"/>
                  <a:gd name="T85" fmla="*/ 880 h 1016"/>
                  <a:gd name="T86" fmla="*/ 556 w 902"/>
                  <a:gd name="T87" fmla="*/ 875 h 1016"/>
                  <a:gd name="T88" fmla="*/ 580 w 902"/>
                  <a:gd name="T89" fmla="*/ 908 h 1016"/>
                  <a:gd name="T90" fmla="*/ 620 w 902"/>
                  <a:gd name="T91" fmla="*/ 919 h 1016"/>
                  <a:gd name="T92" fmla="*/ 708 w 902"/>
                  <a:gd name="T93" fmla="*/ 925 h 1016"/>
                  <a:gd name="T94" fmla="*/ 737 w 902"/>
                  <a:gd name="T95" fmla="*/ 947 h 1016"/>
                  <a:gd name="T96" fmla="*/ 768 w 902"/>
                  <a:gd name="T97" fmla="*/ 978 h 1016"/>
                  <a:gd name="T98" fmla="*/ 799 w 902"/>
                  <a:gd name="T99" fmla="*/ 1012 h 1016"/>
                  <a:gd name="T100" fmla="*/ 827 w 902"/>
                  <a:gd name="T101" fmla="*/ 945 h 1016"/>
                  <a:gd name="T102" fmla="*/ 806 w 902"/>
                  <a:gd name="T103" fmla="*/ 961 h 1016"/>
                  <a:gd name="T104" fmla="*/ 779 w 902"/>
                  <a:gd name="T105" fmla="*/ 866 h 1016"/>
                  <a:gd name="T106" fmla="*/ 761 w 902"/>
                  <a:gd name="T107" fmla="*/ 788 h 1016"/>
                  <a:gd name="T108" fmla="*/ 838 w 902"/>
                  <a:gd name="T109" fmla="*/ 738 h 1016"/>
                  <a:gd name="T110" fmla="*/ 850 w 902"/>
                  <a:gd name="T111" fmla="*/ 710 h 1016"/>
                  <a:gd name="T112" fmla="*/ 828 w 902"/>
                  <a:gd name="T113" fmla="*/ 658 h 1016"/>
                  <a:gd name="T114" fmla="*/ 810 w 902"/>
                  <a:gd name="T115" fmla="*/ 589 h 1016"/>
                  <a:gd name="T116" fmla="*/ 802 w 902"/>
                  <a:gd name="T117" fmla="*/ 502 h 1016"/>
                  <a:gd name="T118" fmla="*/ 816 w 902"/>
                  <a:gd name="T119" fmla="*/ 471 h 1016"/>
                  <a:gd name="T120" fmla="*/ 795 w 902"/>
                  <a:gd name="T121" fmla="*/ 434 h 1016"/>
                  <a:gd name="T122" fmla="*/ 799 w 902"/>
                  <a:gd name="T123" fmla="*/ 384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2" h="1016">
                    <a:moveTo>
                      <a:pt x="828" y="315"/>
                    </a:moveTo>
                    <a:cubicBezTo>
                      <a:pt x="828" y="295"/>
                      <a:pt x="828" y="295"/>
                      <a:pt x="828" y="295"/>
                    </a:cubicBezTo>
                    <a:cubicBezTo>
                      <a:pt x="838" y="264"/>
                      <a:pt x="838" y="264"/>
                      <a:pt x="838" y="264"/>
                    </a:cubicBezTo>
                    <a:cubicBezTo>
                      <a:pt x="840" y="247"/>
                      <a:pt x="840" y="247"/>
                      <a:pt x="840" y="247"/>
                    </a:cubicBezTo>
                    <a:cubicBezTo>
                      <a:pt x="853" y="239"/>
                      <a:pt x="853" y="239"/>
                      <a:pt x="853" y="239"/>
                    </a:cubicBezTo>
                    <a:cubicBezTo>
                      <a:pt x="853" y="230"/>
                      <a:pt x="853" y="230"/>
                      <a:pt x="853" y="230"/>
                    </a:cubicBezTo>
                    <a:cubicBezTo>
                      <a:pt x="869" y="222"/>
                      <a:pt x="869" y="222"/>
                      <a:pt x="869" y="222"/>
                    </a:cubicBezTo>
                    <a:cubicBezTo>
                      <a:pt x="869" y="222"/>
                      <a:pt x="902" y="182"/>
                      <a:pt x="902" y="174"/>
                    </a:cubicBezTo>
                    <a:cubicBezTo>
                      <a:pt x="902" y="166"/>
                      <a:pt x="890" y="163"/>
                      <a:pt x="890" y="163"/>
                    </a:cubicBezTo>
                    <a:cubicBezTo>
                      <a:pt x="890" y="163"/>
                      <a:pt x="879" y="164"/>
                      <a:pt x="876" y="158"/>
                    </a:cubicBezTo>
                    <a:cubicBezTo>
                      <a:pt x="873" y="153"/>
                      <a:pt x="882" y="142"/>
                      <a:pt x="883" y="137"/>
                    </a:cubicBezTo>
                    <a:cubicBezTo>
                      <a:pt x="884" y="131"/>
                      <a:pt x="873" y="127"/>
                      <a:pt x="873" y="127"/>
                    </a:cubicBezTo>
                    <a:cubicBezTo>
                      <a:pt x="886" y="113"/>
                      <a:pt x="886" y="113"/>
                      <a:pt x="886" y="113"/>
                    </a:cubicBezTo>
                    <a:cubicBezTo>
                      <a:pt x="880" y="100"/>
                      <a:pt x="880" y="100"/>
                      <a:pt x="880" y="100"/>
                    </a:cubicBezTo>
                    <a:cubicBezTo>
                      <a:pt x="869" y="98"/>
                      <a:pt x="869" y="98"/>
                      <a:pt x="869" y="98"/>
                    </a:cubicBezTo>
                    <a:cubicBezTo>
                      <a:pt x="866" y="84"/>
                      <a:pt x="866" y="84"/>
                      <a:pt x="866" y="84"/>
                    </a:cubicBezTo>
                    <a:cubicBezTo>
                      <a:pt x="866" y="84"/>
                      <a:pt x="847" y="80"/>
                      <a:pt x="839" y="68"/>
                    </a:cubicBezTo>
                    <a:cubicBezTo>
                      <a:pt x="831" y="56"/>
                      <a:pt x="827" y="39"/>
                      <a:pt x="820" y="39"/>
                    </a:cubicBezTo>
                    <a:cubicBezTo>
                      <a:pt x="813" y="39"/>
                      <a:pt x="814" y="57"/>
                      <a:pt x="803" y="57"/>
                    </a:cubicBezTo>
                    <a:cubicBezTo>
                      <a:pt x="792" y="57"/>
                      <a:pt x="791" y="45"/>
                      <a:pt x="782" y="45"/>
                    </a:cubicBezTo>
                    <a:cubicBezTo>
                      <a:pt x="773" y="45"/>
                      <a:pt x="765" y="61"/>
                      <a:pt x="765" y="61"/>
                    </a:cubicBezTo>
                    <a:cubicBezTo>
                      <a:pt x="734" y="46"/>
                      <a:pt x="734" y="46"/>
                      <a:pt x="734" y="46"/>
                    </a:cubicBezTo>
                    <a:cubicBezTo>
                      <a:pt x="734" y="32"/>
                      <a:pt x="734" y="32"/>
                      <a:pt x="734" y="32"/>
                    </a:cubicBezTo>
                    <a:cubicBezTo>
                      <a:pt x="713" y="13"/>
                      <a:pt x="713" y="13"/>
                      <a:pt x="713" y="13"/>
                    </a:cubicBezTo>
                    <a:cubicBezTo>
                      <a:pt x="709" y="5"/>
                      <a:pt x="709" y="5"/>
                      <a:pt x="709" y="5"/>
                    </a:cubicBezTo>
                    <a:cubicBezTo>
                      <a:pt x="709" y="5"/>
                      <a:pt x="705" y="16"/>
                      <a:pt x="685" y="21"/>
                    </a:cubicBezTo>
                    <a:cubicBezTo>
                      <a:pt x="665" y="26"/>
                      <a:pt x="659" y="10"/>
                      <a:pt x="659" y="10"/>
                    </a:cubicBezTo>
                    <a:cubicBezTo>
                      <a:pt x="638" y="13"/>
                      <a:pt x="638" y="13"/>
                      <a:pt x="638" y="13"/>
                    </a:cubicBezTo>
                    <a:cubicBezTo>
                      <a:pt x="638" y="13"/>
                      <a:pt x="630" y="0"/>
                      <a:pt x="623" y="1"/>
                    </a:cubicBezTo>
                    <a:cubicBezTo>
                      <a:pt x="616" y="2"/>
                      <a:pt x="611" y="23"/>
                      <a:pt x="611" y="23"/>
                    </a:cubicBezTo>
                    <a:cubicBezTo>
                      <a:pt x="611" y="23"/>
                      <a:pt x="593" y="28"/>
                      <a:pt x="589" y="28"/>
                    </a:cubicBezTo>
                    <a:cubicBezTo>
                      <a:pt x="585" y="28"/>
                      <a:pt x="576" y="18"/>
                      <a:pt x="576" y="18"/>
                    </a:cubicBezTo>
                    <a:cubicBezTo>
                      <a:pt x="560" y="32"/>
                      <a:pt x="560" y="32"/>
                      <a:pt x="560" y="32"/>
                    </a:cubicBezTo>
                    <a:cubicBezTo>
                      <a:pt x="548" y="32"/>
                      <a:pt x="548" y="32"/>
                      <a:pt x="548" y="32"/>
                    </a:cubicBezTo>
                    <a:cubicBezTo>
                      <a:pt x="548" y="32"/>
                      <a:pt x="535" y="41"/>
                      <a:pt x="529" y="46"/>
                    </a:cubicBezTo>
                    <a:cubicBezTo>
                      <a:pt x="523" y="51"/>
                      <a:pt x="509" y="30"/>
                      <a:pt x="509" y="30"/>
                    </a:cubicBezTo>
                    <a:cubicBezTo>
                      <a:pt x="509" y="30"/>
                      <a:pt x="502" y="43"/>
                      <a:pt x="495" y="46"/>
                    </a:cubicBezTo>
                    <a:cubicBezTo>
                      <a:pt x="488" y="49"/>
                      <a:pt x="493" y="63"/>
                      <a:pt x="484" y="70"/>
                    </a:cubicBezTo>
                    <a:cubicBezTo>
                      <a:pt x="475" y="77"/>
                      <a:pt x="462" y="63"/>
                      <a:pt x="462" y="63"/>
                    </a:cubicBezTo>
                    <a:cubicBezTo>
                      <a:pt x="462" y="63"/>
                      <a:pt x="444" y="63"/>
                      <a:pt x="434" y="64"/>
                    </a:cubicBezTo>
                    <a:cubicBezTo>
                      <a:pt x="424" y="65"/>
                      <a:pt x="418" y="53"/>
                      <a:pt x="418" y="53"/>
                    </a:cubicBezTo>
                    <a:cubicBezTo>
                      <a:pt x="418" y="53"/>
                      <a:pt x="409" y="53"/>
                      <a:pt x="394" y="53"/>
                    </a:cubicBezTo>
                    <a:cubicBezTo>
                      <a:pt x="379" y="53"/>
                      <a:pt x="391" y="38"/>
                      <a:pt x="388" y="34"/>
                    </a:cubicBezTo>
                    <a:cubicBezTo>
                      <a:pt x="385" y="30"/>
                      <a:pt x="372" y="32"/>
                      <a:pt x="372" y="32"/>
                    </a:cubicBezTo>
                    <a:cubicBezTo>
                      <a:pt x="372" y="32"/>
                      <a:pt x="375" y="17"/>
                      <a:pt x="346" y="15"/>
                    </a:cubicBezTo>
                    <a:cubicBezTo>
                      <a:pt x="317" y="13"/>
                      <a:pt x="327" y="32"/>
                      <a:pt x="317" y="46"/>
                    </a:cubicBezTo>
                    <a:cubicBezTo>
                      <a:pt x="307" y="60"/>
                      <a:pt x="308" y="49"/>
                      <a:pt x="300" y="59"/>
                    </a:cubicBezTo>
                    <a:cubicBezTo>
                      <a:pt x="292" y="69"/>
                      <a:pt x="302" y="72"/>
                      <a:pt x="302" y="72"/>
                    </a:cubicBezTo>
                    <a:cubicBezTo>
                      <a:pt x="302" y="82"/>
                      <a:pt x="302" y="82"/>
                      <a:pt x="302" y="82"/>
                    </a:cubicBezTo>
                    <a:cubicBezTo>
                      <a:pt x="292" y="96"/>
                      <a:pt x="292" y="96"/>
                      <a:pt x="292" y="96"/>
                    </a:cubicBezTo>
                    <a:cubicBezTo>
                      <a:pt x="301" y="103"/>
                      <a:pt x="301" y="103"/>
                      <a:pt x="301" y="103"/>
                    </a:cubicBezTo>
                    <a:cubicBezTo>
                      <a:pt x="301" y="103"/>
                      <a:pt x="301" y="114"/>
                      <a:pt x="301" y="122"/>
                    </a:cubicBezTo>
                    <a:cubicBezTo>
                      <a:pt x="301" y="130"/>
                      <a:pt x="286" y="159"/>
                      <a:pt x="277" y="169"/>
                    </a:cubicBezTo>
                    <a:cubicBezTo>
                      <a:pt x="268" y="179"/>
                      <a:pt x="275" y="206"/>
                      <a:pt x="276" y="217"/>
                    </a:cubicBezTo>
                    <a:cubicBezTo>
                      <a:pt x="277" y="228"/>
                      <a:pt x="267" y="236"/>
                      <a:pt x="265" y="244"/>
                    </a:cubicBezTo>
                    <a:cubicBezTo>
                      <a:pt x="263" y="252"/>
                      <a:pt x="272" y="259"/>
                      <a:pt x="272" y="270"/>
                    </a:cubicBezTo>
                    <a:cubicBezTo>
                      <a:pt x="272" y="281"/>
                      <a:pt x="262" y="289"/>
                      <a:pt x="262" y="289"/>
                    </a:cubicBezTo>
                    <a:cubicBezTo>
                      <a:pt x="259" y="321"/>
                      <a:pt x="259" y="321"/>
                      <a:pt x="259" y="321"/>
                    </a:cubicBezTo>
                    <a:cubicBezTo>
                      <a:pt x="259" y="321"/>
                      <a:pt x="253" y="336"/>
                      <a:pt x="243" y="343"/>
                    </a:cubicBezTo>
                    <a:cubicBezTo>
                      <a:pt x="233" y="350"/>
                      <a:pt x="220" y="356"/>
                      <a:pt x="213" y="359"/>
                    </a:cubicBezTo>
                    <a:cubicBezTo>
                      <a:pt x="206" y="362"/>
                      <a:pt x="206" y="385"/>
                      <a:pt x="205" y="394"/>
                    </a:cubicBezTo>
                    <a:cubicBezTo>
                      <a:pt x="204" y="403"/>
                      <a:pt x="186" y="410"/>
                      <a:pt x="186" y="410"/>
                    </a:cubicBezTo>
                    <a:cubicBezTo>
                      <a:pt x="187" y="477"/>
                      <a:pt x="187" y="477"/>
                      <a:pt x="187" y="477"/>
                    </a:cubicBezTo>
                    <a:cubicBezTo>
                      <a:pt x="170" y="507"/>
                      <a:pt x="170" y="507"/>
                      <a:pt x="170" y="507"/>
                    </a:cubicBezTo>
                    <a:cubicBezTo>
                      <a:pt x="170" y="507"/>
                      <a:pt x="160" y="510"/>
                      <a:pt x="154" y="510"/>
                    </a:cubicBezTo>
                    <a:cubicBezTo>
                      <a:pt x="148" y="510"/>
                      <a:pt x="136" y="531"/>
                      <a:pt x="129" y="540"/>
                    </a:cubicBezTo>
                    <a:cubicBezTo>
                      <a:pt x="122" y="549"/>
                      <a:pt x="119" y="554"/>
                      <a:pt x="104" y="554"/>
                    </a:cubicBezTo>
                    <a:cubicBezTo>
                      <a:pt x="89" y="554"/>
                      <a:pt x="107" y="531"/>
                      <a:pt x="100" y="524"/>
                    </a:cubicBezTo>
                    <a:cubicBezTo>
                      <a:pt x="93" y="517"/>
                      <a:pt x="83" y="533"/>
                      <a:pt x="83" y="533"/>
                    </a:cubicBezTo>
                    <a:cubicBezTo>
                      <a:pt x="70" y="532"/>
                      <a:pt x="70" y="532"/>
                      <a:pt x="70" y="532"/>
                    </a:cubicBezTo>
                    <a:cubicBezTo>
                      <a:pt x="70" y="532"/>
                      <a:pt x="71" y="548"/>
                      <a:pt x="59" y="553"/>
                    </a:cubicBezTo>
                    <a:cubicBezTo>
                      <a:pt x="47" y="558"/>
                      <a:pt x="43" y="537"/>
                      <a:pt x="43" y="537"/>
                    </a:cubicBezTo>
                    <a:cubicBezTo>
                      <a:pt x="36" y="540"/>
                      <a:pt x="36" y="540"/>
                      <a:pt x="36" y="540"/>
                    </a:cubicBezTo>
                    <a:cubicBezTo>
                      <a:pt x="33" y="548"/>
                      <a:pt x="33" y="548"/>
                      <a:pt x="33" y="548"/>
                    </a:cubicBezTo>
                    <a:cubicBezTo>
                      <a:pt x="9" y="565"/>
                      <a:pt x="9" y="565"/>
                      <a:pt x="9" y="565"/>
                    </a:cubicBezTo>
                    <a:cubicBezTo>
                      <a:pt x="9" y="565"/>
                      <a:pt x="21" y="591"/>
                      <a:pt x="13" y="595"/>
                    </a:cubicBezTo>
                    <a:cubicBezTo>
                      <a:pt x="10" y="597"/>
                      <a:pt x="5" y="599"/>
                      <a:pt x="0" y="602"/>
                    </a:cubicBezTo>
                    <a:cubicBezTo>
                      <a:pt x="4" y="605"/>
                      <a:pt x="11" y="612"/>
                      <a:pt x="12" y="617"/>
                    </a:cubicBezTo>
                    <a:cubicBezTo>
                      <a:pt x="35" y="607"/>
                      <a:pt x="35" y="607"/>
                      <a:pt x="35" y="607"/>
                    </a:cubicBezTo>
                    <a:cubicBezTo>
                      <a:pt x="52" y="609"/>
                      <a:pt x="52" y="609"/>
                      <a:pt x="52" y="609"/>
                    </a:cubicBezTo>
                    <a:cubicBezTo>
                      <a:pt x="57" y="607"/>
                      <a:pt x="57" y="607"/>
                      <a:pt x="57" y="607"/>
                    </a:cubicBezTo>
                    <a:cubicBezTo>
                      <a:pt x="65" y="609"/>
                      <a:pt x="65" y="609"/>
                      <a:pt x="65" y="609"/>
                    </a:cubicBezTo>
                    <a:cubicBezTo>
                      <a:pt x="80" y="605"/>
                      <a:pt x="80" y="605"/>
                      <a:pt x="80" y="605"/>
                    </a:cubicBezTo>
                    <a:cubicBezTo>
                      <a:pt x="80" y="605"/>
                      <a:pt x="91" y="612"/>
                      <a:pt x="98" y="611"/>
                    </a:cubicBezTo>
                    <a:cubicBezTo>
                      <a:pt x="105" y="610"/>
                      <a:pt x="123" y="607"/>
                      <a:pt x="123" y="607"/>
                    </a:cubicBezTo>
                    <a:cubicBezTo>
                      <a:pt x="123" y="607"/>
                      <a:pt x="136" y="609"/>
                      <a:pt x="141" y="609"/>
                    </a:cubicBezTo>
                    <a:cubicBezTo>
                      <a:pt x="146" y="609"/>
                      <a:pt x="153" y="609"/>
                      <a:pt x="153" y="609"/>
                    </a:cubicBezTo>
                    <a:cubicBezTo>
                      <a:pt x="163" y="606"/>
                      <a:pt x="163" y="606"/>
                      <a:pt x="163" y="606"/>
                    </a:cubicBezTo>
                    <a:cubicBezTo>
                      <a:pt x="177" y="607"/>
                      <a:pt x="177" y="607"/>
                      <a:pt x="177" y="607"/>
                    </a:cubicBezTo>
                    <a:cubicBezTo>
                      <a:pt x="177" y="607"/>
                      <a:pt x="195" y="599"/>
                      <a:pt x="200" y="608"/>
                    </a:cubicBezTo>
                    <a:cubicBezTo>
                      <a:pt x="205" y="617"/>
                      <a:pt x="211" y="621"/>
                      <a:pt x="211" y="621"/>
                    </a:cubicBezTo>
                    <a:cubicBezTo>
                      <a:pt x="212" y="651"/>
                      <a:pt x="212" y="651"/>
                      <a:pt x="212" y="651"/>
                    </a:cubicBezTo>
                    <a:cubicBezTo>
                      <a:pt x="212" y="651"/>
                      <a:pt x="222" y="658"/>
                      <a:pt x="223" y="664"/>
                    </a:cubicBezTo>
                    <a:cubicBezTo>
                      <a:pt x="224" y="670"/>
                      <a:pt x="222" y="686"/>
                      <a:pt x="222" y="686"/>
                    </a:cubicBezTo>
                    <a:cubicBezTo>
                      <a:pt x="222" y="686"/>
                      <a:pt x="228" y="689"/>
                      <a:pt x="233" y="695"/>
                    </a:cubicBezTo>
                    <a:cubicBezTo>
                      <a:pt x="238" y="701"/>
                      <a:pt x="240" y="709"/>
                      <a:pt x="240" y="709"/>
                    </a:cubicBezTo>
                    <a:cubicBezTo>
                      <a:pt x="246" y="717"/>
                      <a:pt x="246" y="717"/>
                      <a:pt x="246" y="717"/>
                    </a:cubicBezTo>
                    <a:cubicBezTo>
                      <a:pt x="249" y="727"/>
                      <a:pt x="249" y="727"/>
                      <a:pt x="249" y="727"/>
                    </a:cubicBezTo>
                    <a:cubicBezTo>
                      <a:pt x="270" y="726"/>
                      <a:pt x="270" y="726"/>
                      <a:pt x="270" y="726"/>
                    </a:cubicBezTo>
                    <a:cubicBezTo>
                      <a:pt x="277" y="731"/>
                      <a:pt x="277" y="731"/>
                      <a:pt x="277" y="731"/>
                    </a:cubicBezTo>
                    <a:cubicBezTo>
                      <a:pt x="281" y="724"/>
                      <a:pt x="281" y="724"/>
                      <a:pt x="281" y="724"/>
                    </a:cubicBezTo>
                    <a:cubicBezTo>
                      <a:pt x="296" y="724"/>
                      <a:pt x="296" y="724"/>
                      <a:pt x="296" y="724"/>
                    </a:cubicBezTo>
                    <a:cubicBezTo>
                      <a:pt x="303" y="718"/>
                      <a:pt x="303" y="718"/>
                      <a:pt x="303" y="718"/>
                    </a:cubicBezTo>
                    <a:cubicBezTo>
                      <a:pt x="307" y="723"/>
                      <a:pt x="307" y="723"/>
                      <a:pt x="307" y="723"/>
                    </a:cubicBezTo>
                    <a:cubicBezTo>
                      <a:pt x="337" y="720"/>
                      <a:pt x="337" y="720"/>
                      <a:pt x="337" y="720"/>
                    </a:cubicBezTo>
                    <a:cubicBezTo>
                      <a:pt x="337" y="720"/>
                      <a:pt x="336" y="706"/>
                      <a:pt x="339" y="702"/>
                    </a:cubicBezTo>
                    <a:cubicBezTo>
                      <a:pt x="342" y="698"/>
                      <a:pt x="349" y="698"/>
                      <a:pt x="349" y="693"/>
                    </a:cubicBezTo>
                    <a:cubicBezTo>
                      <a:pt x="349" y="688"/>
                      <a:pt x="338" y="676"/>
                      <a:pt x="343" y="672"/>
                    </a:cubicBezTo>
                    <a:cubicBezTo>
                      <a:pt x="348" y="668"/>
                      <a:pt x="377" y="671"/>
                      <a:pt x="377" y="671"/>
                    </a:cubicBezTo>
                    <a:cubicBezTo>
                      <a:pt x="377" y="671"/>
                      <a:pt x="377" y="663"/>
                      <a:pt x="386" y="666"/>
                    </a:cubicBezTo>
                    <a:cubicBezTo>
                      <a:pt x="395" y="669"/>
                      <a:pt x="391" y="678"/>
                      <a:pt x="391" y="678"/>
                    </a:cubicBezTo>
                    <a:cubicBezTo>
                      <a:pt x="392" y="686"/>
                      <a:pt x="392" y="686"/>
                      <a:pt x="392" y="686"/>
                    </a:cubicBezTo>
                    <a:cubicBezTo>
                      <a:pt x="452" y="685"/>
                      <a:pt x="452" y="685"/>
                      <a:pt x="452" y="685"/>
                    </a:cubicBezTo>
                    <a:cubicBezTo>
                      <a:pt x="452" y="703"/>
                      <a:pt x="452" y="703"/>
                      <a:pt x="452" y="703"/>
                    </a:cubicBezTo>
                    <a:cubicBezTo>
                      <a:pt x="445" y="713"/>
                      <a:pt x="445" y="713"/>
                      <a:pt x="445" y="713"/>
                    </a:cubicBezTo>
                    <a:cubicBezTo>
                      <a:pt x="448" y="727"/>
                      <a:pt x="448" y="727"/>
                      <a:pt x="448" y="727"/>
                    </a:cubicBezTo>
                    <a:cubicBezTo>
                      <a:pt x="448" y="727"/>
                      <a:pt x="461" y="740"/>
                      <a:pt x="461" y="747"/>
                    </a:cubicBezTo>
                    <a:cubicBezTo>
                      <a:pt x="461" y="754"/>
                      <a:pt x="453" y="763"/>
                      <a:pt x="453" y="763"/>
                    </a:cubicBezTo>
                    <a:cubicBezTo>
                      <a:pt x="456" y="779"/>
                      <a:pt x="456" y="779"/>
                      <a:pt x="456" y="779"/>
                    </a:cubicBezTo>
                    <a:cubicBezTo>
                      <a:pt x="456" y="779"/>
                      <a:pt x="451" y="791"/>
                      <a:pt x="451" y="799"/>
                    </a:cubicBezTo>
                    <a:cubicBezTo>
                      <a:pt x="451" y="807"/>
                      <a:pt x="457" y="815"/>
                      <a:pt x="464" y="822"/>
                    </a:cubicBezTo>
                    <a:cubicBezTo>
                      <a:pt x="471" y="829"/>
                      <a:pt x="475" y="847"/>
                      <a:pt x="475" y="847"/>
                    </a:cubicBezTo>
                    <a:cubicBezTo>
                      <a:pt x="475" y="847"/>
                      <a:pt x="474" y="862"/>
                      <a:pt x="471" y="869"/>
                    </a:cubicBezTo>
                    <a:cubicBezTo>
                      <a:pt x="468" y="876"/>
                      <a:pt x="465" y="888"/>
                      <a:pt x="468" y="892"/>
                    </a:cubicBezTo>
                    <a:cubicBezTo>
                      <a:pt x="471" y="896"/>
                      <a:pt x="479" y="898"/>
                      <a:pt x="479" y="898"/>
                    </a:cubicBezTo>
                    <a:cubicBezTo>
                      <a:pt x="485" y="886"/>
                      <a:pt x="485" y="886"/>
                      <a:pt x="485" y="886"/>
                    </a:cubicBezTo>
                    <a:cubicBezTo>
                      <a:pt x="503" y="890"/>
                      <a:pt x="503" y="890"/>
                      <a:pt x="503" y="890"/>
                    </a:cubicBezTo>
                    <a:cubicBezTo>
                      <a:pt x="519" y="885"/>
                      <a:pt x="519" y="885"/>
                      <a:pt x="519" y="885"/>
                    </a:cubicBezTo>
                    <a:cubicBezTo>
                      <a:pt x="519" y="885"/>
                      <a:pt x="519" y="880"/>
                      <a:pt x="526" y="880"/>
                    </a:cubicBezTo>
                    <a:cubicBezTo>
                      <a:pt x="533" y="880"/>
                      <a:pt x="537" y="887"/>
                      <a:pt x="537" y="887"/>
                    </a:cubicBezTo>
                    <a:cubicBezTo>
                      <a:pt x="551" y="885"/>
                      <a:pt x="551" y="885"/>
                      <a:pt x="551" y="885"/>
                    </a:cubicBezTo>
                    <a:cubicBezTo>
                      <a:pt x="556" y="875"/>
                      <a:pt x="556" y="875"/>
                      <a:pt x="556" y="875"/>
                    </a:cubicBezTo>
                    <a:cubicBezTo>
                      <a:pt x="561" y="884"/>
                      <a:pt x="561" y="884"/>
                      <a:pt x="561" y="884"/>
                    </a:cubicBezTo>
                    <a:cubicBezTo>
                      <a:pt x="572" y="882"/>
                      <a:pt x="572" y="882"/>
                      <a:pt x="572" y="882"/>
                    </a:cubicBezTo>
                    <a:cubicBezTo>
                      <a:pt x="572" y="882"/>
                      <a:pt x="563" y="907"/>
                      <a:pt x="580" y="908"/>
                    </a:cubicBezTo>
                    <a:cubicBezTo>
                      <a:pt x="597" y="909"/>
                      <a:pt x="583" y="899"/>
                      <a:pt x="583" y="899"/>
                    </a:cubicBezTo>
                    <a:cubicBezTo>
                      <a:pt x="614" y="893"/>
                      <a:pt x="614" y="893"/>
                      <a:pt x="614" y="893"/>
                    </a:cubicBezTo>
                    <a:cubicBezTo>
                      <a:pt x="614" y="893"/>
                      <a:pt x="610" y="912"/>
                      <a:pt x="620" y="919"/>
                    </a:cubicBezTo>
                    <a:cubicBezTo>
                      <a:pt x="630" y="926"/>
                      <a:pt x="682" y="939"/>
                      <a:pt x="687" y="935"/>
                    </a:cubicBezTo>
                    <a:cubicBezTo>
                      <a:pt x="692" y="931"/>
                      <a:pt x="689" y="905"/>
                      <a:pt x="701" y="910"/>
                    </a:cubicBezTo>
                    <a:cubicBezTo>
                      <a:pt x="713" y="915"/>
                      <a:pt x="704" y="920"/>
                      <a:pt x="708" y="925"/>
                    </a:cubicBezTo>
                    <a:cubicBezTo>
                      <a:pt x="712" y="930"/>
                      <a:pt x="722" y="930"/>
                      <a:pt x="722" y="934"/>
                    </a:cubicBezTo>
                    <a:cubicBezTo>
                      <a:pt x="722" y="938"/>
                      <a:pt x="714" y="947"/>
                      <a:pt x="722" y="948"/>
                    </a:cubicBezTo>
                    <a:cubicBezTo>
                      <a:pt x="730" y="949"/>
                      <a:pt x="732" y="943"/>
                      <a:pt x="737" y="947"/>
                    </a:cubicBezTo>
                    <a:cubicBezTo>
                      <a:pt x="742" y="951"/>
                      <a:pt x="741" y="959"/>
                      <a:pt x="745" y="959"/>
                    </a:cubicBezTo>
                    <a:cubicBezTo>
                      <a:pt x="749" y="959"/>
                      <a:pt x="754" y="951"/>
                      <a:pt x="760" y="959"/>
                    </a:cubicBezTo>
                    <a:cubicBezTo>
                      <a:pt x="766" y="967"/>
                      <a:pt x="768" y="978"/>
                      <a:pt x="768" y="978"/>
                    </a:cubicBezTo>
                    <a:cubicBezTo>
                      <a:pt x="768" y="978"/>
                      <a:pt x="774" y="975"/>
                      <a:pt x="779" y="982"/>
                    </a:cubicBezTo>
                    <a:cubicBezTo>
                      <a:pt x="784" y="989"/>
                      <a:pt x="787" y="1012"/>
                      <a:pt x="787" y="1012"/>
                    </a:cubicBezTo>
                    <a:cubicBezTo>
                      <a:pt x="799" y="1012"/>
                      <a:pt x="799" y="1012"/>
                      <a:pt x="799" y="1012"/>
                    </a:cubicBezTo>
                    <a:cubicBezTo>
                      <a:pt x="814" y="1002"/>
                      <a:pt x="814" y="1002"/>
                      <a:pt x="814" y="1002"/>
                    </a:cubicBezTo>
                    <a:cubicBezTo>
                      <a:pt x="814" y="1002"/>
                      <a:pt x="816" y="1016"/>
                      <a:pt x="822" y="1013"/>
                    </a:cubicBezTo>
                    <a:cubicBezTo>
                      <a:pt x="828" y="1010"/>
                      <a:pt x="827" y="945"/>
                      <a:pt x="827" y="945"/>
                    </a:cubicBezTo>
                    <a:cubicBezTo>
                      <a:pt x="819" y="945"/>
                      <a:pt x="819" y="945"/>
                      <a:pt x="819" y="945"/>
                    </a:cubicBezTo>
                    <a:cubicBezTo>
                      <a:pt x="813" y="948"/>
                      <a:pt x="813" y="948"/>
                      <a:pt x="813" y="948"/>
                    </a:cubicBezTo>
                    <a:cubicBezTo>
                      <a:pt x="813" y="948"/>
                      <a:pt x="816" y="961"/>
                      <a:pt x="806" y="961"/>
                    </a:cubicBezTo>
                    <a:cubicBezTo>
                      <a:pt x="796" y="961"/>
                      <a:pt x="784" y="947"/>
                      <a:pt x="778" y="940"/>
                    </a:cubicBezTo>
                    <a:cubicBezTo>
                      <a:pt x="772" y="933"/>
                      <a:pt x="761" y="938"/>
                      <a:pt x="759" y="920"/>
                    </a:cubicBezTo>
                    <a:cubicBezTo>
                      <a:pt x="757" y="902"/>
                      <a:pt x="779" y="880"/>
                      <a:pt x="779" y="866"/>
                    </a:cubicBezTo>
                    <a:cubicBezTo>
                      <a:pt x="779" y="852"/>
                      <a:pt x="775" y="818"/>
                      <a:pt x="775" y="818"/>
                    </a:cubicBezTo>
                    <a:cubicBezTo>
                      <a:pt x="775" y="818"/>
                      <a:pt x="773" y="799"/>
                      <a:pt x="770" y="797"/>
                    </a:cubicBezTo>
                    <a:cubicBezTo>
                      <a:pt x="767" y="795"/>
                      <a:pt x="761" y="788"/>
                      <a:pt x="761" y="788"/>
                    </a:cubicBezTo>
                    <a:cubicBezTo>
                      <a:pt x="761" y="788"/>
                      <a:pt x="788" y="773"/>
                      <a:pt x="788" y="766"/>
                    </a:cubicBezTo>
                    <a:cubicBezTo>
                      <a:pt x="788" y="759"/>
                      <a:pt x="788" y="746"/>
                      <a:pt x="788" y="746"/>
                    </a:cubicBezTo>
                    <a:cubicBezTo>
                      <a:pt x="788" y="746"/>
                      <a:pt x="825" y="741"/>
                      <a:pt x="838" y="738"/>
                    </a:cubicBezTo>
                    <a:cubicBezTo>
                      <a:pt x="842" y="737"/>
                      <a:pt x="849" y="735"/>
                      <a:pt x="857" y="731"/>
                    </a:cubicBezTo>
                    <a:cubicBezTo>
                      <a:pt x="860" y="728"/>
                      <a:pt x="862" y="726"/>
                      <a:pt x="862" y="726"/>
                    </a:cubicBezTo>
                    <a:cubicBezTo>
                      <a:pt x="862" y="726"/>
                      <a:pt x="855" y="714"/>
                      <a:pt x="850" y="710"/>
                    </a:cubicBezTo>
                    <a:cubicBezTo>
                      <a:pt x="846" y="706"/>
                      <a:pt x="849" y="688"/>
                      <a:pt x="849" y="681"/>
                    </a:cubicBezTo>
                    <a:cubicBezTo>
                      <a:pt x="849" y="674"/>
                      <a:pt x="837" y="678"/>
                      <a:pt x="834" y="677"/>
                    </a:cubicBezTo>
                    <a:cubicBezTo>
                      <a:pt x="831" y="676"/>
                      <a:pt x="828" y="666"/>
                      <a:pt x="828" y="658"/>
                    </a:cubicBezTo>
                    <a:cubicBezTo>
                      <a:pt x="828" y="650"/>
                      <a:pt x="819" y="649"/>
                      <a:pt x="812" y="642"/>
                    </a:cubicBezTo>
                    <a:cubicBezTo>
                      <a:pt x="805" y="635"/>
                      <a:pt x="803" y="618"/>
                      <a:pt x="804" y="612"/>
                    </a:cubicBezTo>
                    <a:cubicBezTo>
                      <a:pt x="805" y="606"/>
                      <a:pt x="810" y="596"/>
                      <a:pt x="810" y="589"/>
                    </a:cubicBezTo>
                    <a:cubicBezTo>
                      <a:pt x="810" y="582"/>
                      <a:pt x="800" y="582"/>
                      <a:pt x="796" y="572"/>
                    </a:cubicBezTo>
                    <a:cubicBezTo>
                      <a:pt x="792" y="562"/>
                      <a:pt x="796" y="550"/>
                      <a:pt x="797" y="538"/>
                    </a:cubicBezTo>
                    <a:cubicBezTo>
                      <a:pt x="798" y="526"/>
                      <a:pt x="799" y="515"/>
                      <a:pt x="802" y="502"/>
                    </a:cubicBezTo>
                    <a:cubicBezTo>
                      <a:pt x="804" y="494"/>
                      <a:pt x="810" y="495"/>
                      <a:pt x="814" y="498"/>
                    </a:cubicBezTo>
                    <a:cubicBezTo>
                      <a:pt x="814" y="496"/>
                      <a:pt x="814" y="494"/>
                      <a:pt x="814" y="494"/>
                    </a:cubicBezTo>
                    <a:cubicBezTo>
                      <a:pt x="814" y="494"/>
                      <a:pt x="816" y="480"/>
                      <a:pt x="816" y="471"/>
                    </a:cubicBezTo>
                    <a:cubicBezTo>
                      <a:pt x="816" y="462"/>
                      <a:pt x="801" y="454"/>
                      <a:pt x="801" y="454"/>
                    </a:cubicBezTo>
                    <a:cubicBezTo>
                      <a:pt x="795" y="434"/>
                      <a:pt x="795" y="434"/>
                      <a:pt x="795" y="434"/>
                    </a:cubicBezTo>
                    <a:cubicBezTo>
                      <a:pt x="795" y="434"/>
                      <a:pt x="795" y="434"/>
                      <a:pt x="795" y="434"/>
                    </a:cubicBezTo>
                    <a:cubicBezTo>
                      <a:pt x="791" y="433"/>
                      <a:pt x="787" y="432"/>
                      <a:pt x="786" y="428"/>
                    </a:cubicBezTo>
                    <a:cubicBezTo>
                      <a:pt x="782" y="420"/>
                      <a:pt x="804" y="410"/>
                      <a:pt x="806" y="406"/>
                    </a:cubicBezTo>
                    <a:cubicBezTo>
                      <a:pt x="807" y="403"/>
                      <a:pt x="797" y="392"/>
                      <a:pt x="799" y="384"/>
                    </a:cubicBezTo>
                    <a:cubicBezTo>
                      <a:pt x="800" y="376"/>
                      <a:pt x="824" y="365"/>
                      <a:pt x="824" y="365"/>
                    </a:cubicBezTo>
                    <a:lnTo>
                      <a:pt x="828" y="315"/>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50" name="Freeform 172">
                <a:extLst>
                  <a:ext uri="{FF2B5EF4-FFF2-40B4-BE49-F238E27FC236}">
                    <a16:creationId xmlns:a16="http://schemas.microsoft.com/office/drawing/2014/main" id="{5F009F23-82B9-44DC-9632-522D6D68DB00}"/>
                  </a:ext>
                </a:extLst>
              </p:cNvPr>
              <p:cNvSpPr>
                <a:spLocks/>
              </p:cNvSpPr>
              <p:nvPr>
                <p:custDataLst>
                  <p:tags r:id="rId131"/>
                </p:custDataLst>
              </p:nvPr>
            </p:nvSpPr>
            <p:spPr bwMode="gray">
              <a:xfrm>
                <a:off x="5313333" y="4456129"/>
                <a:ext cx="52387" cy="60325"/>
              </a:xfrm>
              <a:custGeom>
                <a:avLst/>
                <a:gdLst>
                  <a:gd name="T0" fmla="*/ 21 w 87"/>
                  <a:gd name="T1" fmla="*/ 49 h 112"/>
                  <a:gd name="T2" fmla="*/ 19 w 87"/>
                  <a:gd name="T3" fmla="*/ 72 h 112"/>
                  <a:gd name="T4" fmla="*/ 25 w 87"/>
                  <a:gd name="T5" fmla="*/ 112 h 112"/>
                  <a:gd name="T6" fmla="*/ 45 w 87"/>
                  <a:gd name="T7" fmla="*/ 103 h 112"/>
                  <a:gd name="T8" fmla="*/ 61 w 87"/>
                  <a:gd name="T9" fmla="*/ 68 h 112"/>
                  <a:gd name="T10" fmla="*/ 80 w 87"/>
                  <a:gd name="T11" fmla="*/ 56 h 112"/>
                  <a:gd name="T12" fmla="*/ 78 w 87"/>
                  <a:gd name="T13" fmla="*/ 47 h 112"/>
                  <a:gd name="T14" fmla="*/ 86 w 87"/>
                  <a:gd name="T15" fmla="*/ 44 h 112"/>
                  <a:gd name="T16" fmla="*/ 87 w 87"/>
                  <a:gd name="T17" fmla="*/ 33 h 112"/>
                  <a:gd name="T18" fmla="*/ 65 w 87"/>
                  <a:gd name="T19" fmla="*/ 23 h 112"/>
                  <a:gd name="T20" fmla="*/ 71 w 87"/>
                  <a:gd name="T21" fmla="*/ 0 h 112"/>
                  <a:gd name="T22" fmla="*/ 77 w 87"/>
                  <a:gd name="T23" fmla="*/ 0 h 112"/>
                  <a:gd name="T24" fmla="*/ 74 w 87"/>
                  <a:gd name="T25" fmla="*/ 0 h 112"/>
                  <a:gd name="T26" fmla="*/ 44 w 87"/>
                  <a:gd name="T27" fmla="*/ 0 h 112"/>
                  <a:gd name="T28" fmla="*/ 39 w 87"/>
                  <a:gd name="T29" fmla="*/ 17 h 112"/>
                  <a:gd name="T30" fmla="*/ 22 w 87"/>
                  <a:gd name="T31" fmla="*/ 24 h 112"/>
                  <a:gd name="T32" fmla="*/ 9 w 87"/>
                  <a:gd name="T33" fmla="*/ 11 h 112"/>
                  <a:gd name="T34" fmla="*/ 0 w 87"/>
                  <a:gd name="T35" fmla="*/ 12 h 112"/>
                  <a:gd name="T36" fmla="*/ 6 w 87"/>
                  <a:gd name="T37" fmla="*/ 32 h 112"/>
                  <a:gd name="T38" fmla="*/ 21 w 87"/>
                  <a:gd name="T39" fmla="*/ 4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7" h="112">
                    <a:moveTo>
                      <a:pt x="21" y="49"/>
                    </a:moveTo>
                    <a:cubicBezTo>
                      <a:pt x="21" y="58"/>
                      <a:pt x="19" y="72"/>
                      <a:pt x="19" y="72"/>
                    </a:cubicBezTo>
                    <a:cubicBezTo>
                      <a:pt x="19" y="72"/>
                      <a:pt x="19" y="99"/>
                      <a:pt x="25" y="112"/>
                    </a:cubicBezTo>
                    <a:cubicBezTo>
                      <a:pt x="29" y="112"/>
                      <a:pt x="35" y="110"/>
                      <a:pt x="45" y="103"/>
                    </a:cubicBezTo>
                    <a:cubicBezTo>
                      <a:pt x="61" y="91"/>
                      <a:pt x="54" y="81"/>
                      <a:pt x="61" y="68"/>
                    </a:cubicBezTo>
                    <a:cubicBezTo>
                      <a:pt x="68" y="55"/>
                      <a:pt x="80" y="56"/>
                      <a:pt x="80" y="56"/>
                    </a:cubicBezTo>
                    <a:cubicBezTo>
                      <a:pt x="78" y="47"/>
                      <a:pt x="78" y="47"/>
                      <a:pt x="78" y="47"/>
                    </a:cubicBezTo>
                    <a:cubicBezTo>
                      <a:pt x="86" y="44"/>
                      <a:pt x="86" y="44"/>
                      <a:pt x="86" y="44"/>
                    </a:cubicBezTo>
                    <a:cubicBezTo>
                      <a:pt x="87" y="33"/>
                      <a:pt x="87" y="33"/>
                      <a:pt x="87" y="33"/>
                    </a:cubicBezTo>
                    <a:cubicBezTo>
                      <a:pt x="87" y="33"/>
                      <a:pt x="63" y="32"/>
                      <a:pt x="65" y="23"/>
                    </a:cubicBezTo>
                    <a:cubicBezTo>
                      <a:pt x="67" y="14"/>
                      <a:pt x="71" y="0"/>
                      <a:pt x="71" y="0"/>
                    </a:cubicBezTo>
                    <a:cubicBezTo>
                      <a:pt x="71" y="0"/>
                      <a:pt x="74" y="0"/>
                      <a:pt x="77" y="0"/>
                    </a:cubicBezTo>
                    <a:cubicBezTo>
                      <a:pt x="74" y="0"/>
                      <a:pt x="74" y="0"/>
                      <a:pt x="74" y="0"/>
                    </a:cubicBezTo>
                    <a:cubicBezTo>
                      <a:pt x="44" y="0"/>
                      <a:pt x="44" y="0"/>
                      <a:pt x="44" y="0"/>
                    </a:cubicBezTo>
                    <a:cubicBezTo>
                      <a:pt x="39" y="17"/>
                      <a:pt x="39" y="17"/>
                      <a:pt x="39" y="17"/>
                    </a:cubicBezTo>
                    <a:cubicBezTo>
                      <a:pt x="39" y="17"/>
                      <a:pt x="26" y="24"/>
                      <a:pt x="22" y="24"/>
                    </a:cubicBezTo>
                    <a:cubicBezTo>
                      <a:pt x="18" y="24"/>
                      <a:pt x="9" y="11"/>
                      <a:pt x="9" y="11"/>
                    </a:cubicBezTo>
                    <a:cubicBezTo>
                      <a:pt x="9" y="11"/>
                      <a:pt x="5" y="12"/>
                      <a:pt x="0" y="12"/>
                    </a:cubicBezTo>
                    <a:cubicBezTo>
                      <a:pt x="6" y="32"/>
                      <a:pt x="6" y="32"/>
                      <a:pt x="6" y="32"/>
                    </a:cubicBezTo>
                    <a:cubicBezTo>
                      <a:pt x="6" y="32"/>
                      <a:pt x="21" y="40"/>
                      <a:pt x="21" y="49"/>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51" name="Freeform 173">
                <a:extLst>
                  <a:ext uri="{FF2B5EF4-FFF2-40B4-BE49-F238E27FC236}">
                    <a16:creationId xmlns:a16="http://schemas.microsoft.com/office/drawing/2014/main" id="{8D3A6833-681F-41AB-9A0C-C4E08245D503}"/>
                  </a:ext>
                </a:extLst>
              </p:cNvPr>
              <p:cNvSpPr>
                <a:spLocks noEditPoints="1"/>
              </p:cNvSpPr>
              <p:nvPr>
                <p:custDataLst>
                  <p:tags r:id="rId132"/>
                </p:custDataLst>
              </p:nvPr>
            </p:nvSpPr>
            <p:spPr bwMode="gray">
              <a:xfrm>
                <a:off x="5329208" y="4414854"/>
                <a:ext cx="304798" cy="320676"/>
              </a:xfrm>
              <a:custGeom>
                <a:avLst/>
                <a:gdLst>
                  <a:gd name="T0" fmla="*/ 477 w 510"/>
                  <a:gd name="T1" fmla="*/ 478 h 579"/>
                  <a:gd name="T2" fmla="*/ 458 w 510"/>
                  <a:gd name="T3" fmla="*/ 405 h 579"/>
                  <a:gd name="T4" fmla="*/ 456 w 510"/>
                  <a:gd name="T5" fmla="*/ 360 h 579"/>
                  <a:gd name="T6" fmla="*/ 436 w 510"/>
                  <a:gd name="T7" fmla="*/ 290 h 579"/>
                  <a:gd name="T8" fmla="*/ 455 w 510"/>
                  <a:gd name="T9" fmla="*/ 198 h 579"/>
                  <a:gd name="T10" fmla="*/ 391 w 510"/>
                  <a:gd name="T11" fmla="*/ 118 h 579"/>
                  <a:gd name="T12" fmla="*/ 216 w 510"/>
                  <a:gd name="T13" fmla="*/ 1 h 579"/>
                  <a:gd name="T14" fmla="*/ 206 w 510"/>
                  <a:gd name="T15" fmla="*/ 1 h 579"/>
                  <a:gd name="T16" fmla="*/ 194 w 510"/>
                  <a:gd name="T17" fmla="*/ 31 h 579"/>
                  <a:gd name="T18" fmla="*/ 206 w 510"/>
                  <a:gd name="T19" fmla="*/ 59 h 579"/>
                  <a:gd name="T20" fmla="*/ 162 w 510"/>
                  <a:gd name="T21" fmla="*/ 71 h 579"/>
                  <a:gd name="T22" fmla="*/ 161 w 510"/>
                  <a:gd name="T23" fmla="*/ 99 h 579"/>
                  <a:gd name="T24" fmla="*/ 150 w 510"/>
                  <a:gd name="T25" fmla="*/ 73 h 579"/>
                  <a:gd name="T26" fmla="*/ 123 w 510"/>
                  <a:gd name="T27" fmla="*/ 66 h 579"/>
                  <a:gd name="T28" fmla="*/ 104 w 510"/>
                  <a:gd name="T29" fmla="*/ 80 h 579"/>
                  <a:gd name="T30" fmla="*/ 112 w 510"/>
                  <a:gd name="T31" fmla="*/ 2 h 579"/>
                  <a:gd name="T32" fmla="*/ 51 w 510"/>
                  <a:gd name="T33" fmla="*/ 0 h 579"/>
                  <a:gd name="T34" fmla="*/ 60 w 510"/>
                  <a:gd name="T35" fmla="*/ 31 h 579"/>
                  <a:gd name="T36" fmla="*/ 64 w 510"/>
                  <a:gd name="T37" fmla="*/ 64 h 579"/>
                  <a:gd name="T38" fmla="*/ 38 w 510"/>
                  <a:gd name="T39" fmla="*/ 97 h 579"/>
                  <a:gd name="T40" fmla="*/ 59 w 510"/>
                  <a:gd name="T41" fmla="*/ 118 h 579"/>
                  <a:gd name="T42" fmla="*/ 53 w 510"/>
                  <a:gd name="T43" fmla="*/ 130 h 579"/>
                  <a:gd name="T44" fmla="*/ 18 w 510"/>
                  <a:gd name="T45" fmla="*/ 177 h 579"/>
                  <a:gd name="T46" fmla="*/ 0 w 510"/>
                  <a:gd name="T47" fmla="*/ 194 h 579"/>
                  <a:gd name="T48" fmla="*/ 8 w 510"/>
                  <a:gd name="T49" fmla="*/ 226 h 579"/>
                  <a:gd name="T50" fmla="*/ 9 w 510"/>
                  <a:gd name="T51" fmla="*/ 279 h 579"/>
                  <a:gd name="T52" fmla="*/ 51 w 510"/>
                  <a:gd name="T53" fmla="*/ 322 h 579"/>
                  <a:gd name="T54" fmla="*/ 56 w 510"/>
                  <a:gd name="T55" fmla="*/ 370 h 579"/>
                  <a:gd name="T56" fmla="*/ 69 w 510"/>
                  <a:gd name="T57" fmla="*/ 409 h 579"/>
                  <a:gd name="T58" fmla="*/ 94 w 510"/>
                  <a:gd name="T59" fmla="*/ 421 h 579"/>
                  <a:gd name="T60" fmla="*/ 118 w 510"/>
                  <a:gd name="T61" fmla="*/ 434 h 579"/>
                  <a:gd name="T62" fmla="*/ 135 w 510"/>
                  <a:gd name="T63" fmla="*/ 443 h 579"/>
                  <a:gd name="T64" fmla="*/ 158 w 510"/>
                  <a:gd name="T65" fmla="*/ 452 h 579"/>
                  <a:gd name="T66" fmla="*/ 179 w 510"/>
                  <a:gd name="T67" fmla="*/ 461 h 579"/>
                  <a:gd name="T68" fmla="*/ 212 w 510"/>
                  <a:gd name="T69" fmla="*/ 453 h 579"/>
                  <a:gd name="T70" fmla="*/ 232 w 510"/>
                  <a:gd name="T71" fmla="*/ 514 h 579"/>
                  <a:gd name="T72" fmla="*/ 231 w 510"/>
                  <a:gd name="T73" fmla="*/ 539 h 579"/>
                  <a:gd name="T74" fmla="*/ 249 w 510"/>
                  <a:gd name="T75" fmla="*/ 569 h 579"/>
                  <a:gd name="T76" fmla="*/ 292 w 510"/>
                  <a:gd name="T77" fmla="*/ 558 h 579"/>
                  <a:gd name="T78" fmla="*/ 338 w 510"/>
                  <a:gd name="T79" fmla="*/ 568 h 579"/>
                  <a:gd name="T80" fmla="*/ 367 w 510"/>
                  <a:gd name="T81" fmla="*/ 573 h 579"/>
                  <a:gd name="T82" fmla="*/ 406 w 510"/>
                  <a:gd name="T83" fmla="*/ 552 h 579"/>
                  <a:gd name="T84" fmla="*/ 438 w 510"/>
                  <a:gd name="T85" fmla="*/ 545 h 579"/>
                  <a:gd name="T86" fmla="*/ 510 w 510"/>
                  <a:gd name="T87" fmla="*/ 507 h 579"/>
                  <a:gd name="T88" fmla="*/ 481 w 510"/>
                  <a:gd name="T89" fmla="*/ 237 h 579"/>
                  <a:gd name="T90" fmla="*/ 481 w 510"/>
                  <a:gd name="T91" fmla="*/ 237 h 579"/>
                  <a:gd name="T92" fmla="*/ 478 w 510"/>
                  <a:gd name="T93" fmla="*/ 294 h 579"/>
                  <a:gd name="T94" fmla="*/ 458 w 510"/>
                  <a:gd name="T95" fmla="*/ 251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0" h="579">
                    <a:moveTo>
                      <a:pt x="507" y="496"/>
                    </a:moveTo>
                    <a:cubicBezTo>
                      <a:pt x="507" y="496"/>
                      <a:pt x="479" y="489"/>
                      <a:pt x="477" y="478"/>
                    </a:cubicBezTo>
                    <a:cubicBezTo>
                      <a:pt x="475" y="467"/>
                      <a:pt x="473" y="436"/>
                      <a:pt x="473" y="436"/>
                    </a:cubicBezTo>
                    <a:cubicBezTo>
                      <a:pt x="458" y="405"/>
                      <a:pt x="458" y="405"/>
                      <a:pt x="458" y="405"/>
                    </a:cubicBezTo>
                    <a:cubicBezTo>
                      <a:pt x="467" y="374"/>
                      <a:pt x="467" y="374"/>
                      <a:pt x="467" y="374"/>
                    </a:cubicBezTo>
                    <a:cubicBezTo>
                      <a:pt x="456" y="360"/>
                      <a:pt x="456" y="360"/>
                      <a:pt x="456" y="360"/>
                    </a:cubicBezTo>
                    <a:cubicBezTo>
                      <a:pt x="456" y="360"/>
                      <a:pt x="476" y="325"/>
                      <a:pt x="471" y="317"/>
                    </a:cubicBezTo>
                    <a:cubicBezTo>
                      <a:pt x="466" y="309"/>
                      <a:pt x="439" y="302"/>
                      <a:pt x="436" y="290"/>
                    </a:cubicBezTo>
                    <a:cubicBezTo>
                      <a:pt x="433" y="278"/>
                      <a:pt x="450" y="239"/>
                      <a:pt x="451" y="232"/>
                    </a:cubicBezTo>
                    <a:cubicBezTo>
                      <a:pt x="452" y="226"/>
                      <a:pt x="454" y="203"/>
                      <a:pt x="455" y="198"/>
                    </a:cubicBezTo>
                    <a:cubicBezTo>
                      <a:pt x="380" y="128"/>
                      <a:pt x="380" y="128"/>
                      <a:pt x="380" y="128"/>
                    </a:cubicBezTo>
                    <a:cubicBezTo>
                      <a:pt x="380" y="128"/>
                      <a:pt x="388" y="122"/>
                      <a:pt x="391" y="118"/>
                    </a:cubicBezTo>
                    <a:cubicBezTo>
                      <a:pt x="394" y="114"/>
                      <a:pt x="382" y="105"/>
                      <a:pt x="382" y="105"/>
                    </a:cubicBezTo>
                    <a:cubicBezTo>
                      <a:pt x="216" y="1"/>
                      <a:pt x="216" y="1"/>
                      <a:pt x="216" y="1"/>
                    </a:cubicBezTo>
                    <a:cubicBezTo>
                      <a:pt x="206" y="1"/>
                      <a:pt x="206" y="1"/>
                      <a:pt x="206" y="1"/>
                    </a:cubicBezTo>
                    <a:cubicBezTo>
                      <a:pt x="206" y="1"/>
                      <a:pt x="206" y="1"/>
                      <a:pt x="206" y="1"/>
                    </a:cubicBezTo>
                    <a:cubicBezTo>
                      <a:pt x="206" y="10"/>
                      <a:pt x="209" y="24"/>
                      <a:pt x="209" y="24"/>
                    </a:cubicBezTo>
                    <a:cubicBezTo>
                      <a:pt x="194" y="31"/>
                      <a:pt x="194" y="31"/>
                      <a:pt x="194" y="31"/>
                    </a:cubicBezTo>
                    <a:cubicBezTo>
                      <a:pt x="194" y="31"/>
                      <a:pt x="181" y="40"/>
                      <a:pt x="176" y="55"/>
                    </a:cubicBezTo>
                    <a:cubicBezTo>
                      <a:pt x="171" y="70"/>
                      <a:pt x="206" y="59"/>
                      <a:pt x="206" y="59"/>
                    </a:cubicBezTo>
                    <a:cubicBezTo>
                      <a:pt x="206" y="59"/>
                      <a:pt x="187" y="75"/>
                      <a:pt x="181" y="78"/>
                    </a:cubicBezTo>
                    <a:cubicBezTo>
                      <a:pt x="175" y="81"/>
                      <a:pt x="171" y="72"/>
                      <a:pt x="162" y="71"/>
                    </a:cubicBezTo>
                    <a:cubicBezTo>
                      <a:pt x="153" y="70"/>
                      <a:pt x="154" y="89"/>
                      <a:pt x="154" y="89"/>
                    </a:cubicBezTo>
                    <a:cubicBezTo>
                      <a:pt x="161" y="99"/>
                      <a:pt x="161" y="99"/>
                      <a:pt x="161" y="99"/>
                    </a:cubicBezTo>
                    <a:cubicBezTo>
                      <a:pt x="161" y="99"/>
                      <a:pt x="158" y="100"/>
                      <a:pt x="148" y="99"/>
                    </a:cubicBezTo>
                    <a:cubicBezTo>
                      <a:pt x="138" y="98"/>
                      <a:pt x="150" y="73"/>
                      <a:pt x="150" y="73"/>
                    </a:cubicBezTo>
                    <a:cubicBezTo>
                      <a:pt x="138" y="78"/>
                      <a:pt x="138" y="78"/>
                      <a:pt x="138" y="78"/>
                    </a:cubicBezTo>
                    <a:cubicBezTo>
                      <a:pt x="138" y="78"/>
                      <a:pt x="130" y="66"/>
                      <a:pt x="123" y="66"/>
                    </a:cubicBezTo>
                    <a:cubicBezTo>
                      <a:pt x="113" y="66"/>
                      <a:pt x="114" y="92"/>
                      <a:pt x="109" y="92"/>
                    </a:cubicBezTo>
                    <a:cubicBezTo>
                      <a:pt x="104" y="92"/>
                      <a:pt x="104" y="80"/>
                      <a:pt x="104" y="80"/>
                    </a:cubicBezTo>
                    <a:cubicBezTo>
                      <a:pt x="104" y="80"/>
                      <a:pt x="99" y="54"/>
                      <a:pt x="101" y="40"/>
                    </a:cubicBezTo>
                    <a:cubicBezTo>
                      <a:pt x="103" y="26"/>
                      <a:pt x="111" y="8"/>
                      <a:pt x="112" y="2"/>
                    </a:cubicBezTo>
                    <a:cubicBezTo>
                      <a:pt x="112" y="1"/>
                      <a:pt x="112" y="1"/>
                      <a:pt x="112" y="0"/>
                    </a:cubicBezTo>
                    <a:cubicBezTo>
                      <a:pt x="51" y="0"/>
                      <a:pt x="51" y="0"/>
                      <a:pt x="51" y="0"/>
                    </a:cubicBezTo>
                    <a:cubicBezTo>
                      <a:pt x="46" y="13"/>
                      <a:pt x="46" y="13"/>
                      <a:pt x="46" y="13"/>
                    </a:cubicBezTo>
                    <a:cubicBezTo>
                      <a:pt x="46" y="13"/>
                      <a:pt x="56" y="23"/>
                      <a:pt x="60" y="31"/>
                    </a:cubicBezTo>
                    <a:cubicBezTo>
                      <a:pt x="64" y="39"/>
                      <a:pt x="58" y="44"/>
                      <a:pt x="58" y="44"/>
                    </a:cubicBezTo>
                    <a:cubicBezTo>
                      <a:pt x="58" y="44"/>
                      <a:pt x="64" y="52"/>
                      <a:pt x="64" y="64"/>
                    </a:cubicBezTo>
                    <a:cubicBezTo>
                      <a:pt x="64" y="76"/>
                      <a:pt x="44" y="74"/>
                      <a:pt x="44" y="74"/>
                    </a:cubicBezTo>
                    <a:cubicBezTo>
                      <a:pt x="44" y="74"/>
                      <a:pt x="40" y="88"/>
                      <a:pt x="38" y="97"/>
                    </a:cubicBezTo>
                    <a:cubicBezTo>
                      <a:pt x="36" y="106"/>
                      <a:pt x="60" y="107"/>
                      <a:pt x="60" y="107"/>
                    </a:cubicBezTo>
                    <a:cubicBezTo>
                      <a:pt x="59" y="118"/>
                      <a:pt x="59" y="118"/>
                      <a:pt x="59" y="118"/>
                    </a:cubicBezTo>
                    <a:cubicBezTo>
                      <a:pt x="51" y="121"/>
                      <a:pt x="51" y="121"/>
                      <a:pt x="51" y="121"/>
                    </a:cubicBezTo>
                    <a:cubicBezTo>
                      <a:pt x="53" y="130"/>
                      <a:pt x="53" y="130"/>
                      <a:pt x="53" y="130"/>
                    </a:cubicBezTo>
                    <a:cubicBezTo>
                      <a:pt x="53" y="130"/>
                      <a:pt x="41" y="129"/>
                      <a:pt x="34" y="142"/>
                    </a:cubicBezTo>
                    <a:cubicBezTo>
                      <a:pt x="27" y="155"/>
                      <a:pt x="34" y="165"/>
                      <a:pt x="18" y="177"/>
                    </a:cubicBezTo>
                    <a:cubicBezTo>
                      <a:pt x="11" y="182"/>
                      <a:pt x="6" y="184"/>
                      <a:pt x="2" y="185"/>
                    </a:cubicBezTo>
                    <a:cubicBezTo>
                      <a:pt x="0" y="194"/>
                      <a:pt x="0" y="194"/>
                      <a:pt x="0" y="194"/>
                    </a:cubicBezTo>
                    <a:cubicBezTo>
                      <a:pt x="0" y="194"/>
                      <a:pt x="6" y="205"/>
                      <a:pt x="9" y="209"/>
                    </a:cubicBezTo>
                    <a:cubicBezTo>
                      <a:pt x="12" y="213"/>
                      <a:pt x="8" y="226"/>
                      <a:pt x="8" y="226"/>
                    </a:cubicBezTo>
                    <a:cubicBezTo>
                      <a:pt x="8" y="226"/>
                      <a:pt x="19" y="256"/>
                      <a:pt x="15" y="261"/>
                    </a:cubicBezTo>
                    <a:cubicBezTo>
                      <a:pt x="11" y="266"/>
                      <a:pt x="8" y="269"/>
                      <a:pt x="9" y="279"/>
                    </a:cubicBezTo>
                    <a:cubicBezTo>
                      <a:pt x="10" y="289"/>
                      <a:pt x="18" y="294"/>
                      <a:pt x="24" y="296"/>
                    </a:cubicBezTo>
                    <a:cubicBezTo>
                      <a:pt x="30" y="298"/>
                      <a:pt x="47" y="316"/>
                      <a:pt x="51" y="322"/>
                    </a:cubicBezTo>
                    <a:cubicBezTo>
                      <a:pt x="55" y="328"/>
                      <a:pt x="51" y="337"/>
                      <a:pt x="49" y="345"/>
                    </a:cubicBezTo>
                    <a:cubicBezTo>
                      <a:pt x="47" y="353"/>
                      <a:pt x="56" y="370"/>
                      <a:pt x="56" y="370"/>
                    </a:cubicBezTo>
                    <a:cubicBezTo>
                      <a:pt x="74" y="394"/>
                      <a:pt x="74" y="394"/>
                      <a:pt x="74" y="394"/>
                    </a:cubicBezTo>
                    <a:cubicBezTo>
                      <a:pt x="74" y="394"/>
                      <a:pt x="72" y="401"/>
                      <a:pt x="69" y="409"/>
                    </a:cubicBezTo>
                    <a:cubicBezTo>
                      <a:pt x="77" y="410"/>
                      <a:pt x="89" y="406"/>
                      <a:pt x="89" y="406"/>
                    </a:cubicBezTo>
                    <a:cubicBezTo>
                      <a:pt x="89" y="406"/>
                      <a:pt x="91" y="418"/>
                      <a:pt x="94" y="421"/>
                    </a:cubicBezTo>
                    <a:cubicBezTo>
                      <a:pt x="97" y="424"/>
                      <a:pt x="106" y="421"/>
                      <a:pt x="106" y="421"/>
                    </a:cubicBezTo>
                    <a:cubicBezTo>
                      <a:pt x="106" y="421"/>
                      <a:pt x="113" y="430"/>
                      <a:pt x="118" y="434"/>
                    </a:cubicBezTo>
                    <a:cubicBezTo>
                      <a:pt x="123" y="438"/>
                      <a:pt x="133" y="432"/>
                      <a:pt x="133" y="432"/>
                    </a:cubicBezTo>
                    <a:cubicBezTo>
                      <a:pt x="135" y="443"/>
                      <a:pt x="135" y="443"/>
                      <a:pt x="135" y="443"/>
                    </a:cubicBezTo>
                    <a:cubicBezTo>
                      <a:pt x="147" y="442"/>
                      <a:pt x="147" y="442"/>
                      <a:pt x="147" y="442"/>
                    </a:cubicBezTo>
                    <a:cubicBezTo>
                      <a:pt x="158" y="452"/>
                      <a:pt x="158" y="452"/>
                      <a:pt x="158" y="452"/>
                    </a:cubicBezTo>
                    <a:cubicBezTo>
                      <a:pt x="173" y="451"/>
                      <a:pt x="173" y="451"/>
                      <a:pt x="173" y="451"/>
                    </a:cubicBezTo>
                    <a:cubicBezTo>
                      <a:pt x="179" y="461"/>
                      <a:pt x="179" y="461"/>
                      <a:pt x="179" y="461"/>
                    </a:cubicBezTo>
                    <a:cubicBezTo>
                      <a:pt x="198" y="461"/>
                      <a:pt x="198" y="461"/>
                      <a:pt x="198" y="461"/>
                    </a:cubicBezTo>
                    <a:cubicBezTo>
                      <a:pt x="198" y="461"/>
                      <a:pt x="202" y="448"/>
                      <a:pt x="212" y="453"/>
                    </a:cubicBezTo>
                    <a:cubicBezTo>
                      <a:pt x="222" y="458"/>
                      <a:pt x="230" y="479"/>
                      <a:pt x="230" y="479"/>
                    </a:cubicBezTo>
                    <a:cubicBezTo>
                      <a:pt x="232" y="514"/>
                      <a:pt x="232" y="514"/>
                      <a:pt x="232" y="514"/>
                    </a:cubicBezTo>
                    <a:cubicBezTo>
                      <a:pt x="232" y="514"/>
                      <a:pt x="237" y="515"/>
                      <a:pt x="237" y="522"/>
                    </a:cubicBezTo>
                    <a:cubicBezTo>
                      <a:pt x="237" y="529"/>
                      <a:pt x="234" y="531"/>
                      <a:pt x="231" y="539"/>
                    </a:cubicBezTo>
                    <a:cubicBezTo>
                      <a:pt x="228" y="547"/>
                      <a:pt x="250" y="557"/>
                      <a:pt x="250" y="557"/>
                    </a:cubicBezTo>
                    <a:cubicBezTo>
                      <a:pt x="249" y="569"/>
                      <a:pt x="249" y="569"/>
                      <a:pt x="249" y="569"/>
                    </a:cubicBezTo>
                    <a:cubicBezTo>
                      <a:pt x="262" y="569"/>
                      <a:pt x="280" y="568"/>
                      <a:pt x="280" y="568"/>
                    </a:cubicBezTo>
                    <a:cubicBezTo>
                      <a:pt x="280" y="568"/>
                      <a:pt x="284" y="558"/>
                      <a:pt x="292" y="558"/>
                    </a:cubicBezTo>
                    <a:cubicBezTo>
                      <a:pt x="300" y="558"/>
                      <a:pt x="319" y="579"/>
                      <a:pt x="324" y="579"/>
                    </a:cubicBezTo>
                    <a:cubicBezTo>
                      <a:pt x="329" y="579"/>
                      <a:pt x="334" y="570"/>
                      <a:pt x="338" y="568"/>
                    </a:cubicBezTo>
                    <a:cubicBezTo>
                      <a:pt x="342" y="566"/>
                      <a:pt x="356" y="574"/>
                      <a:pt x="356" y="574"/>
                    </a:cubicBezTo>
                    <a:cubicBezTo>
                      <a:pt x="356" y="574"/>
                      <a:pt x="360" y="576"/>
                      <a:pt x="367" y="573"/>
                    </a:cubicBezTo>
                    <a:cubicBezTo>
                      <a:pt x="374" y="570"/>
                      <a:pt x="390" y="552"/>
                      <a:pt x="390" y="552"/>
                    </a:cubicBezTo>
                    <a:cubicBezTo>
                      <a:pt x="406" y="552"/>
                      <a:pt x="406" y="552"/>
                      <a:pt x="406" y="552"/>
                    </a:cubicBezTo>
                    <a:cubicBezTo>
                      <a:pt x="406" y="552"/>
                      <a:pt x="409" y="560"/>
                      <a:pt x="413" y="559"/>
                    </a:cubicBezTo>
                    <a:cubicBezTo>
                      <a:pt x="417" y="558"/>
                      <a:pt x="438" y="545"/>
                      <a:pt x="438" y="545"/>
                    </a:cubicBezTo>
                    <a:cubicBezTo>
                      <a:pt x="457" y="544"/>
                      <a:pt x="457" y="544"/>
                      <a:pt x="457" y="544"/>
                    </a:cubicBezTo>
                    <a:cubicBezTo>
                      <a:pt x="510" y="507"/>
                      <a:pt x="510" y="507"/>
                      <a:pt x="510" y="507"/>
                    </a:cubicBezTo>
                    <a:lnTo>
                      <a:pt x="507" y="496"/>
                    </a:lnTo>
                    <a:close/>
                    <a:moveTo>
                      <a:pt x="481" y="237"/>
                    </a:moveTo>
                    <a:cubicBezTo>
                      <a:pt x="497" y="235"/>
                      <a:pt x="483" y="196"/>
                      <a:pt x="476" y="204"/>
                    </a:cubicBezTo>
                    <a:cubicBezTo>
                      <a:pt x="468" y="212"/>
                      <a:pt x="468" y="239"/>
                      <a:pt x="481" y="237"/>
                    </a:cubicBezTo>
                    <a:close/>
                    <a:moveTo>
                      <a:pt x="452" y="278"/>
                    </a:moveTo>
                    <a:cubicBezTo>
                      <a:pt x="452" y="278"/>
                      <a:pt x="468" y="296"/>
                      <a:pt x="478" y="294"/>
                    </a:cubicBezTo>
                    <a:cubicBezTo>
                      <a:pt x="487" y="292"/>
                      <a:pt x="470" y="272"/>
                      <a:pt x="470" y="272"/>
                    </a:cubicBezTo>
                    <a:cubicBezTo>
                      <a:pt x="470" y="272"/>
                      <a:pt x="474" y="251"/>
                      <a:pt x="458" y="251"/>
                    </a:cubicBezTo>
                    <a:cubicBezTo>
                      <a:pt x="442" y="251"/>
                      <a:pt x="452" y="278"/>
                      <a:pt x="452" y="278"/>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52" name="Freeform 174">
                <a:extLst>
                  <a:ext uri="{FF2B5EF4-FFF2-40B4-BE49-F238E27FC236}">
                    <a16:creationId xmlns:a16="http://schemas.microsoft.com/office/drawing/2014/main" id="{A0146033-6567-4BC6-AA26-8BD3D06FF7A8}"/>
                  </a:ext>
                </a:extLst>
              </p:cNvPr>
              <p:cNvSpPr>
                <a:spLocks noEditPoints="1"/>
              </p:cNvSpPr>
              <p:nvPr>
                <p:custDataLst>
                  <p:tags r:id="rId133"/>
                </p:custDataLst>
              </p:nvPr>
            </p:nvSpPr>
            <p:spPr bwMode="gray">
              <a:xfrm>
                <a:off x="5330795" y="4257691"/>
                <a:ext cx="158749" cy="174626"/>
              </a:xfrm>
              <a:custGeom>
                <a:avLst/>
                <a:gdLst>
                  <a:gd name="T0" fmla="*/ 204 w 266"/>
                  <a:gd name="T1" fmla="*/ 283 h 314"/>
                  <a:gd name="T2" fmla="*/ 214 w 266"/>
                  <a:gd name="T3" fmla="*/ 283 h 314"/>
                  <a:gd name="T4" fmla="*/ 215 w 266"/>
                  <a:gd name="T5" fmla="*/ 282 h 314"/>
                  <a:gd name="T6" fmla="*/ 204 w 266"/>
                  <a:gd name="T7" fmla="*/ 283 h 314"/>
                  <a:gd name="T8" fmla="*/ 262 w 266"/>
                  <a:gd name="T9" fmla="*/ 127 h 314"/>
                  <a:gd name="T10" fmla="*/ 246 w 266"/>
                  <a:gd name="T11" fmla="*/ 97 h 314"/>
                  <a:gd name="T12" fmla="*/ 255 w 266"/>
                  <a:gd name="T13" fmla="*/ 87 h 314"/>
                  <a:gd name="T14" fmla="*/ 234 w 266"/>
                  <a:gd name="T15" fmla="*/ 62 h 314"/>
                  <a:gd name="T16" fmla="*/ 235 w 266"/>
                  <a:gd name="T17" fmla="*/ 57 h 314"/>
                  <a:gd name="T18" fmla="*/ 226 w 266"/>
                  <a:gd name="T19" fmla="*/ 42 h 314"/>
                  <a:gd name="T20" fmla="*/ 228 w 266"/>
                  <a:gd name="T21" fmla="*/ 27 h 314"/>
                  <a:gd name="T22" fmla="*/ 215 w 266"/>
                  <a:gd name="T23" fmla="*/ 22 h 314"/>
                  <a:gd name="T24" fmla="*/ 208 w 266"/>
                  <a:gd name="T25" fmla="*/ 0 h 314"/>
                  <a:gd name="T26" fmla="*/ 200 w 266"/>
                  <a:gd name="T27" fmla="*/ 0 h 314"/>
                  <a:gd name="T28" fmla="*/ 178 w 266"/>
                  <a:gd name="T29" fmla="*/ 25 h 314"/>
                  <a:gd name="T30" fmla="*/ 161 w 266"/>
                  <a:gd name="T31" fmla="*/ 17 h 314"/>
                  <a:gd name="T32" fmla="*/ 149 w 266"/>
                  <a:gd name="T33" fmla="*/ 25 h 314"/>
                  <a:gd name="T34" fmla="*/ 133 w 266"/>
                  <a:gd name="T35" fmla="*/ 24 h 314"/>
                  <a:gd name="T36" fmla="*/ 120 w 266"/>
                  <a:gd name="T37" fmla="*/ 39 h 314"/>
                  <a:gd name="T38" fmla="*/ 106 w 266"/>
                  <a:gd name="T39" fmla="*/ 21 h 314"/>
                  <a:gd name="T40" fmla="*/ 99 w 266"/>
                  <a:gd name="T41" fmla="*/ 22 h 314"/>
                  <a:gd name="T42" fmla="*/ 92 w 266"/>
                  <a:gd name="T43" fmla="*/ 29 h 314"/>
                  <a:gd name="T44" fmla="*/ 72 w 266"/>
                  <a:gd name="T45" fmla="*/ 21 h 314"/>
                  <a:gd name="T46" fmla="*/ 56 w 266"/>
                  <a:gd name="T47" fmla="*/ 34 h 314"/>
                  <a:gd name="T48" fmla="*/ 62 w 266"/>
                  <a:gd name="T49" fmla="*/ 47 h 314"/>
                  <a:gd name="T50" fmla="*/ 49 w 266"/>
                  <a:gd name="T51" fmla="*/ 61 h 314"/>
                  <a:gd name="T52" fmla="*/ 59 w 266"/>
                  <a:gd name="T53" fmla="*/ 71 h 314"/>
                  <a:gd name="T54" fmla="*/ 52 w 266"/>
                  <a:gd name="T55" fmla="*/ 92 h 314"/>
                  <a:gd name="T56" fmla="*/ 66 w 266"/>
                  <a:gd name="T57" fmla="*/ 97 h 314"/>
                  <a:gd name="T58" fmla="*/ 78 w 266"/>
                  <a:gd name="T59" fmla="*/ 108 h 314"/>
                  <a:gd name="T60" fmla="*/ 45 w 266"/>
                  <a:gd name="T61" fmla="*/ 156 h 314"/>
                  <a:gd name="T62" fmla="*/ 29 w 266"/>
                  <a:gd name="T63" fmla="*/ 164 h 314"/>
                  <a:gd name="T64" fmla="*/ 29 w 266"/>
                  <a:gd name="T65" fmla="*/ 173 h 314"/>
                  <a:gd name="T66" fmla="*/ 16 w 266"/>
                  <a:gd name="T67" fmla="*/ 181 h 314"/>
                  <a:gd name="T68" fmla="*/ 14 w 266"/>
                  <a:gd name="T69" fmla="*/ 198 h 314"/>
                  <a:gd name="T70" fmla="*/ 4 w 266"/>
                  <a:gd name="T71" fmla="*/ 229 h 314"/>
                  <a:gd name="T72" fmla="*/ 4 w 266"/>
                  <a:gd name="T73" fmla="*/ 249 h 314"/>
                  <a:gd name="T74" fmla="*/ 0 w 266"/>
                  <a:gd name="T75" fmla="*/ 299 h 314"/>
                  <a:gd name="T76" fmla="*/ 10 w 266"/>
                  <a:gd name="T77" fmla="*/ 299 h 314"/>
                  <a:gd name="T78" fmla="*/ 22 w 266"/>
                  <a:gd name="T79" fmla="*/ 307 h 314"/>
                  <a:gd name="T80" fmla="*/ 33 w 266"/>
                  <a:gd name="T81" fmla="*/ 283 h 314"/>
                  <a:gd name="T82" fmla="*/ 49 w 266"/>
                  <a:gd name="T83" fmla="*/ 282 h 314"/>
                  <a:gd name="T84" fmla="*/ 110 w 266"/>
                  <a:gd name="T85" fmla="*/ 282 h 314"/>
                  <a:gd name="T86" fmla="*/ 102 w 266"/>
                  <a:gd name="T87" fmla="*/ 265 h 314"/>
                  <a:gd name="T88" fmla="*/ 111 w 266"/>
                  <a:gd name="T89" fmla="*/ 246 h 314"/>
                  <a:gd name="T90" fmla="*/ 118 w 266"/>
                  <a:gd name="T91" fmla="*/ 223 h 314"/>
                  <a:gd name="T92" fmla="*/ 160 w 266"/>
                  <a:gd name="T93" fmla="*/ 216 h 314"/>
                  <a:gd name="T94" fmla="*/ 176 w 266"/>
                  <a:gd name="T95" fmla="*/ 202 h 314"/>
                  <a:gd name="T96" fmla="*/ 182 w 266"/>
                  <a:gd name="T97" fmla="*/ 219 h 314"/>
                  <a:gd name="T98" fmla="*/ 200 w 266"/>
                  <a:gd name="T99" fmla="*/ 215 h 314"/>
                  <a:gd name="T100" fmla="*/ 207 w 266"/>
                  <a:gd name="T101" fmla="*/ 217 h 314"/>
                  <a:gd name="T102" fmla="*/ 207 w 266"/>
                  <a:gd name="T103" fmla="*/ 219 h 314"/>
                  <a:gd name="T104" fmla="*/ 218 w 266"/>
                  <a:gd name="T105" fmla="*/ 201 h 314"/>
                  <a:gd name="T106" fmla="*/ 219 w 266"/>
                  <a:gd name="T107" fmla="*/ 190 h 314"/>
                  <a:gd name="T108" fmla="*/ 231 w 266"/>
                  <a:gd name="T109" fmla="*/ 179 h 314"/>
                  <a:gd name="T110" fmla="*/ 234 w 266"/>
                  <a:gd name="T111" fmla="*/ 164 h 314"/>
                  <a:gd name="T112" fmla="*/ 247 w 266"/>
                  <a:gd name="T113" fmla="*/ 160 h 314"/>
                  <a:gd name="T114" fmla="*/ 251 w 266"/>
                  <a:gd name="T115" fmla="*/ 145 h 314"/>
                  <a:gd name="T116" fmla="*/ 262 w 266"/>
                  <a:gd name="T117" fmla="*/ 127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6" h="314">
                    <a:moveTo>
                      <a:pt x="204" y="283"/>
                    </a:moveTo>
                    <a:cubicBezTo>
                      <a:pt x="214" y="283"/>
                      <a:pt x="214" y="283"/>
                      <a:pt x="214" y="283"/>
                    </a:cubicBezTo>
                    <a:cubicBezTo>
                      <a:pt x="215" y="282"/>
                      <a:pt x="215" y="282"/>
                      <a:pt x="215" y="282"/>
                    </a:cubicBezTo>
                    <a:cubicBezTo>
                      <a:pt x="209" y="282"/>
                      <a:pt x="204" y="282"/>
                      <a:pt x="204" y="283"/>
                    </a:cubicBezTo>
                    <a:close/>
                    <a:moveTo>
                      <a:pt x="262" y="127"/>
                    </a:moveTo>
                    <a:cubicBezTo>
                      <a:pt x="258" y="121"/>
                      <a:pt x="245" y="102"/>
                      <a:pt x="246" y="97"/>
                    </a:cubicBezTo>
                    <a:cubicBezTo>
                      <a:pt x="247" y="92"/>
                      <a:pt x="255" y="87"/>
                      <a:pt x="255" y="87"/>
                    </a:cubicBezTo>
                    <a:cubicBezTo>
                      <a:pt x="234" y="62"/>
                      <a:pt x="234" y="62"/>
                      <a:pt x="234" y="62"/>
                    </a:cubicBezTo>
                    <a:cubicBezTo>
                      <a:pt x="235" y="57"/>
                      <a:pt x="235" y="57"/>
                      <a:pt x="235" y="57"/>
                    </a:cubicBezTo>
                    <a:cubicBezTo>
                      <a:pt x="235" y="57"/>
                      <a:pt x="224" y="48"/>
                      <a:pt x="226" y="42"/>
                    </a:cubicBezTo>
                    <a:cubicBezTo>
                      <a:pt x="228" y="36"/>
                      <a:pt x="228" y="27"/>
                      <a:pt x="228" y="27"/>
                    </a:cubicBezTo>
                    <a:cubicBezTo>
                      <a:pt x="228" y="27"/>
                      <a:pt x="215" y="35"/>
                      <a:pt x="215" y="22"/>
                    </a:cubicBezTo>
                    <a:cubicBezTo>
                      <a:pt x="215" y="9"/>
                      <a:pt x="208" y="0"/>
                      <a:pt x="208" y="0"/>
                    </a:cubicBezTo>
                    <a:cubicBezTo>
                      <a:pt x="200" y="0"/>
                      <a:pt x="200" y="0"/>
                      <a:pt x="200" y="0"/>
                    </a:cubicBezTo>
                    <a:cubicBezTo>
                      <a:pt x="200" y="0"/>
                      <a:pt x="191" y="27"/>
                      <a:pt x="178" y="25"/>
                    </a:cubicBezTo>
                    <a:cubicBezTo>
                      <a:pt x="165" y="23"/>
                      <a:pt x="166" y="17"/>
                      <a:pt x="161" y="17"/>
                    </a:cubicBezTo>
                    <a:cubicBezTo>
                      <a:pt x="156" y="17"/>
                      <a:pt x="149" y="25"/>
                      <a:pt x="149" y="25"/>
                    </a:cubicBezTo>
                    <a:cubicBezTo>
                      <a:pt x="133" y="24"/>
                      <a:pt x="133" y="24"/>
                      <a:pt x="133" y="24"/>
                    </a:cubicBezTo>
                    <a:cubicBezTo>
                      <a:pt x="120" y="39"/>
                      <a:pt x="120" y="39"/>
                      <a:pt x="120" y="39"/>
                    </a:cubicBezTo>
                    <a:cubicBezTo>
                      <a:pt x="106" y="21"/>
                      <a:pt x="106" y="21"/>
                      <a:pt x="106" y="21"/>
                    </a:cubicBezTo>
                    <a:cubicBezTo>
                      <a:pt x="99" y="22"/>
                      <a:pt x="99" y="22"/>
                      <a:pt x="99" y="22"/>
                    </a:cubicBezTo>
                    <a:cubicBezTo>
                      <a:pt x="99" y="22"/>
                      <a:pt x="98" y="30"/>
                      <a:pt x="92" y="29"/>
                    </a:cubicBezTo>
                    <a:cubicBezTo>
                      <a:pt x="86" y="28"/>
                      <a:pt x="77" y="21"/>
                      <a:pt x="72" y="21"/>
                    </a:cubicBezTo>
                    <a:cubicBezTo>
                      <a:pt x="67" y="21"/>
                      <a:pt x="56" y="34"/>
                      <a:pt x="56" y="34"/>
                    </a:cubicBezTo>
                    <a:cubicBezTo>
                      <a:pt x="62" y="47"/>
                      <a:pt x="62" y="47"/>
                      <a:pt x="62" y="47"/>
                    </a:cubicBezTo>
                    <a:cubicBezTo>
                      <a:pt x="49" y="61"/>
                      <a:pt x="49" y="61"/>
                      <a:pt x="49" y="61"/>
                    </a:cubicBezTo>
                    <a:cubicBezTo>
                      <a:pt x="49" y="61"/>
                      <a:pt x="60" y="65"/>
                      <a:pt x="59" y="71"/>
                    </a:cubicBezTo>
                    <a:cubicBezTo>
                      <a:pt x="58" y="76"/>
                      <a:pt x="49" y="87"/>
                      <a:pt x="52" y="92"/>
                    </a:cubicBezTo>
                    <a:cubicBezTo>
                      <a:pt x="55" y="98"/>
                      <a:pt x="66" y="97"/>
                      <a:pt x="66" y="97"/>
                    </a:cubicBezTo>
                    <a:cubicBezTo>
                      <a:pt x="66" y="97"/>
                      <a:pt x="78" y="100"/>
                      <a:pt x="78" y="108"/>
                    </a:cubicBezTo>
                    <a:cubicBezTo>
                      <a:pt x="78" y="116"/>
                      <a:pt x="45" y="156"/>
                      <a:pt x="45" y="156"/>
                    </a:cubicBezTo>
                    <a:cubicBezTo>
                      <a:pt x="29" y="164"/>
                      <a:pt x="29" y="164"/>
                      <a:pt x="29" y="164"/>
                    </a:cubicBezTo>
                    <a:cubicBezTo>
                      <a:pt x="29" y="173"/>
                      <a:pt x="29" y="173"/>
                      <a:pt x="29" y="173"/>
                    </a:cubicBezTo>
                    <a:cubicBezTo>
                      <a:pt x="16" y="181"/>
                      <a:pt x="16" y="181"/>
                      <a:pt x="16" y="181"/>
                    </a:cubicBezTo>
                    <a:cubicBezTo>
                      <a:pt x="14" y="198"/>
                      <a:pt x="14" y="198"/>
                      <a:pt x="14" y="198"/>
                    </a:cubicBezTo>
                    <a:cubicBezTo>
                      <a:pt x="4" y="229"/>
                      <a:pt x="4" y="229"/>
                      <a:pt x="4" y="229"/>
                    </a:cubicBezTo>
                    <a:cubicBezTo>
                      <a:pt x="4" y="249"/>
                      <a:pt x="4" y="249"/>
                      <a:pt x="4" y="249"/>
                    </a:cubicBezTo>
                    <a:cubicBezTo>
                      <a:pt x="0" y="299"/>
                      <a:pt x="0" y="299"/>
                      <a:pt x="0" y="299"/>
                    </a:cubicBezTo>
                    <a:cubicBezTo>
                      <a:pt x="10" y="299"/>
                      <a:pt x="10" y="299"/>
                      <a:pt x="10" y="299"/>
                    </a:cubicBezTo>
                    <a:cubicBezTo>
                      <a:pt x="10" y="299"/>
                      <a:pt x="16" y="314"/>
                      <a:pt x="22" y="307"/>
                    </a:cubicBezTo>
                    <a:cubicBezTo>
                      <a:pt x="29" y="299"/>
                      <a:pt x="33" y="283"/>
                      <a:pt x="33" y="283"/>
                    </a:cubicBezTo>
                    <a:cubicBezTo>
                      <a:pt x="49" y="282"/>
                      <a:pt x="49" y="282"/>
                      <a:pt x="49" y="282"/>
                    </a:cubicBezTo>
                    <a:cubicBezTo>
                      <a:pt x="110" y="282"/>
                      <a:pt x="110" y="282"/>
                      <a:pt x="110" y="282"/>
                    </a:cubicBezTo>
                    <a:cubicBezTo>
                      <a:pt x="110" y="277"/>
                      <a:pt x="104" y="271"/>
                      <a:pt x="102" y="265"/>
                    </a:cubicBezTo>
                    <a:cubicBezTo>
                      <a:pt x="100" y="258"/>
                      <a:pt x="107" y="250"/>
                      <a:pt x="111" y="246"/>
                    </a:cubicBezTo>
                    <a:cubicBezTo>
                      <a:pt x="115" y="242"/>
                      <a:pt x="109" y="230"/>
                      <a:pt x="118" y="223"/>
                    </a:cubicBezTo>
                    <a:cubicBezTo>
                      <a:pt x="127" y="216"/>
                      <a:pt x="157" y="218"/>
                      <a:pt x="160" y="216"/>
                    </a:cubicBezTo>
                    <a:cubicBezTo>
                      <a:pt x="163" y="214"/>
                      <a:pt x="170" y="202"/>
                      <a:pt x="176" y="202"/>
                    </a:cubicBezTo>
                    <a:cubicBezTo>
                      <a:pt x="182" y="202"/>
                      <a:pt x="182" y="219"/>
                      <a:pt x="182" y="219"/>
                    </a:cubicBezTo>
                    <a:cubicBezTo>
                      <a:pt x="182" y="219"/>
                      <a:pt x="189" y="212"/>
                      <a:pt x="200" y="215"/>
                    </a:cubicBezTo>
                    <a:cubicBezTo>
                      <a:pt x="202" y="215"/>
                      <a:pt x="204" y="216"/>
                      <a:pt x="207" y="217"/>
                    </a:cubicBezTo>
                    <a:cubicBezTo>
                      <a:pt x="207" y="218"/>
                      <a:pt x="207" y="218"/>
                      <a:pt x="207" y="219"/>
                    </a:cubicBezTo>
                    <a:cubicBezTo>
                      <a:pt x="207" y="208"/>
                      <a:pt x="218" y="201"/>
                      <a:pt x="218" y="201"/>
                    </a:cubicBezTo>
                    <a:cubicBezTo>
                      <a:pt x="219" y="190"/>
                      <a:pt x="219" y="190"/>
                      <a:pt x="219" y="190"/>
                    </a:cubicBezTo>
                    <a:cubicBezTo>
                      <a:pt x="231" y="179"/>
                      <a:pt x="231" y="179"/>
                      <a:pt x="231" y="179"/>
                    </a:cubicBezTo>
                    <a:cubicBezTo>
                      <a:pt x="231" y="179"/>
                      <a:pt x="227" y="170"/>
                      <a:pt x="234" y="164"/>
                    </a:cubicBezTo>
                    <a:cubicBezTo>
                      <a:pt x="241" y="158"/>
                      <a:pt x="247" y="160"/>
                      <a:pt x="247" y="160"/>
                    </a:cubicBezTo>
                    <a:cubicBezTo>
                      <a:pt x="251" y="145"/>
                      <a:pt x="251" y="145"/>
                      <a:pt x="251" y="145"/>
                    </a:cubicBezTo>
                    <a:cubicBezTo>
                      <a:pt x="251" y="145"/>
                      <a:pt x="266" y="133"/>
                      <a:pt x="262" y="127"/>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53" name="Freeform 175">
                <a:extLst>
                  <a:ext uri="{FF2B5EF4-FFF2-40B4-BE49-F238E27FC236}">
                    <a16:creationId xmlns:a16="http://schemas.microsoft.com/office/drawing/2014/main" id="{3A174DA6-6567-4547-94A3-F7A880F61C91}"/>
                  </a:ext>
                </a:extLst>
              </p:cNvPr>
              <p:cNvSpPr>
                <a:spLocks/>
              </p:cNvSpPr>
              <p:nvPr>
                <p:custDataLst>
                  <p:tags r:id="rId134"/>
                </p:custDataLst>
              </p:nvPr>
            </p:nvSpPr>
            <p:spPr bwMode="gray">
              <a:xfrm>
                <a:off x="5451444" y="4241816"/>
                <a:ext cx="230186" cy="282576"/>
              </a:xfrm>
              <a:custGeom>
                <a:avLst/>
                <a:gdLst>
                  <a:gd name="T0" fmla="*/ 337 w 378"/>
                  <a:gd name="T1" fmla="*/ 100 h 509"/>
                  <a:gd name="T2" fmla="*/ 358 w 378"/>
                  <a:gd name="T3" fmla="*/ 79 h 509"/>
                  <a:gd name="T4" fmla="*/ 378 w 378"/>
                  <a:gd name="T5" fmla="*/ 43 h 509"/>
                  <a:gd name="T6" fmla="*/ 362 w 378"/>
                  <a:gd name="T7" fmla="*/ 37 h 509"/>
                  <a:gd name="T8" fmla="*/ 358 w 378"/>
                  <a:gd name="T9" fmla="*/ 41 h 509"/>
                  <a:gd name="T10" fmla="*/ 340 w 378"/>
                  <a:gd name="T11" fmla="*/ 40 h 509"/>
                  <a:gd name="T12" fmla="*/ 324 w 378"/>
                  <a:gd name="T13" fmla="*/ 23 h 509"/>
                  <a:gd name="T14" fmla="*/ 312 w 378"/>
                  <a:gd name="T15" fmla="*/ 32 h 509"/>
                  <a:gd name="T16" fmla="*/ 283 w 378"/>
                  <a:gd name="T17" fmla="*/ 46 h 509"/>
                  <a:gd name="T18" fmla="*/ 278 w 378"/>
                  <a:gd name="T19" fmla="*/ 56 h 509"/>
                  <a:gd name="T20" fmla="*/ 265 w 378"/>
                  <a:gd name="T21" fmla="*/ 70 h 509"/>
                  <a:gd name="T22" fmla="*/ 234 w 378"/>
                  <a:gd name="T23" fmla="*/ 61 h 509"/>
                  <a:gd name="T24" fmla="*/ 194 w 378"/>
                  <a:gd name="T25" fmla="*/ 57 h 509"/>
                  <a:gd name="T26" fmla="*/ 143 w 378"/>
                  <a:gd name="T27" fmla="*/ 17 h 509"/>
                  <a:gd name="T28" fmla="*/ 96 w 378"/>
                  <a:gd name="T29" fmla="*/ 15 h 509"/>
                  <a:gd name="T30" fmla="*/ 90 w 378"/>
                  <a:gd name="T31" fmla="*/ 0 h 509"/>
                  <a:gd name="T32" fmla="*/ 77 w 378"/>
                  <a:gd name="T33" fmla="*/ 8 h 509"/>
                  <a:gd name="T34" fmla="*/ 17 w 378"/>
                  <a:gd name="T35" fmla="*/ 9 h 509"/>
                  <a:gd name="T36" fmla="*/ 3 w 378"/>
                  <a:gd name="T37" fmla="*/ 29 h 509"/>
                  <a:gd name="T38" fmla="*/ 10 w 378"/>
                  <a:gd name="T39" fmla="*/ 51 h 509"/>
                  <a:gd name="T40" fmla="*/ 23 w 378"/>
                  <a:gd name="T41" fmla="*/ 56 h 509"/>
                  <a:gd name="T42" fmla="*/ 21 w 378"/>
                  <a:gd name="T43" fmla="*/ 71 h 509"/>
                  <a:gd name="T44" fmla="*/ 30 w 378"/>
                  <a:gd name="T45" fmla="*/ 86 h 509"/>
                  <a:gd name="T46" fmla="*/ 29 w 378"/>
                  <a:gd name="T47" fmla="*/ 91 h 509"/>
                  <a:gd name="T48" fmla="*/ 50 w 378"/>
                  <a:gd name="T49" fmla="*/ 116 h 509"/>
                  <a:gd name="T50" fmla="*/ 41 w 378"/>
                  <a:gd name="T51" fmla="*/ 126 h 509"/>
                  <a:gd name="T52" fmla="*/ 57 w 378"/>
                  <a:gd name="T53" fmla="*/ 156 h 509"/>
                  <a:gd name="T54" fmla="*/ 46 w 378"/>
                  <a:gd name="T55" fmla="*/ 174 h 509"/>
                  <a:gd name="T56" fmla="*/ 42 w 378"/>
                  <a:gd name="T57" fmla="*/ 189 h 509"/>
                  <a:gd name="T58" fmla="*/ 29 w 378"/>
                  <a:gd name="T59" fmla="*/ 193 h 509"/>
                  <a:gd name="T60" fmla="*/ 26 w 378"/>
                  <a:gd name="T61" fmla="*/ 208 h 509"/>
                  <a:gd name="T62" fmla="*/ 14 w 378"/>
                  <a:gd name="T63" fmla="*/ 219 h 509"/>
                  <a:gd name="T64" fmla="*/ 13 w 378"/>
                  <a:gd name="T65" fmla="*/ 230 h 509"/>
                  <a:gd name="T66" fmla="*/ 2 w 378"/>
                  <a:gd name="T67" fmla="*/ 248 h 509"/>
                  <a:gd name="T68" fmla="*/ 18 w 378"/>
                  <a:gd name="T69" fmla="*/ 270 h 509"/>
                  <a:gd name="T70" fmla="*/ 25 w 378"/>
                  <a:gd name="T71" fmla="*/ 262 h 509"/>
                  <a:gd name="T72" fmla="*/ 39 w 378"/>
                  <a:gd name="T73" fmla="*/ 261 h 509"/>
                  <a:gd name="T74" fmla="*/ 42 w 378"/>
                  <a:gd name="T75" fmla="*/ 273 h 509"/>
                  <a:gd name="T76" fmla="*/ 33 w 378"/>
                  <a:gd name="T77" fmla="*/ 275 h 509"/>
                  <a:gd name="T78" fmla="*/ 23 w 378"/>
                  <a:gd name="T79" fmla="*/ 283 h 509"/>
                  <a:gd name="T80" fmla="*/ 9 w 378"/>
                  <a:gd name="T81" fmla="*/ 283 h 509"/>
                  <a:gd name="T82" fmla="*/ 13 w 378"/>
                  <a:gd name="T83" fmla="*/ 302 h 509"/>
                  <a:gd name="T84" fmla="*/ 9 w 378"/>
                  <a:gd name="T85" fmla="*/ 312 h 509"/>
                  <a:gd name="T86" fmla="*/ 175 w 378"/>
                  <a:gd name="T87" fmla="*/ 416 h 509"/>
                  <a:gd name="T88" fmla="*/ 184 w 378"/>
                  <a:gd name="T89" fmla="*/ 429 h 509"/>
                  <a:gd name="T90" fmla="*/ 173 w 378"/>
                  <a:gd name="T91" fmla="*/ 439 h 509"/>
                  <a:gd name="T92" fmla="*/ 248 w 378"/>
                  <a:gd name="T93" fmla="*/ 509 h 509"/>
                  <a:gd name="T94" fmla="*/ 248 w 378"/>
                  <a:gd name="T95" fmla="*/ 508 h 509"/>
                  <a:gd name="T96" fmla="*/ 261 w 378"/>
                  <a:gd name="T97" fmla="*/ 505 h 509"/>
                  <a:gd name="T98" fmla="*/ 281 w 378"/>
                  <a:gd name="T99" fmla="*/ 463 h 509"/>
                  <a:gd name="T100" fmla="*/ 279 w 378"/>
                  <a:gd name="T101" fmla="*/ 441 h 509"/>
                  <a:gd name="T102" fmla="*/ 299 w 378"/>
                  <a:gd name="T103" fmla="*/ 424 h 509"/>
                  <a:gd name="T104" fmla="*/ 301 w 378"/>
                  <a:gd name="T105" fmla="*/ 398 h 509"/>
                  <a:gd name="T106" fmla="*/ 324 w 378"/>
                  <a:gd name="T107" fmla="*/ 388 h 509"/>
                  <a:gd name="T108" fmla="*/ 328 w 378"/>
                  <a:gd name="T109" fmla="*/ 361 h 509"/>
                  <a:gd name="T110" fmla="*/ 360 w 378"/>
                  <a:gd name="T111" fmla="*/ 351 h 509"/>
                  <a:gd name="T112" fmla="*/ 364 w 378"/>
                  <a:gd name="T113" fmla="*/ 343 h 509"/>
                  <a:gd name="T114" fmla="*/ 336 w 378"/>
                  <a:gd name="T115" fmla="*/ 303 h 509"/>
                  <a:gd name="T116" fmla="*/ 337 w 378"/>
                  <a:gd name="T117" fmla="*/ 100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78" h="509">
                    <a:moveTo>
                      <a:pt x="337" y="100"/>
                    </a:moveTo>
                    <a:cubicBezTo>
                      <a:pt x="337" y="100"/>
                      <a:pt x="351" y="87"/>
                      <a:pt x="358" y="79"/>
                    </a:cubicBezTo>
                    <a:cubicBezTo>
                      <a:pt x="365" y="71"/>
                      <a:pt x="378" y="43"/>
                      <a:pt x="378" y="43"/>
                    </a:cubicBezTo>
                    <a:cubicBezTo>
                      <a:pt x="362" y="37"/>
                      <a:pt x="362" y="37"/>
                      <a:pt x="362" y="37"/>
                    </a:cubicBezTo>
                    <a:cubicBezTo>
                      <a:pt x="358" y="41"/>
                      <a:pt x="358" y="41"/>
                      <a:pt x="358" y="41"/>
                    </a:cubicBezTo>
                    <a:cubicBezTo>
                      <a:pt x="340" y="40"/>
                      <a:pt x="340" y="40"/>
                      <a:pt x="340" y="40"/>
                    </a:cubicBezTo>
                    <a:cubicBezTo>
                      <a:pt x="324" y="23"/>
                      <a:pt x="324" y="23"/>
                      <a:pt x="324" y="23"/>
                    </a:cubicBezTo>
                    <a:cubicBezTo>
                      <a:pt x="312" y="32"/>
                      <a:pt x="312" y="32"/>
                      <a:pt x="312" y="32"/>
                    </a:cubicBezTo>
                    <a:cubicBezTo>
                      <a:pt x="312" y="32"/>
                      <a:pt x="290" y="40"/>
                      <a:pt x="283" y="46"/>
                    </a:cubicBezTo>
                    <a:cubicBezTo>
                      <a:pt x="276" y="52"/>
                      <a:pt x="278" y="56"/>
                      <a:pt x="278" y="56"/>
                    </a:cubicBezTo>
                    <a:cubicBezTo>
                      <a:pt x="265" y="70"/>
                      <a:pt x="265" y="70"/>
                      <a:pt x="265" y="70"/>
                    </a:cubicBezTo>
                    <a:cubicBezTo>
                      <a:pt x="265" y="70"/>
                      <a:pt x="247" y="63"/>
                      <a:pt x="234" y="61"/>
                    </a:cubicBezTo>
                    <a:cubicBezTo>
                      <a:pt x="221" y="59"/>
                      <a:pt x="194" y="57"/>
                      <a:pt x="194" y="57"/>
                    </a:cubicBezTo>
                    <a:cubicBezTo>
                      <a:pt x="143" y="17"/>
                      <a:pt x="143" y="17"/>
                      <a:pt x="143" y="17"/>
                    </a:cubicBezTo>
                    <a:cubicBezTo>
                      <a:pt x="96" y="15"/>
                      <a:pt x="96" y="15"/>
                      <a:pt x="96" y="15"/>
                    </a:cubicBezTo>
                    <a:cubicBezTo>
                      <a:pt x="90" y="0"/>
                      <a:pt x="90" y="0"/>
                      <a:pt x="90" y="0"/>
                    </a:cubicBezTo>
                    <a:cubicBezTo>
                      <a:pt x="77" y="8"/>
                      <a:pt x="77" y="8"/>
                      <a:pt x="77" y="8"/>
                    </a:cubicBezTo>
                    <a:cubicBezTo>
                      <a:pt x="17" y="9"/>
                      <a:pt x="17" y="9"/>
                      <a:pt x="17" y="9"/>
                    </a:cubicBezTo>
                    <a:cubicBezTo>
                      <a:pt x="3" y="29"/>
                      <a:pt x="3" y="29"/>
                      <a:pt x="3" y="29"/>
                    </a:cubicBezTo>
                    <a:cubicBezTo>
                      <a:pt x="3" y="29"/>
                      <a:pt x="10" y="38"/>
                      <a:pt x="10" y="51"/>
                    </a:cubicBezTo>
                    <a:cubicBezTo>
                      <a:pt x="10" y="64"/>
                      <a:pt x="23" y="56"/>
                      <a:pt x="23" y="56"/>
                    </a:cubicBezTo>
                    <a:cubicBezTo>
                      <a:pt x="23" y="56"/>
                      <a:pt x="23" y="65"/>
                      <a:pt x="21" y="71"/>
                    </a:cubicBezTo>
                    <a:cubicBezTo>
                      <a:pt x="19" y="77"/>
                      <a:pt x="30" y="86"/>
                      <a:pt x="30" y="86"/>
                    </a:cubicBezTo>
                    <a:cubicBezTo>
                      <a:pt x="29" y="91"/>
                      <a:pt x="29" y="91"/>
                      <a:pt x="29" y="91"/>
                    </a:cubicBezTo>
                    <a:cubicBezTo>
                      <a:pt x="50" y="116"/>
                      <a:pt x="50" y="116"/>
                      <a:pt x="50" y="116"/>
                    </a:cubicBezTo>
                    <a:cubicBezTo>
                      <a:pt x="50" y="116"/>
                      <a:pt x="42" y="121"/>
                      <a:pt x="41" y="126"/>
                    </a:cubicBezTo>
                    <a:cubicBezTo>
                      <a:pt x="40" y="131"/>
                      <a:pt x="53" y="150"/>
                      <a:pt x="57" y="156"/>
                    </a:cubicBezTo>
                    <a:cubicBezTo>
                      <a:pt x="61" y="162"/>
                      <a:pt x="46" y="174"/>
                      <a:pt x="46" y="174"/>
                    </a:cubicBezTo>
                    <a:cubicBezTo>
                      <a:pt x="42" y="189"/>
                      <a:pt x="42" y="189"/>
                      <a:pt x="42" y="189"/>
                    </a:cubicBezTo>
                    <a:cubicBezTo>
                      <a:pt x="42" y="189"/>
                      <a:pt x="36" y="187"/>
                      <a:pt x="29" y="193"/>
                    </a:cubicBezTo>
                    <a:cubicBezTo>
                      <a:pt x="22" y="199"/>
                      <a:pt x="26" y="208"/>
                      <a:pt x="26" y="208"/>
                    </a:cubicBezTo>
                    <a:cubicBezTo>
                      <a:pt x="14" y="219"/>
                      <a:pt x="14" y="219"/>
                      <a:pt x="14" y="219"/>
                    </a:cubicBezTo>
                    <a:cubicBezTo>
                      <a:pt x="13" y="230"/>
                      <a:pt x="13" y="230"/>
                      <a:pt x="13" y="230"/>
                    </a:cubicBezTo>
                    <a:cubicBezTo>
                      <a:pt x="13" y="230"/>
                      <a:pt x="2" y="237"/>
                      <a:pt x="2" y="248"/>
                    </a:cubicBezTo>
                    <a:cubicBezTo>
                      <a:pt x="2" y="259"/>
                      <a:pt x="11" y="269"/>
                      <a:pt x="18" y="270"/>
                    </a:cubicBezTo>
                    <a:cubicBezTo>
                      <a:pt x="25" y="271"/>
                      <a:pt x="25" y="262"/>
                      <a:pt x="25" y="262"/>
                    </a:cubicBezTo>
                    <a:cubicBezTo>
                      <a:pt x="39" y="261"/>
                      <a:pt x="39" y="261"/>
                      <a:pt x="39" y="261"/>
                    </a:cubicBezTo>
                    <a:cubicBezTo>
                      <a:pt x="42" y="273"/>
                      <a:pt x="42" y="273"/>
                      <a:pt x="42" y="273"/>
                    </a:cubicBezTo>
                    <a:cubicBezTo>
                      <a:pt x="33" y="275"/>
                      <a:pt x="33" y="275"/>
                      <a:pt x="33" y="275"/>
                    </a:cubicBezTo>
                    <a:cubicBezTo>
                      <a:pt x="23" y="283"/>
                      <a:pt x="23" y="283"/>
                      <a:pt x="23" y="283"/>
                    </a:cubicBezTo>
                    <a:cubicBezTo>
                      <a:pt x="23" y="283"/>
                      <a:pt x="18" y="273"/>
                      <a:pt x="9" y="283"/>
                    </a:cubicBezTo>
                    <a:cubicBezTo>
                      <a:pt x="0" y="293"/>
                      <a:pt x="13" y="302"/>
                      <a:pt x="13" y="302"/>
                    </a:cubicBezTo>
                    <a:cubicBezTo>
                      <a:pt x="9" y="312"/>
                      <a:pt x="9" y="312"/>
                      <a:pt x="9" y="312"/>
                    </a:cubicBezTo>
                    <a:cubicBezTo>
                      <a:pt x="175" y="416"/>
                      <a:pt x="175" y="416"/>
                      <a:pt x="175" y="416"/>
                    </a:cubicBezTo>
                    <a:cubicBezTo>
                      <a:pt x="175" y="416"/>
                      <a:pt x="187" y="425"/>
                      <a:pt x="184" y="429"/>
                    </a:cubicBezTo>
                    <a:cubicBezTo>
                      <a:pt x="181" y="433"/>
                      <a:pt x="173" y="439"/>
                      <a:pt x="173" y="439"/>
                    </a:cubicBezTo>
                    <a:cubicBezTo>
                      <a:pt x="248" y="509"/>
                      <a:pt x="248" y="509"/>
                      <a:pt x="248" y="509"/>
                    </a:cubicBezTo>
                    <a:cubicBezTo>
                      <a:pt x="248" y="508"/>
                      <a:pt x="248" y="508"/>
                      <a:pt x="248" y="508"/>
                    </a:cubicBezTo>
                    <a:cubicBezTo>
                      <a:pt x="261" y="505"/>
                      <a:pt x="261" y="505"/>
                      <a:pt x="261" y="505"/>
                    </a:cubicBezTo>
                    <a:cubicBezTo>
                      <a:pt x="281" y="463"/>
                      <a:pt x="281" y="463"/>
                      <a:pt x="281" y="463"/>
                    </a:cubicBezTo>
                    <a:cubicBezTo>
                      <a:pt x="281" y="463"/>
                      <a:pt x="279" y="448"/>
                      <a:pt x="279" y="441"/>
                    </a:cubicBezTo>
                    <a:cubicBezTo>
                      <a:pt x="279" y="434"/>
                      <a:pt x="300" y="434"/>
                      <a:pt x="299" y="424"/>
                    </a:cubicBezTo>
                    <a:cubicBezTo>
                      <a:pt x="298" y="414"/>
                      <a:pt x="293" y="401"/>
                      <a:pt x="301" y="398"/>
                    </a:cubicBezTo>
                    <a:cubicBezTo>
                      <a:pt x="309" y="395"/>
                      <a:pt x="324" y="388"/>
                      <a:pt x="324" y="388"/>
                    </a:cubicBezTo>
                    <a:cubicBezTo>
                      <a:pt x="328" y="361"/>
                      <a:pt x="328" y="361"/>
                      <a:pt x="328" y="361"/>
                    </a:cubicBezTo>
                    <a:cubicBezTo>
                      <a:pt x="328" y="361"/>
                      <a:pt x="352" y="366"/>
                      <a:pt x="360" y="351"/>
                    </a:cubicBezTo>
                    <a:cubicBezTo>
                      <a:pt x="361" y="349"/>
                      <a:pt x="362" y="346"/>
                      <a:pt x="364" y="343"/>
                    </a:cubicBezTo>
                    <a:cubicBezTo>
                      <a:pt x="336" y="303"/>
                      <a:pt x="336" y="303"/>
                      <a:pt x="336" y="303"/>
                    </a:cubicBezTo>
                    <a:lnTo>
                      <a:pt x="337" y="100"/>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54" name="Freeform 176">
                <a:extLst>
                  <a:ext uri="{FF2B5EF4-FFF2-40B4-BE49-F238E27FC236}">
                    <a16:creationId xmlns:a16="http://schemas.microsoft.com/office/drawing/2014/main" id="{8AB62829-9676-42A5-94A5-EED5A851814F}"/>
                  </a:ext>
                </a:extLst>
              </p:cNvPr>
              <p:cNvSpPr>
                <a:spLocks/>
              </p:cNvSpPr>
              <p:nvPr>
                <p:custDataLst>
                  <p:tags r:id="rId135"/>
                </p:custDataLst>
              </p:nvPr>
            </p:nvSpPr>
            <p:spPr bwMode="gray">
              <a:xfrm>
                <a:off x="4705323" y="3267087"/>
                <a:ext cx="112713" cy="215901"/>
              </a:xfrm>
              <a:custGeom>
                <a:avLst/>
                <a:gdLst>
                  <a:gd name="T0" fmla="*/ 25 w 187"/>
                  <a:gd name="T1" fmla="*/ 48 h 387"/>
                  <a:gd name="T2" fmla="*/ 38 w 187"/>
                  <a:gd name="T3" fmla="*/ 52 h 387"/>
                  <a:gd name="T4" fmla="*/ 33 w 187"/>
                  <a:gd name="T5" fmla="*/ 90 h 387"/>
                  <a:gd name="T6" fmla="*/ 38 w 187"/>
                  <a:gd name="T7" fmla="*/ 119 h 387"/>
                  <a:gd name="T8" fmla="*/ 30 w 187"/>
                  <a:gd name="T9" fmla="*/ 151 h 387"/>
                  <a:gd name="T10" fmla="*/ 16 w 187"/>
                  <a:gd name="T11" fmla="*/ 162 h 387"/>
                  <a:gd name="T12" fmla="*/ 0 w 187"/>
                  <a:gd name="T13" fmla="*/ 185 h 387"/>
                  <a:gd name="T14" fmla="*/ 0 w 187"/>
                  <a:gd name="T15" fmla="*/ 208 h 387"/>
                  <a:gd name="T16" fmla="*/ 7 w 187"/>
                  <a:gd name="T17" fmla="*/ 208 h 387"/>
                  <a:gd name="T18" fmla="*/ 7 w 187"/>
                  <a:gd name="T19" fmla="*/ 227 h 387"/>
                  <a:gd name="T20" fmla="*/ 34 w 187"/>
                  <a:gd name="T21" fmla="*/ 240 h 387"/>
                  <a:gd name="T22" fmla="*/ 35 w 187"/>
                  <a:gd name="T23" fmla="*/ 266 h 387"/>
                  <a:gd name="T24" fmla="*/ 67 w 187"/>
                  <a:gd name="T25" fmla="*/ 291 h 387"/>
                  <a:gd name="T26" fmla="*/ 88 w 187"/>
                  <a:gd name="T27" fmla="*/ 387 h 387"/>
                  <a:gd name="T28" fmla="*/ 104 w 187"/>
                  <a:gd name="T29" fmla="*/ 381 h 387"/>
                  <a:gd name="T30" fmla="*/ 123 w 187"/>
                  <a:gd name="T31" fmla="*/ 355 h 387"/>
                  <a:gd name="T32" fmla="*/ 114 w 187"/>
                  <a:gd name="T33" fmla="*/ 317 h 387"/>
                  <a:gd name="T34" fmla="*/ 129 w 187"/>
                  <a:gd name="T35" fmla="*/ 306 h 387"/>
                  <a:gd name="T36" fmla="*/ 148 w 187"/>
                  <a:gd name="T37" fmla="*/ 283 h 387"/>
                  <a:gd name="T38" fmla="*/ 183 w 187"/>
                  <a:gd name="T39" fmla="*/ 265 h 387"/>
                  <a:gd name="T40" fmla="*/ 172 w 187"/>
                  <a:gd name="T41" fmla="*/ 255 h 387"/>
                  <a:gd name="T42" fmla="*/ 175 w 187"/>
                  <a:gd name="T43" fmla="*/ 228 h 387"/>
                  <a:gd name="T44" fmla="*/ 167 w 187"/>
                  <a:gd name="T45" fmla="*/ 226 h 387"/>
                  <a:gd name="T46" fmla="*/ 160 w 187"/>
                  <a:gd name="T47" fmla="*/ 207 h 387"/>
                  <a:gd name="T48" fmla="*/ 150 w 187"/>
                  <a:gd name="T49" fmla="*/ 201 h 387"/>
                  <a:gd name="T50" fmla="*/ 148 w 187"/>
                  <a:gd name="T51" fmla="*/ 212 h 387"/>
                  <a:gd name="T52" fmla="*/ 142 w 187"/>
                  <a:gd name="T53" fmla="*/ 203 h 387"/>
                  <a:gd name="T54" fmla="*/ 111 w 187"/>
                  <a:gd name="T55" fmla="*/ 183 h 387"/>
                  <a:gd name="T56" fmla="*/ 132 w 187"/>
                  <a:gd name="T57" fmla="*/ 154 h 387"/>
                  <a:gd name="T58" fmla="*/ 156 w 187"/>
                  <a:gd name="T59" fmla="*/ 102 h 387"/>
                  <a:gd name="T60" fmla="*/ 132 w 187"/>
                  <a:gd name="T61" fmla="*/ 73 h 387"/>
                  <a:gd name="T62" fmla="*/ 145 w 187"/>
                  <a:gd name="T63" fmla="*/ 50 h 387"/>
                  <a:gd name="T64" fmla="*/ 156 w 187"/>
                  <a:gd name="T65" fmla="*/ 18 h 387"/>
                  <a:gd name="T66" fmla="*/ 125 w 187"/>
                  <a:gd name="T67" fmla="*/ 45 h 387"/>
                  <a:gd name="T68" fmla="*/ 108 w 187"/>
                  <a:gd name="T69" fmla="*/ 33 h 387"/>
                  <a:gd name="T70" fmla="*/ 110 w 187"/>
                  <a:gd name="T71" fmla="*/ 8 h 387"/>
                  <a:gd name="T72" fmla="*/ 60 w 187"/>
                  <a:gd name="T73" fmla="*/ 23 h 387"/>
                  <a:gd name="T74" fmla="*/ 53 w 187"/>
                  <a:gd name="T75" fmla="*/ 25 h 387"/>
                  <a:gd name="T76" fmla="*/ 53 w 187"/>
                  <a:gd name="T77" fmla="*/ 35 h 387"/>
                  <a:gd name="T78" fmla="*/ 25 w 187"/>
                  <a:gd name="T79" fmla="*/ 48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7" h="387">
                    <a:moveTo>
                      <a:pt x="25" y="48"/>
                    </a:moveTo>
                    <a:cubicBezTo>
                      <a:pt x="38" y="52"/>
                      <a:pt x="38" y="52"/>
                      <a:pt x="38" y="52"/>
                    </a:cubicBezTo>
                    <a:cubicBezTo>
                      <a:pt x="38" y="52"/>
                      <a:pt x="29" y="83"/>
                      <a:pt x="33" y="90"/>
                    </a:cubicBezTo>
                    <a:cubicBezTo>
                      <a:pt x="37" y="97"/>
                      <a:pt x="39" y="109"/>
                      <a:pt x="38" y="119"/>
                    </a:cubicBezTo>
                    <a:cubicBezTo>
                      <a:pt x="37" y="129"/>
                      <a:pt x="30" y="151"/>
                      <a:pt x="30" y="151"/>
                    </a:cubicBezTo>
                    <a:cubicBezTo>
                      <a:pt x="16" y="162"/>
                      <a:pt x="16" y="162"/>
                      <a:pt x="16" y="162"/>
                    </a:cubicBezTo>
                    <a:cubicBezTo>
                      <a:pt x="16" y="162"/>
                      <a:pt x="0" y="175"/>
                      <a:pt x="0" y="185"/>
                    </a:cubicBezTo>
                    <a:cubicBezTo>
                      <a:pt x="0" y="195"/>
                      <a:pt x="0" y="208"/>
                      <a:pt x="0" y="208"/>
                    </a:cubicBezTo>
                    <a:cubicBezTo>
                      <a:pt x="7" y="208"/>
                      <a:pt x="7" y="208"/>
                      <a:pt x="7" y="208"/>
                    </a:cubicBezTo>
                    <a:cubicBezTo>
                      <a:pt x="7" y="227"/>
                      <a:pt x="7" y="227"/>
                      <a:pt x="7" y="227"/>
                    </a:cubicBezTo>
                    <a:cubicBezTo>
                      <a:pt x="7" y="227"/>
                      <a:pt x="33" y="232"/>
                      <a:pt x="34" y="240"/>
                    </a:cubicBezTo>
                    <a:cubicBezTo>
                      <a:pt x="35" y="248"/>
                      <a:pt x="35" y="266"/>
                      <a:pt x="35" y="266"/>
                    </a:cubicBezTo>
                    <a:cubicBezTo>
                      <a:pt x="35" y="266"/>
                      <a:pt x="67" y="278"/>
                      <a:pt x="67" y="291"/>
                    </a:cubicBezTo>
                    <a:cubicBezTo>
                      <a:pt x="67" y="302"/>
                      <a:pt x="82" y="364"/>
                      <a:pt x="88" y="387"/>
                    </a:cubicBezTo>
                    <a:cubicBezTo>
                      <a:pt x="95" y="384"/>
                      <a:pt x="104" y="381"/>
                      <a:pt x="104" y="381"/>
                    </a:cubicBezTo>
                    <a:cubicBezTo>
                      <a:pt x="104" y="381"/>
                      <a:pt x="124" y="367"/>
                      <a:pt x="123" y="355"/>
                    </a:cubicBezTo>
                    <a:cubicBezTo>
                      <a:pt x="122" y="343"/>
                      <a:pt x="112" y="323"/>
                      <a:pt x="114" y="317"/>
                    </a:cubicBezTo>
                    <a:cubicBezTo>
                      <a:pt x="116" y="311"/>
                      <a:pt x="129" y="306"/>
                      <a:pt x="129" y="306"/>
                    </a:cubicBezTo>
                    <a:cubicBezTo>
                      <a:pt x="129" y="306"/>
                      <a:pt x="142" y="289"/>
                      <a:pt x="148" y="283"/>
                    </a:cubicBezTo>
                    <a:cubicBezTo>
                      <a:pt x="154" y="277"/>
                      <a:pt x="179" y="273"/>
                      <a:pt x="183" y="265"/>
                    </a:cubicBezTo>
                    <a:cubicBezTo>
                      <a:pt x="187" y="257"/>
                      <a:pt x="172" y="255"/>
                      <a:pt x="172" y="255"/>
                    </a:cubicBezTo>
                    <a:cubicBezTo>
                      <a:pt x="175" y="228"/>
                      <a:pt x="175" y="228"/>
                      <a:pt x="175" y="228"/>
                    </a:cubicBezTo>
                    <a:cubicBezTo>
                      <a:pt x="170" y="227"/>
                      <a:pt x="167" y="226"/>
                      <a:pt x="167" y="226"/>
                    </a:cubicBezTo>
                    <a:cubicBezTo>
                      <a:pt x="160" y="207"/>
                      <a:pt x="160" y="207"/>
                      <a:pt x="160" y="207"/>
                    </a:cubicBezTo>
                    <a:cubicBezTo>
                      <a:pt x="150" y="201"/>
                      <a:pt x="150" y="201"/>
                      <a:pt x="150" y="201"/>
                    </a:cubicBezTo>
                    <a:cubicBezTo>
                      <a:pt x="148" y="212"/>
                      <a:pt x="148" y="212"/>
                      <a:pt x="148" y="212"/>
                    </a:cubicBezTo>
                    <a:cubicBezTo>
                      <a:pt x="142" y="203"/>
                      <a:pt x="142" y="203"/>
                      <a:pt x="142" y="203"/>
                    </a:cubicBezTo>
                    <a:cubicBezTo>
                      <a:pt x="142" y="203"/>
                      <a:pt x="111" y="202"/>
                      <a:pt x="111" y="183"/>
                    </a:cubicBezTo>
                    <a:cubicBezTo>
                      <a:pt x="111" y="164"/>
                      <a:pt x="109" y="174"/>
                      <a:pt x="132" y="154"/>
                    </a:cubicBezTo>
                    <a:cubicBezTo>
                      <a:pt x="155" y="134"/>
                      <a:pt x="169" y="118"/>
                      <a:pt x="156" y="102"/>
                    </a:cubicBezTo>
                    <a:cubicBezTo>
                      <a:pt x="143" y="86"/>
                      <a:pt x="128" y="89"/>
                      <a:pt x="132" y="73"/>
                    </a:cubicBezTo>
                    <a:cubicBezTo>
                      <a:pt x="136" y="57"/>
                      <a:pt x="135" y="59"/>
                      <a:pt x="145" y="50"/>
                    </a:cubicBezTo>
                    <a:cubicBezTo>
                      <a:pt x="155" y="41"/>
                      <a:pt x="163" y="19"/>
                      <a:pt x="156" y="18"/>
                    </a:cubicBezTo>
                    <a:cubicBezTo>
                      <a:pt x="149" y="17"/>
                      <a:pt x="130" y="43"/>
                      <a:pt x="125" y="45"/>
                    </a:cubicBezTo>
                    <a:cubicBezTo>
                      <a:pt x="120" y="47"/>
                      <a:pt x="108" y="33"/>
                      <a:pt x="108" y="33"/>
                    </a:cubicBezTo>
                    <a:cubicBezTo>
                      <a:pt x="108" y="33"/>
                      <a:pt x="127" y="16"/>
                      <a:pt x="110" y="8"/>
                    </a:cubicBezTo>
                    <a:cubicBezTo>
                      <a:pt x="93" y="0"/>
                      <a:pt x="66" y="19"/>
                      <a:pt x="60" y="23"/>
                    </a:cubicBezTo>
                    <a:cubicBezTo>
                      <a:pt x="58" y="24"/>
                      <a:pt x="56" y="25"/>
                      <a:pt x="53" y="25"/>
                    </a:cubicBezTo>
                    <a:cubicBezTo>
                      <a:pt x="53" y="35"/>
                      <a:pt x="53" y="35"/>
                      <a:pt x="53" y="35"/>
                    </a:cubicBezTo>
                    <a:lnTo>
                      <a:pt x="25" y="48"/>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55" name="Freeform 177">
                <a:extLst>
                  <a:ext uri="{FF2B5EF4-FFF2-40B4-BE49-F238E27FC236}">
                    <a16:creationId xmlns:a16="http://schemas.microsoft.com/office/drawing/2014/main" id="{B598724F-00FF-4DDA-BDDD-F576C0B87A35}"/>
                  </a:ext>
                </a:extLst>
              </p:cNvPr>
              <p:cNvSpPr>
                <a:spLocks/>
              </p:cNvSpPr>
              <p:nvPr>
                <p:custDataLst>
                  <p:tags r:id="rId136"/>
                </p:custDataLst>
              </p:nvPr>
            </p:nvSpPr>
            <p:spPr bwMode="gray">
              <a:xfrm>
                <a:off x="5905467" y="3600463"/>
                <a:ext cx="30163" cy="53975"/>
              </a:xfrm>
              <a:custGeom>
                <a:avLst/>
                <a:gdLst>
                  <a:gd name="T0" fmla="*/ 16 w 49"/>
                  <a:gd name="T1" fmla="*/ 90 h 98"/>
                  <a:gd name="T2" fmla="*/ 24 w 49"/>
                  <a:gd name="T3" fmla="*/ 98 h 98"/>
                  <a:gd name="T4" fmla="*/ 30 w 49"/>
                  <a:gd name="T5" fmla="*/ 96 h 98"/>
                  <a:gd name="T6" fmla="*/ 30 w 49"/>
                  <a:gd name="T7" fmla="*/ 95 h 98"/>
                  <a:gd name="T8" fmla="*/ 47 w 49"/>
                  <a:gd name="T9" fmla="*/ 35 h 98"/>
                  <a:gd name="T10" fmla="*/ 22 w 49"/>
                  <a:gd name="T11" fmla="*/ 3 h 98"/>
                  <a:gd name="T12" fmla="*/ 9 w 49"/>
                  <a:gd name="T13" fmla="*/ 47 h 98"/>
                  <a:gd name="T14" fmla="*/ 1 w 49"/>
                  <a:gd name="T15" fmla="*/ 84 h 98"/>
                  <a:gd name="T16" fmla="*/ 0 w 49"/>
                  <a:gd name="T17" fmla="*/ 83 h 98"/>
                  <a:gd name="T18" fmla="*/ 6 w 49"/>
                  <a:gd name="T19" fmla="*/ 93 h 98"/>
                  <a:gd name="T20" fmla="*/ 16 w 49"/>
                  <a:gd name="T21" fmla="*/ 9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98">
                    <a:moveTo>
                      <a:pt x="16" y="90"/>
                    </a:moveTo>
                    <a:cubicBezTo>
                      <a:pt x="24" y="98"/>
                      <a:pt x="24" y="98"/>
                      <a:pt x="24" y="98"/>
                    </a:cubicBezTo>
                    <a:cubicBezTo>
                      <a:pt x="30" y="96"/>
                      <a:pt x="30" y="96"/>
                      <a:pt x="30" y="96"/>
                    </a:cubicBezTo>
                    <a:cubicBezTo>
                      <a:pt x="30" y="96"/>
                      <a:pt x="30" y="95"/>
                      <a:pt x="30" y="95"/>
                    </a:cubicBezTo>
                    <a:cubicBezTo>
                      <a:pt x="35" y="86"/>
                      <a:pt x="49" y="56"/>
                      <a:pt x="47" y="35"/>
                    </a:cubicBezTo>
                    <a:cubicBezTo>
                      <a:pt x="45" y="14"/>
                      <a:pt x="31" y="0"/>
                      <a:pt x="22" y="3"/>
                    </a:cubicBezTo>
                    <a:cubicBezTo>
                      <a:pt x="12" y="6"/>
                      <a:pt x="10" y="32"/>
                      <a:pt x="9" y="47"/>
                    </a:cubicBezTo>
                    <a:cubicBezTo>
                      <a:pt x="9" y="62"/>
                      <a:pt x="9" y="83"/>
                      <a:pt x="1" y="84"/>
                    </a:cubicBezTo>
                    <a:cubicBezTo>
                      <a:pt x="1" y="84"/>
                      <a:pt x="1" y="84"/>
                      <a:pt x="0" y="83"/>
                    </a:cubicBezTo>
                    <a:cubicBezTo>
                      <a:pt x="6" y="93"/>
                      <a:pt x="6" y="93"/>
                      <a:pt x="6" y="93"/>
                    </a:cubicBezTo>
                    <a:lnTo>
                      <a:pt x="16" y="90"/>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56" name="Freeform 178">
                <a:extLst>
                  <a:ext uri="{FF2B5EF4-FFF2-40B4-BE49-F238E27FC236}">
                    <a16:creationId xmlns:a16="http://schemas.microsoft.com/office/drawing/2014/main" id="{B68FFF69-8B8C-46DF-B024-EA92683B7125}"/>
                  </a:ext>
                </a:extLst>
              </p:cNvPr>
              <p:cNvSpPr>
                <a:spLocks/>
              </p:cNvSpPr>
              <p:nvPr>
                <p:custDataLst>
                  <p:tags r:id="rId137"/>
                </p:custDataLst>
              </p:nvPr>
            </p:nvSpPr>
            <p:spPr bwMode="gray">
              <a:xfrm>
                <a:off x="5775293" y="3489338"/>
                <a:ext cx="55562" cy="44450"/>
              </a:xfrm>
              <a:custGeom>
                <a:avLst/>
                <a:gdLst>
                  <a:gd name="T0" fmla="*/ 35 w 89"/>
                  <a:gd name="T1" fmla="*/ 0 h 81"/>
                  <a:gd name="T2" fmla="*/ 20 w 89"/>
                  <a:gd name="T3" fmla="*/ 2 h 81"/>
                  <a:gd name="T4" fmla="*/ 11 w 89"/>
                  <a:gd name="T5" fmla="*/ 29 h 81"/>
                  <a:gd name="T6" fmla="*/ 0 w 89"/>
                  <a:gd name="T7" fmla="*/ 49 h 81"/>
                  <a:gd name="T8" fmla="*/ 40 w 89"/>
                  <a:gd name="T9" fmla="*/ 55 h 81"/>
                  <a:gd name="T10" fmla="*/ 50 w 89"/>
                  <a:gd name="T11" fmla="*/ 81 h 81"/>
                  <a:gd name="T12" fmla="*/ 89 w 89"/>
                  <a:gd name="T13" fmla="*/ 80 h 81"/>
                  <a:gd name="T14" fmla="*/ 64 w 89"/>
                  <a:gd name="T15" fmla="*/ 47 h 81"/>
                  <a:gd name="T16" fmla="*/ 64 w 89"/>
                  <a:gd name="T17" fmla="*/ 46 h 81"/>
                  <a:gd name="T18" fmla="*/ 56 w 89"/>
                  <a:gd name="T19" fmla="*/ 41 h 81"/>
                  <a:gd name="T20" fmla="*/ 55 w 89"/>
                  <a:gd name="T21" fmla="*/ 27 h 81"/>
                  <a:gd name="T22" fmla="*/ 73 w 89"/>
                  <a:gd name="T23" fmla="*/ 25 h 81"/>
                  <a:gd name="T24" fmla="*/ 77 w 89"/>
                  <a:gd name="T25" fmla="*/ 16 h 81"/>
                  <a:gd name="T26" fmla="*/ 68 w 89"/>
                  <a:gd name="T27" fmla="*/ 8 h 81"/>
                  <a:gd name="T28" fmla="*/ 59 w 89"/>
                  <a:gd name="T29" fmla="*/ 13 h 81"/>
                  <a:gd name="T30" fmla="*/ 55 w 89"/>
                  <a:gd name="T31" fmla="*/ 0 h 81"/>
                  <a:gd name="T32" fmla="*/ 35 w 89"/>
                  <a:gd name="T33"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81">
                    <a:moveTo>
                      <a:pt x="35" y="0"/>
                    </a:moveTo>
                    <a:cubicBezTo>
                      <a:pt x="20" y="2"/>
                      <a:pt x="20" y="2"/>
                      <a:pt x="20" y="2"/>
                    </a:cubicBezTo>
                    <a:cubicBezTo>
                      <a:pt x="20" y="2"/>
                      <a:pt x="13" y="17"/>
                      <a:pt x="11" y="29"/>
                    </a:cubicBezTo>
                    <a:cubicBezTo>
                      <a:pt x="10" y="38"/>
                      <a:pt x="3" y="45"/>
                      <a:pt x="0" y="49"/>
                    </a:cubicBezTo>
                    <a:cubicBezTo>
                      <a:pt x="21" y="50"/>
                      <a:pt x="38" y="52"/>
                      <a:pt x="40" y="55"/>
                    </a:cubicBezTo>
                    <a:cubicBezTo>
                      <a:pt x="46" y="62"/>
                      <a:pt x="36" y="80"/>
                      <a:pt x="50" y="81"/>
                    </a:cubicBezTo>
                    <a:cubicBezTo>
                      <a:pt x="58" y="81"/>
                      <a:pt x="76" y="81"/>
                      <a:pt x="89" y="80"/>
                    </a:cubicBezTo>
                    <a:cubicBezTo>
                      <a:pt x="79" y="72"/>
                      <a:pt x="63" y="58"/>
                      <a:pt x="64" y="47"/>
                    </a:cubicBezTo>
                    <a:cubicBezTo>
                      <a:pt x="64" y="47"/>
                      <a:pt x="64" y="47"/>
                      <a:pt x="64" y="46"/>
                    </a:cubicBezTo>
                    <a:cubicBezTo>
                      <a:pt x="56" y="41"/>
                      <a:pt x="56" y="41"/>
                      <a:pt x="56" y="41"/>
                    </a:cubicBezTo>
                    <a:cubicBezTo>
                      <a:pt x="55" y="27"/>
                      <a:pt x="55" y="27"/>
                      <a:pt x="55" y="27"/>
                    </a:cubicBezTo>
                    <a:cubicBezTo>
                      <a:pt x="55" y="27"/>
                      <a:pt x="69" y="25"/>
                      <a:pt x="73" y="25"/>
                    </a:cubicBezTo>
                    <a:cubicBezTo>
                      <a:pt x="77" y="25"/>
                      <a:pt x="77" y="16"/>
                      <a:pt x="77" y="16"/>
                    </a:cubicBezTo>
                    <a:cubicBezTo>
                      <a:pt x="77" y="16"/>
                      <a:pt x="77" y="8"/>
                      <a:pt x="68" y="8"/>
                    </a:cubicBezTo>
                    <a:cubicBezTo>
                      <a:pt x="59" y="8"/>
                      <a:pt x="59" y="13"/>
                      <a:pt x="59" y="13"/>
                    </a:cubicBezTo>
                    <a:cubicBezTo>
                      <a:pt x="55" y="0"/>
                      <a:pt x="55" y="0"/>
                      <a:pt x="55" y="0"/>
                    </a:cubicBezTo>
                    <a:lnTo>
                      <a:pt x="35" y="0"/>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57" name="Freeform 179">
                <a:extLst>
                  <a:ext uri="{FF2B5EF4-FFF2-40B4-BE49-F238E27FC236}">
                    <a16:creationId xmlns:a16="http://schemas.microsoft.com/office/drawing/2014/main" id="{B82BD52A-B38F-4FD2-9E41-61575E19ECD4}"/>
                  </a:ext>
                </a:extLst>
              </p:cNvPr>
              <p:cNvSpPr>
                <a:spLocks/>
              </p:cNvSpPr>
              <p:nvPr>
                <p:custDataLst>
                  <p:tags r:id="rId138"/>
                </p:custDataLst>
              </p:nvPr>
            </p:nvSpPr>
            <p:spPr bwMode="gray">
              <a:xfrm>
                <a:off x="5691156" y="3817953"/>
                <a:ext cx="292099" cy="182563"/>
              </a:xfrm>
              <a:custGeom>
                <a:avLst/>
                <a:gdLst>
                  <a:gd name="T0" fmla="*/ 311 w 487"/>
                  <a:gd name="T1" fmla="*/ 13 h 330"/>
                  <a:gd name="T2" fmla="*/ 247 w 487"/>
                  <a:gd name="T3" fmla="*/ 45 h 330"/>
                  <a:gd name="T4" fmla="*/ 222 w 487"/>
                  <a:gd name="T5" fmla="*/ 82 h 330"/>
                  <a:gd name="T6" fmla="*/ 222 w 487"/>
                  <a:gd name="T7" fmla="*/ 94 h 330"/>
                  <a:gd name="T8" fmla="*/ 210 w 487"/>
                  <a:gd name="T9" fmla="*/ 106 h 330"/>
                  <a:gd name="T10" fmla="*/ 187 w 487"/>
                  <a:gd name="T11" fmla="*/ 89 h 330"/>
                  <a:gd name="T12" fmla="*/ 143 w 487"/>
                  <a:gd name="T13" fmla="*/ 89 h 330"/>
                  <a:gd name="T14" fmla="*/ 116 w 487"/>
                  <a:gd name="T15" fmla="*/ 81 h 330"/>
                  <a:gd name="T16" fmla="*/ 76 w 487"/>
                  <a:gd name="T17" fmla="*/ 82 h 330"/>
                  <a:gd name="T18" fmla="*/ 64 w 487"/>
                  <a:gd name="T19" fmla="*/ 88 h 330"/>
                  <a:gd name="T20" fmla="*/ 46 w 487"/>
                  <a:gd name="T21" fmla="*/ 89 h 330"/>
                  <a:gd name="T22" fmla="*/ 31 w 487"/>
                  <a:gd name="T23" fmla="*/ 80 h 330"/>
                  <a:gd name="T24" fmla="*/ 22 w 487"/>
                  <a:gd name="T25" fmla="*/ 114 h 330"/>
                  <a:gd name="T26" fmla="*/ 21 w 487"/>
                  <a:gd name="T27" fmla="*/ 127 h 330"/>
                  <a:gd name="T28" fmla="*/ 8 w 487"/>
                  <a:gd name="T29" fmla="*/ 141 h 330"/>
                  <a:gd name="T30" fmla="*/ 2 w 487"/>
                  <a:gd name="T31" fmla="*/ 164 h 330"/>
                  <a:gd name="T32" fmla="*/ 24 w 487"/>
                  <a:gd name="T33" fmla="*/ 193 h 330"/>
                  <a:gd name="T34" fmla="*/ 15 w 487"/>
                  <a:gd name="T35" fmla="*/ 270 h 330"/>
                  <a:gd name="T36" fmla="*/ 36 w 487"/>
                  <a:gd name="T37" fmla="*/ 292 h 330"/>
                  <a:gd name="T38" fmla="*/ 60 w 487"/>
                  <a:gd name="T39" fmla="*/ 325 h 330"/>
                  <a:gd name="T40" fmla="*/ 106 w 487"/>
                  <a:gd name="T41" fmla="*/ 321 h 330"/>
                  <a:gd name="T42" fmla="*/ 133 w 487"/>
                  <a:gd name="T43" fmla="*/ 287 h 330"/>
                  <a:gd name="T44" fmla="*/ 182 w 487"/>
                  <a:gd name="T45" fmla="*/ 290 h 330"/>
                  <a:gd name="T46" fmla="*/ 243 w 487"/>
                  <a:gd name="T47" fmla="*/ 282 h 330"/>
                  <a:gd name="T48" fmla="*/ 292 w 487"/>
                  <a:gd name="T49" fmla="*/ 243 h 330"/>
                  <a:gd name="T50" fmla="*/ 334 w 487"/>
                  <a:gd name="T51" fmla="*/ 213 h 330"/>
                  <a:gd name="T52" fmla="*/ 397 w 487"/>
                  <a:gd name="T53" fmla="*/ 181 h 330"/>
                  <a:gd name="T54" fmla="*/ 446 w 487"/>
                  <a:gd name="T55" fmla="*/ 180 h 330"/>
                  <a:gd name="T56" fmla="*/ 479 w 487"/>
                  <a:gd name="T57" fmla="*/ 125 h 330"/>
                  <a:gd name="T58" fmla="*/ 487 w 487"/>
                  <a:gd name="T59" fmla="*/ 120 h 330"/>
                  <a:gd name="T60" fmla="*/ 433 w 487"/>
                  <a:gd name="T61" fmla="*/ 0 h 330"/>
                  <a:gd name="T62" fmla="*/ 311 w 487"/>
                  <a:gd name="T63" fmla="*/ 13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7" h="330">
                    <a:moveTo>
                      <a:pt x="311" y="13"/>
                    </a:moveTo>
                    <a:cubicBezTo>
                      <a:pt x="299" y="13"/>
                      <a:pt x="257" y="32"/>
                      <a:pt x="247" y="45"/>
                    </a:cubicBezTo>
                    <a:cubicBezTo>
                      <a:pt x="237" y="58"/>
                      <a:pt x="222" y="82"/>
                      <a:pt x="222" y="82"/>
                    </a:cubicBezTo>
                    <a:cubicBezTo>
                      <a:pt x="222" y="94"/>
                      <a:pt x="222" y="94"/>
                      <a:pt x="222" y="94"/>
                    </a:cubicBezTo>
                    <a:cubicBezTo>
                      <a:pt x="222" y="94"/>
                      <a:pt x="215" y="106"/>
                      <a:pt x="210" y="106"/>
                    </a:cubicBezTo>
                    <a:cubicBezTo>
                      <a:pt x="205" y="106"/>
                      <a:pt x="191" y="91"/>
                      <a:pt x="187" y="89"/>
                    </a:cubicBezTo>
                    <a:cubicBezTo>
                      <a:pt x="183" y="87"/>
                      <a:pt x="143" y="89"/>
                      <a:pt x="143" y="89"/>
                    </a:cubicBezTo>
                    <a:cubicBezTo>
                      <a:pt x="143" y="89"/>
                      <a:pt x="132" y="81"/>
                      <a:pt x="116" y="81"/>
                    </a:cubicBezTo>
                    <a:cubicBezTo>
                      <a:pt x="100" y="81"/>
                      <a:pt x="81" y="82"/>
                      <a:pt x="76" y="82"/>
                    </a:cubicBezTo>
                    <a:cubicBezTo>
                      <a:pt x="71" y="82"/>
                      <a:pt x="64" y="88"/>
                      <a:pt x="64" y="88"/>
                    </a:cubicBezTo>
                    <a:cubicBezTo>
                      <a:pt x="46" y="89"/>
                      <a:pt x="46" y="89"/>
                      <a:pt x="46" y="89"/>
                    </a:cubicBezTo>
                    <a:cubicBezTo>
                      <a:pt x="46" y="89"/>
                      <a:pt x="41" y="75"/>
                      <a:pt x="31" y="80"/>
                    </a:cubicBezTo>
                    <a:cubicBezTo>
                      <a:pt x="21" y="85"/>
                      <a:pt x="22" y="114"/>
                      <a:pt x="22" y="114"/>
                    </a:cubicBezTo>
                    <a:cubicBezTo>
                      <a:pt x="22" y="114"/>
                      <a:pt x="28" y="116"/>
                      <a:pt x="21" y="127"/>
                    </a:cubicBezTo>
                    <a:cubicBezTo>
                      <a:pt x="17" y="134"/>
                      <a:pt x="12" y="138"/>
                      <a:pt x="8" y="141"/>
                    </a:cubicBezTo>
                    <a:cubicBezTo>
                      <a:pt x="6" y="150"/>
                      <a:pt x="3" y="159"/>
                      <a:pt x="2" y="164"/>
                    </a:cubicBezTo>
                    <a:cubicBezTo>
                      <a:pt x="0" y="174"/>
                      <a:pt x="24" y="193"/>
                      <a:pt x="24" y="193"/>
                    </a:cubicBezTo>
                    <a:cubicBezTo>
                      <a:pt x="15" y="270"/>
                      <a:pt x="15" y="270"/>
                      <a:pt x="15" y="270"/>
                    </a:cubicBezTo>
                    <a:cubicBezTo>
                      <a:pt x="36" y="292"/>
                      <a:pt x="36" y="292"/>
                      <a:pt x="36" y="292"/>
                    </a:cubicBezTo>
                    <a:cubicBezTo>
                      <a:pt x="36" y="292"/>
                      <a:pt x="41" y="321"/>
                      <a:pt x="60" y="325"/>
                    </a:cubicBezTo>
                    <a:cubicBezTo>
                      <a:pt x="79" y="330"/>
                      <a:pt x="94" y="329"/>
                      <a:pt x="106" y="321"/>
                    </a:cubicBezTo>
                    <a:cubicBezTo>
                      <a:pt x="118" y="313"/>
                      <a:pt x="122" y="287"/>
                      <a:pt x="133" y="287"/>
                    </a:cubicBezTo>
                    <a:cubicBezTo>
                      <a:pt x="145" y="286"/>
                      <a:pt x="160" y="293"/>
                      <a:pt x="182" y="290"/>
                    </a:cubicBezTo>
                    <a:cubicBezTo>
                      <a:pt x="204" y="287"/>
                      <a:pt x="230" y="282"/>
                      <a:pt x="243" y="282"/>
                    </a:cubicBezTo>
                    <a:cubicBezTo>
                      <a:pt x="256" y="283"/>
                      <a:pt x="277" y="249"/>
                      <a:pt x="292" y="243"/>
                    </a:cubicBezTo>
                    <a:cubicBezTo>
                      <a:pt x="308" y="238"/>
                      <a:pt x="316" y="218"/>
                      <a:pt x="334" y="213"/>
                    </a:cubicBezTo>
                    <a:cubicBezTo>
                      <a:pt x="352" y="207"/>
                      <a:pt x="397" y="181"/>
                      <a:pt x="397" y="181"/>
                    </a:cubicBezTo>
                    <a:cubicBezTo>
                      <a:pt x="446" y="180"/>
                      <a:pt x="446" y="180"/>
                      <a:pt x="446" y="180"/>
                    </a:cubicBezTo>
                    <a:cubicBezTo>
                      <a:pt x="446" y="180"/>
                      <a:pt x="466" y="135"/>
                      <a:pt x="479" y="125"/>
                    </a:cubicBezTo>
                    <a:cubicBezTo>
                      <a:pt x="480" y="123"/>
                      <a:pt x="483" y="122"/>
                      <a:pt x="487" y="120"/>
                    </a:cubicBezTo>
                    <a:cubicBezTo>
                      <a:pt x="433" y="0"/>
                      <a:pt x="433" y="0"/>
                      <a:pt x="433" y="0"/>
                    </a:cubicBezTo>
                    <a:cubicBezTo>
                      <a:pt x="433" y="0"/>
                      <a:pt x="323" y="13"/>
                      <a:pt x="311" y="13"/>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58" name="Freeform 180">
                <a:extLst>
                  <a:ext uri="{FF2B5EF4-FFF2-40B4-BE49-F238E27FC236}">
                    <a16:creationId xmlns:a16="http://schemas.microsoft.com/office/drawing/2014/main" id="{A1F8E659-98CC-45E5-B11B-3E0FCC76D16F}"/>
                  </a:ext>
                </a:extLst>
              </p:cNvPr>
              <p:cNvSpPr>
                <a:spLocks/>
              </p:cNvSpPr>
              <p:nvPr>
                <p:custDataLst>
                  <p:tags r:id="rId139"/>
                </p:custDataLst>
              </p:nvPr>
            </p:nvSpPr>
            <p:spPr bwMode="gray">
              <a:xfrm>
                <a:off x="6750012" y="4092591"/>
                <a:ext cx="80963" cy="127000"/>
              </a:xfrm>
              <a:custGeom>
                <a:avLst/>
                <a:gdLst>
                  <a:gd name="T0" fmla="*/ 19 w 136"/>
                  <a:gd name="T1" fmla="*/ 9 h 228"/>
                  <a:gd name="T2" fmla="*/ 62 w 136"/>
                  <a:gd name="T3" fmla="*/ 29 h 228"/>
                  <a:gd name="T4" fmla="*/ 91 w 136"/>
                  <a:gd name="T5" fmla="*/ 65 h 228"/>
                  <a:gd name="T6" fmla="*/ 87 w 136"/>
                  <a:gd name="T7" fmla="*/ 86 h 228"/>
                  <a:gd name="T8" fmla="*/ 104 w 136"/>
                  <a:gd name="T9" fmla="*/ 82 h 228"/>
                  <a:gd name="T10" fmla="*/ 105 w 136"/>
                  <a:gd name="T11" fmla="*/ 120 h 228"/>
                  <a:gd name="T12" fmla="*/ 105 w 136"/>
                  <a:gd name="T13" fmla="*/ 190 h 228"/>
                  <a:gd name="T14" fmla="*/ 19 w 136"/>
                  <a:gd name="T15" fmla="*/ 194 h 228"/>
                  <a:gd name="T16" fmla="*/ 10 w 136"/>
                  <a:gd name="T17" fmla="*/ 99 h 228"/>
                  <a:gd name="T18" fmla="*/ 25 w 136"/>
                  <a:gd name="T19" fmla="*/ 59 h 228"/>
                  <a:gd name="T20" fmla="*/ 5 w 136"/>
                  <a:gd name="T21" fmla="*/ 32 h 228"/>
                  <a:gd name="T22" fmla="*/ 18 w 136"/>
                  <a:gd name="T23" fmla="*/ 32 h 228"/>
                  <a:gd name="T24" fmla="*/ 19 w 136"/>
                  <a:gd name="T25" fmla="*/ 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228">
                    <a:moveTo>
                      <a:pt x="19" y="9"/>
                    </a:moveTo>
                    <a:cubicBezTo>
                      <a:pt x="35" y="0"/>
                      <a:pt x="46" y="7"/>
                      <a:pt x="62" y="29"/>
                    </a:cubicBezTo>
                    <a:cubicBezTo>
                      <a:pt x="78" y="50"/>
                      <a:pt x="91" y="65"/>
                      <a:pt x="91" y="65"/>
                    </a:cubicBezTo>
                    <a:cubicBezTo>
                      <a:pt x="87" y="86"/>
                      <a:pt x="87" y="86"/>
                      <a:pt x="87" y="86"/>
                    </a:cubicBezTo>
                    <a:cubicBezTo>
                      <a:pt x="104" y="82"/>
                      <a:pt x="104" y="82"/>
                      <a:pt x="104" y="82"/>
                    </a:cubicBezTo>
                    <a:cubicBezTo>
                      <a:pt x="105" y="120"/>
                      <a:pt x="105" y="120"/>
                      <a:pt x="105" y="120"/>
                    </a:cubicBezTo>
                    <a:cubicBezTo>
                      <a:pt x="105" y="120"/>
                      <a:pt x="136" y="176"/>
                      <a:pt x="105" y="190"/>
                    </a:cubicBezTo>
                    <a:cubicBezTo>
                      <a:pt x="75" y="204"/>
                      <a:pt x="37" y="228"/>
                      <a:pt x="19" y="194"/>
                    </a:cubicBezTo>
                    <a:cubicBezTo>
                      <a:pt x="1" y="160"/>
                      <a:pt x="0" y="106"/>
                      <a:pt x="10" y="99"/>
                    </a:cubicBezTo>
                    <a:cubicBezTo>
                      <a:pt x="21" y="91"/>
                      <a:pt x="25" y="59"/>
                      <a:pt x="25" y="59"/>
                    </a:cubicBezTo>
                    <a:cubicBezTo>
                      <a:pt x="5" y="32"/>
                      <a:pt x="5" y="32"/>
                      <a:pt x="5" y="32"/>
                    </a:cubicBezTo>
                    <a:cubicBezTo>
                      <a:pt x="18" y="32"/>
                      <a:pt x="18" y="32"/>
                      <a:pt x="18" y="32"/>
                    </a:cubicBezTo>
                    <a:lnTo>
                      <a:pt x="19" y="9"/>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59" name="Freeform 181">
                <a:extLst>
                  <a:ext uri="{FF2B5EF4-FFF2-40B4-BE49-F238E27FC236}">
                    <a16:creationId xmlns:a16="http://schemas.microsoft.com/office/drawing/2014/main" id="{BE1ABA67-1240-4FF6-AD11-A8460107EADD}"/>
                  </a:ext>
                </a:extLst>
              </p:cNvPr>
              <p:cNvSpPr>
                <a:spLocks noEditPoints="1"/>
              </p:cNvSpPr>
              <p:nvPr>
                <p:custDataLst>
                  <p:tags r:id="rId140"/>
                </p:custDataLst>
              </p:nvPr>
            </p:nvSpPr>
            <p:spPr bwMode="gray">
              <a:xfrm>
                <a:off x="7815220" y="3825890"/>
                <a:ext cx="292099" cy="442915"/>
              </a:xfrm>
              <a:custGeom>
                <a:avLst/>
                <a:gdLst>
                  <a:gd name="T0" fmla="*/ 475 w 487"/>
                  <a:gd name="T1" fmla="*/ 801 h 801"/>
                  <a:gd name="T2" fmla="*/ 476 w 487"/>
                  <a:gd name="T3" fmla="*/ 763 h 801"/>
                  <a:gd name="T4" fmla="*/ 395 w 487"/>
                  <a:gd name="T5" fmla="*/ 758 h 801"/>
                  <a:gd name="T6" fmla="*/ 187 w 487"/>
                  <a:gd name="T7" fmla="*/ 700 h 801"/>
                  <a:gd name="T8" fmla="*/ 175 w 487"/>
                  <a:gd name="T9" fmla="*/ 693 h 801"/>
                  <a:gd name="T10" fmla="*/ 346 w 487"/>
                  <a:gd name="T11" fmla="*/ 393 h 801"/>
                  <a:gd name="T12" fmla="*/ 408 w 487"/>
                  <a:gd name="T13" fmla="*/ 418 h 801"/>
                  <a:gd name="T14" fmla="*/ 321 w 487"/>
                  <a:gd name="T15" fmla="*/ 337 h 801"/>
                  <a:gd name="T16" fmla="*/ 325 w 487"/>
                  <a:gd name="T17" fmla="*/ 499 h 801"/>
                  <a:gd name="T18" fmla="*/ 301 w 487"/>
                  <a:gd name="T19" fmla="*/ 414 h 801"/>
                  <a:gd name="T20" fmla="*/ 358 w 487"/>
                  <a:gd name="T21" fmla="*/ 492 h 801"/>
                  <a:gd name="T22" fmla="*/ 337 w 487"/>
                  <a:gd name="T23" fmla="*/ 494 h 801"/>
                  <a:gd name="T24" fmla="*/ 360 w 487"/>
                  <a:gd name="T25" fmla="*/ 416 h 801"/>
                  <a:gd name="T26" fmla="*/ 352 w 487"/>
                  <a:gd name="T27" fmla="*/ 436 h 801"/>
                  <a:gd name="T28" fmla="*/ 391 w 487"/>
                  <a:gd name="T29" fmla="*/ 441 h 801"/>
                  <a:gd name="T30" fmla="*/ 103 w 487"/>
                  <a:gd name="T31" fmla="*/ 405 h 801"/>
                  <a:gd name="T32" fmla="*/ 79 w 487"/>
                  <a:gd name="T33" fmla="*/ 472 h 801"/>
                  <a:gd name="T34" fmla="*/ 55 w 487"/>
                  <a:gd name="T35" fmla="*/ 514 h 801"/>
                  <a:gd name="T36" fmla="*/ 31 w 487"/>
                  <a:gd name="T37" fmla="*/ 557 h 801"/>
                  <a:gd name="T38" fmla="*/ 71 w 487"/>
                  <a:gd name="T39" fmla="*/ 503 h 801"/>
                  <a:gd name="T40" fmla="*/ 117 w 487"/>
                  <a:gd name="T41" fmla="*/ 403 h 801"/>
                  <a:gd name="T42" fmla="*/ 259 w 487"/>
                  <a:gd name="T43" fmla="*/ 679 h 801"/>
                  <a:gd name="T44" fmla="*/ 451 w 487"/>
                  <a:gd name="T45" fmla="*/ 560 h 801"/>
                  <a:gd name="T46" fmla="*/ 413 w 487"/>
                  <a:gd name="T47" fmla="*/ 526 h 801"/>
                  <a:gd name="T48" fmla="*/ 362 w 487"/>
                  <a:gd name="T49" fmla="*/ 552 h 801"/>
                  <a:gd name="T50" fmla="*/ 307 w 487"/>
                  <a:gd name="T51" fmla="*/ 568 h 801"/>
                  <a:gd name="T52" fmla="*/ 251 w 487"/>
                  <a:gd name="T53" fmla="*/ 627 h 801"/>
                  <a:gd name="T54" fmla="*/ 287 w 487"/>
                  <a:gd name="T55" fmla="*/ 643 h 801"/>
                  <a:gd name="T56" fmla="*/ 340 w 487"/>
                  <a:gd name="T57" fmla="*/ 657 h 801"/>
                  <a:gd name="T58" fmla="*/ 413 w 487"/>
                  <a:gd name="T59" fmla="*/ 701 h 801"/>
                  <a:gd name="T60" fmla="*/ 430 w 487"/>
                  <a:gd name="T61" fmla="*/ 693 h 801"/>
                  <a:gd name="T62" fmla="*/ 444 w 487"/>
                  <a:gd name="T63" fmla="*/ 676 h 801"/>
                  <a:gd name="T64" fmla="*/ 451 w 487"/>
                  <a:gd name="T65" fmla="*/ 560 h 801"/>
                  <a:gd name="T66" fmla="*/ 286 w 487"/>
                  <a:gd name="T67" fmla="*/ 309 h 801"/>
                  <a:gd name="T68" fmla="*/ 259 w 487"/>
                  <a:gd name="T69" fmla="*/ 240 h 801"/>
                  <a:gd name="T70" fmla="*/ 184 w 487"/>
                  <a:gd name="T71" fmla="*/ 201 h 801"/>
                  <a:gd name="T72" fmla="*/ 193 w 487"/>
                  <a:gd name="T73" fmla="*/ 93 h 801"/>
                  <a:gd name="T74" fmla="*/ 184 w 487"/>
                  <a:gd name="T75" fmla="*/ 16 h 801"/>
                  <a:gd name="T76" fmla="*/ 126 w 487"/>
                  <a:gd name="T77" fmla="*/ 10 h 801"/>
                  <a:gd name="T78" fmla="*/ 100 w 487"/>
                  <a:gd name="T79" fmla="*/ 53 h 801"/>
                  <a:gd name="T80" fmla="*/ 112 w 487"/>
                  <a:gd name="T81" fmla="*/ 109 h 801"/>
                  <a:gd name="T82" fmla="*/ 92 w 487"/>
                  <a:gd name="T83" fmla="*/ 152 h 801"/>
                  <a:gd name="T84" fmla="*/ 135 w 487"/>
                  <a:gd name="T85" fmla="*/ 233 h 801"/>
                  <a:gd name="T86" fmla="*/ 219 w 487"/>
                  <a:gd name="T87" fmla="*/ 274 h 801"/>
                  <a:gd name="T88" fmla="*/ 146 w 487"/>
                  <a:gd name="T89" fmla="*/ 285 h 801"/>
                  <a:gd name="T90" fmla="*/ 197 w 487"/>
                  <a:gd name="T91" fmla="*/ 339 h 801"/>
                  <a:gd name="T92" fmla="*/ 232 w 487"/>
                  <a:gd name="T93" fmla="*/ 434 h 801"/>
                  <a:gd name="T94" fmla="*/ 271 w 487"/>
                  <a:gd name="T95" fmla="*/ 463 h 801"/>
                  <a:gd name="T96" fmla="*/ 273 w 487"/>
                  <a:gd name="T97" fmla="*/ 535 h 801"/>
                  <a:gd name="T98" fmla="*/ 295 w 487"/>
                  <a:gd name="T99" fmla="*/ 431 h 801"/>
                  <a:gd name="T100" fmla="*/ 249 w 487"/>
                  <a:gd name="T101" fmla="*/ 378 h 801"/>
                  <a:gd name="T102" fmla="*/ 232 w 487"/>
                  <a:gd name="T103" fmla="*/ 434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87" h="801">
                    <a:moveTo>
                      <a:pt x="476" y="763"/>
                    </a:moveTo>
                    <a:cubicBezTo>
                      <a:pt x="472" y="782"/>
                      <a:pt x="472" y="782"/>
                      <a:pt x="472" y="782"/>
                    </a:cubicBezTo>
                    <a:cubicBezTo>
                      <a:pt x="475" y="801"/>
                      <a:pt x="475" y="801"/>
                      <a:pt x="475" y="801"/>
                    </a:cubicBezTo>
                    <a:cubicBezTo>
                      <a:pt x="487" y="791"/>
                      <a:pt x="487" y="791"/>
                      <a:pt x="487" y="791"/>
                    </a:cubicBezTo>
                    <a:cubicBezTo>
                      <a:pt x="487" y="763"/>
                      <a:pt x="487" y="763"/>
                      <a:pt x="487" y="763"/>
                    </a:cubicBezTo>
                    <a:lnTo>
                      <a:pt x="476" y="763"/>
                    </a:lnTo>
                    <a:close/>
                    <a:moveTo>
                      <a:pt x="399" y="785"/>
                    </a:moveTo>
                    <a:cubicBezTo>
                      <a:pt x="410" y="763"/>
                      <a:pt x="410" y="763"/>
                      <a:pt x="410" y="763"/>
                    </a:cubicBezTo>
                    <a:cubicBezTo>
                      <a:pt x="395" y="758"/>
                      <a:pt x="395" y="758"/>
                      <a:pt x="395" y="758"/>
                    </a:cubicBezTo>
                    <a:lnTo>
                      <a:pt x="399" y="785"/>
                    </a:lnTo>
                    <a:close/>
                    <a:moveTo>
                      <a:pt x="175" y="693"/>
                    </a:moveTo>
                    <a:cubicBezTo>
                      <a:pt x="187" y="700"/>
                      <a:pt x="187" y="700"/>
                      <a:pt x="187" y="700"/>
                    </a:cubicBezTo>
                    <a:cubicBezTo>
                      <a:pt x="199" y="682"/>
                      <a:pt x="199" y="682"/>
                      <a:pt x="199" y="682"/>
                    </a:cubicBezTo>
                    <a:cubicBezTo>
                      <a:pt x="182" y="672"/>
                      <a:pt x="182" y="672"/>
                      <a:pt x="182" y="672"/>
                    </a:cubicBezTo>
                    <a:lnTo>
                      <a:pt x="175" y="693"/>
                    </a:lnTo>
                    <a:close/>
                    <a:moveTo>
                      <a:pt x="345" y="372"/>
                    </a:moveTo>
                    <a:cubicBezTo>
                      <a:pt x="370" y="385"/>
                      <a:pt x="370" y="385"/>
                      <a:pt x="370" y="385"/>
                    </a:cubicBezTo>
                    <a:cubicBezTo>
                      <a:pt x="370" y="401"/>
                      <a:pt x="346" y="393"/>
                      <a:pt x="346" y="393"/>
                    </a:cubicBezTo>
                    <a:cubicBezTo>
                      <a:pt x="389" y="427"/>
                      <a:pt x="389" y="427"/>
                      <a:pt x="389" y="427"/>
                    </a:cubicBezTo>
                    <a:cubicBezTo>
                      <a:pt x="391" y="413"/>
                      <a:pt x="391" y="413"/>
                      <a:pt x="391" y="413"/>
                    </a:cubicBezTo>
                    <a:cubicBezTo>
                      <a:pt x="408" y="418"/>
                      <a:pt x="408" y="418"/>
                      <a:pt x="408" y="418"/>
                    </a:cubicBezTo>
                    <a:cubicBezTo>
                      <a:pt x="394" y="395"/>
                      <a:pt x="394" y="395"/>
                      <a:pt x="394" y="395"/>
                    </a:cubicBezTo>
                    <a:cubicBezTo>
                      <a:pt x="394" y="395"/>
                      <a:pt x="391" y="370"/>
                      <a:pt x="379" y="357"/>
                    </a:cubicBezTo>
                    <a:cubicBezTo>
                      <a:pt x="367" y="344"/>
                      <a:pt x="328" y="321"/>
                      <a:pt x="321" y="337"/>
                    </a:cubicBezTo>
                    <a:cubicBezTo>
                      <a:pt x="312" y="357"/>
                      <a:pt x="345" y="372"/>
                      <a:pt x="345" y="372"/>
                    </a:cubicBezTo>
                    <a:close/>
                    <a:moveTo>
                      <a:pt x="318" y="445"/>
                    </a:moveTo>
                    <a:cubicBezTo>
                      <a:pt x="325" y="499"/>
                      <a:pt x="325" y="499"/>
                      <a:pt x="325" y="499"/>
                    </a:cubicBezTo>
                    <a:cubicBezTo>
                      <a:pt x="333" y="449"/>
                      <a:pt x="333" y="449"/>
                      <a:pt x="333" y="449"/>
                    </a:cubicBezTo>
                    <a:cubicBezTo>
                      <a:pt x="316" y="414"/>
                      <a:pt x="316" y="414"/>
                      <a:pt x="316" y="414"/>
                    </a:cubicBezTo>
                    <a:cubicBezTo>
                      <a:pt x="301" y="414"/>
                      <a:pt x="301" y="414"/>
                      <a:pt x="301" y="414"/>
                    </a:cubicBezTo>
                    <a:lnTo>
                      <a:pt x="318" y="445"/>
                    </a:lnTo>
                    <a:close/>
                    <a:moveTo>
                      <a:pt x="337" y="494"/>
                    </a:moveTo>
                    <a:cubicBezTo>
                      <a:pt x="358" y="492"/>
                      <a:pt x="358" y="492"/>
                      <a:pt x="358" y="492"/>
                    </a:cubicBezTo>
                    <a:cubicBezTo>
                      <a:pt x="361" y="475"/>
                      <a:pt x="361" y="475"/>
                      <a:pt x="361" y="475"/>
                    </a:cubicBezTo>
                    <a:cubicBezTo>
                      <a:pt x="343" y="469"/>
                      <a:pt x="343" y="469"/>
                      <a:pt x="343" y="469"/>
                    </a:cubicBezTo>
                    <a:lnTo>
                      <a:pt x="337" y="494"/>
                    </a:lnTo>
                    <a:close/>
                    <a:moveTo>
                      <a:pt x="391" y="441"/>
                    </a:moveTo>
                    <a:cubicBezTo>
                      <a:pt x="372" y="434"/>
                      <a:pt x="372" y="434"/>
                      <a:pt x="372" y="434"/>
                    </a:cubicBezTo>
                    <a:cubicBezTo>
                      <a:pt x="372" y="434"/>
                      <a:pt x="364" y="424"/>
                      <a:pt x="360" y="416"/>
                    </a:cubicBezTo>
                    <a:cubicBezTo>
                      <a:pt x="357" y="408"/>
                      <a:pt x="333" y="413"/>
                      <a:pt x="333" y="413"/>
                    </a:cubicBezTo>
                    <a:cubicBezTo>
                      <a:pt x="336" y="442"/>
                      <a:pt x="336" y="442"/>
                      <a:pt x="336" y="442"/>
                    </a:cubicBezTo>
                    <a:cubicBezTo>
                      <a:pt x="352" y="436"/>
                      <a:pt x="352" y="436"/>
                      <a:pt x="352" y="436"/>
                    </a:cubicBezTo>
                    <a:cubicBezTo>
                      <a:pt x="358" y="452"/>
                      <a:pt x="358" y="452"/>
                      <a:pt x="358" y="452"/>
                    </a:cubicBezTo>
                    <a:cubicBezTo>
                      <a:pt x="391" y="477"/>
                      <a:pt x="391" y="477"/>
                      <a:pt x="391" y="477"/>
                    </a:cubicBezTo>
                    <a:lnTo>
                      <a:pt x="391" y="441"/>
                    </a:lnTo>
                    <a:close/>
                    <a:moveTo>
                      <a:pt x="117" y="403"/>
                    </a:moveTo>
                    <a:cubicBezTo>
                      <a:pt x="107" y="388"/>
                      <a:pt x="107" y="388"/>
                      <a:pt x="107" y="388"/>
                    </a:cubicBezTo>
                    <a:cubicBezTo>
                      <a:pt x="103" y="405"/>
                      <a:pt x="103" y="405"/>
                      <a:pt x="103" y="405"/>
                    </a:cubicBezTo>
                    <a:cubicBezTo>
                      <a:pt x="103" y="405"/>
                      <a:pt x="84" y="421"/>
                      <a:pt x="91" y="436"/>
                    </a:cubicBezTo>
                    <a:cubicBezTo>
                      <a:pt x="98" y="450"/>
                      <a:pt x="115" y="450"/>
                      <a:pt x="105" y="457"/>
                    </a:cubicBezTo>
                    <a:cubicBezTo>
                      <a:pt x="95" y="463"/>
                      <a:pt x="79" y="472"/>
                      <a:pt x="79" y="472"/>
                    </a:cubicBezTo>
                    <a:cubicBezTo>
                      <a:pt x="72" y="490"/>
                      <a:pt x="72" y="490"/>
                      <a:pt x="72" y="490"/>
                    </a:cubicBezTo>
                    <a:cubicBezTo>
                      <a:pt x="57" y="499"/>
                      <a:pt x="57" y="499"/>
                      <a:pt x="57" y="499"/>
                    </a:cubicBezTo>
                    <a:cubicBezTo>
                      <a:pt x="57" y="499"/>
                      <a:pt x="62" y="508"/>
                      <a:pt x="55" y="514"/>
                    </a:cubicBezTo>
                    <a:cubicBezTo>
                      <a:pt x="48" y="521"/>
                      <a:pt x="23" y="532"/>
                      <a:pt x="23" y="532"/>
                    </a:cubicBezTo>
                    <a:cubicBezTo>
                      <a:pt x="23" y="532"/>
                      <a:pt x="0" y="568"/>
                      <a:pt x="11" y="576"/>
                    </a:cubicBezTo>
                    <a:cubicBezTo>
                      <a:pt x="31" y="557"/>
                      <a:pt x="31" y="557"/>
                      <a:pt x="31" y="557"/>
                    </a:cubicBezTo>
                    <a:cubicBezTo>
                      <a:pt x="31" y="557"/>
                      <a:pt x="28" y="542"/>
                      <a:pt x="36" y="542"/>
                    </a:cubicBezTo>
                    <a:cubicBezTo>
                      <a:pt x="45" y="542"/>
                      <a:pt x="55" y="539"/>
                      <a:pt x="62" y="534"/>
                    </a:cubicBezTo>
                    <a:cubicBezTo>
                      <a:pt x="69" y="529"/>
                      <a:pt x="62" y="513"/>
                      <a:pt x="71" y="503"/>
                    </a:cubicBezTo>
                    <a:cubicBezTo>
                      <a:pt x="79" y="493"/>
                      <a:pt x="127" y="478"/>
                      <a:pt x="127" y="467"/>
                    </a:cubicBezTo>
                    <a:cubicBezTo>
                      <a:pt x="127" y="455"/>
                      <a:pt x="117" y="444"/>
                      <a:pt x="115" y="434"/>
                    </a:cubicBezTo>
                    <a:cubicBezTo>
                      <a:pt x="114" y="424"/>
                      <a:pt x="117" y="403"/>
                      <a:pt x="117" y="403"/>
                    </a:cubicBezTo>
                    <a:close/>
                    <a:moveTo>
                      <a:pt x="232" y="684"/>
                    </a:moveTo>
                    <a:cubicBezTo>
                      <a:pt x="257" y="706"/>
                      <a:pt x="257" y="706"/>
                      <a:pt x="257" y="706"/>
                    </a:cubicBezTo>
                    <a:cubicBezTo>
                      <a:pt x="259" y="679"/>
                      <a:pt x="259" y="679"/>
                      <a:pt x="259" y="679"/>
                    </a:cubicBezTo>
                    <a:cubicBezTo>
                      <a:pt x="244" y="668"/>
                      <a:pt x="244" y="668"/>
                      <a:pt x="244" y="668"/>
                    </a:cubicBezTo>
                    <a:lnTo>
                      <a:pt x="232" y="684"/>
                    </a:lnTo>
                    <a:close/>
                    <a:moveTo>
                      <a:pt x="451" y="560"/>
                    </a:moveTo>
                    <a:cubicBezTo>
                      <a:pt x="451" y="560"/>
                      <a:pt x="451" y="529"/>
                      <a:pt x="441" y="524"/>
                    </a:cubicBezTo>
                    <a:cubicBezTo>
                      <a:pt x="430" y="519"/>
                      <a:pt x="405" y="483"/>
                      <a:pt x="396" y="491"/>
                    </a:cubicBezTo>
                    <a:cubicBezTo>
                      <a:pt x="388" y="499"/>
                      <a:pt x="420" y="522"/>
                      <a:pt x="413" y="526"/>
                    </a:cubicBezTo>
                    <a:cubicBezTo>
                      <a:pt x="406" y="529"/>
                      <a:pt x="376" y="532"/>
                      <a:pt x="376" y="532"/>
                    </a:cubicBezTo>
                    <a:cubicBezTo>
                      <a:pt x="376" y="553"/>
                      <a:pt x="376" y="553"/>
                      <a:pt x="376" y="553"/>
                    </a:cubicBezTo>
                    <a:cubicBezTo>
                      <a:pt x="362" y="552"/>
                      <a:pt x="362" y="552"/>
                      <a:pt x="362" y="552"/>
                    </a:cubicBezTo>
                    <a:cubicBezTo>
                      <a:pt x="358" y="567"/>
                      <a:pt x="358" y="567"/>
                      <a:pt x="358" y="567"/>
                    </a:cubicBezTo>
                    <a:cubicBezTo>
                      <a:pt x="341" y="576"/>
                      <a:pt x="341" y="576"/>
                      <a:pt x="341" y="576"/>
                    </a:cubicBezTo>
                    <a:cubicBezTo>
                      <a:pt x="341" y="576"/>
                      <a:pt x="316" y="560"/>
                      <a:pt x="307" y="568"/>
                    </a:cubicBezTo>
                    <a:cubicBezTo>
                      <a:pt x="299" y="576"/>
                      <a:pt x="283" y="604"/>
                      <a:pt x="283" y="604"/>
                    </a:cubicBezTo>
                    <a:cubicBezTo>
                      <a:pt x="283" y="604"/>
                      <a:pt x="273" y="585"/>
                      <a:pt x="268" y="594"/>
                    </a:cubicBezTo>
                    <a:cubicBezTo>
                      <a:pt x="263" y="604"/>
                      <a:pt x="251" y="627"/>
                      <a:pt x="251" y="627"/>
                    </a:cubicBezTo>
                    <a:cubicBezTo>
                      <a:pt x="264" y="640"/>
                      <a:pt x="264" y="640"/>
                      <a:pt x="264" y="640"/>
                    </a:cubicBezTo>
                    <a:cubicBezTo>
                      <a:pt x="278" y="627"/>
                      <a:pt x="278" y="627"/>
                      <a:pt x="278" y="627"/>
                    </a:cubicBezTo>
                    <a:cubicBezTo>
                      <a:pt x="287" y="643"/>
                      <a:pt x="287" y="643"/>
                      <a:pt x="287" y="643"/>
                    </a:cubicBezTo>
                    <a:cubicBezTo>
                      <a:pt x="287" y="643"/>
                      <a:pt x="314" y="621"/>
                      <a:pt x="321" y="621"/>
                    </a:cubicBezTo>
                    <a:cubicBezTo>
                      <a:pt x="328" y="621"/>
                      <a:pt x="350" y="642"/>
                      <a:pt x="350" y="642"/>
                    </a:cubicBezTo>
                    <a:cubicBezTo>
                      <a:pt x="350" y="642"/>
                      <a:pt x="340" y="648"/>
                      <a:pt x="340" y="657"/>
                    </a:cubicBezTo>
                    <a:cubicBezTo>
                      <a:pt x="340" y="665"/>
                      <a:pt x="358" y="701"/>
                      <a:pt x="367" y="704"/>
                    </a:cubicBezTo>
                    <a:cubicBezTo>
                      <a:pt x="376" y="707"/>
                      <a:pt x="400" y="714"/>
                      <a:pt x="400" y="714"/>
                    </a:cubicBezTo>
                    <a:cubicBezTo>
                      <a:pt x="413" y="701"/>
                      <a:pt x="413" y="701"/>
                      <a:pt x="413" y="701"/>
                    </a:cubicBezTo>
                    <a:cubicBezTo>
                      <a:pt x="415" y="717"/>
                      <a:pt x="415" y="717"/>
                      <a:pt x="415" y="717"/>
                    </a:cubicBezTo>
                    <a:cubicBezTo>
                      <a:pt x="429" y="719"/>
                      <a:pt x="429" y="719"/>
                      <a:pt x="429" y="719"/>
                    </a:cubicBezTo>
                    <a:cubicBezTo>
                      <a:pt x="430" y="693"/>
                      <a:pt x="430" y="693"/>
                      <a:pt x="430" y="693"/>
                    </a:cubicBezTo>
                    <a:cubicBezTo>
                      <a:pt x="430" y="693"/>
                      <a:pt x="410" y="671"/>
                      <a:pt x="415" y="658"/>
                    </a:cubicBezTo>
                    <a:cubicBezTo>
                      <a:pt x="420" y="645"/>
                      <a:pt x="427" y="642"/>
                      <a:pt x="427" y="642"/>
                    </a:cubicBezTo>
                    <a:cubicBezTo>
                      <a:pt x="444" y="676"/>
                      <a:pt x="444" y="676"/>
                      <a:pt x="444" y="676"/>
                    </a:cubicBezTo>
                    <a:cubicBezTo>
                      <a:pt x="444" y="676"/>
                      <a:pt x="463" y="650"/>
                      <a:pt x="463" y="634"/>
                    </a:cubicBezTo>
                    <a:cubicBezTo>
                      <a:pt x="463" y="617"/>
                      <a:pt x="451" y="599"/>
                      <a:pt x="451" y="599"/>
                    </a:cubicBezTo>
                    <a:lnTo>
                      <a:pt x="451" y="560"/>
                    </a:lnTo>
                    <a:close/>
                    <a:moveTo>
                      <a:pt x="230" y="258"/>
                    </a:moveTo>
                    <a:cubicBezTo>
                      <a:pt x="248" y="256"/>
                      <a:pt x="255" y="265"/>
                      <a:pt x="259" y="279"/>
                    </a:cubicBezTo>
                    <a:cubicBezTo>
                      <a:pt x="262" y="291"/>
                      <a:pt x="272" y="303"/>
                      <a:pt x="286" y="309"/>
                    </a:cubicBezTo>
                    <a:cubicBezTo>
                      <a:pt x="311" y="322"/>
                      <a:pt x="313" y="261"/>
                      <a:pt x="282" y="264"/>
                    </a:cubicBezTo>
                    <a:cubicBezTo>
                      <a:pt x="281" y="258"/>
                      <a:pt x="286" y="256"/>
                      <a:pt x="288" y="251"/>
                    </a:cubicBezTo>
                    <a:cubicBezTo>
                      <a:pt x="276" y="250"/>
                      <a:pt x="272" y="236"/>
                      <a:pt x="259" y="240"/>
                    </a:cubicBezTo>
                    <a:cubicBezTo>
                      <a:pt x="251" y="257"/>
                      <a:pt x="236" y="236"/>
                      <a:pt x="224" y="236"/>
                    </a:cubicBezTo>
                    <a:cubicBezTo>
                      <a:pt x="208" y="235"/>
                      <a:pt x="201" y="259"/>
                      <a:pt x="188" y="239"/>
                    </a:cubicBezTo>
                    <a:cubicBezTo>
                      <a:pt x="181" y="228"/>
                      <a:pt x="184" y="213"/>
                      <a:pt x="184" y="201"/>
                    </a:cubicBezTo>
                    <a:cubicBezTo>
                      <a:pt x="184" y="189"/>
                      <a:pt x="180" y="170"/>
                      <a:pt x="185" y="159"/>
                    </a:cubicBezTo>
                    <a:cubicBezTo>
                      <a:pt x="192" y="143"/>
                      <a:pt x="203" y="148"/>
                      <a:pt x="202" y="128"/>
                    </a:cubicBezTo>
                    <a:cubicBezTo>
                      <a:pt x="202" y="114"/>
                      <a:pt x="191" y="105"/>
                      <a:pt x="193" y="93"/>
                    </a:cubicBezTo>
                    <a:cubicBezTo>
                      <a:pt x="194" y="80"/>
                      <a:pt x="202" y="64"/>
                      <a:pt x="198" y="50"/>
                    </a:cubicBezTo>
                    <a:cubicBezTo>
                      <a:pt x="195" y="44"/>
                      <a:pt x="188" y="41"/>
                      <a:pt x="185" y="35"/>
                    </a:cubicBezTo>
                    <a:cubicBezTo>
                      <a:pt x="182" y="29"/>
                      <a:pt x="185" y="22"/>
                      <a:pt x="184" y="16"/>
                    </a:cubicBezTo>
                    <a:cubicBezTo>
                      <a:pt x="183" y="11"/>
                      <a:pt x="181" y="0"/>
                      <a:pt x="172" y="0"/>
                    </a:cubicBezTo>
                    <a:cubicBezTo>
                      <a:pt x="167" y="1"/>
                      <a:pt x="165" y="9"/>
                      <a:pt x="162" y="12"/>
                    </a:cubicBezTo>
                    <a:cubicBezTo>
                      <a:pt x="145" y="26"/>
                      <a:pt x="142" y="9"/>
                      <a:pt x="126" y="10"/>
                    </a:cubicBezTo>
                    <a:cubicBezTo>
                      <a:pt x="117" y="13"/>
                      <a:pt x="117" y="13"/>
                      <a:pt x="117" y="13"/>
                    </a:cubicBezTo>
                    <a:cubicBezTo>
                      <a:pt x="114" y="20"/>
                      <a:pt x="117" y="27"/>
                      <a:pt x="115" y="34"/>
                    </a:cubicBezTo>
                    <a:cubicBezTo>
                      <a:pt x="113" y="41"/>
                      <a:pt x="104" y="47"/>
                      <a:pt x="100" y="53"/>
                    </a:cubicBezTo>
                    <a:cubicBezTo>
                      <a:pt x="92" y="65"/>
                      <a:pt x="94" y="57"/>
                      <a:pt x="101" y="69"/>
                    </a:cubicBezTo>
                    <a:cubicBezTo>
                      <a:pt x="104" y="74"/>
                      <a:pt x="108" y="83"/>
                      <a:pt x="110" y="89"/>
                    </a:cubicBezTo>
                    <a:cubicBezTo>
                      <a:pt x="112" y="95"/>
                      <a:pt x="113" y="102"/>
                      <a:pt x="112" y="109"/>
                    </a:cubicBezTo>
                    <a:cubicBezTo>
                      <a:pt x="111" y="116"/>
                      <a:pt x="103" y="122"/>
                      <a:pt x="103" y="127"/>
                    </a:cubicBezTo>
                    <a:cubicBezTo>
                      <a:pt x="103" y="135"/>
                      <a:pt x="114" y="137"/>
                      <a:pt x="110" y="145"/>
                    </a:cubicBezTo>
                    <a:cubicBezTo>
                      <a:pt x="108" y="150"/>
                      <a:pt x="96" y="153"/>
                      <a:pt x="92" y="152"/>
                    </a:cubicBezTo>
                    <a:cubicBezTo>
                      <a:pt x="92" y="146"/>
                      <a:pt x="90" y="140"/>
                      <a:pt x="85" y="138"/>
                    </a:cubicBezTo>
                    <a:cubicBezTo>
                      <a:pt x="84" y="161"/>
                      <a:pt x="87" y="175"/>
                      <a:pt x="103" y="194"/>
                    </a:cubicBezTo>
                    <a:cubicBezTo>
                      <a:pt x="115" y="207"/>
                      <a:pt x="127" y="217"/>
                      <a:pt x="135" y="233"/>
                    </a:cubicBezTo>
                    <a:cubicBezTo>
                      <a:pt x="140" y="245"/>
                      <a:pt x="156" y="275"/>
                      <a:pt x="171" y="274"/>
                    </a:cubicBezTo>
                    <a:cubicBezTo>
                      <a:pt x="181" y="273"/>
                      <a:pt x="185" y="260"/>
                      <a:pt x="196" y="259"/>
                    </a:cubicBezTo>
                    <a:cubicBezTo>
                      <a:pt x="207" y="258"/>
                      <a:pt x="212" y="268"/>
                      <a:pt x="219" y="274"/>
                    </a:cubicBezTo>
                    <a:cubicBezTo>
                      <a:pt x="241" y="293"/>
                      <a:pt x="240" y="275"/>
                      <a:pt x="230" y="258"/>
                    </a:cubicBezTo>
                    <a:close/>
                    <a:moveTo>
                      <a:pt x="182" y="288"/>
                    </a:moveTo>
                    <a:cubicBezTo>
                      <a:pt x="175" y="282"/>
                      <a:pt x="146" y="285"/>
                      <a:pt x="146" y="285"/>
                    </a:cubicBezTo>
                    <a:cubicBezTo>
                      <a:pt x="167" y="313"/>
                      <a:pt x="167" y="313"/>
                      <a:pt x="167" y="313"/>
                    </a:cubicBezTo>
                    <a:cubicBezTo>
                      <a:pt x="180" y="357"/>
                      <a:pt x="180" y="357"/>
                      <a:pt x="180" y="357"/>
                    </a:cubicBezTo>
                    <a:cubicBezTo>
                      <a:pt x="180" y="357"/>
                      <a:pt x="192" y="347"/>
                      <a:pt x="197" y="339"/>
                    </a:cubicBezTo>
                    <a:cubicBezTo>
                      <a:pt x="203" y="331"/>
                      <a:pt x="191" y="315"/>
                      <a:pt x="191" y="315"/>
                    </a:cubicBezTo>
                    <a:cubicBezTo>
                      <a:pt x="191" y="315"/>
                      <a:pt x="189" y="295"/>
                      <a:pt x="182" y="288"/>
                    </a:cubicBezTo>
                    <a:close/>
                    <a:moveTo>
                      <a:pt x="232" y="434"/>
                    </a:moveTo>
                    <a:cubicBezTo>
                      <a:pt x="237" y="444"/>
                      <a:pt x="245" y="454"/>
                      <a:pt x="245" y="454"/>
                    </a:cubicBezTo>
                    <a:cubicBezTo>
                      <a:pt x="245" y="454"/>
                      <a:pt x="261" y="437"/>
                      <a:pt x="266" y="441"/>
                    </a:cubicBezTo>
                    <a:cubicBezTo>
                      <a:pt x="271" y="444"/>
                      <a:pt x="271" y="463"/>
                      <a:pt x="271" y="463"/>
                    </a:cubicBezTo>
                    <a:cubicBezTo>
                      <a:pt x="280" y="472"/>
                      <a:pt x="280" y="472"/>
                      <a:pt x="280" y="472"/>
                    </a:cubicBezTo>
                    <a:cubicBezTo>
                      <a:pt x="280" y="472"/>
                      <a:pt x="257" y="506"/>
                      <a:pt x="257" y="513"/>
                    </a:cubicBezTo>
                    <a:cubicBezTo>
                      <a:pt x="257" y="519"/>
                      <a:pt x="257" y="539"/>
                      <a:pt x="273" y="535"/>
                    </a:cubicBezTo>
                    <a:cubicBezTo>
                      <a:pt x="288" y="532"/>
                      <a:pt x="311" y="527"/>
                      <a:pt x="302" y="513"/>
                    </a:cubicBezTo>
                    <a:cubicBezTo>
                      <a:pt x="293" y="498"/>
                      <a:pt x="292" y="486"/>
                      <a:pt x="300" y="463"/>
                    </a:cubicBezTo>
                    <a:cubicBezTo>
                      <a:pt x="309" y="441"/>
                      <a:pt x="302" y="424"/>
                      <a:pt x="295" y="431"/>
                    </a:cubicBezTo>
                    <a:cubicBezTo>
                      <a:pt x="288" y="437"/>
                      <a:pt x="275" y="445"/>
                      <a:pt x="275" y="437"/>
                    </a:cubicBezTo>
                    <a:cubicBezTo>
                      <a:pt x="275" y="429"/>
                      <a:pt x="295" y="398"/>
                      <a:pt x="283" y="395"/>
                    </a:cubicBezTo>
                    <a:cubicBezTo>
                      <a:pt x="271" y="391"/>
                      <a:pt x="249" y="378"/>
                      <a:pt x="249" y="378"/>
                    </a:cubicBezTo>
                    <a:cubicBezTo>
                      <a:pt x="249" y="378"/>
                      <a:pt x="228" y="373"/>
                      <a:pt x="227" y="380"/>
                    </a:cubicBezTo>
                    <a:cubicBezTo>
                      <a:pt x="225" y="387"/>
                      <a:pt x="239" y="398"/>
                      <a:pt x="239" y="398"/>
                    </a:cubicBezTo>
                    <a:cubicBezTo>
                      <a:pt x="239" y="398"/>
                      <a:pt x="227" y="424"/>
                      <a:pt x="232" y="434"/>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60" name="Freeform 182">
                <a:extLst>
                  <a:ext uri="{FF2B5EF4-FFF2-40B4-BE49-F238E27FC236}">
                    <a16:creationId xmlns:a16="http://schemas.microsoft.com/office/drawing/2014/main" id="{EEF8F82F-A4EB-402B-81B9-11D9F2DB43D1}"/>
                  </a:ext>
                </a:extLst>
              </p:cNvPr>
              <p:cNvSpPr>
                <a:spLocks/>
              </p:cNvSpPr>
              <p:nvPr>
                <p:custDataLst>
                  <p:tags r:id="rId141"/>
                </p:custDataLst>
              </p:nvPr>
            </p:nvSpPr>
            <p:spPr bwMode="gray">
              <a:xfrm>
                <a:off x="7829506" y="3629039"/>
                <a:ext cx="52387" cy="100013"/>
              </a:xfrm>
              <a:custGeom>
                <a:avLst/>
                <a:gdLst>
                  <a:gd name="T0" fmla="*/ 62 w 85"/>
                  <a:gd name="T1" fmla="*/ 181 h 181"/>
                  <a:gd name="T2" fmla="*/ 62 w 85"/>
                  <a:gd name="T3" fmla="*/ 148 h 181"/>
                  <a:gd name="T4" fmla="*/ 75 w 85"/>
                  <a:gd name="T5" fmla="*/ 118 h 181"/>
                  <a:gd name="T6" fmla="*/ 75 w 85"/>
                  <a:gd name="T7" fmla="*/ 68 h 181"/>
                  <a:gd name="T8" fmla="*/ 84 w 85"/>
                  <a:gd name="T9" fmla="*/ 43 h 181"/>
                  <a:gd name="T10" fmla="*/ 85 w 85"/>
                  <a:gd name="T11" fmla="*/ 17 h 181"/>
                  <a:gd name="T12" fmla="*/ 56 w 85"/>
                  <a:gd name="T13" fmla="*/ 0 h 181"/>
                  <a:gd name="T14" fmla="*/ 39 w 85"/>
                  <a:gd name="T15" fmla="*/ 20 h 181"/>
                  <a:gd name="T16" fmla="*/ 8 w 85"/>
                  <a:gd name="T17" fmla="*/ 114 h 181"/>
                  <a:gd name="T18" fmla="*/ 34 w 85"/>
                  <a:gd name="T19" fmla="*/ 147 h 181"/>
                  <a:gd name="T20" fmla="*/ 62 w 85"/>
                  <a:gd name="T21"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81">
                    <a:moveTo>
                      <a:pt x="62" y="181"/>
                    </a:moveTo>
                    <a:cubicBezTo>
                      <a:pt x="62" y="148"/>
                      <a:pt x="62" y="148"/>
                      <a:pt x="62" y="148"/>
                    </a:cubicBezTo>
                    <a:cubicBezTo>
                      <a:pt x="62" y="148"/>
                      <a:pt x="75" y="139"/>
                      <a:pt x="75" y="118"/>
                    </a:cubicBezTo>
                    <a:cubicBezTo>
                      <a:pt x="75" y="97"/>
                      <a:pt x="75" y="68"/>
                      <a:pt x="75" y="68"/>
                    </a:cubicBezTo>
                    <a:cubicBezTo>
                      <a:pt x="75" y="68"/>
                      <a:pt x="85" y="55"/>
                      <a:pt x="84" y="43"/>
                    </a:cubicBezTo>
                    <a:cubicBezTo>
                      <a:pt x="83" y="31"/>
                      <a:pt x="85" y="17"/>
                      <a:pt x="85" y="17"/>
                    </a:cubicBezTo>
                    <a:cubicBezTo>
                      <a:pt x="56" y="0"/>
                      <a:pt x="56" y="0"/>
                      <a:pt x="56" y="0"/>
                    </a:cubicBezTo>
                    <a:cubicBezTo>
                      <a:pt x="39" y="20"/>
                      <a:pt x="39" y="20"/>
                      <a:pt x="39" y="20"/>
                    </a:cubicBezTo>
                    <a:cubicBezTo>
                      <a:pt x="39" y="20"/>
                      <a:pt x="0" y="102"/>
                      <a:pt x="8" y="114"/>
                    </a:cubicBezTo>
                    <a:cubicBezTo>
                      <a:pt x="16" y="126"/>
                      <a:pt x="34" y="147"/>
                      <a:pt x="34" y="147"/>
                    </a:cubicBezTo>
                    <a:cubicBezTo>
                      <a:pt x="34" y="147"/>
                      <a:pt x="47" y="181"/>
                      <a:pt x="62" y="181"/>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61" name="Freeform 183">
                <a:extLst>
                  <a:ext uri="{FF2B5EF4-FFF2-40B4-BE49-F238E27FC236}">
                    <a16:creationId xmlns:a16="http://schemas.microsoft.com/office/drawing/2014/main" id="{2F4306BF-E2A6-4455-8FF4-6DEC7DBDC508}"/>
                  </a:ext>
                </a:extLst>
              </p:cNvPr>
              <p:cNvSpPr>
                <a:spLocks/>
              </p:cNvSpPr>
              <p:nvPr>
                <p:custDataLst>
                  <p:tags r:id="rId142"/>
                </p:custDataLst>
              </p:nvPr>
            </p:nvSpPr>
            <p:spPr bwMode="gray">
              <a:xfrm>
                <a:off x="7334208" y="4183079"/>
                <a:ext cx="123824" cy="161926"/>
              </a:xfrm>
              <a:custGeom>
                <a:avLst/>
                <a:gdLst>
                  <a:gd name="T0" fmla="*/ 1 w 207"/>
                  <a:gd name="T1" fmla="*/ 30 h 293"/>
                  <a:gd name="T2" fmla="*/ 6 w 207"/>
                  <a:gd name="T3" fmla="*/ 91 h 293"/>
                  <a:gd name="T4" fmla="*/ 38 w 207"/>
                  <a:gd name="T5" fmla="*/ 99 h 293"/>
                  <a:gd name="T6" fmla="*/ 39 w 207"/>
                  <a:gd name="T7" fmla="*/ 153 h 293"/>
                  <a:gd name="T8" fmla="*/ 62 w 207"/>
                  <a:gd name="T9" fmla="*/ 153 h 293"/>
                  <a:gd name="T10" fmla="*/ 65 w 207"/>
                  <a:gd name="T11" fmla="*/ 203 h 293"/>
                  <a:gd name="T12" fmla="*/ 114 w 207"/>
                  <a:gd name="T13" fmla="*/ 236 h 293"/>
                  <a:gd name="T14" fmla="*/ 121 w 207"/>
                  <a:gd name="T15" fmla="*/ 258 h 293"/>
                  <a:gd name="T16" fmla="*/ 153 w 207"/>
                  <a:gd name="T17" fmla="*/ 271 h 293"/>
                  <a:gd name="T18" fmla="*/ 169 w 207"/>
                  <a:gd name="T19" fmla="*/ 293 h 293"/>
                  <a:gd name="T20" fmla="*/ 202 w 207"/>
                  <a:gd name="T21" fmla="*/ 290 h 293"/>
                  <a:gd name="T22" fmla="*/ 205 w 207"/>
                  <a:gd name="T23" fmla="*/ 252 h 293"/>
                  <a:gd name="T24" fmla="*/ 172 w 207"/>
                  <a:gd name="T25" fmla="*/ 210 h 293"/>
                  <a:gd name="T26" fmla="*/ 170 w 207"/>
                  <a:gd name="T27" fmla="*/ 184 h 293"/>
                  <a:gd name="T28" fmla="*/ 168 w 207"/>
                  <a:gd name="T29" fmla="*/ 160 h 293"/>
                  <a:gd name="T30" fmla="*/ 167 w 207"/>
                  <a:gd name="T31" fmla="*/ 87 h 293"/>
                  <a:gd name="T32" fmla="*/ 115 w 207"/>
                  <a:gd name="T33" fmla="*/ 41 h 293"/>
                  <a:gd name="T34" fmla="*/ 103 w 207"/>
                  <a:gd name="T35" fmla="*/ 31 h 293"/>
                  <a:gd name="T36" fmla="*/ 91 w 207"/>
                  <a:gd name="T37" fmla="*/ 55 h 293"/>
                  <a:gd name="T38" fmla="*/ 72 w 207"/>
                  <a:gd name="T39" fmla="*/ 47 h 293"/>
                  <a:gd name="T40" fmla="*/ 49 w 207"/>
                  <a:gd name="T41" fmla="*/ 54 h 293"/>
                  <a:gd name="T42" fmla="*/ 52 w 207"/>
                  <a:gd name="T43" fmla="*/ 32 h 293"/>
                  <a:gd name="T44" fmla="*/ 45 w 207"/>
                  <a:gd name="T45" fmla="*/ 28 h 293"/>
                  <a:gd name="T46" fmla="*/ 39 w 207"/>
                  <a:gd name="T47" fmla="*/ 16 h 293"/>
                  <a:gd name="T48" fmla="*/ 21 w 207"/>
                  <a:gd name="T49" fmla="*/ 12 h 293"/>
                  <a:gd name="T50" fmla="*/ 12 w 207"/>
                  <a:gd name="T51" fmla="*/ 1 h 293"/>
                  <a:gd name="T52" fmla="*/ 7 w 207"/>
                  <a:gd name="T53" fmla="*/ 17 h 293"/>
                  <a:gd name="T54" fmla="*/ 0 w 207"/>
                  <a:gd name="T55" fmla="*/ 29 h 293"/>
                  <a:gd name="T56" fmla="*/ 1 w 207"/>
                  <a:gd name="T57" fmla="*/ 3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7" h="293">
                    <a:moveTo>
                      <a:pt x="1" y="30"/>
                    </a:moveTo>
                    <a:cubicBezTo>
                      <a:pt x="6" y="91"/>
                      <a:pt x="6" y="91"/>
                      <a:pt x="6" y="91"/>
                    </a:cubicBezTo>
                    <a:cubicBezTo>
                      <a:pt x="6" y="91"/>
                      <a:pt x="38" y="79"/>
                      <a:pt x="38" y="99"/>
                    </a:cubicBezTo>
                    <a:cubicBezTo>
                      <a:pt x="37" y="119"/>
                      <a:pt x="28" y="141"/>
                      <a:pt x="39" y="153"/>
                    </a:cubicBezTo>
                    <a:cubicBezTo>
                      <a:pt x="50" y="166"/>
                      <a:pt x="62" y="153"/>
                      <a:pt x="62" y="153"/>
                    </a:cubicBezTo>
                    <a:cubicBezTo>
                      <a:pt x="62" y="153"/>
                      <a:pt x="55" y="194"/>
                      <a:pt x="65" y="203"/>
                    </a:cubicBezTo>
                    <a:cubicBezTo>
                      <a:pt x="75" y="212"/>
                      <a:pt x="114" y="236"/>
                      <a:pt x="114" y="236"/>
                    </a:cubicBezTo>
                    <a:cubicBezTo>
                      <a:pt x="114" y="236"/>
                      <a:pt x="116" y="256"/>
                      <a:pt x="121" y="258"/>
                    </a:cubicBezTo>
                    <a:cubicBezTo>
                      <a:pt x="126" y="259"/>
                      <a:pt x="153" y="271"/>
                      <a:pt x="153" y="271"/>
                    </a:cubicBezTo>
                    <a:cubicBezTo>
                      <a:pt x="169" y="293"/>
                      <a:pt x="169" y="293"/>
                      <a:pt x="169" y="293"/>
                    </a:cubicBezTo>
                    <a:cubicBezTo>
                      <a:pt x="202" y="290"/>
                      <a:pt x="202" y="290"/>
                      <a:pt x="202" y="290"/>
                    </a:cubicBezTo>
                    <a:cubicBezTo>
                      <a:pt x="202" y="290"/>
                      <a:pt x="207" y="270"/>
                      <a:pt x="205" y="252"/>
                    </a:cubicBezTo>
                    <a:cubicBezTo>
                      <a:pt x="203" y="235"/>
                      <a:pt x="173" y="215"/>
                      <a:pt x="172" y="210"/>
                    </a:cubicBezTo>
                    <a:cubicBezTo>
                      <a:pt x="171" y="205"/>
                      <a:pt x="177" y="193"/>
                      <a:pt x="170" y="184"/>
                    </a:cubicBezTo>
                    <a:cubicBezTo>
                      <a:pt x="162" y="175"/>
                      <a:pt x="168" y="173"/>
                      <a:pt x="168" y="160"/>
                    </a:cubicBezTo>
                    <a:cubicBezTo>
                      <a:pt x="169" y="148"/>
                      <a:pt x="172" y="109"/>
                      <a:pt x="167" y="87"/>
                    </a:cubicBezTo>
                    <a:cubicBezTo>
                      <a:pt x="163" y="65"/>
                      <a:pt x="121" y="50"/>
                      <a:pt x="115" y="41"/>
                    </a:cubicBezTo>
                    <a:cubicBezTo>
                      <a:pt x="113" y="38"/>
                      <a:pt x="108" y="34"/>
                      <a:pt x="103" y="31"/>
                    </a:cubicBezTo>
                    <a:cubicBezTo>
                      <a:pt x="100" y="39"/>
                      <a:pt x="95" y="50"/>
                      <a:pt x="91" y="55"/>
                    </a:cubicBezTo>
                    <a:cubicBezTo>
                      <a:pt x="85" y="63"/>
                      <a:pt x="83" y="46"/>
                      <a:pt x="72" y="47"/>
                    </a:cubicBezTo>
                    <a:cubicBezTo>
                      <a:pt x="61" y="48"/>
                      <a:pt x="62" y="58"/>
                      <a:pt x="49" y="54"/>
                    </a:cubicBezTo>
                    <a:cubicBezTo>
                      <a:pt x="36" y="50"/>
                      <a:pt x="52" y="38"/>
                      <a:pt x="52" y="32"/>
                    </a:cubicBezTo>
                    <a:cubicBezTo>
                      <a:pt x="52" y="26"/>
                      <a:pt x="45" y="28"/>
                      <a:pt x="45" y="28"/>
                    </a:cubicBezTo>
                    <a:cubicBezTo>
                      <a:pt x="45" y="28"/>
                      <a:pt x="46" y="20"/>
                      <a:pt x="39" y="16"/>
                    </a:cubicBezTo>
                    <a:cubicBezTo>
                      <a:pt x="32" y="12"/>
                      <a:pt x="21" y="12"/>
                      <a:pt x="21" y="12"/>
                    </a:cubicBezTo>
                    <a:cubicBezTo>
                      <a:pt x="21" y="12"/>
                      <a:pt x="19" y="0"/>
                      <a:pt x="12" y="1"/>
                    </a:cubicBezTo>
                    <a:cubicBezTo>
                      <a:pt x="5" y="2"/>
                      <a:pt x="6" y="8"/>
                      <a:pt x="7" y="17"/>
                    </a:cubicBezTo>
                    <a:cubicBezTo>
                      <a:pt x="7" y="21"/>
                      <a:pt x="4" y="25"/>
                      <a:pt x="0" y="29"/>
                    </a:cubicBezTo>
                    <a:cubicBezTo>
                      <a:pt x="1" y="29"/>
                      <a:pt x="1" y="30"/>
                      <a:pt x="1" y="30"/>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62" name="Freeform 184">
                <a:extLst>
                  <a:ext uri="{FF2B5EF4-FFF2-40B4-BE49-F238E27FC236}">
                    <a16:creationId xmlns:a16="http://schemas.microsoft.com/office/drawing/2014/main" id="{268A30F2-3C75-4E1A-B72E-0E18100AB90C}"/>
                  </a:ext>
                </a:extLst>
              </p:cNvPr>
              <p:cNvSpPr>
                <a:spLocks/>
              </p:cNvSpPr>
              <p:nvPr>
                <p:custDataLst>
                  <p:tags r:id="rId143"/>
                </p:custDataLst>
              </p:nvPr>
            </p:nvSpPr>
            <p:spPr bwMode="gray">
              <a:xfrm>
                <a:off x="7388184" y="3951303"/>
                <a:ext cx="150813" cy="120651"/>
              </a:xfrm>
              <a:custGeom>
                <a:avLst/>
                <a:gdLst>
                  <a:gd name="T0" fmla="*/ 214 w 252"/>
                  <a:gd name="T1" fmla="*/ 0 h 224"/>
                  <a:gd name="T2" fmla="*/ 206 w 252"/>
                  <a:gd name="T3" fmla="*/ 9 h 224"/>
                  <a:gd name="T4" fmla="*/ 184 w 252"/>
                  <a:gd name="T5" fmla="*/ 0 h 224"/>
                  <a:gd name="T6" fmla="*/ 175 w 252"/>
                  <a:gd name="T7" fmla="*/ 8 h 224"/>
                  <a:gd name="T8" fmla="*/ 164 w 252"/>
                  <a:gd name="T9" fmla="*/ 16 h 224"/>
                  <a:gd name="T10" fmla="*/ 168 w 252"/>
                  <a:gd name="T11" fmla="*/ 36 h 224"/>
                  <a:gd name="T12" fmla="*/ 151 w 252"/>
                  <a:gd name="T13" fmla="*/ 24 h 224"/>
                  <a:gd name="T14" fmla="*/ 131 w 252"/>
                  <a:gd name="T15" fmla="*/ 22 h 224"/>
                  <a:gd name="T16" fmla="*/ 128 w 252"/>
                  <a:gd name="T17" fmla="*/ 13 h 224"/>
                  <a:gd name="T18" fmla="*/ 123 w 252"/>
                  <a:gd name="T19" fmla="*/ 16 h 224"/>
                  <a:gd name="T20" fmla="*/ 101 w 252"/>
                  <a:gd name="T21" fmla="*/ 8 h 224"/>
                  <a:gd name="T22" fmla="*/ 74 w 252"/>
                  <a:gd name="T23" fmla="*/ 15 h 224"/>
                  <a:gd name="T24" fmla="*/ 46 w 252"/>
                  <a:gd name="T25" fmla="*/ 10 h 224"/>
                  <a:gd name="T26" fmla="*/ 19 w 252"/>
                  <a:gd name="T27" fmla="*/ 34 h 224"/>
                  <a:gd name="T28" fmla="*/ 0 w 252"/>
                  <a:gd name="T29" fmla="*/ 54 h 224"/>
                  <a:gd name="T30" fmla="*/ 2 w 252"/>
                  <a:gd name="T31" fmla="*/ 79 h 224"/>
                  <a:gd name="T32" fmla="*/ 9 w 252"/>
                  <a:gd name="T33" fmla="*/ 85 h 224"/>
                  <a:gd name="T34" fmla="*/ 9 w 252"/>
                  <a:gd name="T35" fmla="*/ 104 h 224"/>
                  <a:gd name="T36" fmla="*/ 20 w 252"/>
                  <a:gd name="T37" fmla="*/ 114 h 224"/>
                  <a:gd name="T38" fmla="*/ 17 w 252"/>
                  <a:gd name="T39" fmla="*/ 133 h 224"/>
                  <a:gd name="T40" fmla="*/ 26 w 252"/>
                  <a:gd name="T41" fmla="*/ 139 h 224"/>
                  <a:gd name="T42" fmla="*/ 27 w 252"/>
                  <a:gd name="T43" fmla="*/ 168 h 224"/>
                  <a:gd name="T44" fmla="*/ 46 w 252"/>
                  <a:gd name="T45" fmla="*/ 191 h 224"/>
                  <a:gd name="T46" fmla="*/ 59 w 252"/>
                  <a:gd name="T47" fmla="*/ 178 h 224"/>
                  <a:gd name="T48" fmla="*/ 68 w 252"/>
                  <a:gd name="T49" fmla="*/ 204 h 224"/>
                  <a:gd name="T50" fmla="*/ 91 w 252"/>
                  <a:gd name="T51" fmla="*/ 208 h 224"/>
                  <a:gd name="T52" fmla="*/ 97 w 252"/>
                  <a:gd name="T53" fmla="*/ 223 h 224"/>
                  <a:gd name="T54" fmla="*/ 110 w 252"/>
                  <a:gd name="T55" fmla="*/ 224 h 224"/>
                  <a:gd name="T56" fmla="*/ 139 w 252"/>
                  <a:gd name="T57" fmla="*/ 213 h 224"/>
                  <a:gd name="T58" fmla="*/ 135 w 252"/>
                  <a:gd name="T59" fmla="*/ 197 h 224"/>
                  <a:gd name="T60" fmla="*/ 153 w 252"/>
                  <a:gd name="T61" fmla="*/ 197 h 224"/>
                  <a:gd name="T62" fmla="*/ 169 w 252"/>
                  <a:gd name="T63" fmla="*/ 190 h 224"/>
                  <a:gd name="T64" fmla="*/ 193 w 252"/>
                  <a:gd name="T65" fmla="*/ 205 h 224"/>
                  <a:gd name="T66" fmla="*/ 183 w 252"/>
                  <a:gd name="T67" fmla="*/ 186 h 224"/>
                  <a:gd name="T68" fmla="*/ 175 w 252"/>
                  <a:gd name="T69" fmla="*/ 154 h 224"/>
                  <a:gd name="T70" fmla="*/ 204 w 252"/>
                  <a:gd name="T71" fmla="*/ 152 h 224"/>
                  <a:gd name="T72" fmla="*/ 201 w 252"/>
                  <a:gd name="T73" fmla="*/ 138 h 224"/>
                  <a:gd name="T74" fmla="*/ 222 w 252"/>
                  <a:gd name="T75" fmla="*/ 137 h 224"/>
                  <a:gd name="T76" fmla="*/ 228 w 252"/>
                  <a:gd name="T77" fmla="*/ 123 h 224"/>
                  <a:gd name="T78" fmla="*/ 245 w 252"/>
                  <a:gd name="T79" fmla="*/ 125 h 224"/>
                  <a:gd name="T80" fmla="*/ 248 w 252"/>
                  <a:gd name="T81" fmla="*/ 111 h 224"/>
                  <a:gd name="T82" fmla="*/ 237 w 252"/>
                  <a:gd name="T83" fmla="*/ 72 h 224"/>
                  <a:gd name="T84" fmla="*/ 252 w 252"/>
                  <a:gd name="T85" fmla="*/ 56 h 224"/>
                  <a:gd name="T86" fmla="*/ 231 w 252"/>
                  <a:gd name="T87" fmla="*/ 32 h 224"/>
                  <a:gd name="T88" fmla="*/ 231 w 252"/>
                  <a:gd name="T89" fmla="*/ 4 h 224"/>
                  <a:gd name="T90" fmla="*/ 214 w 252"/>
                  <a:gd name="T91"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52" h="224">
                    <a:moveTo>
                      <a:pt x="214" y="0"/>
                    </a:moveTo>
                    <a:cubicBezTo>
                      <a:pt x="206" y="9"/>
                      <a:pt x="206" y="9"/>
                      <a:pt x="206" y="9"/>
                    </a:cubicBezTo>
                    <a:cubicBezTo>
                      <a:pt x="184" y="0"/>
                      <a:pt x="184" y="0"/>
                      <a:pt x="184" y="0"/>
                    </a:cubicBezTo>
                    <a:cubicBezTo>
                      <a:pt x="175" y="8"/>
                      <a:pt x="175" y="8"/>
                      <a:pt x="175" y="8"/>
                    </a:cubicBezTo>
                    <a:cubicBezTo>
                      <a:pt x="164" y="16"/>
                      <a:pt x="164" y="16"/>
                      <a:pt x="164" y="16"/>
                    </a:cubicBezTo>
                    <a:cubicBezTo>
                      <a:pt x="164" y="16"/>
                      <a:pt x="176" y="28"/>
                      <a:pt x="168" y="36"/>
                    </a:cubicBezTo>
                    <a:cubicBezTo>
                      <a:pt x="160" y="44"/>
                      <a:pt x="151" y="24"/>
                      <a:pt x="151" y="24"/>
                    </a:cubicBezTo>
                    <a:cubicBezTo>
                      <a:pt x="151" y="24"/>
                      <a:pt x="135" y="23"/>
                      <a:pt x="131" y="22"/>
                    </a:cubicBezTo>
                    <a:cubicBezTo>
                      <a:pt x="128" y="21"/>
                      <a:pt x="128" y="16"/>
                      <a:pt x="128" y="13"/>
                    </a:cubicBezTo>
                    <a:cubicBezTo>
                      <a:pt x="125" y="15"/>
                      <a:pt x="123" y="16"/>
                      <a:pt x="123" y="16"/>
                    </a:cubicBezTo>
                    <a:cubicBezTo>
                      <a:pt x="123" y="16"/>
                      <a:pt x="106" y="7"/>
                      <a:pt x="101" y="8"/>
                    </a:cubicBezTo>
                    <a:cubicBezTo>
                      <a:pt x="96" y="9"/>
                      <a:pt x="74" y="15"/>
                      <a:pt x="74" y="15"/>
                    </a:cubicBezTo>
                    <a:cubicBezTo>
                      <a:pt x="74" y="15"/>
                      <a:pt x="73" y="5"/>
                      <a:pt x="46" y="10"/>
                    </a:cubicBezTo>
                    <a:cubicBezTo>
                      <a:pt x="19" y="15"/>
                      <a:pt x="19" y="34"/>
                      <a:pt x="19" y="34"/>
                    </a:cubicBezTo>
                    <a:cubicBezTo>
                      <a:pt x="0" y="54"/>
                      <a:pt x="0" y="54"/>
                      <a:pt x="0" y="54"/>
                    </a:cubicBezTo>
                    <a:cubicBezTo>
                      <a:pt x="2" y="79"/>
                      <a:pt x="2" y="79"/>
                      <a:pt x="2" y="79"/>
                    </a:cubicBezTo>
                    <a:cubicBezTo>
                      <a:pt x="9" y="85"/>
                      <a:pt x="9" y="85"/>
                      <a:pt x="9" y="85"/>
                    </a:cubicBezTo>
                    <a:cubicBezTo>
                      <a:pt x="9" y="104"/>
                      <a:pt x="9" y="104"/>
                      <a:pt x="9" y="104"/>
                    </a:cubicBezTo>
                    <a:cubicBezTo>
                      <a:pt x="20" y="114"/>
                      <a:pt x="20" y="114"/>
                      <a:pt x="20" y="114"/>
                    </a:cubicBezTo>
                    <a:cubicBezTo>
                      <a:pt x="17" y="133"/>
                      <a:pt x="17" y="133"/>
                      <a:pt x="17" y="133"/>
                    </a:cubicBezTo>
                    <a:cubicBezTo>
                      <a:pt x="20" y="134"/>
                      <a:pt x="23" y="136"/>
                      <a:pt x="26" y="139"/>
                    </a:cubicBezTo>
                    <a:cubicBezTo>
                      <a:pt x="41" y="156"/>
                      <a:pt x="27" y="168"/>
                      <a:pt x="27" y="168"/>
                    </a:cubicBezTo>
                    <a:cubicBezTo>
                      <a:pt x="27" y="168"/>
                      <a:pt x="36" y="190"/>
                      <a:pt x="46" y="191"/>
                    </a:cubicBezTo>
                    <a:cubicBezTo>
                      <a:pt x="56" y="191"/>
                      <a:pt x="59" y="178"/>
                      <a:pt x="59" y="178"/>
                    </a:cubicBezTo>
                    <a:cubicBezTo>
                      <a:pt x="59" y="178"/>
                      <a:pt x="58" y="202"/>
                      <a:pt x="68" y="204"/>
                    </a:cubicBezTo>
                    <a:cubicBezTo>
                      <a:pt x="79" y="206"/>
                      <a:pt x="89" y="198"/>
                      <a:pt x="91" y="208"/>
                    </a:cubicBezTo>
                    <a:cubicBezTo>
                      <a:pt x="92" y="212"/>
                      <a:pt x="95" y="218"/>
                      <a:pt x="97" y="223"/>
                    </a:cubicBezTo>
                    <a:cubicBezTo>
                      <a:pt x="110" y="224"/>
                      <a:pt x="110" y="224"/>
                      <a:pt x="110" y="224"/>
                    </a:cubicBezTo>
                    <a:cubicBezTo>
                      <a:pt x="112" y="219"/>
                      <a:pt x="124" y="214"/>
                      <a:pt x="139" y="213"/>
                    </a:cubicBezTo>
                    <a:cubicBezTo>
                      <a:pt x="159" y="211"/>
                      <a:pt x="135" y="197"/>
                      <a:pt x="135" y="197"/>
                    </a:cubicBezTo>
                    <a:cubicBezTo>
                      <a:pt x="135" y="197"/>
                      <a:pt x="149" y="197"/>
                      <a:pt x="153" y="197"/>
                    </a:cubicBezTo>
                    <a:cubicBezTo>
                      <a:pt x="157" y="197"/>
                      <a:pt x="159" y="190"/>
                      <a:pt x="169" y="190"/>
                    </a:cubicBezTo>
                    <a:cubicBezTo>
                      <a:pt x="179" y="190"/>
                      <a:pt x="186" y="206"/>
                      <a:pt x="193" y="205"/>
                    </a:cubicBezTo>
                    <a:cubicBezTo>
                      <a:pt x="200" y="204"/>
                      <a:pt x="193" y="194"/>
                      <a:pt x="183" y="186"/>
                    </a:cubicBezTo>
                    <a:cubicBezTo>
                      <a:pt x="173" y="178"/>
                      <a:pt x="173" y="160"/>
                      <a:pt x="175" y="154"/>
                    </a:cubicBezTo>
                    <a:cubicBezTo>
                      <a:pt x="177" y="148"/>
                      <a:pt x="204" y="152"/>
                      <a:pt x="204" y="152"/>
                    </a:cubicBezTo>
                    <a:cubicBezTo>
                      <a:pt x="201" y="138"/>
                      <a:pt x="201" y="138"/>
                      <a:pt x="201" y="138"/>
                    </a:cubicBezTo>
                    <a:cubicBezTo>
                      <a:pt x="222" y="137"/>
                      <a:pt x="222" y="137"/>
                      <a:pt x="222" y="137"/>
                    </a:cubicBezTo>
                    <a:cubicBezTo>
                      <a:pt x="222" y="137"/>
                      <a:pt x="223" y="126"/>
                      <a:pt x="228" y="123"/>
                    </a:cubicBezTo>
                    <a:cubicBezTo>
                      <a:pt x="233" y="120"/>
                      <a:pt x="245" y="125"/>
                      <a:pt x="245" y="125"/>
                    </a:cubicBezTo>
                    <a:cubicBezTo>
                      <a:pt x="248" y="111"/>
                      <a:pt x="248" y="111"/>
                      <a:pt x="248" y="111"/>
                    </a:cubicBezTo>
                    <a:cubicBezTo>
                      <a:pt x="248" y="111"/>
                      <a:pt x="238" y="75"/>
                      <a:pt x="237" y="72"/>
                    </a:cubicBezTo>
                    <a:cubicBezTo>
                      <a:pt x="236" y="69"/>
                      <a:pt x="252" y="69"/>
                      <a:pt x="252" y="56"/>
                    </a:cubicBezTo>
                    <a:cubicBezTo>
                      <a:pt x="252" y="43"/>
                      <a:pt x="231" y="32"/>
                      <a:pt x="231" y="32"/>
                    </a:cubicBezTo>
                    <a:cubicBezTo>
                      <a:pt x="231" y="4"/>
                      <a:pt x="231" y="4"/>
                      <a:pt x="231" y="4"/>
                    </a:cubicBezTo>
                    <a:lnTo>
                      <a:pt x="214" y="0"/>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63" name="Freeform 185">
                <a:extLst>
                  <a:ext uri="{FF2B5EF4-FFF2-40B4-BE49-F238E27FC236}">
                    <a16:creationId xmlns:a16="http://schemas.microsoft.com/office/drawing/2014/main" id="{CF6FDD7B-EB21-480F-8BC1-87475ACE06A7}"/>
                  </a:ext>
                </a:extLst>
              </p:cNvPr>
              <p:cNvSpPr>
                <a:spLocks noEditPoints="1"/>
              </p:cNvSpPr>
              <p:nvPr>
                <p:custDataLst>
                  <p:tags r:id="rId144"/>
                </p:custDataLst>
              </p:nvPr>
            </p:nvSpPr>
            <p:spPr bwMode="gray">
              <a:xfrm>
                <a:off x="7867606" y="3235337"/>
                <a:ext cx="115888" cy="158750"/>
              </a:xfrm>
              <a:custGeom>
                <a:avLst/>
                <a:gdLst>
                  <a:gd name="T0" fmla="*/ 100 w 191"/>
                  <a:gd name="T1" fmla="*/ 267 h 284"/>
                  <a:gd name="T2" fmla="*/ 101 w 191"/>
                  <a:gd name="T3" fmla="*/ 284 h 284"/>
                  <a:gd name="T4" fmla="*/ 100 w 191"/>
                  <a:gd name="T5" fmla="*/ 267 h 284"/>
                  <a:gd name="T6" fmla="*/ 185 w 191"/>
                  <a:gd name="T7" fmla="*/ 165 h 284"/>
                  <a:gd name="T8" fmla="*/ 166 w 191"/>
                  <a:gd name="T9" fmla="*/ 132 h 284"/>
                  <a:gd name="T10" fmla="*/ 162 w 191"/>
                  <a:gd name="T11" fmla="*/ 101 h 284"/>
                  <a:gd name="T12" fmla="*/ 111 w 191"/>
                  <a:gd name="T13" fmla="*/ 50 h 284"/>
                  <a:gd name="T14" fmla="*/ 98 w 191"/>
                  <a:gd name="T15" fmla="*/ 45 h 284"/>
                  <a:gd name="T16" fmla="*/ 82 w 191"/>
                  <a:gd name="T17" fmla="*/ 21 h 284"/>
                  <a:gd name="T18" fmla="*/ 64 w 191"/>
                  <a:gd name="T19" fmla="*/ 0 h 284"/>
                  <a:gd name="T20" fmla="*/ 54 w 191"/>
                  <a:gd name="T21" fmla="*/ 10 h 284"/>
                  <a:gd name="T22" fmla="*/ 16 w 191"/>
                  <a:gd name="T23" fmla="*/ 16 h 284"/>
                  <a:gd name="T24" fmla="*/ 13 w 191"/>
                  <a:gd name="T25" fmla="*/ 29 h 284"/>
                  <a:gd name="T26" fmla="*/ 0 w 191"/>
                  <a:gd name="T27" fmla="*/ 39 h 284"/>
                  <a:gd name="T28" fmla="*/ 8 w 191"/>
                  <a:gd name="T29" fmla="*/ 56 h 284"/>
                  <a:gd name="T30" fmla="*/ 30 w 191"/>
                  <a:gd name="T31" fmla="*/ 64 h 284"/>
                  <a:gd name="T32" fmla="*/ 41 w 191"/>
                  <a:gd name="T33" fmla="*/ 89 h 284"/>
                  <a:gd name="T34" fmla="*/ 6 w 191"/>
                  <a:gd name="T35" fmla="*/ 82 h 284"/>
                  <a:gd name="T36" fmla="*/ 27 w 191"/>
                  <a:gd name="T37" fmla="*/ 102 h 284"/>
                  <a:gd name="T38" fmla="*/ 37 w 191"/>
                  <a:gd name="T39" fmla="*/ 130 h 284"/>
                  <a:gd name="T40" fmla="*/ 60 w 191"/>
                  <a:gd name="T41" fmla="*/ 134 h 284"/>
                  <a:gd name="T42" fmla="*/ 60 w 191"/>
                  <a:gd name="T43" fmla="*/ 153 h 284"/>
                  <a:gd name="T44" fmla="*/ 54 w 191"/>
                  <a:gd name="T45" fmla="*/ 180 h 284"/>
                  <a:gd name="T46" fmla="*/ 74 w 191"/>
                  <a:gd name="T47" fmla="*/ 199 h 284"/>
                  <a:gd name="T48" fmla="*/ 80 w 191"/>
                  <a:gd name="T49" fmla="*/ 222 h 284"/>
                  <a:gd name="T50" fmla="*/ 100 w 191"/>
                  <a:gd name="T51" fmla="*/ 203 h 284"/>
                  <a:gd name="T52" fmla="*/ 133 w 191"/>
                  <a:gd name="T53" fmla="*/ 188 h 284"/>
                  <a:gd name="T54" fmla="*/ 150 w 191"/>
                  <a:gd name="T55" fmla="*/ 193 h 284"/>
                  <a:gd name="T56" fmla="*/ 155 w 191"/>
                  <a:gd name="T57" fmla="*/ 181 h 284"/>
                  <a:gd name="T58" fmla="*/ 185 w 191"/>
                  <a:gd name="T59" fmla="*/ 165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1" h="284">
                    <a:moveTo>
                      <a:pt x="100" y="267"/>
                    </a:moveTo>
                    <a:cubicBezTo>
                      <a:pt x="76" y="275"/>
                      <a:pt x="86" y="284"/>
                      <a:pt x="101" y="284"/>
                    </a:cubicBezTo>
                    <a:cubicBezTo>
                      <a:pt x="120" y="284"/>
                      <a:pt x="124" y="259"/>
                      <a:pt x="100" y="267"/>
                    </a:cubicBezTo>
                    <a:close/>
                    <a:moveTo>
                      <a:pt x="185" y="165"/>
                    </a:moveTo>
                    <a:cubicBezTo>
                      <a:pt x="179" y="146"/>
                      <a:pt x="166" y="132"/>
                      <a:pt x="166" y="132"/>
                    </a:cubicBezTo>
                    <a:cubicBezTo>
                      <a:pt x="166" y="132"/>
                      <a:pt x="171" y="115"/>
                      <a:pt x="162" y="101"/>
                    </a:cubicBezTo>
                    <a:cubicBezTo>
                      <a:pt x="153" y="87"/>
                      <a:pt x="111" y="50"/>
                      <a:pt x="111" y="50"/>
                    </a:cubicBezTo>
                    <a:cubicBezTo>
                      <a:pt x="98" y="45"/>
                      <a:pt x="98" y="45"/>
                      <a:pt x="98" y="45"/>
                    </a:cubicBezTo>
                    <a:cubicBezTo>
                      <a:pt x="98" y="45"/>
                      <a:pt x="94" y="34"/>
                      <a:pt x="82" y="21"/>
                    </a:cubicBezTo>
                    <a:cubicBezTo>
                      <a:pt x="76" y="14"/>
                      <a:pt x="69" y="6"/>
                      <a:pt x="64" y="0"/>
                    </a:cubicBezTo>
                    <a:cubicBezTo>
                      <a:pt x="54" y="10"/>
                      <a:pt x="54" y="10"/>
                      <a:pt x="54" y="10"/>
                    </a:cubicBezTo>
                    <a:cubicBezTo>
                      <a:pt x="54" y="10"/>
                      <a:pt x="30" y="9"/>
                      <a:pt x="16" y="16"/>
                    </a:cubicBezTo>
                    <a:cubicBezTo>
                      <a:pt x="2" y="24"/>
                      <a:pt x="14" y="26"/>
                      <a:pt x="13" y="29"/>
                    </a:cubicBezTo>
                    <a:cubicBezTo>
                      <a:pt x="12" y="32"/>
                      <a:pt x="0" y="39"/>
                      <a:pt x="0" y="39"/>
                    </a:cubicBezTo>
                    <a:cubicBezTo>
                      <a:pt x="0" y="39"/>
                      <a:pt x="1" y="50"/>
                      <a:pt x="8" y="56"/>
                    </a:cubicBezTo>
                    <a:cubicBezTo>
                      <a:pt x="15" y="62"/>
                      <a:pt x="30" y="64"/>
                      <a:pt x="30" y="64"/>
                    </a:cubicBezTo>
                    <a:cubicBezTo>
                      <a:pt x="41" y="89"/>
                      <a:pt x="41" y="89"/>
                      <a:pt x="41" y="89"/>
                    </a:cubicBezTo>
                    <a:cubicBezTo>
                      <a:pt x="41" y="89"/>
                      <a:pt x="7" y="75"/>
                      <a:pt x="6" y="82"/>
                    </a:cubicBezTo>
                    <a:cubicBezTo>
                      <a:pt x="5" y="89"/>
                      <a:pt x="27" y="102"/>
                      <a:pt x="27" y="102"/>
                    </a:cubicBezTo>
                    <a:cubicBezTo>
                      <a:pt x="37" y="130"/>
                      <a:pt x="37" y="130"/>
                      <a:pt x="37" y="130"/>
                    </a:cubicBezTo>
                    <a:cubicBezTo>
                      <a:pt x="60" y="134"/>
                      <a:pt x="60" y="134"/>
                      <a:pt x="60" y="134"/>
                    </a:cubicBezTo>
                    <a:cubicBezTo>
                      <a:pt x="60" y="153"/>
                      <a:pt x="60" y="153"/>
                      <a:pt x="60" y="153"/>
                    </a:cubicBezTo>
                    <a:cubicBezTo>
                      <a:pt x="60" y="153"/>
                      <a:pt x="49" y="161"/>
                      <a:pt x="54" y="180"/>
                    </a:cubicBezTo>
                    <a:cubicBezTo>
                      <a:pt x="59" y="199"/>
                      <a:pt x="74" y="199"/>
                      <a:pt x="74" y="199"/>
                    </a:cubicBezTo>
                    <a:cubicBezTo>
                      <a:pt x="74" y="199"/>
                      <a:pt x="61" y="225"/>
                      <a:pt x="80" y="222"/>
                    </a:cubicBezTo>
                    <a:cubicBezTo>
                      <a:pt x="99" y="219"/>
                      <a:pt x="100" y="203"/>
                      <a:pt x="100" y="203"/>
                    </a:cubicBezTo>
                    <a:cubicBezTo>
                      <a:pt x="133" y="188"/>
                      <a:pt x="133" y="188"/>
                      <a:pt x="133" y="188"/>
                    </a:cubicBezTo>
                    <a:cubicBezTo>
                      <a:pt x="150" y="193"/>
                      <a:pt x="150" y="193"/>
                      <a:pt x="150" y="193"/>
                    </a:cubicBezTo>
                    <a:cubicBezTo>
                      <a:pt x="155" y="181"/>
                      <a:pt x="155" y="181"/>
                      <a:pt x="155" y="181"/>
                    </a:cubicBezTo>
                    <a:cubicBezTo>
                      <a:pt x="155" y="181"/>
                      <a:pt x="191" y="184"/>
                      <a:pt x="185" y="165"/>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64" name="Freeform 186">
                <a:extLst>
                  <a:ext uri="{FF2B5EF4-FFF2-40B4-BE49-F238E27FC236}">
                    <a16:creationId xmlns:a16="http://schemas.microsoft.com/office/drawing/2014/main" id="{58F5F29D-2B54-44E5-8A6D-A47824DCCB8C}"/>
                  </a:ext>
                </a:extLst>
              </p:cNvPr>
              <p:cNvSpPr>
                <a:spLocks/>
              </p:cNvSpPr>
              <p:nvPr>
                <p:custDataLst>
                  <p:tags r:id="rId145"/>
                </p:custDataLst>
              </p:nvPr>
            </p:nvSpPr>
            <p:spPr bwMode="gray">
              <a:xfrm>
                <a:off x="7291348" y="3713177"/>
                <a:ext cx="244474" cy="260351"/>
              </a:xfrm>
              <a:custGeom>
                <a:avLst/>
                <a:gdLst>
                  <a:gd name="T0" fmla="*/ 28 w 404"/>
                  <a:gd name="T1" fmla="*/ 124 h 470"/>
                  <a:gd name="T2" fmla="*/ 47 w 404"/>
                  <a:gd name="T3" fmla="*/ 163 h 470"/>
                  <a:gd name="T4" fmla="*/ 68 w 404"/>
                  <a:gd name="T5" fmla="*/ 160 h 470"/>
                  <a:gd name="T6" fmla="*/ 74 w 404"/>
                  <a:gd name="T7" fmla="*/ 196 h 470"/>
                  <a:gd name="T8" fmla="*/ 73 w 404"/>
                  <a:gd name="T9" fmla="*/ 224 h 470"/>
                  <a:gd name="T10" fmla="*/ 88 w 404"/>
                  <a:gd name="T11" fmla="*/ 254 h 470"/>
                  <a:gd name="T12" fmla="*/ 143 w 404"/>
                  <a:gd name="T13" fmla="*/ 245 h 470"/>
                  <a:gd name="T14" fmla="*/ 187 w 404"/>
                  <a:gd name="T15" fmla="*/ 228 h 470"/>
                  <a:gd name="T16" fmla="*/ 215 w 404"/>
                  <a:gd name="T17" fmla="*/ 247 h 470"/>
                  <a:gd name="T18" fmla="*/ 248 w 404"/>
                  <a:gd name="T19" fmla="*/ 298 h 470"/>
                  <a:gd name="T20" fmla="*/ 283 w 404"/>
                  <a:gd name="T21" fmla="*/ 347 h 470"/>
                  <a:gd name="T22" fmla="*/ 294 w 404"/>
                  <a:gd name="T23" fmla="*/ 367 h 470"/>
                  <a:gd name="T24" fmla="*/ 302 w 404"/>
                  <a:gd name="T25" fmla="*/ 425 h 470"/>
                  <a:gd name="T26" fmla="*/ 290 w 404"/>
                  <a:gd name="T27" fmla="*/ 448 h 470"/>
                  <a:gd name="T28" fmla="*/ 327 w 404"/>
                  <a:gd name="T29" fmla="*/ 462 h 470"/>
                  <a:gd name="T30" fmla="*/ 334 w 404"/>
                  <a:gd name="T31" fmla="*/ 434 h 470"/>
                  <a:gd name="T32" fmla="*/ 365 w 404"/>
                  <a:gd name="T33" fmla="*/ 435 h 470"/>
                  <a:gd name="T34" fmla="*/ 390 w 404"/>
                  <a:gd name="T35" fmla="*/ 430 h 470"/>
                  <a:gd name="T36" fmla="*/ 391 w 404"/>
                  <a:gd name="T37" fmla="*/ 410 h 470"/>
                  <a:gd name="T38" fmla="*/ 369 w 404"/>
                  <a:gd name="T39" fmla="*/ 369 h 470"/>
                  <a:gd name="T40" fmla="*/ 361 w 404"/>
                  <a:gd name="T41" fmla="*/ 331 h 470"/>
                  <a:gd name="T42" fmla="*/ 334 w 404"/>
                  <a:gd name="T43" fmla="*/ 299 h 470"/>
                  <a:gd name="T44" fmla="*/ 319 w 404"/>
                  <a:gd name="T45" fmla="*/ 289 h 470"/>
                  <a:gd name="T46" fmla="*/ 285 w 404"/>
                  <a:gd name="T47" fmla="*/ 236 h 470"/>
                  <a:gd name="T48" fmla="*/ 256 w 404"/>
                  <a:gd name="T49" fmla="*/ 203 h 470"/>
                  <a:gd name="T50" fmla="*/ 193 w 404"/>
                  <a:gd name="T51" fmla="*/ 168 h 470"/>
                  <a:gd name="T52" fmla="*/ 218 w 404"/>
                  <a:gd name="T53" fmla="*/ 156 h 470"/>
                  <a:gd name="T54" fmla="*/ 212 w 404"/>
                  <a:gd name="T55" fmla="*/ 112 h 470"/>
                  <a:gd name="T56" fmla="*/ 184 w 404"/>
                  <a:gd name="T57" fmla="*/ 79 h 470"/>
                  <a:gd name="T58" fmla="*/ 160 w 404"/>
                  <a:gd name="T59" fmla="*/ 90 h 470"/>
                  <a:gd name="T60" fmla="*/ 128 w 404"/>
                  <a:gd name="T61" fmla="*/ 63 h 470"/>
                  <a:gd name="T62" fmla="*/ 118 w 404"/>
                  <a:gd name="T63" fmla="*/ 40 h 470"/>
                  <a:gd name="T64" fmla="*/ 91 w 404"/>
                  <a:gd name="T65" fmla="*/ 2 h 470"/>
                  <a:gd name="T66" fmla="*/ 60 w 404"/>
                  <a:gd name="T67" fmla="*/ 22 h 470"/>
                  <a:gd name="T68" fmla="*/ 79 w 404"/>
                  <a:gd name="T69" fmla="*/ 72 h 470"/>
                  <a:gd name="T70" fmla="*/ 48 w 404"/>
                  <a:gd name="T71" fmla="*/ 57 h 470"/>
                  <a:gd name="T72" fmla="*/ 26 w 404"/>
                  <a:gd name="T73" fmla="*/ 74 h 470"/>
                  <a:gd name="T74" fmla="*/ 26 w 404"/>
                  <a:gd name="T75" fmla="*/ 89 h 470"/>
                  <a:gd name="T76" fmla="*/ 2 w 404"/>
                  <a:gd name="T77" fmla="*/ 11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4" h="470">
                    <a:moveTo>
                      <a:pt x="17" y="121"/>
                    </a:moveTo>
                    <a:cubicBezTo>
                      <a:pt x="17" y="121"/>
                      <a:pt x="27" y="116"/>
                      <a:pt x="28" y="124"/>
                    </a:cubicBezTo>
                    <a:cubicBezTo>
                      <a:pt x="29" y="132"/>
                      <a:pt x="22" y="153"/>
                      <a:pt x="28" y="158"/>
                    </a:cubicBezTo>
                    <a:cubicBezTo>
                      <a:pt x="34" y="163"/>
                      <a:pt x="47" y="163"/>
                      <a:pt x="47" y="163"/>
                    </a:cubicBezTo>
                    <a:cubicBezTo>
                      <a:pt x="45" y="155"/>
                      <a:pt x="45" y="155"/>
                      <a:pt x="45" y="155"/>
                    </a:cubicBezTo>
                    <a:cubicBezTo>
                      <a:pt x="45" y="155"/>
                      <a:pt x="68" y="146"/>
                      <a:pt x="68" y="160"/>
                    </a:cubicBezTo>
                    <a:cubicBezTo>
                      <a:pt x="68" y="174"/>
                      <a:pt x="66" y="180"/>
                      <a:pt x="66" y="180"/>
                    </a:cubicBezTo>
                    <a:cubicBezTo>
                      <a:pt x="66" y="180"/>
                      <a:pt x="74" y="187"/>
                      <a:pt x="74" y="196"/>
                    </a:cubicBezTo>
                    <a:cubicBezTo>
                      <a:pt x="74" y="205"/>
                      <a:pt x="60" y="216"/>
                      <a:pt x="60" y="216"/>
                    </a:cubicBezTo>
                    <a:cubicBezTo>
                      <a:pt x="60" y="216"/>
                      <a:pt x="73" y="215"/>
                      <a:pt x="73" y="224"/>
                    </a:cubicBezTo>
                    <a:cubicBezTo>
                      <a:pt x="73" y="233"/>
                      <a:pt x="49" y="264"/>
                      <a:pt x="59" y="267"/>
                    </a:cubicBezTo>
                    <a:cubicBezTo>
                      <a:pt x="69" y="270"/>
                      <a:pt x="88" y="254"/>
                      <a:pt x="88" y="254"/>
                    </a:cubicBezTo>
                    <a:cubicBezTo>
                      <a:pt x="88" y="254"/>
                      <a:pt x="101" y="229"/>
                      <a:pt x="108" y="231"/>
                    </a:cubicBezTo>
                    <a:cubicBezTo>
                      <a:pt x="115" y="233"/>
                      <a:pt x="129" y="244"/>
                      <a:pt x="143" y="245"/>
                    </a:cubicBezTo>
                    <a:cubicBezTo>
                      <a:pt x="157" y="246"/>
                      <a:pt x="154" y="221"/>
                      <a:pt x="164" y="220"/>
                    </a:cubicBezTo>
                    <a:cubicBezTo>
                      <a:pt x="174" y="219"/>
                      <a:pt x="187" y="228"/>
                      <a:pt x="187" y="228"/>
                    </a:cubicBezTo>
                    <a:cubicBezTo>
                      <a:pt x="187" y="228"/>
                      <a:pt x="194" y="226"/>
                      <a:pt x="202" y="228"/>
                    </a:cubicBezTo>
                    <a:cubicBezTo>
                      <a:pt x="210" y="230"/>
                      <a:pt x="197" y="236"/>
                      <a:pt x="215" y="247"/>
                    </a:cubicBezTo>
                    <a:cubicBezTo>
                      <a:pt x="233" y="258"/>
                      <a:pt x="247" y="270"/>
                      <a:pt x="247" y="270"/>
                    </a:cubicBezTo>
                    <a:cubicBezTo>
                      <a:pt x="248" y="298"/>
                      <a:pt x="248" y="298"/>
                      <a:pt x="248" y="298"/>
                    </a:cubicBezTo>
                    <a:cubicBezTo>
                      <a:pt x="248" y="298"/>
                      <a:pt x="255" y="318"/>
                      <a:pt x="260" y="327"/>
                    </a:cubicBezTo>
                    <a:cubicBezTo>
                      <a:pt x="265" y="336"/>
                      <a:pt x="283" y="343"/>
                      <a:pt x="283" y="347"/>
                    </a:cubicBezTo>
                    <a:cubicBezTo>
                      <a:pt x="283" y="351"/>
                      <a:pt x="285" y="364"/>
                      <a:pt x="285" y="364"/>
                    </a:cubicBezTo>
                    <a:cubicBezTo>
                      <a:pt x="285" y="364"/>
                      <a:pt x="288" y="357"/>
                      <a:pt x="294" y="367"/>
                    </a:cubicBezTo>
                    <a:cubicBezTo>
                      <a:pt x="300" y="377"/>
                      <a:pt x="285" y="390"/>
                      <a:pt x="287" y="394"/>
                    </a:cubicBezTo>
                    <a:cubicBezTo>
                      <a:pt x="289" y="398"/>
                      <a:pt x="312" y="413"/>
                      <a:pt x="302" y="425"/>
                    </a:cubicBezTo>
                    <a:cubicBezTo>
                      <a:pt x="296" y="432"/>
                      <a:pt x="291" y="436"/>
                      <a:pt x="287" y="439"/>
                    </a:cubicBezTo>
                    <a:cubicBezTo>
                      <a:pt x="287" y="442"/>
                      <a:pt x="287" y="447"/>
                      <a:pt x="290" y="448"/>
                    </a:cubicBezTo>
                    <a:cubicBezTo>
                      <a:pt x="294" y="449"/>
                      <a:pt x="310" y="450"/>
                      <a:pt x="310" y="450"/>
                    </a:cubicBezTo>
                    <a:cubicBezTo>
                      <a:pt x="310" y="450"/>
                      <a:pt x="319" y="470"/>
                      <a:pt x="327" y="462"/>
                    </a:cubicBezTo>
                    <a:cubicBezTo>
                      <a:pt x="335" y="454"/>
                      <a:pt x="323" y="442"/>
                      <a:pt x="323" y="442"/>
                    </a:cubicBezTo>
                    <a:cubicBezTo>
                      <a:pt x="334" y="434"/>
                      <a:pt x="334" y="434"/>
                      <a:pt x="334" y="434"/>
                    </a:cubicBezTo>
                    <a:cubicBezTo>
                      <a:pt x="343" y="426"/>
                      <a:pt x="343" y="426"/>
                      <a:pt x="343" y="426"/>
                    </a:cubicBezTo>
                    <a:cubicBezTo>
                      <a:pt x="365" y="435"/>
                      <a:pt x="365" y="435"/>
                      <a:pt x="365" y="435"/>
                    </a:cubicBezTo>
                    <a:cubicBezTo>
                      <a:pt x="373" y="426"/>
                      <a:pt x="373" y="426"/>
                      <a:pt x="373" y="426"/>
                    </a:cubicBezTo>
                    <a:cubicBezTo>
                      <a:pt x="390" y="430"/>
                      <a:pt x="390" y="430"/>
                      <a:pt x="390" y="430"/>
                    </a:cubicBezTo>
                    <a:cubicBezTo>
                      <a:pt x="390" y="430"/>
                      <a:pt x="396" y="431"/>
                      <a:pt x="400" y="423"/>
                    </a:cubicBezTo>
                    <a:cubicBezTo>
                      <a:pt x="404" y="415"/>
                      <a:pt x="391" y="410"/>
                      <a:pt x="391" y="410"/>
                    </a:cubicBezTo>
                    <a:cubicBezTo>
                      <a:pt x="402" y="389"/>
                      <a:pt x="402" y="389"/>
                      <a:pt x="402" y="389"/>
                    </a:cubicBezTo>
                    <a:cubicBezTo>
                      <a:pt x="402" y="389"/>
                      <a:pt x="383" y="380"/>
                      <a:pt x="369" y="369"/>
                    </a:cubicBezTo>
                    <a:cubicBezTo>
                      <a:pt x="355" y="358"/>
                      <a:pt x="369" y="355"/>
                      <a:pt x="377" y="350"/>
                    </a:cubicBezTo>
                    <a:cubicBezTo>
                      <a:pt x="385" y="345"/>
                      <a:pt x="361" y="331"/>
                      <a:pt x="361" y="331"/>
                    </a:cubicBezTo>
                    <a:cubicBezTo>
                      <a:pt x="361" y="331"/>
                      <a:pt x="351" y="330"/>
                      <a:pt x="344" y="323"/>
                    </a:cubicBezTo>
                    <a:cubicBezTo>
                      <a:pt x="337" y="316"/>
                      <a:pt x="334" y="299"/>
                      <a:pt x="334" y="299"/>
                    </a:cubicBezTo>
                    <a:cubicBezTo>
                      <a:pt x="320" y="300"/>
                      <a:pt x="320" y="300"/>
                      <a:pt x="320" y="300"/>
                    </a:cubicBezTo>
                    <a:cubicBezTo>
                      <a:pt x="319" y="289"/>
                      <a:pt x="319" y="289"/>
                      <a:pt x="319" y="289"/>
                    </a:cubicBezTo>
                    <a:cubicBezTo>
                      <a:pt x="319" y="289"/>
                      <a:pt x="308" y="278"/>
                      <a:pt x="295" y="267"/>
                    </a:cubicBezTo>
                    <a:cubicBezTo>
                      <a:pt x="282" y="256"/>
                      <a:pt x="285" y="236"/>
                      <a:pt x="285" y="236"/>
                    </a:cubicBezTo>
                    <a:cubicBezTo>
                      <a:pt x="285" y="236"/>
                      <a:pt x="263" y="228"/>
                      <a:pt x="259" y="224"/>
                    </a:cubicBezTo>
                    <a:cubicBezTo>
                      <a:pt x="255" y="220"/>
                      <a:pt x="256" y="203"/>
                      <a:pt x="256" y="203"/>
                    </a:cubicBezTo>
                    <a:cubicBezTo>
                      <a:pt x="256" y="203"/>
                      <a:pt x="238" y="198"/>
                      <a:pt x="232" y="193"/>
                    </a:cubicBezTo>
                    <a:cubicBezTo>
                      <a:pt x="226" y="188"/>
                      <a:pt x="193" y="168"/>
                      <a:pt x="193" y="168"/>
                    </a:cubicBezTo>
                    <a:cubicBezTo>
                      <a:pt x="193" y="168"/>
                      <a:pt x="193" y="156"/>
                      <a:pt x="191" y="152"/>
                    </a:cubicBezTo>
                    <a:cubicBezTo>
                      <a:pt x="189" y="148"/>
                      <a:pt x="218" y="156"/>
                      <a:pt x="218" y="156"/>
                    </a:cubicBezTo>
                    <a:cubicBezTo>
                      <a:pt x="218" y="156"/>
                      <a:pt x="237" y="142"/>
                      <a:pt x="243" y="132"/>
                    </a:cubicBezTo>
                    <a:cubicBezTo>
                      <a:pt x="249" y="122"/>
                      <a:pt x="230" y="120"/>
                      <a:pt x="212" y="112"/>
                    </a:cubicBezTo>
                    <a:cubicBezTo>
                      <a:pt x="194" y="104"/>
                      <a:pt x="214" y="98"/>
                      <a:pt x="214" y="98"/>
                    </a:cubicBezTo>
                    <a:cubicBezTo>
                      <a:pt x="214" y="98"/>
                      <a:pt x="192" y="80"/>
                      <a:pt x="184" y="79"/>
                    </a:cubicBezTo>
                    <a:cubicBezTo>
                      <a:pt x="176" y="78"/>
                      <a:pt x="179" y="90"/>
                      <a:pt x="172" y="98"/>
                    </a:cubicBezTo>
                    <a:cubicBezTo>
                      <a:pt x="165" y="106"/>
                      <a:pt x="160" y="90"/>
                      <a:pt x="160" y="90"/>
                    </a:cubicBezTo>
                    <a:cubicBezTo>
                      <a:pt x="151" y="90"/>
                      <a:pt x="151" y="90"/>
                      <a:pt x="151" y="90"/>
                    </a:cubicBezTo>
                    <a:cubicBezTo>
                      <a:pt x="151" y="90"/>
                      <a:pt x="138" y="76"/>
                      <a:pt x="128" y="63"/>
                    </a:cubicBezTo>
                    <a:cubicBezTo>
                      <a:pt x="118" y="50"/>
                      <a:pt x="131" y="41"/>
                      <a:pt x="127" y="37"/>
                    </a:cubicBezTo>
                    <a:cubicBezTo>
                      <a:pt x="123" y="33"/>
                      <a:pt x="118" y="40"/>
                      <a:pt x="118" y="40"/>
                    </a:cubicBezTo>
                    <a:cubicBezTo>
                      <a:pt x="118" y="40"/>
                      <a:pt x="102" y="22"/>
                      <a:pt x="96" y="15"/>
                    </a:cubicBezTo>
                    <a:cubicBezTo>
                      <a:pt x="93" y="12"/>
                      <a:pt x="92" y="7"/>
                      <a:pt x="91" y="2"/>
                    </a:cubicBezTo>
                    <a:cubicBezTo>
                      <a:pt x="67" y="0"/>
                      <a:pt x="67" y="0"/>
                      <a:pt x="67" y="0"/>
                    </a:cubicBezTo>
                    <a:cubicBezTo>
                      <a:pt x="67" y="0"/>
                      <a:pt x="59" y="9"/>
                      <a:pt x="60" y="22"/>
                    </a:cubicBezTo>
                    <a:cubicBezTo>
                      <a:pt x="61" y="35"/>
                      <a:pt x="79" y="47"/>
                      <a:pt x="79" y="47"/>
                    </a:cubicBezTo>
                    <a:cubicBezTo>
                      <a:pt x="79" y="72"/>
                      <a:pt x="79" y="72"/>
                      <a:pt x="79" y="72"/>
                    </a:cubicBezTo>
                    <a:cubicBezTo>
                      <a:pt x="50" y="70"/>
                      <a:pt x="50" y="70"/>
                      <a:pt x="50" y="70"/>
                    </a:cubicBezTo>
                    <a:cubicBezTo>
                      <a:pt x="48" y="57"/>
                      <a:pt x="48" y="57"/>
                      <a:pt x="48" y="57"/>
                    </a:cubicBezTo>
                    <a:cubicBezTo>
                      <a:pt x="26" y="67"/>
                      <a:pt x="26" y="67"/>
                      <a:pt x="26" y="67"/>
                    </a:cubicBezTo>
                    <a:cubicBezTo>
                      <a:pt x="26" y="74"/>
                      <a:pt x="26" y="74"/>
                      <a:pt x="26" y="74"/>
                    </a:cubicBezTo>
                    <a:cubicBezTo>
                      <a:pt x="21" y="82"/>
                      <a:pt x="21" y="82"/>
                      <a:pt x="21" y="82"/>
                    </a:cubicBezTo>
                    <a:cubicBezTo>
                      <a:pt x="26" y="89"/>
                      <a:pt x="26" y="89"/>
                      <a:pt x="26" y="89"/>
                    </a:cubicBezTo>
                    <a:cubicBezTo>
                      <a:pt x="26" y="89"/>
                      <a:pt x="18" y="92"/>
                      <a:pt x="9" y="95"/>
                    </a:cubicBezTo>
                    <a:cubicBezTo>
                      <a:pt x="0" y="98"/>
                      <a:pt x="2" y="110"/>
                      <a:pt x="2" y="110"/>
                    </a:cubicBezTo>
                    <a:cubicBezTo>
                      <a:pt x="6" y="111"/>
                      <a:pt x="17" y="121"/>
                      <a:pt x="17" y="121"/>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65" name="Freeform 187">
                <a:extLst>
                  <a:ext uri="{FF2B5EF4-FFF2-40B4-BE49-F238E27FC236}">
                    <a16:creationId xmlns:a16="http://schemas.microsoft.com/office/drawing/2014/main" id="{BEFD0A96-C871-42AB-9C32-71F5ACC60849}"/>
                  </a:ext>
                </a:extLst>
              </p:cNvPr>
              <p:cNvSpPr>
                <a:spLocks/>
              </p:cNvSpPr>
              <p:nvPr>
                <p:custDataLst>
                  <p:tags r:id="rId146"/>
                </p:custDataLst>
              </p:nvPr>
            </p:nvSpPr>
            <p:spPr bwMode="gray">
              <a:xfrm>
                <a:off x="7226260" y="3771915"/>
                <a:ext cx="253999" cy="446089"/>
              </a:xfrm>
              <a:custGeom>
                <a:avLst/>
                <a:gdLst>
                  <a:gd name="T0" fmla="*/ 402 w 420"/>
                  <a:gd name="T1" fmla="*/ 258 h 800"/>
                  <a:gd name="T2" fmla="*/ 391 w 420"/>
                  <a:gd name="T3" fmla="*/ 238 h 800"/>
                  <a:gd name="T4" fmla="*/ 356 w 420"/>
                  <a:gd name="T5" fmla="*/ 189 h 800"/>
                  <a:gd name="T6" fmla="*/ 323 w 420"/>
                  <a:gd name="T7" fmla="*/ 138 h 800"/>
                  <a:gd name="T8" fmla="*/ 295 w 420"/>
                  <a:gd name="T9" fmla="*/ 119 h 800"/>
                  <a:gd name="T10" fmla="*/ 251 w 420"/>
                  <a:gd name="T11" fmla="*/ 136 h 800"/>
                  <a:gd name="T12" fmla="*/ 196 w 420"/>
                  <a:gd name="T13" fmla="*/ 145 h 800"/>
                  <a:gd name="T14" fmla="*/ 181 w 420"/>
                  <a:gd name="T15" fmla="*/ 115 h 800"/>
                  <a:gd name="T16" fmla="*/ 182 w 420"/>
                  <a:gd name="T17" fmla="*/ 87 h 800"/>
                  <a:gd name="T18" fmla="*/ 176 w 420"/>
                  <a:gd name="T19" fmla="*/ 51 h 800"/>
                  <a:gd name="T20" fmla="*/ 155 w 420"/>
                  <a:gd name="T21" fmla="*/ 54 h 800"/>
                  <a:gd name="T22" fmla="*/ 136 w 420"/>
                  <a:gd name="T23" fmla="*/ 15 h 800"/>
                  <a:gd name="T24" fmla="*/ 110 w 420"/>
                  <a:gd name="T25" fmla="*/ 1 h 800"/>
                  <a:gd name="T26" fmla="*/ 82 w 420"/>
                  <a:gd name="T27" fmla="*/ 21 h 800"/>
                  <a:gd name="T28" fmla="*/ 53 w 420"/>
                  <a:gd name="T29" fmla="*/ 43 h 800"/>
                  <a:gd name="T30" fmla="*/ 19 w 420"/>
                  <a:gd name="T31" fmla="*/ 64 h 800"/>
                  <a:gd name="T32" fmla="*/ 17 w 420"/>
                  <a:gd name="T33" fmla="*/ 102 h 800"/>
                  <a:gd name="T34" fmla="*/ 8 w 420"/>
                  <a:gd name="T35" fmla="*/ 120 h 800"/>
                  <a:gd name="T36" fmla="*/ 22 w 420"/>
                  <a:gd name="T37" fmla="*/ 145 h 800"/>
                  <a:gd name="T38" fmla="*/ 67 w 420"/>
                  <a:gd name="T39" fmla="*/ 188 h 800"/>
                  <a:gd name="T40" fmla="*/ 79 w 420"/>
                  <a:gd name="T41" fmla="*/ 219 h 800"/>
                  <a:gd name="T42" fmla="*/ 73 w 420"/>
                  <a:gd name="T43" fmla="*/ 236 h 800"/>
                  <a:gd name="T44" fmla="*/ 65 w 420"/>
                  <a:gd name="T45" fmla="*/ 279 h 800"/>
                  <a:gd name="T46" fmla="*/ 79 w 420"/>
                  <a:gd name="T47" fmla="*/ 326 h 800"/>
                  <a:gd name="T48" fmla="*/ 112 w 420"/>
                  <a:gd name="T49" fmla="*/ 409 h 800"/>
                  <a:gd name="T50" fmla="*/ 133 w 420"/>
                  <a:gd name="T51" fmla="*/ 450 h 800"/>
                  <a:gd name="T52" fmla="*/ 110 w 420"/>
                  <a:gd name="T53" fmla="*/ 522 h 800"/>
                  <a:gd name="T54" fmla="*/ 98 w 420"/>
                  <a:gd name="T55" fmla="*/ 567 h 800"/>
                  <a:gd name="T56" fmla="*/ 84 w 420"/>
                  <a:gd name="T57" fmla="*/ 676 h 800"/>
                  <a:gd name="T58" fmla="*/ 101 w 420"/>
                  <a:gd name="T59" fmla="*/ 653 h 800"/>
                  <a:gd name="T60" fmla="*/ 132 w 420"/>
                  <a:gd name="T61" fmla="*/ 698 h 800"/>
                  <a:gd name="T62" fmla="*/ 159 w 420"/>
                  <a:gd name="T63" fmla="*/ 743 h 800"/>
                  <a:gd name="T64" fmla="*/ 184 w 420"/>
                  <a:gd name="T65" fmla="*/ 754 h 800"/>
                  <a:gd name="T66" fmla="*/ 198 w 420"/>
                  <a:gd name="T67" fmla="*/ 749 h 800"/>
                  <a:gd name="T68" fmla="*/ 222 w 420"/>
                  <a:gd name="T69" fmla="*/ 765 h 800"/>
                  <a:gd name="T70" fmla="*/ 226 w 420"/>
                  <a:gd name="T71" fmla="*/ 791 h 800"/>
                  <a:gd name="T72" fmla="*/ 268 w 420"/>
                  <a:gd name="T73" fmla="*/ 792 h 800"/>
                  <a:gd name="T74" fmla="*/ 261 w 420"/>
                  <a:gd name="T75" fmla="*/ 755 h 800"/>
                  <a:gd name="T76" fmla="*/ 215 w 420"/>
                  <a:gd name="T77" fmla="*/ 727 h 800"/>
                  <a:gd name="T78" fmla="*/ 190 w 420"/>
                  <a:gd name="T79" fmla="*/ 705 h 800"/>
                  <a:gd name="T80" fmla="*/ 190 w 420"/>
                  <a:gd name="T81" fmla="*/ 679 h 800"/>
                  <a:gd name="T82" fmla="*/ 165 w 420"/>
                  <a:gd name="T83" fmla="*/ 635 h 800"/>
                  <a:gd name="T84" fmla="*/ 131 w 420"/>
                  <a:gd name="T85" fmla="*/ 608 h 800"/>
                  <a:gd name="T86" fmla="*/ 120 w 420"/>
                  <a:gd name="T87" fmla="*/ 524 h 800"/>
                  <a:gd name="T88" fmla="*/ 138 w 420"/>
                  <a:gd name="T89" fmla="*/ 456 h 800"/>
                  <a:gd name="T90" fmla="*/ 147 w 420"/>
                  <a:gd name="T91" fmla="*/ 396 h 800"/>
                  <a:gd name="T92" fmla="*/ 158 w 420"/>
                  <a:gd name="T93" fmla="*/ 374 h 800"/>
                  <a:gd name="T94" fmla="*/ 201 w 420"/>
                  <a:gd name="T95" fmla="*/ 381 h 800"/>
                  <a:gd name="T96" fmla="*/ 199 w 420"/>
                  <a:gd name="T97" fmla="*/ 419 h 800"/>
                  <a:gd name="T98" fmla="*/ 265 w 420"/>
                  <a:gd name="T99" fmla="*/ 457 h 800"/>
                  <a:gd name="T100" fmla="*/ 287 w 420"/>
                  <a:gd name="T101" fmla="*/ 431 h 800"/>
                  <a:gd name="T102" fmla="*/ 276 w 420"/>
                  <a:gd name="T103" fmla="*/ 402 h 800"/>
                  <a:gd name="T104" fmla="*/ 267 w 420"/>
                  <a:gd name="T105" fmla="*/ 371 h 800"/>
                  <a:gd name="T106" fmla="*/ 313 w 420"/>
                  <a:gd name="T107" fmla="*/ 327 h 800"/>
                  <a:gd name="T108" fmla="*/ 368 w 420"/>
                  <a:gd name="T109" fmla="*/ 325 h 800"/>
                  <a:gd name="T110" fmla="*/ 410 w 420"/>
                  <a:gd name="T111" fmla="*/ 316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800">
                    <a:moveTo>
                      <a:pt x="395" y="285"/>
                    </a:moveTo>
                    <a:cubicBezTo>
                      <a:pt x="393" y="281"/>
                      <a:pt x="408" y="268"/>
                      <a:pt x="402" y="258"/>
                    </a:cubicBezTo>
                    <a:cubicBezTo>
                      <a:pt x="396" y="248"/>
                      <a:pt x="393" y="255"/>
                      <a:pt x="393" y="255"/>
                    </a:cubicBezTo>
                    <a:cubicBezTo>
                      <a:pt x="393" y="255"/>
                      <a:pt x="391" y="242"/>
                      <a:pt x="391" y="238"/>
                    </a:cubicBezTo>
                    <a:cubicBezTo>
                      <a:pt x="391" y="234"/>
                      <a:pt x="373" y="227"/>
                      <a:pt x="368" y="218"/>
                    </a:cubicBezTo>
                    <a:cubicBezTo>
                      <a:pt x="363" y="209"/>
                      <a:pt x="356" y="189"/>
                      <a:pt x="356" y="189"/>
                    </a:cubicBezTo>
                    <a:cubicBezTo>
                      <a:pt x="355" y="161"/>
                      <a:pt x="355" y="161"/>
                      <a:pt x="355" y="161"/>
                    </a:cubicBezTo>
                    <a:cubicBezTo>
                      <a:pt x="355" y="161"/>
                      <a:pt x="341" y="149"/>
                      <a:pt x="323" y="138"/>
                    </a:cubicBezTo>
                    <a:cubicBezTo>
                      <a:pt x="305" y="127"/>
                      <a:pt x="318" y="121"/>
                      <a:pt x="310" y="119"/>
                    </a:cubicBezTo>
                    <a:cubicBezTo>
                      <a:pt x="302" y="117"/>
                      <a:pt x="295" y="119"/>
                      <a:pt x="295" y="119"/>
                    </a:cubicBezTo>
                    <a:cubicBezTo>
                      <a:pt x="295" y="119"/>
                      <a:pt x="282" y="110"/>
                      <a:pt x="272" y="111"/>
                    </a:cubicBezTo>
                    <a:cubicBezTo>
                      <a:pt x="262" y="112"/>
                      <a:pt x="265" y="137"/>
                      <a:pt x="251" y="136"/>
                    </a:cubicBezTo>
                    <a:cubicBezTo>
                      <a:pt x="237" y="135"/>
                      <a:pt x="223" y="124"/>
                      <a:pt x="216" y="122"/>
                    </a:cubicBezTo>
                    <a:cubicBezTo>
                      <a:pt x="209" y="120"/>
                      <a:pt x="196" y="145"/>
                      <a:pt x="196" y="145"/>
                    </a:cubicBezTo>
                    <a:cubicBezTo>
                      <a:pt x="196" y="145"/>
                      <a:pt x="177" y="161"/>
                      <a:pt x="167" y="158"/>
                    </a:cubicBezTo>
                    <a:cubicBezTo>
                      <a:pt x="157" y="155"/>
                      <a:pt x="181" y="124"/>
                      <a:pt x="181" y="115"/>
                    </a:cubicBezTo>
                    <a:cubicBezTo>
                      <a:pt x="181" y="106"/>
                      <a:pt x="168" y="107"/>
                      <a:pt x="168" y="107"/>
                    </a:cubicBezTo>
                    <a:cubicBezTo>
                      <a:pt x="168" y="107"/>
                      <a:pt x="182" y="96"/>
                      <a:pt x="182" y="87"/>
                    </a:cubicBezTo>
                    <a:cubicBezTo>
                      <a:pt x="182" y="78"/>
                      <a:pt x="174" y="71"/>
                      <a:pt x="174" y="71"/>
                    </a:cubicBezTo>
                    <a:cubicBezTo>
                      <a:pt x="174" y="71"/>
                      <a:pt x="176" y="65"/>
                      <a:pt x="176" y="51"/>
                    </a:cubicBezTo>
                    <a:cubicBezTo>
                      <a:pt x="176" y="37"/>
                      <a:pt x="153" y="46"/>
                      <a:pt x="153" y="46"/>
                    </a:cubicBezTo>
                    <a:cubicBezTo>
                      <a:pt x="155" y="54"/>
                      <a:pt x="155" y="54"/>
                      <a:pt x="155" y="54"/>
                    </a:cubicBezTo>
                    <a:cubicBezTo>
                      <a:pt x="155" y="54"/>
                      <a:pt x="142" y="54"/>
                      <a:pt x="136" y="49"/>
                    </a:cubicBezTo>
                    <a:cubicBezTo>
                      <a:pt x="130" y="44"/>
                      <a:pt x="137" y="23"/>
                      <a:pt x="136" y="15"/>
                    </a:cubicBezTo>
                    <a:cubicBezTo>
                      <a:pt x="135" y="7"/>
                      <a:pt x="125" y="12"/>
                      <a:pt x="125" y="12"/>
                    </a:cubicBezTo>
                    <a:cubicBezTo>
                      <a:pt x="125" y="12"/>
                      <a:pt x="114" y="2"/>
                      <a:pt x="110" y="1"/>
                    </a:cubicBezTo>
                    <a:cubicBezTo>
                      <a:pt x="106" y="0"/>
                      <a:pt x="87" y="6"/>
                      <a:pt x="87" y="6"/>
                    </a:cubicBezTo>
                    <a:cubicBezTo>
                      <a:pt x="82" y="21"/>
                      <a:pt x="82" y="21"/>
                      <a:pt x="82" y="21"/>
                    </a:cubicBezTo>
                    <a:cubicBezTo>
                      <a:pt x="65" y="22"/>
                      <a:pt x="65" y="22"/>
                      <a:pt x="65" y="22"/>
                    </a:cubicBezTo>
                    <a:cubicBezTo>
                      <a:pt x="65" y="22"/>
                      <a:pt x="63" y="40"/>
                      <a:pt x="53" y="43"/>
                    </a:cubicBezTo>
                    <a:cubicBezTo>
                      <a:pt x="43" y="46"/>
                      <a:pt x="34" y="35"/>
                      <a:pt x="23" y="37"/>
                    </a:cubicBezTo>
                    <a:cubicBezTo>
                      <a:pt x="12" y="39"/>
                      <a:pt x="20" y="55"/>
                      <a:pt x="19" y="64"/>
                    </a:cubicBezTo>
                    <a:cubicBezTo>
                      <a:pt x="18" y="73"/>
                      <a:pt x="8" y="74"/>
                      <a:pt x="7" y="78"/>
                    </a:cubicBezTo>
                    <a:cubicBezTo>
                      <a:pt x="6" y="82"/>
                      <a:pt x="17" y="93"/>
                      <a:pt x="17" y="102"/>
                    </a:cubicBezTo>
                    <a:cubicBezTo>
                      <a:pt x="17" y="111"/>
                      <a:pt x="6" y="105"/>
                      <a:pt x="3" y="108"/>
                    </a:cubicBezTo>
                    <a:cubicBezTo>
                      <a:pt x="0" y="111"/>
                      <a:pt x="3" y="116"/>
                      <a:pt x="8" y="120"/>
                    </a:cubicBezTo>
                    <a:cubicBezTo>
                      <a:pt x="13" y="124"/>
                      <a:pt x="26" y="130"/>
                      <a:pt x="26" y="130"/>
                    </a:cubicBezTo>
                    <a:cubicBezTo>
                      <a:pt x="22" y="145"/>
                      <a:pt x="22" y="145"/>
                      <a:pt x="22" y="145"/>
                    </a:cubicBezTo>
                    <a:cubicBezTo>
                      <a:pt x="22" y="145"/>
                      <a:pt x="27" y="148"/>
                      <a:pt x="30" y="158"/>
                    </a:cubicBezTo>
                    <a:cubicBezTo>
                      <a:pt x="33" y="168"/>
                      <a:pt x="59" y="177"/>
                      <a:pt x="67" y="188"/>
                    </a:cubicBezTo>
                    <a:cubicBezTo>
                      <a:pt x="75" y="199"/>
                      <a:pt x="61" y="194"/>
                      <a:pt x="66" y="206"/>
                    </a:cubicBezTo>
                    <a:cubicBezTo>
                      <a:pt x="71" y="218"/>
                      <a:pt x="79" y="219"/>
                      <a:pt x="79" y="219"/>
                    </a:cubicBezTo>
                    <a:cubicBezTo>
                      <a:pt x="79" y="219"/>
                      <a:pt x="85" y="211"/>
                      <a:pt x="85" y="224"/>
                    </a:cubicBezTo>
                    <a:cubicBezTo>
                      <a:pt x="85" y="237"/>
                      <a:pt x="73" y="236"/>
                      <a:pt x="73" y="236"/>
                    </a:cubicBezTo>
                    <a:cubicBezTo>
                      <a:pt x="73" y="236"/>
                      <a:pt x="76" y="247"/>
                      <a:pt x="76" y="253"/>
                    </a:cubicBezTo>
                    <a:cubicBezTo>
                      <a:pt x="76" y="259"/>
                      <a:pt x="75" y="269"/>
                      <a:pt x="65" y="279"/>
                    </a:cubicBezTo>
                    <a:cubicBezTo>
                      <a:pt x="55" y="289"/>
                      <a:pt x="63" y="302"/>
                      <a:pt x="63" y="302"/>
                    </a:cubicBezTo>
                    <a:cubicBezTo>
                      <a:pt x="63" y="302"/>
                      <a:pt x="75" y="316"/>
                      <a:pt x="79" y="326"/>
                    </a:cubicBezTo>
                    <a:cubicBezTo>
                      <a:pt x="83" y="336"/>
                      <a:pt x="105" y="349"/>
                      <a:pt x="109" y="364"/>
                    </a:cubicBezTo>
                    <a:cubicBezTo>
                      <a:pt x="113" y="379"/>
                      <a:pt x="108" y="403"/>
                      <a:pt x="112" y="409"/>
                    </a:cubicBezTo>
                    <a:cubicBezTo>
                      <a:pt x="116" y="415"/>
                      <a:pt x="131" y="427"/>
                      <a:pt x="131" y="427"/>
                    </a:cubicBezTo>
                    <a:cubicBezTo>
                      <a:pt x="131" y="427"/>
                      <a:pt x="129" y="437"/>
                      <a:pt x="133" y="450"/>
                    </a:cubicBezTo>
                    <a:cubicBezTo>
                      <a:pt x="137" y="463"/>
                      <a:pt x="130" y="488"/>
                      <a:pt x="127" y="498"/>
                    </a:cubicBezTo>
                    <a:cubicBezTo>
                      <a:pt x="124" y="508"/>
                      <a:pt x="119" y="515"/>
                      <a:pt x="110" y="522"/>
                    </a:cubicBezTo>
                    <a:cubicBezTo>
                      <a:pt x="101" y="529"/>
                      <a:pt x="109" y="536"/>
                      <a:pt x="108" y="545"/>
                    </a:cubicBezTo>
                    <a:cubicBezTo>
                      <a:pt x="107" y="554"/>
                      <a:pt x="98" y="567"/>
                      <a:pt x="98" y="567"/>
                    </a:cubicBezTo>
                    <a:cubicBezTo>
                      <a:pt x="98" y="567"/>
                      <a:pt x="86" y="599"/>
                      <a:pt x="84" y="615"/>
                    </a:cubicBezTo>
                    <a:cubicBezTo>
                      <a:pt x="82" y="631"/>
                      <a:pt x="84" y="676"/>
                      <a:pt x="84" y="676"/>
                    </a:cubicBezTo>
                    <a:cubicBezTo>
                      <a:pt x="84" y="676"/>
                      <a:pt x="94" y="686"/>
                      <a:pt x="96" y="676"/>
                    </a:cubicBezTo>
                    <a:cubicBezTo>
                      <a:pt x="97" y="666"/>
                      <a:pt x="97" y="642"/>
                      <a:pt x="101" y="653"/>
                    </a:cubicBezTo>
                    <a:cubicBezTo>
                      <a:pt x="104" y="665"/>
                      <a:pt x="96" y="665"/>
                      <a:pt x="110" y="667"/>
                    </a:cubicBezTo>
                    <a:cubicBezTo>
                      <a:pt x="124" y="668"/>
                      <a:pt x="132" y="698"/>
                      <a:pt x="132" y="698"/>
                    </a:cubicBezTo>
                    <a:cubicBezTo>
                      <a:pt x="155" y="718"/>
                      <a:pt x="155" y="718"/>
                      <a:pt x="155" y="718"/>
                    </a:cubicBezTo>
                    <a:cubicBezTo>
                      <a:pt x="155" y="718"/>
                      <a:pt x="150" y="729"/>
                      <a:pt x="159" y="743"/>
                    </a:cubicBezTo>
                    <a:cubicBezTo>
                      <a:pt x="165" y="754"/>
                      <a:pt x="173" y="762"/>
                      <a:pt x="177" y="766"/>
                    </a:cubicBezTo>
                    <a:cubicBezTo>
                      <a:pt x="181" y="762"/>
                      <a:pt x="184" y="758"/>
                      <a:pt x="184" y="754"/>
                    </a:cubicBezTo>
                    <a:cubicBezTo>
                      <a:pt x="183" y="745"/>
                      <a:pt x="182" y="739"/>
                      <a:pt x="189" y="738"/>
                    </a:cubicBezTo>
                    <a:cubicBezTo>
                      <a:pt x="196" y="737"/>
                      <a:pt x="198" y="749"/>
                      <a:pt x="198" y="749"/>
                    </a:cubicBezTo>
                    <a:cubicBezTo>
                      <a:pt x="198" y="749"/>
                      <a:pt x="209" y="749"/>
                      <a:pt x="216" y="753"/>
                    </a:cubicBezTo>
                    <a:cubicBezTo>
                      <a:pt x="223" y="757"/>
                      <a:pt x="222" y="765"/>
                      <a:pt x="222" y="765"/>
                    </a:cubicBezTo>
                    <a:cubicBezTo>
                      <a:pt x="222" y="765"/>
                      <a:pt x="229" y="763"/>
                      <a:pt x="229" y="769"/>
                    </a:cubicBezTo>
                    <a:cubicBezTo>
                      <a:pt x="229" y="775"/>
                      <a:pt x="213" y="787"/>
                      <a:pt x="226" y="791"/>
                    </a:cubicBezTo>
                    <a:cubicBezTo>
                      <a:pt x="239" y="795"/>
                      <a:pt x="238" y="785"/>
                      <a:pt x="249" y="784"/>
                    </a:cubicBezTo>
                    <a:cubicBezTo>
                      <a:pt x="260" y="783"/>
                      <a:pt x="262" y="800"/>
                      <a:pt x="268" y="792"/>
                    </a:cubicBezTo>
                    <a:cubicBezTo>
                      <a:pt x="272" y="787"/>
                      <a:pt x="277" y="776"/>
                      <a:pt x="280" y="768"/>
                    </a:cubicBezTo>
                    <a:cubicBezTo>
                      <a:pt x="271" y="761"/>
                      <a:pt x="261" y="755"/>
                      <a:pt x="261" y="755"/>
                    </a:cubicBezTo>
                    <a:cubicBezTo>
                      <a:pt x="261" y="755"/>
                      <a:pt x="256" y="731"/>
                      <a:pt x="253" y="721"/>
                    </a:cubicBezTo>
                    <a:cubicBezTo>
                      <a:pt x="250" y="711"/>
                      <a:pt x="223" y="731"/>
                      <a:pt x="215" y="727"/>
                    </a:cubicBezTo>
                    <a:cubicBezTo>
                      <a:pt x="208" y="723"/>
                      <a:pt x="201" y="686"/>
                      <a:pt x="196" y="689"/>
                    </a:cubicBezTo>
                    <a:cubicBezTo>
                      <a:pt x="191" y="693"/>
                      <a:pt x="196" y="704"/>
                      <a:pt x="190" y="705"/>
                    </a:cubicBezTo>
                    <a:cubicBezTo>
                      <a:pt x="184" y="706"/>
                      <a:pt x="169" y="683"/>
                      <a:pt x="177" y="675"/>
                    </a:cubicBezTo>
                    <a:cubicBezTo>
                      <a:pt x="185" y="667"/>
                      <a:pt x="182" y="682"/>
                      <a:pt x="190" y="679"/>
                    </a:cubicBezTo>
                    <a:cubicBezTo>
                      <a:pt x="198" y="676"/>
                      <a:pt x="180" y="645"/>
                      <a:pt x="178" y="639"/>
                    </a:cubicBezTo>
                    <a:cubicBezTo>
                      <a:pt x="176" y="633"/>
                      <a:pt x="165" y="635"/>
                      <a:pt x="165" y="635"/>
                    </a:cubicBezTo>
                    <a:cubicBezTo>
                      <a:pt x="166" y="598"/>
                      <a:pt x="166" y="598"/>
                      <a:pt x="166" y="598"/>
                    </a:cubicBezTo>
                    <a:cubicBezTo>
                      <a:pt x="131" y="608"/>
                      <a:pt x="131" y="608"/>
                      <a:pt x="131" y="608"/>
                    </a:cubicBezTo>
                    <a:cubicBezTo>
                      <a:pt x="131" y="608"/>
                      <a:pt x="127" y="549"/>
                      <a:pt x="126" y="542"/>
                    </a:cubicBezTo>
                    <a:cubicBezTo>
                      <a:pt x="125" y="534"/>
                      <a:pt x="120" y="524"/>
                      <a:pt x="120" y="524"/>
                    </a:cubicBezTo>
                    <a:cubicBezTo>
                      <a:pt x="120" y="524"/>
                      <a:pt x="136" y="516"/>
                      <a:pt x="137" y="498"/>
                    </a:cubicBezTo>
                    <a:cubicBezTo>
                      <a:pt x="138" y="479"/>
                      <a:pt x="138" y="456"/>
                      <a:pt x="138" y="456"/>
                    </a:cubicBezTo>
                    <a:cubicBezTo>
                      <a:pt x="138" y="456"/>
                      <a:pt x="152" y="449"/>
                      <a:pt x="153" y="425"/>
                    </a:cubicBezTo>
                    <a:cubicBezTo>
                      <a:pt x="154" y="400"/>
                      <a:pt x="147" y="396"/>
                      <a:pt x="147" y="396"/>
                    </a:cubicBezTo>
                    <a:cubicBezTo>
                      <a:pt x="151" y="374"/>
                      <a:pt x="151" y="374"/>
                      <a:pt x="151" y="374"/>
                    </a:cubicBezTo>
                    <a:cubicBezTo>
                      <a:pt x="158" y="374"/>
                      <a:pt x="158" y="374"/>
                      <a:pt x="158" y="374"/>
                    </a:cubicBezTo>
                    <a:cubicBezTo>
                      <a:pt x="158" y="374"/>
                      <a:pt x="159" y="366"/>
                      <a:pt x="171" y="367"/>
                    </a:cubicBezTo>
                    <a:cubicBezTo>
                      <a:pt x="182" y="367"/>
                      <a:pt x="201" y="381"/>
                      <a:pt x="201" y="381"/>
                    </a:cubicBezTo>
                    <a:cubicBezTo>
                      <a:pt x="193" y="387"/>
                      <a:pt x="193" y="387"/>
                      <a:pt x="193" y="387"/>
                    </a:cubicBezTo>
                    <a:cubicBezTo>
                      <a:pt x="193" y="387"/>
                      <a:pt x="188" y="419"/>
                      <a:pt x="199" y="419"/>
                    </a:cubicBezTo>
                    <a:cubicBezTo>
                      <a:pt x="211" y="420"/>
                      <a:pt x="247" y="403"/>
                      <a:pt x="247" y="403"/>
                    </a:cubicBezTo>
                    <a:cubicBezTo>
                      <a:pt x="265" y="457"/>
                      <a:pt x="265" y="457"/>
                      <a:pt x="265" y="457"/>
                    </a:cubicBezTo>
                    <a:cubicBezTo>
                      <a:pt x="265" y="457"/>
                      <a:pt x="273" y="445"/>
                      <a:pt x="284" y="450"/>
                    </a:cubicBezTo>
                    <a:cubicBezTo>
                      <a:pt x="287" y="431"/>
                      <a:pt x="287" y="431"/>
                      <a:pt x="287" y="431"/>
                    </a:cubicBezTo>
                    <a:cubicBezTo>
                      <a:pt x="276" y="421"/>
                      <a:pt x="276" y="421"/>
                      <a:pt x="276" y="421"/>
                    </a:cubicBezTo>
                    <a:cubicBezTo>
                      <a:pt x="276" y="402"/>
                      <a:pt x="276" y="402"/>
                      <a:pt x="276" y="402"/>
                    </a:cubicBezTo>
                    <a:cubicBezTo>
                      <a:pt x="269" y="396"/>
                      <a:pt x="269" y="396"/>
                      <a:pt x="269" y="396"/>
                    </a:cubicBezTo>
                    <a:cubicBezTo>
                      <a:pt x="267" y="371"/>
                      <a:pt x="267" y="371"/>
                      <a:pt x="267" y="371"/>
                    </a:cubicBezTo>
                    <a:cubicBezTo>
                      <a:pt x="286" y="351"/>
                      <a:pt x="286" y="351"/>
                      <a:pt x="286" y="351"/>
                    </a:cubicBezTo>
                    <a:cubicBezTo>
                      <a:pt x="286" y="351"/>
                      <a:pt x="286" y="332"/>
                      <a:pt x="313" y="327"/>
                    </a:cubicBezTo>
                    <a:cubicBezTo>
                      <a:pt x="340" y="322"/>
                      <a:pt x="341" y="332"/>
                      <a:pt x="341" y="332"/>
                    </a:cubicBezTo>
                    <a:cubicBezTo>
                      <a:pt x="341" y="332"/>
                      <a:pt x="363" y="326"/>
                      <a:pt x="368" y="325"/>
                    </a:cubicBezTo>
                    <a:cubicBezTo>
                      <a:pt x="373" y="324"/>
                      <a:pt x="390" y="333"/>
                      <a:pt x="390" y="333"/>
                    </a:cubicBezTo>
                    <a:cubicBezTo>
                      <a:pt x="390" y="333"/>
                      <a:pt x="400" y="328"/>
                      <a:pt x="410" y="316"/>
                    </a:cubicBezTo>
                    <a:cubicBezTo>
                      <a:pt x="420" y="304"/>
                      <a:pt x="397" y="289"/>
                      <a:pt x="395" y="285"/>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66" name="Freeform 188">
                <a:extLst>
                  <a:ext uri="{FF2B5EF4-FFF2-40B4-BE49-F238E27FC236}">
                    <a16:creationId xmlns:a16="http://schemas.microsoft.com/office/drawing/2014/main" id="{9D2AD5F8-DA38-447B-A786-6624DC6207B3}"/>
                  </a:ext>
                </a:extLst>
              </p:cNvPr>
              <p:cNvSpPr>
                <a:spLocks/>
              </p:cNvSpPr>
              <p:nvPr>
                <p:custDataLst>
                  <p:tags r:id="rId147"/>
                </p:custDataLst>
              </p:nvPr>
            </p:nvSpPr>
            <p:spPr bwMode="gray">
              <a:xfrm>
                <a:off x="7345322" y="3686188"/>
                <a:ext cx="246061" cy="442915"/>
              </a:xfrm>
              <a:custGeom>
                <a:avLst/>
                <a:gdLst>
                  <a:gd name="T0" fmla="*/ 6 w 407"/>
                  <a:gd name="T1" fmla="*/ 62 h 795"/>
                  <a:gd name="T2" fmla="*/ 37 w 407"/>
                  <a:gd name="T3" fmla="*/ 84 h 795"/>
                  <a:gd name="T4" fmla="*/ 61 w 407"/>
                  <a:gd name="T5" fmla="*/ 137 h 795"/>
                  <a:gd name="T6" fmla="*/ 82 w 407"/>
                  <a:gd name="T7" fmla="*/ 145 h 795"/>
                  <a:gd name="T8" fmla="*/ 124 w 407"/>
                  <a:gd name="T9" fmla="*/ 145 h 795"/>
                  <a:gd name="T10" fmla="*/ 153 w 407"/>
                  <a:gd name="T11" fmla="*/ 179 h 795"/>
                  <a:gd name="T12" fmla="*/ 101 w 407"/>
                  <a:gd name="T13" fmla="*/ 199 h 795"/>
                  <a:gd name="T14" fmla="*/ 142 w 407"/>
                  <a:gd name="T15" fmla="*/ 240 h 795"/>
                  <a:gd name="T16" fmla="*/ 169 w 407"/>
                  <a:gd name="T17" fmla="*/ 271 h 795"/>
                  <a:gd name="T18" fmla="*/ 205 w 407"/>
                  <a:gd name="T19" fmla="*/ 314 h 795"/>
                  <a:gd name="T20" fmla="*/ 230 w 407"/>
                  <a:gd name="T21" fmla="*/ 347 h 795"/>
                  <a:gd name="T22" fmla="*/ 254 w 407"/>
                  <a:gd name="T23" fmla="*/ 370 h 795"/>
                  <a:gd name="T24" fmla="*/ 287 w 407"/>
                  <a:gd name="T25" fmla="*/ 397 h 795"/>
                  <a:gd name="T26" fmla="*/ 312 w 407"/>
                  <a:gd name="T27" fmla="*/ 436 h 795"/>
                  <a:gd name="T28" fmla="*/ 310 w 407"/>
                  <a:gd name="T29" fmla="*/ 470 h 795"/>
                  <a:gd name="T30" fmla="*/ 300 w 407"/>
                  <a:gd name="T31" fmla="*/ 505 h 795"/>
                  <a:gd name="T32" fmla="*/ 306 w 407"/>
                  <a:gd name="T33" fmla="*/ 545 h 795"/>
                  <a:gd name="T34" fmla="*/ 314 w 407"/>
                  <a:gd name="T35" fmla="*/ 598 h 795"/>
                  <a:gd name="T36" fmla="*/ 291 w 407"/>
                  <a:gd name="T37" fmla="*/ 610 h 795"/>
                  <a:gd name="T38" fmla="*/ 273 w 407"/>
                  <a:gd name="T39" fmla="*/ 625 h 795"/>
                  <a:gd name="T40" fmla="*/ 252 w 407"/>
                  <a:gd name="T41" fmla="*/ 659 h 795"/>
                  <a:gd name="T42" fmla="*/ 238 w 407"/>
                  <a:gd name="T43" fmla="*/ 663 h 795"/>
                  <a:gd name="T44" fmla="*/ 204 w 407"/>
                  <a:gd name="T45" fmla="*/ 670 h 795"/>
                  <a:gd name="T46" fmla="*/ 180 w 407"/>
                  <a:gd name="T47" fmla="*/ 703 h 795"/>
                  <a:gd name="T48" fmla="*/ 196 w 407"/>
                  <a:gd name="T49" fmla="*/ 734 h 795"/>
                  <a:gd name="T50" fmla="*/ 194 w 407"/>
                  <a:gd name="T51" fmla="*/ 789 h 795"/>
                  <a:gd name="T52" fmla="*/ 228 w 407"/>
                  <a:gd name="T53" fmla="*/ 783 h 795"/>
                  <a:gd name="T54" fmla="*/ 255 w 407"/>
                  <a:gd name="T55" fmla="*/ 752 h 795"/>
                  <a:gd name="T56" fmla="*/ 285 w 407"/>
                  <a:gd name="T57" fmla="*/ 735 h 795"/>
                  <a:gd name="T58" fmla="*/ 300 w 407"/>
                  <a:gd name="T59" fmla="*/ 693 h 795"/>
                  <a:gd name="T60" fmla="*/ 391 w 407"/>
                  <a:gd name="T61" fmla="*/ 639 h 795"/>
                  <a:gd name="T62" fmla="*/ 385 w 407"/>
                  <a:gd name="T63" fmla="*/ 539 h 795"/>
                  <a:gd name="T64" fmla="*/ 390 w 407"/>
                  <a:gd name="T65" fmla="*/ 485 h 795"/>
                  <a:gd name="T66" fmla="*/ 363 w 407"/>
                  <a:gd name="T67" fmla="*/ 418 h 795"/>
                  <a:gd name="T68" fmla="*/ 256 w 407"/>
                  <a:gd name="T69" fmla="*/ 332 h 795"/>
                  <a:gd name="T70" fmla="*/ 193 w 407"/>
                  <a:gd name="T71" fmla="*/ 235 h 795"/>
                  <a:gd name="T72" fmla="*/ 197 w 407"/>
                  <a:gd name="T73" fmla="*/ 160 h 795"/>
                  <a:gd name="T74" fmla="*/ 229 w 407"/>
                  <a:gd name="T75" fmla="*/ 129 h 795"/>
                  <a:gd name="T76" fmla="*/ 259 w 407"/>
                  <a:gd name="T77" fmla="*/ 100 h 795"/>
                  <a:gd name="T78" fmla="*/ 257 w 407"/>
                  <a:gd name="T79" fmla="*/ 92 h 795"/>
                  <a:gd name="T80" fmla="*/ 218 w 407"/>
                  <a:gd name="T81" fmla="*/ 75 h 795"/>
                  <a:gd name="T82" fmla="*/ 207 w 407"/>
                  <a:gd name="T83" fmla="*/ 61 h 795"/>
                  <a:gd name="T84" fmla="*/ 196 w 407"/>
                  <a:gd name="T85" fmla="*/ 47 h 795"/>
                  <a:gd name="T86" fmla="*/ 182 w 407"/>
                  <a:gd name="T87" fmla="*/ 25 h 795"/>
                  <a:gd name="T88" fmla="*/ 156 w 407"/>
                  <a:gd name="T89" fmla="*/ 22 h 795"/>
                  <a:gd name="T90" fmla="*/ 115 w 407"/>
                  <a:gd name="T91" fmla="*/ 9 h 795"/>
                  <a:gd name="T92" fmla="*/ 95 w 407"/>
                  <a:gd name="T93" fmla="*/ 36 h 795"/>
                  <a:gd name="T94" fmla="*/ 80 w 407"/>
                  <a:gd name="T95" fmla="*/ 29 h 795"/>
                  <a:gd name="T96" fmla="*/ 72 w 407"/>
                  <a:gd name="T97" fmla="*/ 42 h 795"/>
                  <a:gd name="T98" fmla="*/ 58 w 407"/>
                  <a:gd name="T99" fmla="*/ 30 h 795"/>
                  <a:gd name="T100" fmla="*/ 48 w 407"/>
                  <a:gd name="T101" fmla="*/ 31 h 795"/>
                  <a:gd name="T102" fmla="*/ 4 w 407"/>
                  <a:gd name="T103" fmla="*/ 32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7" h="795">
                    <a:moveTo>
                      <a:pt x="4" y="32"/>
                    </a:moveTo>
                    <a:cubicBezTo>
                      <a:pt x="0" y="40"/>
                      <a:pt x="0" y="55"/>
                      <a:pt x="6" y="62"/>
                    </a:cubicBezTo>
                    <a:cubicBezTo>
                      <a:pt x="12" y="69"/>
                      <a:pt x="28" y="87"/>
                      <a:pt x="28" y="87"/>
                    </a:cubicBezTo>
                    <a:cubicBezTo>
                      <a:pt x="28" y="87"/>
                      <a:pt x="33" y="80"/>
                      <a:pt x="37" y="84"/>
                    </a:cubicBezTo>
                    <a:cubicBezTo>
                      <a:pt x="41" y="88"/>
                      <a:pt x="28" y="97"/>
                      <a:pt x="38" y="110"/>
                    </a:cubicBezTo>
                    <a:cubicBezTo>
                      <a:pt x="48" y="123"/>
                      <a:pt x="61" y="137"/>
                      <a:pt x="61" y="137"/>
                    </a:cubicBezTo>
                    <a:cubicBezTo>
                      <a:pt x="70" y="137"/>
                      <a:pt x="70" y="137"/>
                      <a:pt x="70" y="137"/>
                    </a:cubicBezTo>
                    <a:cubicBezTo>
                      <a:pt x="70" y="137"/>
                      <a:pt x="75" y="153"/>
                      <a:pt x="82" y="145"/>
                    </a:cubicBezTo>
                    <a:cubicBezTo>
                      <a:pt x="89" y="137"/>
                      <a:pt x="86" y="125"/>
                      <a:pt x="94" y="126"/>
                    </a:cubicBezTo>
                    <a:cubicBezTo>
                      <a:pt x="102" y="127"/>
                      <a:pt x="124" y="145"/>
                      <a:pt x="124" y="145"/>
                    </a:cubicBezTo>
                    <a:cubicBezTo>
                      <a:pt x="124" y="145"/>
                      <a:pt x="104" y="151"/>
                      <a:pt x="122" y="159"/>
                    </a:cubicBezTo>
                    <a:cubicBezTo>
                      <a:pt x="140" y="167"/>
                      <a:pt x="159" y="169"/>
                      <a:pt x="153" y="179"/>
                    </a:cubicBezTo>
                    <a:cubicBezTo>
                      <a:pt x="147" y="189"/>
                      <a:pt x="128" y="203"/>
                      <a:pt x="128" y="203"/>
                    </a:cubicBezTo>
                    <a:cubicBezTo>
                      <a:pt x="128" y="203"/>
                      <a:pt x="99" y="195"/>
                      <a:pt x="101" y="199"/>
                    </a:cubicBezTo>
                    <a:cubicBezTo>
                      <a:pt x="103" y="203"/>
                      <a:pt x="103" y="215"/>
                      <a:pt x="103" y="215"/>
                    </a:cubicBezTo>
                    <a:cubicBezTo>
                      <a:pt x="103" y="215"/>
                      <a:pt x="136" y="235"/>
                      <a:pt x="142" y="240"/>
                    </a:cubicBezTo>
                    <a:cubicBezTo>
                      <a:pt x="148" y="245"/>
                      <a:pt x="166" y="250"/>
                      <a:pt x="166" y="250"/>
                    </a:cubicBezTo>
                    <a:cubicBezTo>
                      <a:pt x="166" y="250"/>
                      <a:pt x="165" y="267"/>
                      <a:pt x="169" y="271"/>
                    </a:cubicBezTo>
                    <a:cubicBezTo>
                      <a:pt x="173" y="275"/>
                      <a:pt x="195" y="283"/>
                      <a:pt x="195" y="283"/>
                    </a:cubicBezTo>
                    <a:cubicBezTo>
                      <a:pt x="195" y="283"/>
                      <a:pt x="192" y="303"/>
                      <a:pt x="205" y="314"/>
                    </a:cubicBezTo>
                    <a:cubicBezTo>
                      <a:pt x="218" y="325"/>
                      <a:pt x="229" y="336"/>
                      <a:pt x="229" y="336"/>
                    </a:cubicBezTo>
                    <a:cubicBezTo>
                      <a:pt x="230" y="347"/>
                      <a:pt x="230" y="347"/>
                      <a:pt x="230" y="347"/>
                    </a:cubicBezTo>
                    <a:cubicBezTo>
                      <a:pt x="244" y="346"/>
                      <a:pt x="244" y="346"/>
                      <a:pt x="244" y="346"/>
                    </a:cubicBezTo>
                    <a:cubicBezTo>
                      <a:pt x="244" y="346"/>
                      <a:pt x="247" y="363"/>
                      <a:pt x="254" y="370"/>
                    </a:cubicBezTo>
                    <a:cubicBezTo>
                      <a:pt x="261" y="377"/>
                      <a:pt x="271" y="378"/>
                      <a:pt x="271" y="378"/>
                    </a:cubicBezTo>
                    <a:cubicBezTo>
                      <a:pt x="271" y="378"/>
                      <a:pt x="295" y="392"/>
                      <a:pt x="287" y="397"/>
                    </a:cubicBezTo>
                    <a:cubicBezTo>
                      <a:pt x="279" y="402"/>
                      <a:pt x="265" y="405"/>
                      <a:pt x="279" y="416"/>
                    </a:cubicBezTo>
                    <a:cubicBezTo>
                      <a:pt x="293" y="427"/>
                      <a:pt x="312" y="436"/>
                      <a:pt x="312" y="436"/>
                    </a:cubicBezTo>
                    <a:cubicBezTo>
                      <a:pt x="301" y="457"/>
                      <a:pt x="301" y="457"/>
                      <a:pt x="301" y="457"/>
                    </a:cubicBezTo>
                    <a:cubicBezTo>
                      <a:pt x="301" y="457"/>
                      <a:pt x="314" y="462"/>
                      <a:pt x="310" y="470"/>
                    </a:cubicBezTo>
                    <a:cubicBezTo>
                      <a:pt x="306" y="478"/>
                      <a:pt x="300" y="477"/>
                      <a:pt x="300" y="477"/>
                    </a:cubicBezTo>
                    <a:cubicBezTo>
                      <a:pt x="300" y="505"/>
                      <a:pt x="300" y="505"/>
                      <a:pt x="300" y="505"/>
                    </a:cubicBezTo>
                    <a:cubicBezTo>
                      <a:pt x="300" y="505"/>
                      <a:pt x="321" y="516"/>
                      <a:pt x="321" y="529"/>
                    </a:cubicBezTo>
                    <a:cubicBezTo>
                      <a:pt x="321" y="542"/>
                      <a:pt x="305" y="542"/>
                      <a:pt x="306" y="545"/>
                    </a:cubicBezTo>
                    <a:cubicBezTo>
                      <a:pt x="307" y="548"/>
                      <a:pt x="317" y="584"/>
                      <a:pt x="317" y="584"/>
                    </a:cubicBezTo>
                    <a:cubicBezTo>
                      <a:pt x="314" y="598"/>
                      <a:pt x="314" y="598"/>
                      <a:pt x="314" y="598"/>
                    </a:cubicBezTo>
                    <a:cubicBezTo>
                      <a:pt x="314" y="598"/>
                      <a:pt x="302" y="593"/>
                      <a:pt x="297" y="596"/>
                    </a:cubicBezTo>
                    <a:cubicBezTo>
                      <a:pt x="292" y="599"/>
                      <a:pt x="291" y="610"/>
                      <a:pt x="291" y="610"/>
                    </a:cubicBezTo>
                    <a:cubicBezTo>
                      <a:pt x="270" y="611"/>
                      <a:pt x="270" y="611"/>
                      <a:pt x="270" y="611"/>
                    </a:cubicBezTo>
                    <a:cubicBezTo>
                      <a:pt x="273" y="625"/>
                      <a:pt x="273" y="625"/>
                      <a:pt x="273" y="625"/>
                    </a:cubicBezTo>
                    <a:cubicBezTo>
                      <a:pt x="273" y="625"/>
                      <a:pt x="246" y="621"/>
                      <a:pt x="244" y="627"/>
                    </a:cubicBezTo>
                    <a:cubicBezTo>
                      <a:pt x="242" y="633"/>
                      <a:pt x="242" y="651"/>
                      <a:pt x="252" y="659"/>
                    </a:cubicBezTo>
                    <a:cubicBezTo>
                      <a:pt x="262" y="667"/>
                      <a:pt x="269" y="677"/>
                      <a:pt x="262" y="678"/>
                    </a:cubicBezTo>
                    <a:cubicBezTo>
                      <a:pt x="255" y="679"/>
                      <a:pt x="248" y="663"/>
                      <a:pt x="238" y="663"/>
                    </a:cubicBezTo>
                    <a:cubicBezTo>
                      <a:pt x="228" y="663"/>
                      <a:pt x="226" y="670"/>
                      <a:pt x="222" y="670"/>
                    </a:cubicBezTo>
                    <a:cubicBezTo>
                      <a:pt x="218" y="670"/>
                      <a:pt x="204" y="670"/>
                      <a:pt x="204" y="670"/>
                    </a:cubicBezTo>
                    <a:cubicBezTo>
                      <a:pt x="204" y="670"/>
                      <a:pt x="228" y="684"/>
                      <a:pt x="208" y="686"/>
                    </a:cubicBezTo>
                    <a:cubicBezTo>
                      <a:pt x="188" y="688"/>
                      <a:pt x="174" y="695"/>
                      <a:pt x="180" y="703"/>
                    </a:cubicBezTo>
                    <a:cubicBezTo>
                      <a:pt x="186" y="711"/>
                      <a:pt x="209" y="723"/>
                      <a:pt x="209" y="723"/>
                    </a:cubicBezTo>
                    <a:cubicBezTo>
                      <a:pt x="196" y="734"/>
                      <a:pt x="196" y="734"/>
                      <a:pt x="196" y="734"/>
                    </a:cubicBezTo>
                    <a:cubicBezTo>
                      <a:pt x="196" y="734"/>
                      <a:pt x="210" y="769"/>
                      <a:pt x="203" y="775"/>
                    </a:cubicBezTo>
                    <a:cubicBezTo>
                      <a:pt x="199" y="778"/>
                      <a:pt x="196" y="784"/>
                      <a:pt x="194" y="789"/>
                    </a:cubicBezTo>
                    <a:cubicBezTo>
                      <a:pt x="195" y="789"/>
                      <a:pt x="195" y="789"/>
                      <a:pt x="195" y="789"/>
                    </a:cubicBezTo>
                    <a:cubicBezTo>
                      <a:pt x="204" y="795"/>
                      <a:pt x="218" y="795"/>
                      <a:pt x="228" y="783"/>
                    </a:cubicBezTo>
                    <a:cubicBezTo>
                      <a:pt x="239" y="772"/>
                      <a:pt x="252" y="768"/>
                      <a:pt x="252" y="768"/>
                    </a:cubicBezTo>
                    <a:cubicBezTo>
                      <a:pt x="255" y="752"/>
                      <a:pt x="255" y="752"/>
                      <a:pt x="255" y="752"/>
                    </a:cubicBezTo>
                    <a:cubicBezTo>
                      <a:pt x="255" y="736"/>
                      <a:pt x="255" y="736"/>
                      <a:pt x="255" y="736"/>
                    </a:cubicBezTo>
                    <a:cubicBezTo>
                      <a:pt x="255" y="736"/>
                      <a:pt x="280" y="747"/>
                      <a:pt x="285" y="735"/>
                    </a:cubicBezTo>
                    <a:cubicBezTo>
                      <a:pt x="289" y="723"/>
                      <a:pt x="269" y="711"/>
                      <a:pt x="273" y="708"/>
                    </a:cubicBezTo>
                    <a:cubicBezTo>
                      <a:pt x="277" y="704"/>
                      <a:pt x="300" y="693"/>
                      <a:pt x="300" y="693"/>
                    </a:cubicBezTo>
                    <a:cubicBezTo>
                      <a:pt x="300" y="693"/>
                      <a:pt x="311" y="702"/>
                      <a:pt x="334" y="690"/>
                    </a:cubicBezTo>
                    <a:cubicBezTo>
                      <a:pt x="356" y="679"/>
                      <a:pt x="387" y="656"/>
                      <a:pt x="391" y="639"/>
                    </a:cubicBezTo>
                    <a:cubicBezTo>
                      <a:pt x="394" y="622"/>
                      <a:pt x="407" y="577"/>
                      <a:pt x="405" y="567"/>
                    </a:cubicBezTo>
                    <a:cubicBezTo>
                      <a:pt x="403" y="557"/>
                      <a:pt x="385" y="539"/>
                      <a:pt x="385" y="539"/>
                    </a:cubicBezTo>
                    <a:cubicBezTo>
                      <a:pt x="395" y="535"/>
                      <a:pt x="395" y="535"/>
                      <a:pt x="395" y="535"/>
                    </a:cubicBezTo>
                    <a:cubicBezTo>
                      <a:pt x="395" y="535"/>
                      <a:pt x="395" y="498"/>
                      <a:pt x="390" y="485"/>
                    </a:cubicBezTo>
                    <a:cubicBezTo>
                      <a:pt x="384" y="471"/>
                      <a:pt x="368" y="448"/>
                      <a:pt x="368" y="448"/>
                    </a:cubicBezTo>
                    <a:cubicBezTo>
                      <a:pt x="368" y="448"/>
                      <a:pt x="379" y="434"/>
                      <a:pt x="363" y="418"/>
                    </a:cubicBezTo>
                    <a:cubicBezTo>
                      <a:pt x="347" y="403"/>
                      <a:pt x="302" y="361"/>
                      <a:pt x="288" y="354"/>
                    </a:cubicBezTo>
                    <a:cubicBezTo>
                      <a:pt x="274" y="348"/>
                      <a:pt x="259" y="340"/>
                      <a:pt x="256" y="332"/>
                    </a:cubicBezTo>
                    <a:cubicBezTo>
                      <a:pt x="252" y="325"/>
                      <a:pt x="260" y="319"/>
                      <a:pt x="254" y="309"/>
                    </a:cubicBezTo>
                    <a:cubicBezTo>
                      <a:pt x="248" y="299"/>
                      <a:pt x="200" y="258"/>
                      <a:pt x="193" y="235"/>
                    </a:cubicBezTo>
                    <a:cubicBezTo>
                      <a:pt x="187" y="211"/>
                      <a:pt x="182" y="185"/>
                      <a:pt x="188" y="180"/>
                    </a:cubicBezTo>
                    <a:cubicBezTo>
                      <a:pt x="195" y="176"/>
                      <a:pt x="197" y="160"/>
                      <a:pt x="197" y="160"/>
                    </a:cubicBezTo>
                    <a:cubicBezTo>
                      <a:pt x="197" y="160"/>
                      <a:pt x="215" y="147"/>
                      <a:pt x="220" y="143"/>
                    </a:cubicBezTo>
                    <a:cubicBezTo>
                      <a:pt x="226" y="140"/>
                      <a:pt x="229" y="129"/>
                      <a:pt x="229" y="129"/>
                    </a:cubicBezTo>
                    <a:cubicBezTo>
                      <a:pt x="229" y="129"/>
                      <a:pt x="248" y="132"/>
                      <a:pt x="254" y="127"/>
                    </a:cubicBezTo>
                    <a:cubicBezTo>
                      <a:pt x="259" y="122"/>
                      <a:pt x="259" y="100"/>
                      <a:pt x="259" y="100"/>
                    </a:cubicBezTo>
                    <a:cubicBezTo>
                      <a:pt x="266" y="95"/>
                      <a:pt x="266" y="95"/>
                      <a:pt x="266" y="95"/>
                    </a:cubicBezTo>
                    <a:cubicBezTo>
                      <a:pt x="264" y="94"/>
                      <a:pt x="261" y="92"/>
                      <a:pt x="257" y="92"/>
                    </a:cubicBezTo>
                    <a:cubicBezTo>
                      <a:pt x="249" y="91"/>
                      <a:pt x="236" y="94"/>
                      <a:pt x="229" y="87"/>
                    </a:cubicBezTo>
                    <a:cubicBezTo>
                      <a:pt x="222" y="80"/>
                      <a:pt x="218" y="75"/>
                      <a:pt x="218" y="75"/>
                    </a:cubicBezTo>
                    <a:cubicBezTo>
                      <a:pt x="207" y="74"/>
                      <a:pt x="207" y="74"/>
                      <a:pt x="207" y="74"/>
                    </a:cubicBezTo>
                    <a:cubicBezTo>
                      <a:pt x="207" y="61"/>
                      <a:pt x="207" y="61"/>
                      <a:pt x="207" y="61"/>
                    </a:cubicBezTo>
                    <a:cubicBezTo>
                      <a:pt x="200" y="57"/>
                      <a:pt x="200" y="57"/>
                      <a:pt x="200" y="57"/>
                    </a:cubicBezTo>
                    <a:cubicBezTo>
                      <a:pt x="196" y="47"/>
                      <a:pt x="196" y="47"/>
                      <a:pt x="196" y="47"/>
                    </a:cubicBezTo>
                    <a:cubicBezTo>
                      <a:pt x="196" y="47"/>
                      <a:pt x="212" y="40"/>
                      <a:pt x="207" y="32"/>
                    </a:cubicBezTo>
                    <a:cubicBezTo>
                      <a:pt x="202" y="24"/>
                      <a:pt x="182" y="25"/>
                      <a:pt x="182" y="25"/>
                    </a:cubicBezTo>
                    <a:cubicBezTo>
                      <a:pt x="177" y="17"/>
                      <a:pt x="177" y="17"/>
                      <a:pt x="177" y="17"/>
                    </a:cubicBezTo>
                    <a:cubicBezTo>
                      <a:pt x="156" y="22"/>
                      <a:pt x="156" y="22"/>
                      <a:pt x="156" y="22"/>
                    </a:cubicBezTo>
                    <a:cubicBezTo>
                      <a:pt x="134" y="0"/>
                      <a:pt x="134" y="0"/>
                      <a:pt x="134" y="0"/>
                    </a:cubicBezTo>
                    <a:cubicBezTo>
                      <a:pt x="134" y="0"/>
                      <a:pt x="119" y="4"/>
                      <a:pt x="115" y="9"/>
                    </a:cubicBezTo>
                    <a:cubicBezTo>
                      <a:pt x="111" y="14"/>
                      <a:pt x="117" y="28"/>
                      <a:pt x="110" y="30"/>
                    </a:cubicBezTo>
                    <a:cubicBezTo>
                      <a:pt x="103" y="32"/>
                      <a:pt x="95" y="36"/>
                      <a:pt x="95" y="36"/>
                    </a:cubicBezTo>
                    <a:cubicBezTo>
                      <a:pt x="91" y="29"/>
                      <a:pt x="91" y="29"/>
                      <a:pt x="91" y="29"/>
                    </a:cubicBezTo>
                    <a:cubicBezTo>
                      <a:pt x="80" y="29"/>
                      <a:pt x="80" y="29"/>
                      <a:pt x="80" y="29"/>
                    </a:cubicBezTo>
                    <a:cubicBezTo>
                      <a:pt x="80" y="29"/>
                      <a:pt x="97" y="45"/>
                      <a:pt x="84" y="46"/>
                    </a:cubicBezTo>
                    <a:cubicBezTo>
                      <a:pt x="71" y="47"/>
                      <a:pt x="72" y="42"/>
                      <a:pt x="72" y="42"/>
                    </a:cubicBezTo>
                    <a:cubicBezTo>
                      <a:pt x="63" y="29"/>
                      <a:pt x="63" y="29"/>
                      <a:pt x="63" y="29"/>
                    </a:cubicBezTo>
                    <a:cubicBezTo>
                      <a:pt x="58" y="30"/>
                      <a:pt x="58" y="30"/>
                      <a:pt x="58" y="30"/>
                    </a:cubicBezTo>
                    <a:cubicBezTo>
                      <a:pt x="59" y="43"/>
                      <a:pt x="59" y="43"/>
                      <a:pt x="59" y="43"/>
                    </a:cubicBezTo>
                    <a:cubicBezTo>
                      <a:pt x="48" y="31"/>
                      <a:pt x="48" y="31"/>
                      <a:pt x="48" y="31"/>
                    </a:cubicBezTo>
                    <a:cubicBezTo>
                      <a:pt x="48" y="31"/>
                      <a:pt x="39" y="47"/>
                      <a:pt x="33" y="47"/>
                    </a:cubicBezTo>
                    <a:cubicBezTo>
                      <a:pt x="27" y="47"/>
                      <a:pt x="8" y="24"/>
                      <a:pt x="4" y="32"/>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67" name="Freeform 189">
                <a:extLst>
                  <a:ext uri="{FF2B5EF4-FFF2-40B4-BE49-F238E27FC236}">
                    <a16:creationId xmlns:a16="http://schemas.microsoft.com/office/drawing/2014/main" id="{F4610B7D-1DB4-4ED3-818D-C129A8545037}"/>
                  </a:ext>
                </a:extLst>
              </p:cNvPr>
              <p:cNvSpPr>
                <a:spLocks/>
              </p:cNvSpPr>
              <p:nvPr>
                <p:custDataLst>
                  <p:tags r:id="rId148"/>
                </p:custDataLst>
              </p:nvPr>
            </p:nvSpPr>
            <p:spPr bwMode="gray">
              <a:xfrm>
                <a:off x="6692862" y="3470288"/>
                <a:ext cx="238124" cy="128589"/>
              </a:xfrm>
              <a:custGeom>
                <a:avLst/>
                <a:gdLst>
                  <a:gd name="T0" fmla="*/ 203 w 400"/>
                  <a:gd name="T1" fmla="*/ 166 h 233"/>
                  <a:gd name="T2" fmla="*/ 213 w 400"/>
                  <a:gd name="T3" fmla="*/ 179 h 233"/>
                  <a:gd name="T4" fmla="*/ 227 w 400"/>
                  <a:gd name="T5" fmla="*/ 176 h 233"/>
                  <a:gd name="T6" fmla="*/ 244 w 400"/>
                  <a:gd name="T7" fmla="*/ 194 h 233"/>
                  <a:gd name="T8" fmla="*/ 262 w 400"/>
                  <a:gd name="T9" fmla="*/ 213 h 233"/>
                  <a:gd name="T10" fmla="*/ 274 w 400"/>
                  <a:gd name="T11" fmla="*/ 204 h 233"/>
                  <a:gd name="T12" fmla="*/ 296 w 400"/>
                  <a:gd name="T13" fmla="*/ 218 h 233"/>
                  <a:gd name="T14" fmla="*/ 313 w 400"/>
                  <a:gd name="T15" fmla="*/ 213 h 233"/>
                  <a:gd name="T16" fmla="*/ 337 w 400"/>
                  <a:gd name="T17" fmla="*/ 230 h 233"/>
                  <a:gd name="T18" fmla="*/ 351 w 400"/>
                  <a:gd name="T19" fmla="*/ 219 h 233"/>
                  <a:gd name="T20" fmla="*/ 361 w 400"/>
                  <a:gd name="T21" fmla="*/ 229 h 233"/>
                  <a:gd name="T22" fmla="*/ 377 w 400"/>
                  <a:gd name="T23" fmla="*/ 230 h 233"/>
                  <a:gd name="T24" fmla="*/ 399 w 400"/>
                  <a:gd name="T25" fmla="*/ 224 h 233"/>
                  <a:gd name="T26" fmla="*/ 400 w 400"/>
                  <a:gd name="T27" fmla="*/ 206 h 233"/>
                  <a:gd name="T28" fmla="*/ 390 w 400"/>
                  <a:gd name="T29" fmla="*/ 191 h 233"/>
                  <a:gd name="T30" fmla="*/ 390 w 400"/>
                  <a:gd name="T31" fmla="*/ 159 h 233"/>
                  <a:gd name="T32" fmla="*/ 384 w 400"/>
                  <a:gd name="T33" fmla="*/ 144 h 233"/>
                  <a:gd name="T34" fmla="*/ 363 w 400"/>
                  <a:gd name="T35" fmla="*/ 153 h 233"/>
                  <a:gd name="T36" fmla="*/ 316 w 400"/>
                  <a:gd name="T37" fmla="*/ 134 h 233"/>
                  <a:gd name="T38" fmla="*/ 304 w 400"/>
                  <a:gd name="T39" fmla="*/ 143 h 233"/>
                  <a:gd name="T40" fmla="*/ 295 w 400"/>
                  <a:gd name="T41" fmla="*/ 130 h 233"/>
                  <a:gd name="T42" fmla="*/ 284 w 400"/>
                  <a:gd name="T43" fmla="*/ 143 h 233"/>
                  <a:gd name="T44" fmla="*/ 275 w 400"/>
                  <a:gd name="T45" fmla="*/ 124 h 233"/>
                  <a:gd name="T46" fmla="*/ 247 w 400"/>
                  <a:gd name="T47" fmla="*/ 126 h 233"/>
                  <a:gd name="T48" fmla="*/ 243 w 400"/>
                  <a:gd name="T49" fmla="*/ 109 h 233"/>
                  <a:gd name="T50" fmla="*/ 223 w 400"/>
                  <a:gd name="T51" fmla="*/ 113 h 233"/>
                  <a:gd name="T52" fmla="*/ 201 w 400"/>
                  <a:gd name="T53" fmla="*/ 95 h 233"/>
                  <a:gd name="T54" fmla="*/ 187 w 400"/>
                  <a:gd name="T55" fmla="*/ 66 h 233"/>
                  <a:gd name="T56" fmla="*/ 168 w 400"/>
                  <a:gd name="T57" fmla="*/ 83 h 233"/>
                  <a:gd name="T58" fmla="*/ 149 w 400"/>
                  <a:gd name="T59" fmla="*/ 50 h 233"/>
                  <a:gd name="T60" fmla="*/ 118 w 400"/>
                  <a:gd name="T61" fmla="*/ 44 h 233"/>
                  <a:gd name="T62" fmla="*/ 86 w 400"/>
                  <a:gd name="T63" fmla="*/ 15 h 233"/>
                  <a:gd name="T64" fmla="*/ 59 w 400"/>
                  <a:gd name="T65" fmla="*/ 17 h 233"/>
                  <a:gd name="T66" fmla="*/ 44 w 400"/>
                  <a:gd name="T67" fmla="*/ 30 h 233"/>
                  <a:gd name="T68" fmla="*/ 32 w 400"/>
                  <a:gd name="T69" fmla="*/ 19 h 233"/>
                  <a:gd name="T70" fmla="*/ 26 w 400"/>
                  <a:gd name="T71" fmla="*/ 32 h 233"/>
                  <a:gd name="T72" fmla="*/ 11 w 400"/>
                  <a:gd name="T73" fmla="*/ 50 h 233"/>
                  <a:gd name="T74" fmla="*/ 17 w 400"/>
                  <a:gd name="T75" fmla="*/ 59 h 233"/>
                  <a:gd name="T76" fmla="*/ 10 w 400"/>
                  <a:gd name="T77" fmla="*/ 67 h 233"/>
                  <a:gd name="T78" fmla="*/ 19 w 400"/>
                  <a:gd name="T79" fmla="*/ 73 h 233"/>
                  <a:gd name="T80" fmla="*/ 7 w 400"/>
                  <a:gd name="T81" fmla="*/ 91 h 233"/>
                  <a:gd name="T82" fmla="*/ 26 w 400"/>
                  <a:gd name="T83" fmla="*/ 110 h 233"/>
                  <a:gd name="T84" fmla="*/ 36 w 400"/>
                  <a:gd name="T85" fmla="*/ 104 h 233"/>
                  <a:gd name="T86" fmla="*/ 47 w 400"/>
                  <a:gd name="T87" fmla="*/ 122 h 233"/>
                  <a:gd name="T88" fmla="*/ 65 w 400"/>
                  <a:gd name="T89" fmla="*/ 122 h 233"/>
                  <a:gd name="T90" fmla="*/ 72 w 400"/>
                  <a:gd name="T91" fmla="*/ 132 h 233"/>
                  <a:gd name="T92" fmla="*/ 100 w 400"/>
                  <a:gd name="T93" fmla="*/ 147 h 233"/>
                  <a:gd name="T94" fmla="*/ 109 w 400"/>
                  <a:gd name="T95" fmla="*/ 146 h 233"/>
                  <a:gd name="T96" fmla="*/ 124 w 400"/>
                  <a:gd name="T97" fmla="*/ 160 h 233"/>
                  <a:gd name="T98" fmla="*/ 142 w 400"/>
                  <a:gd name="T99" fmla="*/ 159 h 233"/>
                  <a:gd name="T100" fmla="*/ 148 w 400"/>
                  <a:gd name="T101" fmla="*/ 168 h 233"/>
                  <a:gd name="T102" fmla="*/ 168 w 400"/>
                  <a:gd name="T103" fmla="*/ 174 h 233"/>
                  <a:gd name="T104" fmla="*/ 171 w 400"/>
                  <a:gd name="T105" fmla="*/ 181 h 233"/>
                  <a:gd name="T106" fmla="*/ 185 w 400"/>
                  <a:gd name="T107" fmla="*/ 173 h 233"/>
                  <a:gd name="T108" fmla="*/ 195 w 400"/>
                  <a:gd name="T109" fmla="*/ 180 h 233"/>
                  <a:gd name="T110" fmla="*/ 203 w 400"/>
                  <a:gd name="T111" fmla="*/ 16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0" h="233">
                    <a:moveTo>
                      <a:pt x="203" y="166"/>
                    </a:moveTo>
                    <a:cubicBezTo>
                      <a:pt x="212" y="171"/>
                      <a:pt x="213" y="179"/>
                      <a:pt x="213" y="179"/>
                    </a:cubicBezTo>
                    <a:cubicBezTo>
                      <a:pt x="227" y="176"/>
                      <a:pt x="227" y="176"/>
                      <a:pt x="227" y="176"/>
                    </a:cubicBezTo>
                    <a:cubicBezTo>
                      <a:pt x="227" y="176"/>
                      <a:pt x="235" y="186"/>
                      <a:pt x="244" y="194"/>
                    </a:cubicBezTo>
                    <a:cubicBezTo>
                      <a:pt x="253" y="202"/>
                      <a:pt x="262" y="213"/>
                      <a:pt x="262" y="213"/>
                    </a:cubicBezTo>
                    <a:cubicBezTo>
                      <a:pt x="274" y="204"/>
                      <a:pt x="274" y="204"/>
                      <a:pt x="274" y="204"/>
                    </a:cubicBezTo>
                    <a:cubicBezTo>
                      <a:pt x="296" y="218"/>
                      <a:pt x="296" y="218"/>
                      <a:pt x="296" y="218"/>
                    </a:cubicBezTo>
                    <a:cubicBezTo>
                      <a:pt x="296" y="218"/>
                      <a:pt x="300" y="209"/>
                      <a:pt x="313" y="213"/>
                    </a:cubicBezTo>
                    <a:cubicBezTo>
                      <a:pt x="326" y="217"/>
                      <a:pt x="337" y="230"/>
                      <a:pt x="337" y="230"/>
                    </a:cubicBezTo>
                    <a:cubicBezTo>
                      <a:pt x="337" y="230"/>
                      <a:pt x="345" y="219"/>
                      <a:pt x="351" y="219"/>
                    </a:cubicBezTo>
                    <a:cubicBezTo>
                      <a:pt x="357" y="219"/>
                      <a:pt x="352" y="229"/>
                      <a:pt x="361" y="229"/>
                    </a:cubicBezTo>
                    <a:cubicBezTo>
                      <a:pt x="370" y="229"/>
                      <a:pt x="377" y="230"/>
                      <a:pt x="377" y="230"/>
                    </a:cubicBezTo>
                    <a:cubicBezTo>
                      <a:pt x="377" y="230"/>
                      <a:pt x="398" y="233"/>
                      <a:pt x="399" y="224"/>
                    </a:cubicBezTo>
                    <a:cubicBezTo>
                      <a:pt x="400" y="215"/>
                      <a:pt x="400" y="206"/>
                      <a:pt x="400" y="206"/>
                    </a:cubicBezTo>
                    <a:cubicBezTo>
                      <a:pt x="390" y="191"/>
                      <a:pt x="390" y="191"/>
                      <a:pt x="390" y="191"/>
                    </a:cubicBezTo>
                    <a:cubicBezTo>
                      <a:pt x="390" y="159"/>
                      <a:pt x="390" y="159"/>
                      <a:pt x="390" y="159"/>
                    </a:cubicBezTo>
                    <a:cubicBezTo>
                      <a:pt x="384" y="144"/>
                      <a:pt x="384" y="144"/>
                      <a:pt x="384" y="144"/>
                    </a:cubicBezTo>
                    <a:cubicBezTo>
                      <a:pt x="376" y="148"/>
                      <a:pt x="369" y="152"/>
                      <a:pt x="363" y="153"/>
                    </a:cubicBezTo>
                    <a:cubicBezTo>
                      <a:pt x="349" y="154"/>
                      <a:pt x="316" y="134"/>
                      <a:pt x="316" y="134"/>
                    </a:cubicBezTo>
                    <a:cubicBezTo>
                      <a:pt x="316" y="134"/>
                      <a:pt x="314" y="142"/>
                      <a:pt x="304" y="143"/>
                    </a:cubicBezTo>
                    <a:cubicBezTo>
                      <a:pt x="294" y="144"/>
                      <a:pt x="295" y="130"/>
                      <a:pt x="295" y="130"/>
                    </a:cubicBezTo>
                    <a:cubicBezTo>
                      <a:pt x="295" y="130"/>
                      <a:pt x="293" y="144"/>
                      <a:pt x="284" y="143"/>
                    </a:cubicBezTo>
                    <a:cubicBezTo>
                      <a:pt x="275" y="142"/>
                      <a:pt x="275" y="124"/>
                      <a:pt x="275" y="124"/>
                    </a:cubicBezTo>
                    <a:cubicBezTo>
                      <a:pt x="275" y="124"/>
                      <a:pt x="263" y="133"/>
                      <a:pt x="247" y="126"/>
                    </a:cubicBezTo>
                    <a:cubicBezTo>
                      <a:pt x="231" y="119"/>
                      <a:pt x="248" y="116"/>
                      <a:pt x="243" y="109"/>
                    </a:cubicBezTo>
                    <a:cubicBezTo>
                      <a:pt x="238" y="102"/>
                      <a:pt x="223" y="113"/>
                      <a:pt x="223" y="113"/>
                    </a:cubicBezTo>
                    <a:cubicBezTo>
                      <a:pt x="223" y="113"/>
                      <a:pt x="209" y="101"/>
                      <a:pt x="201" y="95"/>
                    </a:cubicBezTo>
                    <a:cubicBezTo>
                      <a:pt x="193" y="89"/>
                      <a:pt x="198" y="73"/>
                      <a:pt x="187" y="66"/>
                    </a:cubicBezTo>
                    <a:cubicBezTo>
                      <a:pt x="176" y="59"/>
                      <a:pt x="172" y="84"/>
                      <a:pt x="168" y="83"/>
                    </a:cubicBezTo>
                    <a:cubicBezTo>
                      <a:pt x="164" y="82"/>
                      <a:pt x="149" y="50"/>
                      <a:pt x="149" y="50"/>
                    </a:cubicBezTo>
                    <a:cubicBezTo>
                      <a:pt x="118" y="44"/>
                      <a:pt x="118" y="44"/>
                      <a:pt x="118" y="44"/>
                    </a:cubicBezTo>
                    <a:cubicBezTo>
                      <a:pt x="118" y="44"/>
                      <a:pt x="100" y="30"/>
                      <a:pt x="86" y="15"/>
                    </a:cubicBezTo>
                    <a:cubicBezTo>
                      <a:pt x="72" y="0"/>
                      <a:pt x="59" y="17"/>
                      <a:pt x="59" y="17"/>
                    </a:cubicBezTo>
                    <a:cubicBezTo>
                      <a:pt x="44" y="30"/>
                      <a:pt x="44" y="30"/>
                      <a:pt x="44" y="30"/>
                    </a:cubicBezTo>
                    <a:cubicBezTo>
                      <a:pt x="32" y="19"/>
                      <a:pt x="32" y="19"/>
                      <a:pt x="32" y="19"/>
                    </a:cubicBezTo>
                    <a:cubicBezTo>
                      <a:pt x="26" y="32"/>
                      <a:pt x="26" y="32"/>
                      <a:pt x="26" y="32"/>
                    </a:cubicBezTo>
                    <a:cubicBezTo>
                      <a:pt x="11" y="50"/>
                      <a:pt x="11" y="50"/>
                      <a:pt x="11" y="50"/>
                    </a:cubicBezTo>
                    <a:cubicBezTo>
                      <a:pt x="17" y="59"/>
                      <a:pt x="17" y="59"/>
                      <a:pt x="17" y="59"/>
                    </a:cubicBezTo>
                    <a:cubicBezTo>
                      <a:pt x="17" y="59"/>
                      <a:pt x="6" y="61"/>
                      <a:pt x="10" y="67"/>
                    </a:cubicBezTo>
                    <a:cubicBezTo>
                      <a:pt x="14" y="73"/>
                      <a:pt x="19" y="73"/>
                      <a:pt x="19" y="73"/>
                    </a:cubicBezTo>
                    <a:cubicBezTo>
                      <a:pt x="19" y="73"/>
                      <a:pt x="0" y="83"/>
                      <a:pt x="7" y="91"/>
                    </a:cubicBezTo>
                    <a:cubicBezTo>
                      <a:pt x="14" y="99"/>
                      <a:pt x="26" y="110"/>
                      <a:pt x="26" y="110"/>
                    </a:cubicBezTo>
                    <a:cubicBezTo>
                      <a:pt x="36" y="104"/>
                      <a:pt x="36" y="104"/>
                      <a:pt x="36" y="104"/>
                    </a:cubicBezTo>
                    <a:cubicBezTo>
                      <a:pt x="47" y="122"/>
                      <a:pt x="47" y="122"/>
                      <a:pt x="47" y="122"/>
                    </a:cubicBezTo>
                    <a:cubicBezTo>
                      <a:pt x="65" y="122"/>
                      <a:pt x="65" y="122"/>
                      <a:pt x="65" y="122"/>
                    </a:cubicBezTo>
                    <a:cubicBezTo>
                      <a:pt x="72" y="132"/>
                      <a:pt x="72" y="132"/>
                      <a:pt x="72" y="132"/>
                    </a:cubicBezTo>
                    <a:cubicBezTo>
                      <a:pt x="100" y="147"/>
                      <a:pt x="100" y="147"/>
                      <a:pt x="100" y="147"/>
                    </a:cubicBezTo>
                    <a:cubicBezTo>
                      <a:pt x="109" y="146"/>
                      <a:pt x="109" y="146"/>
                      <a:pt x="109" y="146"/>
                    </a:cubicBezTo>
                    <a:cubicBezTo>
                      <a:pt x="109" y="146"/>
                      <a:pt x="116" y="160"/>
                      <a:pt x="124" y="160"/>
                    </a:cubicBezTo>
                    <a:cubicBezTo>
                      <a:pt x="132" y="160"/>
                      <a:pt x="137" y="157"/>
                      <a:pt x="142" y="159"/>
                    </a:cubicBezTo>
                    <a:cubicBezTo>
                      <a:pt x="147" y="161"/>
                      <a:pt x="135" y="166"/>
                      <a:pt x="148" y="168"/>
                    </a:cubicBezTo>
                    <a:cubicBezTo>
                      <a:pt x="161" y="170"/>
                      <a:pt x="168" y="174"/>
                      <a:pt x="168" y="174"/>
                    </a:cubicBezTo>
                    <a:cubicBezTo>
                      <a:pt x="171" y="181"/>
                      <a:pt x="171" y="181"/>
                      <a:pt x="171" y="181"/>
                    </a:cubicBezTo>
                    <a:cubicBezTo>
                      <a:pt x="171" y="181"/>
                      <a:pt x="176" y="173"/>
                      <a:pt x="185" y="173"/>
                    </a:cubicBezTo>
                    <a:cubicBezTo>
                      <a:pt x="194" y="173"/>
                      <a:pt x="195" y="180"/>
                      <a:pt x="195" y="180"/>
                    </a:cubicBezTo>
                    <a:cubicBezTo>
                      <a:pt x="195" y="180"/>
                      <a:pt x="194" y="161"/>
                      <a:pt x="203" y="166"/>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68" name="Freeform 190">
                <a:extLst>
                  <a:ext uri="{FF2B5EF4-FFF2-40B4-BE49-F238E27FC236}">
                    <a16:creationId xmlns:a16="http://schemas.microsoft.com/office/drawing/2014/main" id="{4BB1BEA7-1037-44BA-B11A-5B0E4A2F3404}"/>
                  </a:ext>
                </a:extLst>
              </p:cNvPr>
              <p:cNvSpPr>
                <a:spLocks/>
              </p:cNvSpPr>
              <p:nvPr>
                <p:custDataLst>
                  <p:tags r:id="rId149"/>
                </p:custDataLst>
              </p:nvPr>
            </p:nvSpPr>
            <p:spPr bwMode="gray">
              <a:xfrm>
                <a:off x="6938924" y="3536964"/>
                <a:ext cx="104774" cy="50800"/>
              </a:xfrm>
              <a:custGeom>
                <a:avLst/>
                <a:gdLst>
                  <a:gd name="T0" fmla="*/ 66 w 176"/>
                  <a:gd name="T1" fmla="*/ 92 h 93"/>
                  <a:gd name="T2" fmla="*/ 88 w 176"/>
                  <a:gd name="T3" fmla="*/ 84 h 93"/>
                  <a:gd name="T4" fmla="*/ 113 w 176"/>
                  <a:gd name="T5" fmla="*/ 90 h 93"/>
                  <a:gd name="T6" fmla="*/ 139 w 176"/>
                  <a:gd name="T7" fmla="*/ 86 h 93"/>
                  <a:gd name="T8" fmla="*/ 162 w 176"/>
                  <a:gd name="T9" fmla="*/ 86 h 93"/>
                  <a:gd name="T10" fmla="*/ 161 w 176"/>
                  <a:gd name="T11" fmla="*/ 68 h 93"/>
                  <a:gd name="T12" fmla="*/ 161 w 176"/>
                  <a:gd name="T13" fmla="*/ 54 h 93"/>
                  <a:gd name="T14" fmla="*/ 140 w 176"/>
                  <a:gd name="T15" fmla="*/ 48 h 93"/>
                  <a:gd name="T16" fmla="*/ 142 w 176"/>
                  <a:gd name="T17" fmla="*/ 39 h 93"/>
                  <a:gd name="T18" fmla="*/ 129 w 176"/>
                  <a:gd name="T19" fmla="*/ 18 h 93"/>
                  <a:gd name="T20" fmla="*/ 80 w 176"/>
                  <a:gd name="T21" fmla="*/ 25 h 93"/>
                  <a:gd name="T22" fmla="*/ 80 w 176"/>
                  <a:gd name="T23" fmla="*/ 11 h 93"/>
                  <a:gd name="T24" fmla="*/ 56 w 176"/>
                  <a:gd name="T25" fmla="*/ 5 h 93"/>
                  <a:gd name="T26" fmla="*/ 18 w 176"/>
                  <a:gd name="T27" fmla="*/ 56 h 93"/>
                  <a:gd name="T28" fmla="*/ 23 w 176"/>
                  <a:gd name="T29" fmla="*/ 76 h 93"/>
                  <a:gd name="T30" fmla="*/ 50 w 176"/>
                  <a:gd name="T31" fmla="*/ 81 h 93"/>
                  <a:gd name="T32" fmla="*/ 66 w 176"/>
                  <a:gd name="T33" fmla="*/ 9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6" h="93">
                    <a:moveTo>
                      <a:pt x="66" y="92"/>
                    </a:moveTo>
                    <a:cubicBezTo>
                      <a:pt x="85" y="92"/>
                      <a:pt x="79" y="84"/>
                      <a:pt x="88" y="84"/>
                    </a:cubicBezTo>
                    <a:cubicBezTo>
                      <a:pt x="97" y="84"/>
                      <a:pt x="95" y="90"/>
                      <a:pt x="113" y="90"/>
                    </a:cubicBezTo>
                    <a:cubicBezTo>
                      <a:pt x="131" y="90"/>
                      <a:pt x="139" y="86"/>
                      <a:pt x="139" y="86"/>
                    </a:cubicBezTo>
                    <a:cubicBezTo>
                      <a:pt x="139" y="86"/>
                      <a:pt x="148" y="93"/>
                      <a:pt x="162" y="86"/>
                    </a:cubicBezTo>
                    <a:cubicBezTo>
                      <a:pt x="176" y="79"/>
                      <a:pt x="161" y="68"/>
                      <a:pt x="161" y="68"/>
                    </a:cubicBezTo>
                    <a:cubicBezTo>
                      <a:pt x="161" y="54"/>
                      <a:pt x="161" y="54"/>
                      <a:pt x="161" y="54"/>
                    </a:cubicBezTo>
                    <a:cubicBezTo>
                      <a:pt x="161" y="54"/>
                      <a:pt x="144" y="55"/>
                      <a:pt x="140" y="48"/>
                    </a:cubicBezTo>
                    <a:cubicBezTo>
                      <a:pt x="136" y="41"/>
                      <a:pt x="142" y="39"/>
                      <a:pt x="142" y="39"/>
                    </a:cubicBezTo>
                    <a:cubicBezTo>
                      <a:pt x="142" y="39"/>
                      <a:pt x="142" y="29"/>
                      <a:pt x="129" y="18"/>
                    </a:cubicBezTo>
                    <a:cubicBezTo>
                      <a:pt x="116" y="7"/>
                      <a:pt x="80" y="25"/>
                      <a:pt x="80" y="25"/>
                    </a:cubicBezTo>
                    <a:cubicBezTo>
                      <a:pt x="80" y="11"/>
                      <a:pt x="80" y="11"/>
                      <a:pt x="80" y="11"/>
                    </a:cubicBezTo>
                    <a:cubicBezTo>
                      <a:pt x="80" y="11"/>
                      <a:pt x="70" y="10"/>
                      <a:pt x="56" y="5"/>
                    </a:cubicBezTo>
                    <a:cubicBezTo>
                      <a:pt x="42" y="0"/>
                      <a:pt x="18" y="56"/>
                      <a:pt x="18" y="56"/>
                    </a:cubicBezTo>
                    <a:cubicBezTo>
                      <a:pt x="18" y="56"/>
                      <a:pt x="0" y="60"/>
                      <a:pt x="23" y="76"/>
                    </a:cubicBezTo>
                    <a:cubicBezTo>
                      <a:pt x="46" y="92"/>
                      <a:pt x="50" y="81"/>
                      <a:pt x="50" y="81"/>
                    </a:cubicBezTo>
                    <a:cubicBezTo>
                      <a:pt x="50" y="81"/>
                      <a:pt x="47" y="92"/>
                      <a:pt x="66" y="92"/>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69" name="Freeform 191">
                <a:extLst>
                  <a:ext uri="{FF2B5EF4-FFF2-40B4-BE49-F238E27FC236}">
                    <a16:creationId xmlns:a16="http://schemas.microsoft.com/office/drawing/2014/main" id="{05F13367-DE33-437A-9AE5-E62385AD73FF}"/>
                  </a:ext>
                </a:extLst>
              </p:cNvPr>
              <p:cNvSpPr>
                <a:spLocks/>
              </p:cNvSpPr>
              <p:nvPr>
                <p:custDataLst>
                  <p:tags r:id="rId150"/>
                </p:custDataLst>
              </p:nvPr>
            </p:nvSpPr>
            <p:spPr bwMode="gray">
              <a:xfrm>
                <a:off x="6934161" y="3590939"/>
                <a:ext cx="147638" cy="158750"/>
              </a:xfrm>
              <a:custGeom>
                <a:avLst/>
                <a:gdLst>
                  <a:gd name="T0" fmla="*/ 90 w 247"/>
                  <a:gd name="T1" fmla="*/ 275 h 284"/>
                  <a:gd name="T2" fmla="*/ 92 w 247"/>
                  <a:gd name="T3" fmla="*/ 236 h 284"/>
                  <a:gd name="T4" fmla="*/ 142 w 247"/>
                  <a:gd name="T5" fmla="*/ 250 h 284"/>
                  <a:gd name="T6" fmla="*/ 143 w 247"/>
                  <a:gd name="T7" fmla="*/ 227 h 284"/>
                  <a:gd name="T8" fmla="*/ 182 w 247"/>
                  <a:gd name="T9" fmla="*/ 240 h 284"/>
                  <a:gd name="T10" fmla="*/ 190 w 247"/>
                  <a:gd name="T11" fmla="*/ 223 h 284"/>
                  <a:gd name="T12" fmla="*/ 182 w 247"/>
                  <a:gd name="T13" fmla="*/ 202 h 284"/>
                  <a:gd name="T14" fmla="*/ 213 w 247"/>
                  <a:gd name="T15" fmla="*/ 235 h 284"/>
                  <a:gd name="T16" fmla="*/ 210 w 247"/>
                  <a:gd name="T17" fmla="*/ 280 h 284"/>
                  <a:gd name="T18" fmla="*/ 222 w 247"/>
                  <a:gd name="T19" fmla="*/ 284 h 284"/>
                  <a:gd name="T20" fmla="*/ 226 w 247"/>
                  <a:gd name="T21" fmla="*/ 273 h 284"/>
                  <a:gd name="T22" fmla="*/ 247 w 247"/>
                  <a:gd name="T23" fmla="*/ 276 h 284"/>
                  <a:gd name="T24" fmla="*/ 240 w 247"/>
                  <a:gd name="T25" fmla="*/ 237 h 284"/>
                  <a:gd name="T26" fmla="*/ 220 w 247"/>
                  <a:gd name="T27" fmla="*/ 187 h 284"/>
                  <a:gd name="T28" fmla="*/ 204 w 247"/>
                  <a:gd name="T29" fmla="*/ 153 h 284"/>
                  <a:gd name="T30" fmla="*/ 194 w 247"/>
                  <a:gd name="T31" fmla="*/ 170 h 284"/>
                  <a:gd name="T32" fmla="*/ 187 w 247"/>
                  <a:gd name="T33" fmla="*/ 193 h 284"/>
                  <a:gd name="T34" fmla="*/ 178 w 247"/>
                  <a:gd name="T35" fmla="*/ 178 h 284"/>
                  <a:gd name="T36" fmla="*/ 158 w 247"/>
                  <a:gd name="T37" fmla="*/ 159 h 284"/>
                  <a:gd name="T38" fmla="*/ 168 w 247"/>
                  <a:gd name="T39" fmla="*/ 130 h 284"/>
                  <a:gd name="T40" fmla="*/ 193 w 247"/>
                  <a:gd name="T41" fmla="*/ 115 h 284"/>
                  <a:gd name="T42" fmla="*/ 196 w 247"/>
                  <a:gd name="T43" fmla="*/ 92 h 284"/>
                  <a:gd name="T44" fmla="*/ 206 w 247"/>
                  <a:gd name="T45" fmla="*/ 86 h 284"/>
                  <a:gd name="T46" fmla="*/ 184 w 247"/>
                  <a:gd name="T47" fmla="*/ 68 h 284"/>
                  <a:gd name="T48" fmla="*/ 154 w 247"/>
                  <a:gd name="T49" fmla="*/ 79 h 284"/>
                  <a:gd name="T50" fmla="*/ 113 w 247"/>
                  <a:gd name="T51" fmla="*/ 75 h 284"/>
                  <a:gd name="T52" fmla="*/ 86 w 247"/>
                  <a:gd name="T53" fmla="*/ 69 h 284"/>
                  <a:gd name="T54" fmla="*/ 85 w 247"/>
                  <a:gd name="T55" fmla="*/ 46 h 284"/>
                  <a:gd name="T56" fmla="*/ 81 w 247"/>
                  <a:gd name="T57" fmla="*/ 44 h 284"/>
                  <a:gd name="T58" fmla="*/ 77 w 247"/>
                  <a:gd name="T59" fmla="*/ 23 h 284"/>
                  <a:gd name="T60" fmla="*/ 67 w 247"/>
                  <a:gd name="T61" fmla="*/ 17 h 284"/>
                  <a:gd name="T62" fmla="*/ 66 w 247"/>
                  <a:gd name="T63" fmla="*/ 29 h 284"/>
                  <a:gd name="T64" fmla="*/ 50 w 247"/>
                  <a:gd name="T65" fmla="*/ 21 h 284"/>
                  <a:gd name="T66" fmla="*/ 41 w 247"/>
                  <a:gd name="T67" fmla="*/ 3 h 284"/>
                  <a:gd name="T68" fmla="*/ 30 w 247"/>
                  <a:gd name="T69" fmla="*/ 4 h 284"/>
                  <a:gd name="T70" fmla="*/ 33 w 247"/>
                  <a:gd name="T71" fmla="*/ 11 h 284"/>
                  <a:gd name="T72" fmla="*/ 17 w 247"/>
                  <a:gd name="T73" fmla="*/ 3 h 284"/>
                  <a:gd name="T74" fmla="*/ 6 w 247"/>
                  <a:gd name="T75" fmla="*/ 0 h 284"/>
                  <a:gd name="T76" fmla="*/ 11 w 247"/>
                  <a:gd name="T77" fmla="*/ 12 h 284"/>
                  <a:gd name="T78" fmla="*/ 2 w 247"/>
                  <a:gd name="T79" fmla="*/ 35 h 284"/>
                  <a:gd name="T80" fmla="*/ 26 w 247"/>
                  <a:gd name="T81" fmla="*/ 54 h 284"/>
                  <a:gd name="T82" fmla="*/ 43 w 247"/>
                  <a:gd name="T83" fmla="*/ 65 h 284"/>
                  <a:gd name="T84" fmla="*/ 44 w 247"/>
                  <a:gd name="T85" fmla="*/ 73 h 284"/>
                  <a:gd name="T86" fmla="*/ 22 w 247"/>
                  <a:gd name="T87" fmla="*/ 74 h 284"/>
                  <a:gd name="T88" fmla="*/ 22 w 247"/>
                  <a:gd name="T89" fmla="*/ 93 h 284"/>
                  <a:gd name="T90" fmla="*/ 13 w 247"/>
                  <a:gd name="T91" fmla="*/ 106 h 284"/>
                  <a:gd name="T92" fmla="*/ 47 w 247"/>
                  <a:gd name="T93" fmla="*/ 126 h 284"/>
                  <a:gd name="T94" fmla="*/ 35 w 247"/>
                  <a:gd name="T95" fmla="*/ 150 h 284"/>
                  <a:gd name="T96" fmla="*/ 44 w 247"/>
                  <a:gd name="T97" fmla="*/ 170 h 284"/>
                  <a:gd name="T98" fmla="*/ 64 w 247"/>
                  <a:gd name="T99" fmla="*/ 186 h 284"/>
                  <a:gd name="T100" fmla="*/ 63 w 247"/>
                  <a:gd name="T101" fmla="*/ 206 h 284"/>
                  <a:gd name="T102" fmla="*/ 75 w 247"/>
                  <a:gd name="T103" fmla="*/ 234 h 284"/>
                  <a:gd name="T104" fmla="*/ 73 w 247"/>
                  <a:gd name="T105" fmla="*/ 252 h 284"/>
                  <a:gd name="T106" fmla="*/ 90 w 247"/>
                  <a:gd name="T107" fmla="*/ 275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7" h="284">
                    <a:moveTo>
                      <a:pt x="90" y="275"/>
                    </a:moveTo>
                    <a:cubicBezTo>
                      <a:pt x="92" y="236"/>
                      <a:pt x="92" y="236"/>
                      <a:pt x="92" y="236"/>
                    </a:cubicBezTo>
                    <a:cubicBezTo>
                      <a:pt x="92" y="236"/>
                      <a:pt x="134" y="252"/>
                      <a:pt x="142" y="250"/>
                    </a:cubicBezTo>
                    <a:cubicBezTo>
                      <a:pt x="150" y="247"/>
                      <a:pt x="134" y="229"/>
                      <a:pt x="143" y="227"/>
                    </a:cubicBezTo>
                    <a:cubicBezTo>
                      <a:pt x="152" y="225"/>
                      <a:pt x="169" y="245"/>
                      <a:pt x="182" y="240"/>
                    </a:cubicBezTo>
                    <a:cubicBezTo>
                      <a:pt x="195" y="236"/>
                      <a:pt x="190" y="223"/>
                      <a:pt x="190" y="223"/>
                    </a:cubicBezTo>
                    <a:cubicBezTo>
                      <a:pt x="182" y="202"/>
                      <a:pt x="182" y="202"/>
                      <a:pt x="182" y="202"/>
                    </a:cubicBezTo>
                    <a:cubicBezTo>
                      <a:pt x="213" y="235"/>
                      <a:pt x="213" y="235"/>
                      <a:pt x="213" y="235"/>
                    </a:cubicBezTo>
                    <a:cubicBezTo>
                      <a:pt x="213" y="235"/>
                      <a:pt x="201" y="274"/>
                      <a:pt x="210" y="280"/>
                    </a:cubicBezTo>
                    <a:cubicBezTo>
                      <a:pt x="213" y="282"/>
                      <a:pt x="218" y="283"/>
                      <a:pt x="222" y="284"/>
                    </a:cubicBezTo>
                    <a:cubicBezTo>
                      <a:pt x="224" y="277"/>
                      <a:pt x="226" y="273"/>
                      <a:pt x="226" y="273"/>
                    </a:cubicBezTo>
                    <a:cubicBezTo>
                      <a:pt x="247" y="276"/>
                      <a:pt x="247" y="276"/>
                      <a:pt x="247" y="276"/>
                    </a:cubicBezTo>
                    <a:cubicBezTo>
                      <a:pt x="240" y="237"/>
                      <a:pt x="240" y="237"/>
                      <a:pt x="240" y="237"/>
                    </a:cubicBezTo>
                    <a:cubicBezTo>
                      <a:pt x="240" y="237"/>
                      <a:pt x="224" y="198"/>
                      <a:pt x="220" y="187"/>
                    </a:cubicBezTo>
                    <a:cubicBezTo>
                      <a:pt x="216" y="176"/>
                      <a:pt x="222" y="157"/>
                      <a:pt x="204" y="153"/>
                    </a:cubicBezTo>
                    <a:cubicBezTo>
                      <a:pt x="186" y="149"/>
                      <a:pt x="194" y="170"/>
                      <a:pt x="194" y="170"/>
                    </a:cubicBezTo>
                    <a:cubicBezTo>
                      <a:pt x="187" y="193"/>
                      <a:pt x="187" y="193"/>
                      <a:pt x="187" y="193"/>
                    </a:cubicBezTo>
                    <a:cubicBezTo>
                      <a:pt x="178" y="178"/>
                      <a:pt x="178" y="178"/>
                      <a:pt x="178" y="178"/>
                    </a:cubicBezTo>
                    <a:cubicBezTo>
                      <a:pt x="178" y="178"/>
                      <a:pt x="158" y="175"/>
                      <a:pt x="158" y="159"/>
                    </a:cubicBezTo>
                    <a:cubicBezTo>
                      <a:pt x="158" y="143"/>
                      <a:pt x="160" y="133"/>
                      <a:pt x="168" y="130"/>
                    </a:cubicBezTo>
                    <a:cubicBezTo>
                      <a:pt x="176" y="127"/>
                      <a:pt x="190" y="129"/>
                      <a:pt x="193" y="115"/>
                    </a:cubicBezTo>
                    <a:cubicBezTo>
                      <a:pt x="196" y="101"/>
                      <a:pt x="196" y="92"/>
                      <a:pt x="196" y="92"/>
                    </a:cubicBezTo>
                    <a:cubicBezTo>
                      <a:pt x="196" y="92"/>
                      <a:pt x="206" y="96"/>
                      <a:pt x="206" y="86"/>
                    </a:cubicBezTo>
                    <a:cubicBezTo>
                      <a:pt x="206" y="76"/>
                      <a:pt x="184" y="68"/>
                      <a:pt x="184" y="68"/>
                    </a:cubicBezTo>
                    <a:cubicBezTo>
                      <a:pt x="154" y="79"/>
                      <a:pt x="154" y="79"/>
                      <a:pt x="154" y="79"/>
                    </a:cubicBezTo>
                    <a:cubicBezTo>
                      <a:pt x="154" y="79"/>
                      <a:pt x="123" y="75"/>
                      <a:pt x="113" y="75"/>
                    </a:cubicBezTo>
                    <a:cubicBezTo>
                      <a:pt x="103" y="75"/>
                      <a:pt x="86" y="72"/>
                      <a:pt x="86" y="69"/>
                    </a:cubicBezTo>
                    <a:cubicBezTo>
                      <a:pt x="86" y="66"/>
                      <a:pt x="85" y="46"/>
                      <a:pt x="85" y="46"/>
                    </a:cubicBezTo>
                    <a:cubicBezTo>
                      <a:pt x="81" y="44"/>
                      <a:pt x="81" y="44"/>
                      <a:pt x="81" y="44"/>
                    </a:cubicBezTo>
                    <a:cubicBezTo>
                      <a:pt x="81" y="44"/>
                      <a:pt x="81" y="26"/>
                      <a:pt x="77" y="23"/>
                    </a:cubicBezTo>
                    <a:cubicBezTo>
                      <a:pt x="73" y="20"/>
                      <a:pt x="67" y="17"/>
                      <a:pt x="67" y="17"/>
                    </a:cubicBezTo>
                    <a:cubicBezTo>
                      <a:pt x="66" y="29"/>
                      <a:pt x="66" y="29"/>
                      <a:pt x="66" y="29"/>
                    </a:cubicBezTo>
                    <a:cubicBezTo>
                      <a:pt x="66" y="29"/>
                      <a:pt x="56" y="27"/>
                      <a:pt x="50" y="21"/>
                    </a:cubicBezTo>
                    <a:cubicBezTo>
                      <a:pt x="44" y="15"/>
                      <a:pt x="41" y="3"/>
                      <a:pt x="41" y="3"/>
                    </a:cubicBezTo>
                    <a:cubicBezTo>
                      <a:pt x="30" y="4"/>
                      <a:pt x="30" y="4"/>
                      <a:pt x="30" y="4"/>
                    </a:cubicBezTo>
                    <a:cubicBezTo>
                      <a:pt x="33" y="11"/>
                      <a:pt x="33" y="11"/>
                      <a:pt x="33" y="11"/>
                    </a:cubicBezTo>
                    <a:cubicBezTo>
                      <a:pt x="17" y="3"/>
                      <a:pt x="17" y="3"/>
                      <a:pt x="17" y="3"/>
                    </a:cubicBezTo>
                    <a:cubicBezTo>
                      <a:pt x="6" y="0"/>
                      <a:pt x="6" y="0"/>
                      <a:pt x="6" y="0"/>
                    </a:cubicBezTo>
                    <a:cubicBezTo>
                      <a:pt x="11" y="12"/>
                      <a:pt x="11" y="12"/>
                      <a:pt x="11" y="12"/>
                    </a:cubicBezTo>
                    <a:cubicBezTo>
                      <a:pt x="11" y="12"/>
                      <a:pt x="0" y="24"/>
                      <a:pt x="2" y="35"/>
                    </a:cubicBezTo>
                    <a:cubicBezTo>
                      <a:pt x="4" y="46"/>
                      <a:pt x="26" y="54"/>
                      <a:pt x="26" y="54"/>
                    </a:cubicBezTo>
                    <a:cubicBezTo>
                      <a:pt x="43" y="65"/>
                      <a:pt x="43" y="65"/>
                      <a:pt x="43" y="65"/>
                    </a:cubicBezTo>
                    <a:cubicBezTo>
                      <a:pt x="44" y="73"/>
                      <a:pt x="44" y="73"/>
                      <a:pt x="44" y="73"/>
                    </a:cubicBezTo>
                    <a:cubicBezTo>
                      <a:pt x="22" y="74"/>
                      <a:pt x="22" y="74"/>
                      <a:pt x="22" y="74"/>
                    </a:cubicBezTo>
                    <a:cubicBezTo>
                      <a:pt x="22" y="93"/>
                      <a:pt x="22" y="93"/>
                      <a:pt x="22" y="93"/>
                    </a:cubicBezTo>
                    <a:cubicBezTo>
                      <a:pt x="22" y="93"/>
                      <a:pt x="3" y="96"/>
                      <a:pt x="13" y="106"/>
                    </a:cubicBezTo>
                    <a:cubicBezTo>
                      <a:pt x="23" y="116"/>
                      <a:pt x="50" y="110"/>
                      <a:pt x="47" y="126"/>
                    </a:cubicBezTo>
                    <a:cubicBezTo>
                      <a:pt x="44" y="142"/>
                      <a:pt x="35" y="150"/>
                      <a:pt x="35" y="150"/>
                    </a:cubicBezTo>
                    <a:cubicBezTo>
                      <a:pt x="44" y="170"/>
                      <a:pt x="44" y="170"/>
                      <a:pt x="44" y="170"/>
                    </a:cubicBezTo>
                    <a:cubicBezTo>
                      <a:pt x="64" y="186"/>
                      <a:pt x="64" y="186"/>
                      <a:pt x="64" y="186"/>
                    </a:cubicBezTo>
                    <a:cubicBezTo>
                      <a:pt x="63" y="206"/>
                      <a:pt x="63" y="206"/>
                      <a:pt x="63" y="206"/>
                    </a:cubicBezTo>
                    <a:cubicBezTo>
                      <a:pt x="75" y="234"/>
                      <a:pt x="75" y="234"/>
                      <a:pt x="75" y="234"/>
                    </a:cubicBezTo>
                    <a:cubicBezTo>
                      <a:pt x="73" y="252"/>
                      <a:pt x="73" y="252"/>
                      <a:pt x="73" y="252"/>
                    </a:cubicBezTo>
                    <a:lnTo>
                      <a:pt x="90" y="275"/>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70" name="Freeform 192">
                <a:extLst>
                  <a:ext uri="{FF2B5EF4-FFF2-40B4-BE49-F238E27FC236}">
                    <a16:creationId xmlns:a16="http://schemas.microsoft.com/office/drawing/2014/main" id="{04279FC4-931A-4F2C-9E58-A0A17622CE90}"/>
                  </a:ext>
                </a:extLst>
              </p:cNvPr>
              <p:cNvSpPr>
                <a:spLocks noEditPoints="1"/>
              </p:cNvSpPr>
              <p:nvPr>
                <p:custDataLst>
                  <p:tags r:id="rId151"/>
                </p:custDataLst>
              </p:nvPr>
            </p:nvSpPr>
            <p:spPr bwMode="gray">
              <a:xfrm>
                <a:off x="6396003" y="3306775"/>
                <a:ext cx="784220" cy="877891"/>
              </a:xfrm>
              <a:custGeom>
                <a:avLst/>
                <a:gdLst>
                  <a:gd name="T0" fmla="*/ 1202 w 1304"/>
                  <a:gd name="T1" fmla="*/ 1237 h 1578"/>
                  <a:gd name="T2" fmla="*/ 1259 w 1304"/>
                  <a:gd name="T3" fmla="*/ 1543 h 1578"/>
                  <a:gd name="T4" fmla="*/ 1302 w 1304"/>
                  <a:gd name="T5" fmla="*/ 417 h 1578"/>
                  <a:gd name="T6" fmla="*/ 1231 w 1304"/>
                  <a:gd name="T7" fmla="*/ 379 h 1578"/>
                  <a:gd name="T8" fmla="*/ 1133 w 1304"/>
                  <a:gd name="T9" fmla="*/ 390 h 1578"/>
                  <a:gd name="T10" fmla="*/ 1045 w 1304"/>
                  <a:gd name="T11" fmla="*/ 450 h 1578"/>
                  <a:gd name="T12" fmla="*/ 1042 w 1304"/>
                  <a:gd name="T13" fmla="*/ 497 h 1578"/>
                  <a:gd name="T14" fmla="*/ 926 w 1304"/>
                  <a:gd name="T15" fmla="*/ 487 h 1578"/>
                  <a:gd name="T16" fmla="*/ 882 w 1304"/>
                  <a:gd name="T17" fmla="*/ 450 h 1578"/>
                  <a:gd name="T18" fmla="*/ 853 w 1304"/>
                  <a:gd name="T19" fmla="*/ 520 h 1578"/>
                  <a:gd name="T20" fmla="*/ 766 w 1304"/>
                  <a:gd name="T21" fmla="*/ 495 h 1578"/>
                  <a:gd name="T22" fmla="*/ 695 w 1304"/>
                  <a:gd name="T23" fmla="*/ 457 h 1578"/>
                  <a:gd name="T24" fmla="*/ 640 w 1304"/>
                  <a:gd name="T25" fmla="*/ 459 h 1578"/>
                  <a:gd name="T26" fmla="*/ 564 w 1304"/>
                  <a:gd name="T27" fmla="*/ 423 h 1578"/>
                  <a:gd name="T28" fmla="*/ 499 w 1304"/>
                  <a:gd name="T29" fmla="*/ 382 h 1578"/>
                  <a:gd name="T30" fmla="*/ 518 w 1304"/>
                  <a:gd name="T31" fmla="*/ 323 h 1578"/>
                  <a:gd name="T32" fmla="*/ 481 w 1304"/>
                  <a:gd name="T33" fmla="*/ 283 h 1578"/>
                  <a:gd name="T34" fmla="*/ 412 w 1304"/>
                  <a:gd name="T35" fmla="*/ 221 h 1578"/>
                  <a:gd name="T36" fmla="*/ 423 w 1304"/>
                  <a:gd name="T37" fmla="*/ 194 h 1578"/>
                  <a:gd name="T38" fmla="*/ 395 w 1304"/>
                  <a:gd name="T39" fmla="*/ 129 h 1578"/>
                  <a:gd name="T40" fmla="*/ 438 w 1304"/>
                  <a:gd name="T41" fmla="*/ 69 h 1578"/>
                  <a:gd name="T42" fmla="*/ 319 w 1304"/>
                  <a:gd name="T43" fmla="*/ 29 h 1578"/>
                  <a:gd name="T44" fmla="*/ 266 w 1304"/>
                  <a:gd name="T45" fmla="*/ 74 h 1578"/>
                  <a:gd name="T46" fmla="*/ 156 w 1304"/>
                  <a:gd name="T47" fmla="*/ 89 h 1578"/>
                  <a:gd name="T48" fmla="*/ 186 w 1304"/>
                  <a:gd name="T49" fmla="*/ 141 h 1578"/>
                  <a:gd name="T50" fmla="*/ 219 w 1304"/>
                  <a:gd name="T51" fmla="*/ 196 h 1578"/>
                  <a:gd name="T52" fmla="*/ 235 w 1304"/>
                  <a:gd name="T53" fmla="*/ 268 h 1578"/>
                  <a:gd name="T54" fmla="*/ 179 w 1304"/>
                  <a:gd name="T55" fmla="*/ 372 h 1578"/>
                  <a:gd name="T56" fmla="*/ 107 w 1304"/>
                  <a:gd name="T57" fmla="*/ 437 h 1578"/>
                  <a:gd name="T58" fmla="*/ 33 w 1304"/>
                  <a:gd name="T59" fmla="*/ 493 h 1578"/>
                  <a:gd name="T60" fmla="*/ 74 w 1304"/>
                  <a:gd name="T61" fmla="*/ 551 h 1578"/>
                  <a:gd name="T62" fmla="*/ 98 w 1304"/>
                  <a:gd name="T63" fmla="*/ 635 h 1578"/>
                  <a:gd name="T64" fmla="*/ 15 w 1304"/>
                  <a:gd name="T65" fmla="*/ 630 h 1578"/>
                  <a:gd name="T66" fmla="*/ 78 w 1304"/>
                  <a:gd name="T67" fmla="*/ 697 h 1578"/>
                  <a:gd name="T68" fmla="*/ 70 w 1304"/>
                  <a:gd name="T69" fmla="*/ 779 h 1578"/>
                  <a:gd name="T70" fmla="*/ 213 w 1304"/>
                  <a:gd name="T71" fmla="*/ 781 h 1578"/>
                  <a:gd name="T72" fmla="*/ 267 w 1304"/>
                  <a:gd name="T73" fmla="*/ 1062 h 1578"/>
                  <a:gd name="T74" fmla="*/ 407 w 1304"/>
                  <a:gd name="T75" fmla="*/ 1335 h 1578"/>
                  <a:gd name="T76" fmla="*/ 550 w 1304"/>
                  <a:gd name="T77" fmla="*/ 1443 h 1578"/>
                  <a:gd name="T78" fmla="*/ 601 w 1304"/>
                  <a:gd name="T79" fmla="*/ 1311 h 1578"/>
                  <a:gd name="T80" fmla="*/ 594 w 1304"/>
                  <a:gd name="T81" fmla="*/ 1107 h 1578"/>
                  <a:gd name="T82" fmla="*/ 688 w 1304"/>
                  <a:gd name="T83" fmla="*/ 1044 h 1578"/>
                  <a:gd name="T84" fmla="*/ 820 w 1304"/>
                  <a:gd name="T85" fmla="*/ 866 h 1578"/>
                  <a:gd name="T86" fmla="*/ 873 w 1304"/>
                  <a:gd name="T87" fmla="*/ 795 h 1578"/>
                  <a:gd name="T88" fmla="*/ 942 w 1304"/>
                  <a:gd name="T89" fmla="*/ 744 h 1578"/>
                  <a:gd name="T90" fmla="*/ 959 w 1304"/>
                  <a:gd name="T91" fmla="*/ 697 h 1578"/>
                  <a:gd name="T92" fmla="*/ 917 w 1304"/>
                  <a:gd name="T93" fmla="*/ 604 h 1578"/>
                  <a:gd name="T94" fmla="*/ 897 w 1304"/>
                  <a:gd name="T95" fmla="*/ 546 h 1578"/>
                  <a:gd name="T96" fmla="*/ 925 w 1304"/>
                  <a:gd name="T97" fmla="*/ 515 h 1578"/>
                  <a:gd name="T98" fmla="*/ 972 w 1304"/>
                  <a:gd name="T99" fmla="*/ 534 h 1578"/>
                  <a:gd name="T100" fmla="*/ 1049 w 1304"/>
                  <a:gd name="T101" fmla="*/ 590 h 1578"/>
                  <a:gd name="T102" fmla="*/ 1063 w 1304"/>
                  <a:gd name="T103" fmla="*/ 641 h 1578"/>
                  <a:gd name="T104" fmla="*/ 1099 w 1304"/>
                  <a:gd name="T105" fmla="*/ 664 h 1578"/>
                  <a:gd name="T106" fmla="*/ 1161 w 1304"/>
                  <a:gd name="T107" fmla="*/ 750 h 1578"/>
                  <a:gd name="T108" fmla="*/ 1143 w 1304"/>
                  <a:gd name="T109" fmla="*/ 648 h 1578"/>
                  <a:gd name="T110" fmla="*/ 1199 w 1304"/>
                  <a:gd name="T111" fmla="*/ 576 h 1578"/>
                  <a:gd name="T112" fmla="*/ 1238 w 1304"/>
                  <a:gd name="T113" fmla="*/ 497 h 1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04" h="1578">
                    <a:moveTo>
                      <a:pt x="1204" y="1196"/>
                    </a:moveTo>
                    <a:cubicBezTo>
                      <a:pt x="1184" y="1198"/>
                      <a:pt x="1188" y="1259"/>
                      <a:pt x="1188" y="1259"/>
                    </a:cubicBezTo>
                    <a:cubicBezTo>
                      <a:pt x="1191" y="1325"/>
                      <a:pt x="1191" y="1325"/>
                      <a:pt x="1191" y="1325"/>
                    </a:cubicBezTo>
                    <a:cubicBezTo>
                      <a:pt x="1202" y="1305"/>
                      <a:pt x="1202" y="1305"/>
                      <a:pt x="1202" y="1305"/>
                    </a:cubicBezTo>
                    <a:cubicBezTo>
                      <a:pt x="1202" y="1237"/>
                      <a:pt x="1202" y="1237"/>
                      <a:pt x="1202" y="1237"/>
                    </a:cubicBezTo>
                    <a:cubicBezTo>
                      <a:pt x="1202" y="1237"/>
                      <a:pt x="1220" y="1194"/>
                      <a:pt x="1204" y="1196"/>
                    </a:cubicBezTo>
                    <a:close/>
                    <a:moveTo>
                      <a:pt x="1195" y="1357"/>
                    </a:moveTo>
                    <a:cubicBezTo>
                      <a:pt x="1180" y="1357"/>
                      <a:pt x="1196" y="1389"/>
                      <a:pt x="1196" y="1389"/>
                    </a:cubicBezTo>
                    <a:cubicBezTo>
                      <a:pt x="1196" y="1389"/>
                      <a:pt x="1209" y="1357"/>
                      <a:pt x="1195" y="1357"/>
                    </a:cubicBezTo>
                    <a:close/>
                    <a:moveTo>
                      <a:pt x="1259" y="1543"/>
                    </a:moveTo>
                    <a:cubicBezTo>
                      <a:pt x="1251" y="1544"/>
                      <a:pt x="1255" y="1578"/>
                      <a:pt x="1270" y="1578"/>
                    </a:cubicBezTo>
                    <a:cubicBezTo>
                      <a:pt x="1270" y="1578"/>
                      <a:pt x="1267" y="1542"/>
                      <a:pt x="1259" y="1543"/>
                    </a:cubicBezTo>
                    <a:close/>
                    <a:moveTo>
                      <a:pt x="1280" y="454"/>
                    </a:moveTo>
                    <a:cubicBezTo>
                      <a:pt x="1280" y="445"/>
                      <a:pt x="1304" y="436"/>
                      <a:pt x="1304" y="436"/>
                    </a:cubicBezTo>
                    <a:cubicBezTo>
                      <a:pt x="1302" y="417"/>
                      <a:pt x="1302" y="417"/>
                      <a:pt x="1302" y="417"/>
                    </a:cubicBezTo>
                    <a:cubicBezTo>
                      <a:pt x="1302" y="417"/>
                      <a:pt x="1287" y="413"/>
                      <a:pt x="1280" y="413"/>
                    </a:cubicBezTo>
                    <a:cubicBezTo>
                      <a:pt x="1273" y="413"/>
                      <a:pt x="1258" y="413"/>
                      <a:pt x="1250" y="411"/>
                    </a:cubicBezTo>
                    <a:cubicBezTo>
                      <a:pt x="1242" y="409"/>
                      <a:pt x="1262" y="400"/>
                      <a:pt x="1262" y="400"/>
                    </a:cubicBezTo>
                    <a:cubicBezTo>
                      <a:pt x="1251" y="380"/>
                      <a:pt x="1251" y="380"/>
                      <a:pt x="1251" y="380"/>
                    </a:cubicBezTo>
                    <a:cubicBezTo>
                      <a:pt x="1251" y="380"/>
                      <a:pt x="1240" y="381"/>
                      <a:pt x="1231" y="379"/>
                    </a:cubicBezTo>
                    <a:cubicBezTo>
                      <a:pt x="1222" y="377"/>
                      <a:pt x="1238" y="369"/>
                      <a:pt x="1238" y="369"/>
                    </a:cubicBezTo>
                    <a:cubicBezTo>
                      <a:pt x="1238" y="369"/>
                      <a:pt x="1237" y="364"/>
                      <a:pt x="1219" y="355"/>
                    </a:cubicBezTo>
                    <a:cubicBezTo>
                      <a:pt x="1201" y="346"/>
                      <a:pt x="1209" y="377"/>
                      <a:pt x="1198" y="377"/>
                    </a:cubicBezTo>
                    <a:cubicBezTo>
                      <a:pt x="1187" y="377"/>
                      <a:pt x="1173" y="363"/>
                      <a:pt x="1165" y="363"/>
                    </a:cubicBezTo>
                    <a:cubicBezTo>
                      <a:pt x="1157" y="363"/>
                      <a:pt x="1140" y="382"/>
                      <a:pt x="1133" y="390"/>
                    </a:cubicBezTo>
                    <a:cubicBezTo>
                      <a:pt x="1126" y="398"/>
                      <a:pt x="1102" y="394"/>
                      <a:pt x="1102" y="394"/>
                    </a:cubicBezTo>
                    <a:cubicBezTo>
                      <a:pt x="1102" y="394"/>
                      <a:pt x="1109" y="410"/>
                      <a:pt x="1107" y="415"/>
                    </a:cubicBezTo>
                    <a:cubicBezTo>
                      <a:pt x="1105" y="420"/>
                      <a:pt x="1084" y="422"/>
                      <a:pt x="1084" y="422"/>
                    </a:cubicBezTo>
                    <a:cubicBezTo>
                      <a:pt x="1084" y="422"/>
                      <a:pt x="1092" y="438"/>
                      <a:pt x="1084" y="445"/>
                    </a:cubicBezTo>
                    <a:cubicBezTo>
                      <a:pt x="1076" y="452"/>
                      <a:pt x="1045" y="450"/>
                      <a:pt x="1045" y="450"/>
                    </a:cubicBezTo>
                    <a:cubicBezTo>
                      <a:pt x="1045" y="450"/>
                      <a:pt x="1039" y="452"/>
                      <a:pt x="1043" y="459"/>
                    </a:cubicBezTo>
                    <a:cubicBezTo>
                      <a:pt x="1047" y="466"/>
                      <a:pt x="1064" y="465"/>
                      <a:pt x="1064" y="465"/>
                    </a:cubicBezTo>
                    <a:cubicBezTo>
                      <a:pt x="1064" y="479"/>
                      <a:pt x="1064" y="479"/>
                      <a:pt x="1064" y="479"/>
                    </a:cubicBezTo>
                    <a:cubicBezTo>
                      <a:pt x="1064" y="479"/>
                      <a:pt x="1079" y="490"/>
                      <a:pt x="1065" y="497"/>
                    </a:cubicBezTo>
                    <a:cubicBezTo>
                      <a:pt x="1051" y="504"/>
                      <a:pt x="1042" y="497"/>
                      <a:pt x="1042" y="497"/>
                    </a:cubicBezTo>
                    <a:cubicBezTo>
                      <a:pt x="1042" y="497"/>
                      <a:pt x="1034" y="501"/>
                      <a:pt x="1016" y="501"/>
                    </a:cubicBezTo>
                    <a:cubicBezTo>
                      <a:pt x="998" y="501"/>
                      <a:pt x="1000" y="495"/>
                      <a:pt x="991" y="495"/>
                    </a:cubicBezTo>
                    <a:cubicBezTo>
                      <a:pt x="982" y="495"/>
                      <a:pt x="988" y="503"/>
                      <a:pt x="969" y="503"/>
                    </a:cubicBezTo>
                    <a:cubicBezTo>
                      <a:pt x="950" y="503"/>
                      <a:pt x="953" y="492"/>
                      <a:pt x="953" y="492"/>
                    </a:cubicBezTo>
                    <a:cubicBezTo>
                      <a:pt x="953" y="492"/>
                      <a:pt x="949" y="503"/>
                      <a:pt x="926" y="487"/>
                    </a:cubicBezTo>
                    <a:cubicBezTo>
                      <a:pt x="903" y="471"/>
                      <a:pt x="921" y="467"/>
                      <a:pt x="921" y="467"/>
                    </a:cubicBezTo>
                    <a:cubicBezTo>
                      <a:pt x="921" y="467"/>
                      <a:pt x="916" y="468"/>
                      <a:pt x="911" y="466"/>
                    </a:cubicBezTo>
                    <a:cubicBezTo>
                      <a:pt x="906" y="464"/>
                      <a:pt x="917" y="436"/>
                      <a:pt x="906" y="427"/>
                    </a:cubicBezTo>
                    <a:cubicBezTo>
                      <a:pt x="899" y="422"/>
                      <a:pt x="888" y="428"/>
                      <a:pt x="876" y="435"/>
                    </a:cubicBezTo>
                    <a:cubicBezTo>
                      <a:pt x="882" y="450"/>
                      <a:pt x="882" y="450"/>
                      <a:pt x="882" y="450"/>
                    </a:cubicBezTo>
                    <a:cubicBezTo>
                      <a:pt x="882" y="482"/>
                      <a:pt x="882" y="482"/>
                      <a:pt x="882" y="482"/>
                    </a:cubicBezTo>
                    <a:cubicBezTo>
                      <a:pt x="892" y="497"/>
                      <a:pt x="892" y="497"/>
                      <a:pt x="892" y="497"/>
                    </a:cubicBezTo>
                    <a:cubicBezTo>
                      <a:pt x="892" y="497"/>
                      <a:pt x="892" y="506"/>
                      <a:pt x="891" y="515"/>
                    </a:cubicBezTo>
                    <a:cubicBezTo>
                      <a:pt x="890" y="524"/>
                      <a:pt x="869" y="521"/>
                      <a:pt x="869" y="521"/>
                    </a:cubicBezTo>
                    <a:cubicBezTo>
                      <a:pt x="869" y="521"/>
                      <a:pt x="862" y="520"/>
                      <a:pt x="853" y="520"/>
                    </a:cubicBezTo>
                    <a:cubicBezTo>
                      <a:pt x="844" y="520"/>
                      <a:pt x="849" y="510"/>
                      <a:pt x="843" y="510"/>
                    </a:cubicBezTo>
                    <a:cubicBezTo>
                      <a:pt x="837" y="510"/>
                      <a:pt x="829" y="521"/>
                      <a:pt x="829" y="521"/>
                    </a:cubicBezTo>
                    <a:cubicBezTo>
                      <a:pt x="829" y="521"/>
                      <a:pt x="818" y="508"/>
                      <a:pt x="805" y="504"/>
                    </a:cubicBezTo>
                    <a:cubicBezTo>
                      <a:pt x="792" y="500"/>
                      <a:pt x="788" y="509"/>
                      <a:pt x="788" y="509"/>
                    </a:cubicBezTo>
                    <a:cubicBezTo>
                      <a:pt x="766" y="495"/>
                      <a:pt x="766" y="495"/>
                      <a:pt x="766" y="495"/>
                    </a:cubicBezTo>
                    <a:cubicBezTo>
                      <a:pt x="754" y="504"/>
                      <a:pt x="754" y="504"/>
                      <a:pt x="754" y="504"/>
                    </a:cubicBezTo>
                    <a:cubicBezTo>
                      <a:pt x="754" y="504"/>
                      <a:pt x="745" y="493"/>
                      <a:pt x="736" y="485"/>
                    </a:cubicBezTo>
                    <a:cubicBezTo>
                      <a:pt x="727" y="477"/>
                      <a:pt x="719" y="467"/>
                      <a:pt x="719" y="467"/>
                    </a:cubicBezTo>
                    <a:cubicBezTo>
                      <a:pt x="705" y="470"/>
                      <a:pt x="705" y="470"/>
                      <a:pt x="705" y="470"/>
                    </a:cubicBezTo>
                    <a:cubicBezTo>
                      <a:pt x="705" y="470"/>
                      <a:pt x="704" y="462"/>
                      <a:pt x="695" y="457"/>
                    </a:cubicBezTo>
                    <a:cubicBezTo>
                      <a:pt x="686" y="452"/>
                      <a:pt x="687" y="471"/>
                      <a:pt x="687" y="471"/>
                    </a:cubicBezTo>
                    <a:cubicBezTo>
                      <a:pt x="687" y="471"/>
                      <a:pt x="686" y="464"/>
                      <a:pt x="677" y="464"/>
                    </a:cubicBezTo>
                    <a:cubicBezTo>
                      <a:pt x="668" y="464"/>
                      <a:pt x="663" y="472"/>
                      <a:pt x="663" y="472"/>
                    </a:cubicBezTo>
                    <a:cubicBezTo>
                      <a:pt x="660" y="465"/>
                      <a:pt x="660" y="465"/>
                      <a:pt x="660" y="465"/>
                    </a:cubicBezTo>
                    <a:cubicBezTo>
                      <a:pt x="660" y="465"/>
                      <a:pt x="653" y="461"/>
                      <a:pt x="640" y="459"/>
                    </a:cubicBezTo>
                    <a:cubicBezTo>
                      <a:pt x="627" y="457"/>
                      <a:pt x="639" y="452"/>
                      <a:pt x="634" y="450"/>
                    </a:cubicBezTo>
                    <a:cubicBezTo>
                      <a:pt x="629" y="448"/>
                      <a:pt x="624" y="451"/>
                      <a:pt x="616" y="451"/>
                    </a:cubicBezTo>
                    <a:cubicBezTo>
                      <a:pt x="608" y="451"/>
                      <a:pt x="601" y="437"/>
                      <a:pt x="601" y="437"/>
                    </a:cubicBezTo>
                    <a:cubicBezTo>
                      <a:pt x="592" y="438"/>
                      <a:pt x="592" y="438"/>
                      <a:pt x="592" y="438"/>
                    </a:cubicBezTo>
                    <a:cubicBezTo>
                      <a:pt x="564" y="423"/>
                      <a:pt x="564" y="423"/>
                      <a:pt x="564" y="423"/>
                    </a:cubicBezTo>
                    <a:cubicBezTo>
                      <a:pt x="557" y="413"/>
                      <a:pt x="557" y="413"/>
                      <a:pt x="557" y="413"/>
                    </a:cubicBezTo>
                    <a:cubicBezTo>
                      <a:pt x="539" y="413"/>
                      <a:pt x="539" y="413"/>
                      <a:pt x="539" y="413"/>
                    </a:cubicBezTo>
                    <a:cubicBezTo>
                      <a:pt x="528" y="395"/>
                      <a:pt x="528" y="395"/>
                      <a:pt x="528" y="395"/>
                    </a:cubicBezTo>
                    <a:cubicBezTo>
                      <a:pt x="518" y="401"/>
                      <a:pt x="518" y="401"/>
                      <a:pt x="518" y="401"/>
                    </a:cubicBezTo>
                    <a:cubicBezTo>
                      <a:pt x="518" y="401"/>
                      <a:pt x="506" y="390"/>
                      <a:pt x="499" y="382"/>
                    </a:cubicBezTo>
                    <a:cubicBezTo>
                      <a:pt x="492" y="374"/>
                      <a:pt x="511" y="364"/>
                      <a:pt x="511" y="364"/>
                    </a:cubicBezTo>
                    <a:cubicBezTo>
                      <a:pt x="511" y="364"/>
                      <a:pt x="506" y="364"/>
                      <a:pt x="502" y="358"/>
                    </a:cubicBezTo>
                    <a:cubicBezTo>
                      <a:pt x="498" y="352"/>
                      <a:pt x="509" y="350"/>
                      <a:pt x="509" y="350"/>
                    </a:cubicBezTo>
                    <a:cubicBezTo>
                      <a:pt x="503" y="341"/>
                      <a:pt x="503" y="341"/>
                      <a:pt x="503" y="341"/>
                    </a:cubicBezTo>
                    <a:cubicBezTo>
                      <a:pt x="518" y="323"/>
                      <a:pt x="518" y="323"/>
                      <a:pt x="518" y="323"/>
                    </a:cubicBezTo>
                    <a:cubicBezTo>
                      <a:pt x="524" y="310"/>
                      <a:pt x="524" y="310"/>
                      <a:pt x="524" y="310"/>
                    </a:cubicBezTo>
                    <a:cubicBezTo>
                      <a:pt x="509" y="296"/>
                      <a:pt x="509" y="296"/>
                      <a:pt x="509" y="296"/>
                    </a:cubicBezTo>
                    <a:cubicBezTo>
                      <a:pt x="509" y="296"/>
                      <a:pt x="498" y="296"/>
                      <a:pt x="492" y="293"/>
                    </a:cubicBezTo>
                    <a:cubicBezTo>
                      <a:pt x="486" y="290"/>
                      <a:pt x="492" y="282"/>
                      <a:pt x="492" y="282"/>
                    </a:cubicBezTo>
                    <a:cubicBezTo>
                      <a:pt x="481" y="283"/>
                      <a:pt x="481" y="283"/>
                      <a:pt x="481" y="283"/>
                    </a:cubicBezTo>
                    <a:cubicBezTo>
                      <a:pt x="466" y="272"/>
                      <a:pt x="466" y="272"/>
                      <a:pt x="466" y="272"/>
                    </a:cubicBezTo>
                    <a:cubicBezTo>
                      <a:pt x="466" y="272"/>
                      <a:pt x="456" y="270"/>
                      <a:pt x="445" y="266"/>
                    </a:cubicBezTo>
                    <a:cubicBezTo>
                      <a:pt x="434" y="262"/>
                      <a:pt x="430" y="247"/>
                      <a:pt x="430" y="247"/>
                    </a:cubicBezTo>
                    <a:cubicBezTo>
                      <a:pt x="430" y="247"/>
                      <a:pt x="419" y="252"/>
                      <a:pt x="412" y="249"/>
                    </a:cubicBezTo>
                    <a:cubicBezTo>
                      <a:pt x="405" y="246"/>
                      <a:pt x="412" y="221"/>
                      <a:pt x="412" y="221"/>
                    </a:cubicBezTo>
                    <a:cubicBezTo>
                      <a:pt x="412" y="221"/>
                      <a:pt x="392" y="210"/>
                      <a:pt x="390" y="200"/>
                    </a:cubicBezTo>
                    <a:cubicBezTo>
                      <a:pt x="388" y="190"/>
                      <a:pt x="401" y="185"/>
                      <a:pt x="405" y="185"/>
                    </a:cubicBezTo>
                    <a:cubicBezTo>
                      <a:pt x="409" y="185"/>
                      <a:pt x="407" y="195"/>
                      <a:pt x="407" y="195"/>
                    </a:cubicBezTo>
                    <a:cubicBezTo>
                      <a:pt x="417" y="203"/>
                      <a:pt x="417" y="203"/>
                      <a:pt x="417" y="203"/>
                    </a:cubicBezTo>
                    <a:cubicBezTo>
                      <a:pt x="423" y="194"/>
                      <a:pt x="423" y="194"/>
                      <a:pt x="423" y="194"/>
                    </a:cubicBezTo>
                    <a:cubicBezTo>
                      <a:pt x="423" y="194"/>
                      <a:pt x="432" y="191"/>
                      <a:pt x="440" y="186"/>
                    </a:cubicBezTo>
                    <a:cubicBezTo>
                      <a:pt x="448" y="181"/>
                      <a:pt x="429" y="166"/>
                      <a:pt x="429" y="166"/>
                    </a:cubicBezTo>
                    <a:cubicBezTo>
                      <a:pt x="424" y="157"/>
                      <a:pt x="424" y="157"/>
                      <a:pt x="424" y="157"/>
                    </a:cubicBezTo>
                    <a:cubicBezTo>
                      <a:pt x="424" y="157"/>
                      <a:pt x="419" y="154"/>
                      <a:pt x="404" y="147"/>
                    </a:cubicBezTo>
                    <a:cubicBezTo>
                      <a:pt x="389" y="140"/>
                      <a:pt x="395" y="129"/>
                      <a:pt x="395" y="129"/>
                    </a:cubicBezTo>
                    <a:cubicBezTo>
                      <a:pt x="406" y="123"/>
                      <a:pt x="406" y="123"/>
                      <a:pt x="406" y="123"/>
                    </a:cubicBezTo>
                    <a:cubicBezTo>
                      <a:pt x="394" y="107"/>
                      <a:pt x="394" y="107"/>
                      <a:pt x="394" y="107"/>
                    </a:cubicBezTo>
                    <a:cubicBezTo>
                      <a:pt x="394" y="107"/>
                      <a:pt x="413" y="108"/>
                      <a:pt x="422" y="103"/>
                    </a:cubicBezTo>
                    <a:cubicBezTo>
                      <a:pt x="431" y="98"/>
                      <a:pt x="425" y="74"/>
                      <a:pt x="425" y="74"/>
                    </a:cubicBezTo>
                    <a:cubicBezTo>
                      <a:pt x="425" y="74"/>
                      <a:pt x="434" y="74"/>
                      <a:pt x="438" y="69"/>
                    </a:cubicBezTo>
                    <a:cubicBezTo>
                      <a:pt x="442" y="64"/>
                      <a:pt x="438" y="28"/>
                      <a:pt x="438" y="28"/>
                    </a:cubicBezTo>
                    <a:cubicBezTo>
                      <a:pt x="438" y="28"/>
                      <a:pt x="424" y="30"/>
                      <a:pt x="413" y="28"/>
                    </a:cubicBezTo>
                    <a:cubicBezTo>
                      <a:pt x="402" y="26"/>
                      <a:pt x="400" y="12"/>
                      <a:pt x="383" y="6"/>
                    </a:cubicBezTo>
                    <a:cubicBezTo>
                      <a:pt x="366" y="0"/>
                      <a:pt x="335" y="29"/>
                      <a:pt x="335" y="29"/>
                    </a:cubicBezTo>
                    <a:cubicBezTo>
                      <a:pt x="335" y="29"/>
                      <a:pt x="328" y="29"/>
                      <a:pt x="319" y="29"/>
                    </a:cubicBezTo>
                    <a:cubicBezTo>
                      <a:pt x="304" y="51"/>
                      <a:pt x="304" y="51"/>
                      <a:pt x="304" y="51"/>
                    </a:cubicBezTo>
                    <a:cubicBezTo>
                      <a:pt x="289" y="57"/>
                      <a:pt x="289" y="57"/>
                      <a:pt x="289" y="57"/>
                    </a:cubicBezTo>
                    <a:cubicBezTo>
                      <a:pt x="289" y="57"/>
                      <a:pt x="289" y="68"/>
                      <a:pt x="286" y="69"/>
                    </a:cubicBezTo>
                    <a:cubicBezTo>
                      <a:pt x="283" y="70"/>
                      <a:pt x="272" y="69"/>
                      <a:pt x="272" y="69"/>
                    </a:cubicBezTo>
                    <a:cubicBezTo>
                      <a:pt x="266" y="74"/>
                      <a:pt x="266" y="74"/>
                      <a:pt x="266" y="74"/>
                    </a:cubicBezTo>
                    <a:cubicBezTo>
                      <a:pt x="262" y="70"/>
                      <a:pt x="262" y="70"/>
                      <a:pt x="262" y="70"/>
                    </a:cubicBezTo>
                    <a:cubicBezTo>
                      <a:pt x="262" y="70"/>
                      <a:pt x="244" y="83"/>
                      <a:pt x="237" y="84"/>
                    </a:cubicBezTo>
                    <a:cubicBezTo>
                      <a:pt x="230" y="85"/>
                      <a:pt x="227" y="73"/>
                      <a:pt x="227" y="73"/>
                    </a:cubicBezTo>
                    <a:cubicBezTo>
                      <a:pt x="227" y="73"/>
                      <a:pt x="198" y="67"/>
                      <a:pt x="176" y="70"/>
                    </a:cubicBezTo>
                    <a:cubicBezTo>
                      <a:pt x="154" y="73"/>
                      <a:pt x="156" y="89"/>
                      <a:pt x="156" y="89"/>
                    </a:cubicBezTo>
                    <a:cubicBezTo>
                      <a:pt x="171" y="99"/>
                      <a:pt x="171" y="99"/>
                      <a:pt x="171" y="99"/>
                    </a:cubicBezTo>
                    <a:cubicBezTo>
                      <a:pt x="167" y="108"/>
                      <a:pt x="167" y="108"/>
                      <a:pt x="167" y="108"/>
                    </a:cubicBezTo>
                    <a:cubicBezTo>
                      <a:pt x="187" y="112"/>
                      <a:pt x="187" y="112"/>
                      <a:pt x="187" y="112"/>
                    </a:cubicBezTo>
                    <a:cubicBezTo>
                      <a:pt x="187" y="112"/>
                      <a:pt x="178" y="120"/>
                      <a:pt x="175" y="130"/>
                    </a:cubicBezTo>
                    <a:cubicBezTo>
                      <a:pt x="172" y="140"/>
                      <a:pt x="186" y="141"/>
                      <a:pt x="186" y="141"/>
                    </a:cubicBezTo>
                    <a:cubicBezTo>
                      <a:pt x="186" y="141"/>
                      <a:pt x="185" y="149"/>
                      <a:pt x="184" y="157"/>
                    </a:cubicBezTo>
                    <a:cubicBezTo>
                      <a:pt x="183" y="165"/>
                      <a:pt x="194" y="162"/>
                      <a:pt x="194" y="162"/>
                    </a:cubicBezTo>
                    <a:cubicBezTo>
                      <a:pt x="202" y="172"/>
                      <a:pt x="202" y="172"/>
                      <a:pt x="202" y="172"/>
                    </a:cubicBezTo>
                    <a:cubicBezTo>
                      <a:pt x="216" y="173"/>
                      <a:pt x="216" y="173"/>
                      <a:pt x="216" y="173"/>
                    </a:cubicBezTo>
                    <a:cubicBezTo>
                      <a:pt x="219" y="196"/>
                      <a:pt x="219" y="196"/>
                      <a:pt x="219" y="196"/>
                    </a:cubicBezTo>
                    <a:cubicBezTo>
                      <a:pt x="243" y="195"/>
                      <a:pt x="243" y="195"/>
                      <a:pt x="243" y="195"/>
                    </a:cubicBezTo>
                    <a:cubicBezTo>
                      <a:pt x="243" y="195"/>
                      <a:pt x="255" y="200"/>
                      <a:pt x="256" y="209"/>
                    </a:cubicBezTo>
                    <a:cubicBezTo>
                      <a:pt x="257" y="218"/>
                      <a:pt x="228" y="222"/>
                      <a:pt x="224" y="224"/>
                    </a:cubicBezTo>
                    <a:cubicBezTo>
                      <a:pt x="220" y="226"/>
                      <a:pt x="223" y="240"/>
                      <a:pt x="223" y="244"/>
                    </a:cubicBezTo>
                    <a:cubicBezTo>
                      <a:pt x="223" y="248"/>
                      <a:pt x="235" y="268"/>
                      <a:pt x="235" y="268"/>
                    </a:cubicBezTo>
                    <a:cubicBezTo>
                      <a:pt x="217" y="281"/>
                      <a:pt x="217" y="281"/>
                      <a:pt x="217" y="281"/>
                    </a:cubicBezTo>
                    <a:cubicBezTo>
                      <a:pt x="200" y="305"/>
                      <a:pt x="200" y="305"/>
                      <a:pt x="200" y="305"/>
                    </a:cubicBezTo>
                    <a:cubicBezTo>
                      <a:pt x="211" y="322"/>
                      <a:pt x="211" y="322"/>
                      <a:pt x="211" y="322"/>
                    </a:cubicBezTo>
                    <a:cubicBezTo>
                      <a:pt x="211" y="322"/>
                      <a:pt x="192" y="323"/>
                      <a:pt x="188" y="332"/>
                    </a:cubicBezTo>
                    <a:cubicBezTo>
                      <a:pt x="184" y="341"/>
                      <a:pt x="187" y="359"/>
                      <a:pt x="179" y="372"/>
                    </a:cubicBezTo>
                    <a:cubicBezTo>
                      <a:pt x="171" y="385"/>
                      <a:pt x="155" y="388"/>
                      <a:pt x="151" y="391"/>
                    </a:cubicBezTo>
                    <a:cubicBezTo>
                      <a:pt x="147" y="394"/>
                      <a:pt x="146" y="414"/>
                      <a:pt x="146" y="414"/>
                    </a:cubicBezTo>
                    <a:cubicBezTo>
                      <a:pt x="137" y="419"/>
                      <a:pt x="137" y="419"/>
                      <a:pt x="137" y="419"/>
                    </a:cubicBezTo>
                    <a:cubicBezTo>
                      <a:pt x="137" y="419"/>
                      <a:pt x="136" y="429"/>
                      <a:pt x="129" y="437"/>
                    </a:cubicBezTo>
                    <a:cubicBezTo>
                      <a:pt x="122" y="445"/>
                      <a:pt x="107" y="437"/>
                      <a:pt x="107" y="437"/>
                    </a:cubicBezTo>
                    <a:cubicBezTo>
                      <a:pt x="107" y="437"/>
                      <a:pt x="102" y="445"/>
                      <a:pt x="89" y="447"/>
                    </a:cubicBezTo>
                    <a:cubicBezTo>
                      <a:pt x="76" y="449"/>
                      <a:pt x="84" y="432"/>
                      <a:pt x="70" y="434"/>
                    </a:cubicBezTo>
                    <a:cubicBezTo>
                      <a:pt x="56" y="436"/>
                      <a:pt x="57" y="450"/>
                      <a:pt x="57" y="450"/>
                    </a:cubicBezTo>
                    <a:cubicBezTo>
                      <a:pt x="57" y="450"/>
                      <a:pt x="50" y="462"/>
                      <a:pt x="42" y="469"/>
                    </a:cubicBezTo>
                    <a:cubicBezTo>
                      <a:pt x="34" y="476"/>
                      <a:pt x="33" y="476"/>
                      <a:pt x="33" y="493"/>
                    </a:cubicBezTo>
                    <a:cubicBezTo>
                      <a:pt x="33" y="510"/>
                      <a:pt x="48" y="508"/>
                      <a:pt x="48" y="508"/>
                    </a:cubicBezTo>
                    <a:cubicBezTo>
                      <a:pt x="66" y="506"/>
                      <a:pt x="66" y="506"/>
                      <a:pt x="66" y="506"/>
                    </a:cubicBezTo>
                    <a:cubicBezTo>
                      <a:pt x="67" y="516"/>
                      <a:pt x="67" y="516"/>
                      <a:pt x="67" y="516"/>
                    </a:cubicBezTo>
                    <a:cubicBezTo>
                      <a:pt x="65" y="536"/>
                      <a:pt x="65" y="536"/>
                      <a:pt x="65" y="536"/>
                    </a:cubicBezTo>
                    <a:cubicBezTo>
                      <a:pt x="65" y="536"/>
                      <a:pt x="67" y="544"/>
                      <a:pt x="74" y="551"/>
                    </a:cubicBezTo>
                    <a:cubicBezTo>
                      <a:pt x="81" y="558"/>
                      <a:pt x="97" y="558"/>
                      <a:pt x="97" y="558"/>
                    </a:cubicBezTo>
                    <a:cubicBezTo>
                      <a:pt x="97" y="573"/>
                      <a:pt x="97" y="573"/>
                      <a:pt x="97" y="573"/>
                    </a:cubicBezTo>
                    <a:cubicBezTo>
                      <a:pt x="111" y="601"/>
                      <a:pt x="111" y="601"/>
                      <a:pt x="111" y="601"/>
                    </a:cubicBezTo>
                    <a:cubicBezTo>
                      <a:pt x="111" y="601"/>
                      <a:pt x="122" y="616"/>
                      <a:pt x="120" y="625"/>
                    </a:cubicBezTo>
                    <a:cubicBezTo>
                      <a:pt x="118" y="634"/>
                      <a:pt x="109" y="635"/>
                      <a:pt x="98" y="635"/>
                    </a:cubicBezTo>
                    <a:cubicBezTo>
                      <a:pt x="87" y="635"/>
                      <a:pt x="97" y="624"/>
                      <a:pt x="86" y="626"/>
                    </a:cubicBezTo>
                    <a:cubicBezTo>
                      <a:pt x="75" y="628"/>
                      <a:pt x="77" y="638"/>
                      <a:pt x="63" y="638"/>
                    </a:cubicBezTo>
                    <a:cubicBezTo>
                      <a:pt x="49" y="638"/>
                      <a:pt x="52" y="630"/>
                      <a:pt x="52" y="630"/>
                    </a:cubicBezTo>
                    <a:cubicBezTo>
                      <a:pt x="35" y="636"/>
                      <a:pt x="35" y="636"/>
                      <a:pt x="35" y="636"/>
                    </a:cubicBezTo>
                    <a:cubicBezTo>
                      <a:pt x="35" y="636"/>
                      <a:pt x="26" y="629"/>
                      <a:pt x="15" y="630"/>
                    </a:cubicBezTo>
                    <a:cubicBezTo>
                      <a:pt x="4" y="631"/>
                      <a:pt x="13" y="647"/>
                      <a:pt x="13" y="647"/>
                    </a:cubicBezTo>
                    <a:cubicBezTo>
                      <a:pt x="0" y="652"/>
                      <a:pt x="0" y="652"/>
                      <a:pt x="0" y="652"/>
                    </a:cubicBezTo>
                    <a:cubicBezTo>
                      <a:pt x="11" y="653"/>
                      <a:pt x="23" y="653"/>
                      <a:pt x="23" y="653"/>
                    </a:cubicBezTo>
                    <a:cubicBezTo>
                      <a:pt x="23" y="653"/>
                      <a:pt x="13" y="677"/>
                      <a:pt x="26" y="686"/>
                    </a:cubicBezTo>
                    <a:cubicBezTo>
                      <a:pt x="38" y="696"/>
                      <a:pt x="71" y="699"/>
                      <a:pt x="78" y="697"/>
                    </a:cubicBezTo>
                    <a:cubicBezTo>
                      <a:pt x="84" y="695"/>
                      <a:pt x="108" y="678"/>
                      <a:pt x="108" y="678"/>
                    </a:cubicBezTo>
                    <a:cubicBezTo>
                      <a:pt x="108" y="678"/>
                      <a:pt x="118" y="690"/>
                      <a:pt x="106" y="701"/>
                    </a:cubicBezTo>
                    <a:cubicBezTo>
                      <a:pt x="94" y="712"/>
                      <a:pt x="70" y="719"/>
                      <a:pt x="70" y="719"/>
                    </a:cubicBezTo>
                    <a:cubicBezTo>
                      <a:pt x="70" y="719"/>
                      <a:pt x="32" y="724"/>
                      <a:pt x="30" y="735"/>
                    </a:cubicBezTo>
                    <a:cubicBezTo>
                      <a:pt x="28" y="746"/>
                      <a:pt x="58" y="770"/>
                      <a:pt x="70" y="779"/>
                    </a:cubicBezTo>
                    <a:cubicBezTo>
                      <a:pt x="83" y="788"/>
                      <a:pt x="106" y="816"/>
                      <a:pt x="136" y="818"/>
                    </a:cubicBezTo>
                    <a:cubicBezTo>
                      <a:pt x="167" y="821"/>
                      <a:pt x="205" y="794"/>
                      <a:pt x="201" y="775"/>
                    </a:cubicBezTo>
                    <a:cubicBezTo>
                      <a:pt x="197" y="757"/>
                      <a:pt x="207" y="742"/>
                      <a:pt x="217" y="733"/>
                    </a:cubicBezTo>
                    <a:cubicBezTo>
                      <a:pt x="226" y="723"/>
                      <a:pt x="248" y="718"/>
                      <a:pt x="238" y="735"/>
                    </a:cubicBezTo>
                    <a:cubicBezTo>
                      <a:pt x="229" y="752"/>
                      <a:pt x="206" y="767"/>
                      <a:pt x="213" y="781"/>
                    </a:cubicBezTo>
                    <a:cubicBezTo>
                      <a:pt x="220" y="795"/>
                      <a:pt x="238" y="793"/>
                      <a:pt x="238" y="808"/>
                    </a:cubicBezTo>
                    <a:cubicBezTo>
                      <a:pt x="237" y="822"/>
                      <a:pt x="233" y="838"/>
                      <a:pt x="227" y="861"/>
                    </a:cubicBezTo>
                    <a:cubicBezTo>
                      <a:pt x="220" y="885"/>
                      <a:pt x="220" y="907"/>
                      <a:pt x="227" y="936"/>
                    </a:cubicBezTo>
                    <a:cubicBezTo>
                      <a:pt x="235" y="964"/>
                      <a:pt x="247" y="1014"/>
                      <a:pt x="258" y="1029"/>
                    </a:cubicBezTo>
                    <a:cubicBezTo>
                      <a:pt x="269" y="1045"/>
                      <a:pt x="272" y="1039"/>
                      <a:pt x="267" y="1062"/>
                    </a:cubicBezTo>
                    <a:cubicBezTo>
                      <a:pt x="262" y="1085"/>
                      <a:pt x="299" y="1092"/>
                      <a:pt x="299" y="1092"/>
                    </a:cubicBezTo>
                    <a:cubicBezTo>
                      <a:pt x="299" y="1092"/>
                      <a:pt x="304" y="1124"/>
                      <a:pt x="312" y="1135"/>
                    </a:cubicBezTo>
                    <a:cubicBezTo>
                      <a:pt x="321" y="1147"/>
                      <a:pt x="339" y="1156"/>
                      <a:pt x="339" y="1156"/>
                    </a:cubicBezTo>
                    <a:cubicBezTo>
                      <a:pt x="339" y="1156"/>
                      <a:pt x="344" y="1222"/>
                      <a:pt x="354" y="1252"/>
                    </a:cubicBezTo>
                    <a:cubicBezTo>
                      <a:pt x="365" y="1282"/>
                      <a:pt x="402" y="1323"/>
                      <a:pt x="407" y="1335"/>
                    </a:cubicBezTo>
                    <a:cubicBezTo>
                      <a:pt x="412" y="1348"/>
                      <a:pt x="414" y="1374"/>
                      <a:pt x="413" y="1386"/>
                    </a:cubicBezTo>
                    <a:cubicBezTo>
                      <a:pt x="411" y="1398"/>
                      <a:pt x="479" y="1502"/>
                      <a:pt x="479" y="1502"/>
                    </a:cubicBezTo>
                    <a:cubicBezTo>
                      <a:pt x="479" y="1502"/>
                      <a:pt x="512" y="1493"/>
                      <a:pt x="518" y="1484"/>
                    </a:cubicBezTo>
                    <a:cubicBezTo>
                      <a:pt x="523" y="1474"/>
                      <a:pt x="515" y="1452"/>
                      <a:pt x="526" y="1445"/>
                    </a:cubicBezTo>
                    <a:cubicBezTo>
                      <a:pt x="536" y="1438"/>
                      <a:pt x="540" y="1446"/>
                      <a:pt x="550" y="1443"/>
                    </a:cubicBezTo>
                    <a:cubicBezTo>
                      <a:pt x="561" y="1440"/>
                      <a:pt x="578" y="1427"/>
                      <a:pt x="578" y="1427"/>
                    </a:cubicBezTo>
                    <a:cubicBezTo>
                      <a:pt x="578" y="1427"/>
                      <a:pt x="563" y="1431"/>
                      <a:pt x="566" y="1414"/>
                    </a:cubicBezTo>
                    <a:cubicBezTo>
                      <a:pt x="568" y="1397"/>
                      <a:pt x="575" y="1394"/>
                      <a:pt x="587" y="1388"/>
                    </a:cubicBezTo>
                    <a:cubicBezTo>
                      <a:pt x="599" y="1382"/>
                      <a:pt x="613" y="1379"/>
                      <a:pt x="613" y="1371"/>
                    </a:cubicBezTo>
                    <a:cubicBezTo>
                      <a:pt x="614" y="1362"/>
                      <a:pt x="601" y="1330"/>
                      <a:pt x="601" y="1311"/>
                    </a:cubicBezTo>
                    <a:cubicBezTo>
                      <a:pt x="600" y="1293"/>
                      <a:pt x="599" y="1264"/>
                      <a:pt x="605" y="1261"/>
                    </a:cubicBezTo>
                    <a:cubicBezTo>
                      <a:pt x="612" y="1257"/>
                      <a:pt x="609" y="1249"/>
                      <a:pt x="610" y="1217"/>
                    </a:cubicBezTo>
                    <a:cubicBezTo>
                      <a:pt x="612" y="1185"/>
                      <a:pt x="592" y="1185"/>
                      <a:pt x="590" y="1172"/>
                    </a:cubicBezTo>
                    <a:cubicBezTo>
                      <a:pt x="588" y="1160"/>
                      <a:pt x="598" y="1154"/>
                      <a:pt x="599" y="1142"/>
                    </a:cubicBezTo>
                    <a:cubicBezTo>
                      <a:pt x="601" y="1130"/>
                      <a:pt x="594" y="1123"/>
                      <a:pt x="594" y="1107"/>
                    </a:cubicBezTo>
                    <a:cubicBezTo>
                      <a:pt x="595" y="1091"/>
                      <a:pt x="631" y="1089"/>
                      <a:pt x="631" y="1082"/>
                    </a:cubicBezTo>
                    <a:cubicBezTo>
                      <a:pt x="631" y="1075"/>
                      <a:pt x="631" y="1059"/>
                      <a:pt x="638" y="1054"/>
                    </a:cubicBezTo>
                    <a:cubicBezTo>
                      <a:pt x="646" y="1049"/>
                      <a:pt x="660" y="1050"/>
                      <a:pt x="660" y="1050"/>
                    </a:cubicBezTo>
                    <a:cubicBezTo>
                      <a:pt x="663" y="1044"/>
                      <a:pt x="663" y="1044"/>
                      <a:pt x="663" y="1044"/>
                    </a:cubicBezTo>
                    <a:cubicBezTo>
                      <a:pt x="663" y="1044"/>
                      <a:pt x="686" y="1055"/>
                      <a:pt x="688" y="1044"/>
                    </a:cubicBezTo>
                    <a:cubicBezTo>
                      <a:pt x="690" y="1033"/>
                      <a:pt x="709" y="998"/>
                      <a:pt x="715" y="988"/>
                    </a:cubicBezTo>
                    <a:cubicBezTo>
                      <a:pt x="722" y="979"/>
                      <a:pt x="744" y="980"/>
                      <a:pt x="751" y="966"/>
                    </a:cubicBezTo>
                    <a:cubicBezTo>
                      <a:pt x="758" y="953"/>
                      <a:pt x="769" y="925"/>
                      <a:pt x="779" y="916"/>
                    </a:cubicBezTo>
                    <a:cubicBezTo>
                      <a:pt x="788" y="906"/>
                      <a:pt x="827" y="886"/>
                      <a:pt x="827" y="886"/>
                    </a:cubicBezTo>
                    <a:cubicBezTo>
                      <a:pt x="820" y="866"/>
                      <a:pt x="820" y="866"/>
                      <a:pt x="820" y="866"/>
                    </a:cubicBezTo>
                    <a:cubicBezTo>
                      <a:pt x="826" y="861"/>
                      <a:pt x="826" y="861"/>
                      <a:pt x="826" y="861"/>
                    </a:cubicBezTo>
                    <a:cubicBezTo>
                      <a:pt x="839" y="880"/>
                      <a:pt x="839" y="880"/>
                      <a:pt x="839" y="880"/>
                    </a:cubicBezTo>
                    <a:cubicBezTo>
                      <a:pt x="880" y="841"/>
                      <a:pt x="880" y="841"/>
                      <a:pt x="880" y="841"/>
                    </a:cubicBezTo>
                    <a:cubicBezTo>
                      <a:pt x="887" y="823"/>
                      <a:pt x="887" y="823"/>
                      <a:pt x="887" y="823"/>
                    </a:cubicBezTo>
                    <a:cubicBezTo>
                      <a:pt x="887" y="823"/>
                      <a:pt x="873" y="806"/>
                      <a:pt x="873" y="795"/>
                    </a:cubicBezTo>
                    <a:cubicBezTo>
                      <a:pt x="874" y="784"/>
                      <a:pt x="897" y="788"/>
                      <a:pt x="909" y="773"/>
                    </a:cubicBezTo>
                    <a:cubicBezTo>
                      <a:pt x="921" y="757"/>
                      <a:pt x="917" y="744"/>
                      <a:pt x="917" y="744"/>
                    </a:cubicBezTo>
                    <a:cubicBezTo>
                      <a:pt x="928" y="749"/>
                      <a:pt x="928" y="749"/>
                      <a:pt x="928" y="749"/>
                    </a:cubicBezTo>
                    <a:cubicBezTo>
                      <a:pt x="934" y="767"/>
                      <a:pt x="934" y="767"/>
                      <a:pt x="934" y="767"/>
                    </a:cubicBezTo>
                    <a:cubicBezTo>
                      <a:pt x="942" y="744"/>
                      <a:pt x="942" y="744"/>
                      <a:pt x="942" y="744"/>
                    </a:cubicBezTo>
                    <a:cubicBezTo>
                      <a:pt x="942" y="744"/>
                      <a:pt x="950" y="786"/>
                      <a:pt x="957" y="789"/>
                    </a:cubicBezTo>
                    <a:cubicBezTo>
                      <a:pt x="965" y="791"/>
                      <a:pt x="968" y="763"/>
                      <a:pt x="968" y="763"/>
                    </a:cubicBezTo>
                    <a:cubicBezTo>
                      <a:pt x="970" y="745"/>
                      <a:pt x="970" y="745"/>
                      <a:pt x="970" y="745"/>
                    </a:cubicBezTo>
                    <a:cubicBezTo>
                      <a:pt x="958" y="717"/>
                      <a:pt x="958" y="717"/>
                      <a:pt x="958" y="717"/>
                    </a:cubicBezTo>
                    <a:cubicBezTo>
                      <a:pt x="959" y="697"/>
                      <a:pt x="959" y="697"/>
                      <a:pt x="959" y="697"/>
                    </a:cubicBezTo>
                    <a:cubicBezTo>
                      <a:pt x="939" y="681"/>
                      <a:pt x="939" y="681"/>
                      <a:pt x="939" y="681"/>
                    </a:cubicBezTo>
                    <a:cubicBezTo>
                      <a:pt x="930" y="661"/>
                      <a:pt x="930" y="661"/>
                      <a:pt x="930" y="661"/>
                    </a:cubicBezTo>
                    <a:cubicBezTo>
                      <a:pt x="930" y="661"/>
                      <a:pt x="939" y="653"/>
                      <a:pt x="942" y="637"/>
                    </a:cubicBezTo>
                    <a:cubicBezTo>
                      <a:pt x="945" y="621"/>
                      <a:pt x="918" y="627"/>
                      <a:pt x="908" y="617"/>
                    </a:cubicBezTo>
                    <a:cubicBezTo>
                      <a:pt x="898" y="607"/>
                      <a:pt x="917" y="604"/>
                      <a:pt x="917" y="604"/>
                    </a:cubicBezTo>
                    <a:cubicBezTo>
                      <a:pt x="917" y="585"/>
                      <a:pt x="917" y="585"/>
                      <a:pt x="917" y="585"/>
                    </a:cubicBezTo>
                    <a:cubicBezTo>
                      <a:pt x="939" y="584"/>
                      <a:pt x="939" y="584"/>
                      <a:pt x="939" y="584"/>
                    </a:cubicBezTo>
                    <a:cubicBezTo>
                      <a:pt x="938" y="576"/>
                      <a:pt x="938" y="576"/>
                      <a:pt x="938" y="576"/>
                    </a:cubicBezTo>
                    <a:cubicBezTo>
                      <a:pt x="921" y="565"/>
                      <a:pt x="921" y="565"/>
                      <a:pt x="921" y="565"/>
                    </a:cubicBezTo>
                    <a:cubicBezTo>
                      <a:pt x="921" y="565"/>
                      <a:pt x="899" y="557"/>
                      <a:pt x="897" y="546"/>
                    </a:cubicBezTo>
                    <a:cubicBezTo>
                      <a:pt x="895" y="535"/>
                      <a:pt x="906" y="523"/>
                      <a:pt x="906" y="523"/>
                    </a:cubicBezTo>
                    <a:cubicBezTo>
                      <a:pt x="901" y="511"/>
                      <a:pt x="901" y="511"/>
                      <a:pt x="901" y="511"/>
                    </a:cubicBezTo>
                    <a:cubicBezTo>
                      <a:pt x="912" y="514"/>
                      <a:pt x="912" y="514"/>
                      <a:pt x="912" y="514"/>
                    </a:cubicBezTo>
                    <a:cubicBezTo>
                      <a:pt x="928" y="522"/>
                      <a:pt x="928" y="522"/>
                      <a:pt x="928" y="522"/>
                    </a:cubicBezTo>
                    <a:cubicBezTo>
                      <a:pt x="925" y="515"/>
                      <a:pt x="925" y="515"/>
                      <a:pt x="925" y="515"/>
                    </a:cubicBezTo>
                    <a:cubicBezTo>
                      <a:pt x="936" y="514"/>
                      <a:pt x="936" y="514"/>
                      <a:pt x="936" y="514"/>
                    </a:cubicBezTo>
                    <a:cubicBezTo>
                      <a:pt x="936" y="514"/>
                      <a:pt x="939" y="526"/>
                      <a:pt x="945" y="532"/>
                    </a:cubicBezTo>
                    <a:cubicBezTo>
                      <a:pt x="951" y="538"/>
                      <a:pt x="961" y="540"/>
                      <a:pt x="961" y="540"/>
                    </a:cubicBezTo>
                    <a:cubicBezTo>
                      <a:pt x="962" y="528"/>
                      <a:pt x="962" y="528"/>
                      <a:pt x="962" y="528"/>
                    </a:cubicBezTo>
                    <a:cubicBezTo>
                      <a:pt x="962" y="528"/>
                      <a:pt x="968" y="531"/>
                      <a:pt x="972" y="534"/>
                    </a:cubicBezTo>
                    <a:cubicBezTo>
                      <a:pt x="976" y="537"/>
                      <a:pt x="976" y="555"/>
                      <a:pt x="976" y="555"/>
                    </a:cubicBezTo>
                    <a:cubicBezTo>
                      <a:pt x="980" y="557"/>
                      <a:pt x="980" y="557"/>
                      <a:pt x="980" y="557"/>
                    </a:cubicBezTo>
                    <a:cubicBezTo>
                      <a:pt x="980" y="557"/>
                      <a:pt x="981" y="577"/>
                      <a:pt x="981" y="580"/>
                    </a:cubicBezTo>
                    <a:cubicBezTo>
                      <a:pt x="981" y="583"/>
                      <a:pt x="998" y="586"/>
                      <a:pt x="1008" y="586"/>
                    </a:cubicBezTo>
                    <a:cubicBezTo>
                      <a:pt x="1018" y="586"/>
                      <a:pt x="1049" y="590"/>
                      <a:pt x="1049" y="590"/>
                    </a:cubicBezTo>
                    <a:cubicBezTo>
                      <a:pt x="1079" y="579"/>
                      <a:pt x="1079" y="579"/>
                      <a:pt x="1079" y="579"/>
                    </a:cubicBezTo>
                    <a:cubicBezTo>
                      <a:pt x="1079" y="579"/>
                      <a:pt x="1101" y="587"/>
                      <a:pt x="1101" y="597"/>
                    </a:cubicBezTo>
                    <a:cubicBezTo>
                      <a:pt x="1101" y="607"/>
                      <a:pt x="1091" y="603"/>
                      <a:pt x="1091" y="603"/>
                    </a:cubicBezTo>
                    <a:cubicBezTo>
                      <a:pt x="1091" y="603"/>
                      <a:pt x="1091" y="612"/>
                      <a:pt x="1088" y="626"/>
                    </a:cubicBezTo>
                    <a:cubicBezTo>
                      <a:pt x="1085" y="640"/>
                      <a:pt x="1071" y="638"/>
                      <a:pt x="1063" y="641"/>
                    </a:cubicBezTo>
                    <a:cubicBezTo>
                      <a:pt x="1055" y="644"/>
                      <a:pt x="1053" y="654"/>
                      <a:pt x="1053" y="670"/>
                    </a:cubicBezTo>
                    <a:cubicBezTo>
                      <a:pt x="1053" y="686"/>
                      <a:pt x="1073" y="689"/>
                      <a:pt x="1073" y="689"/>
                    </a:cubicBezTo>
                    <a:cubicBezTo>
                      <a:pt x="1082" y="704"/>
                      <a:pt x="1082" y="704"/>
                      <a:pt x="1082" y="704"/>
                    </a:cubicBezTo>
                    <a:cubicBezTo>
                      <a:pt x="1089" y="681"/>
                      <a:pt x="1089" y="681"/>
                      <a:pt x="1089" y="681"/>
                    </a:cubicBezTo>
                    <a:cubicBezTo>
                      <a:pt x="1089" y="681"/>
                      <a:pt x="1081" y="660"/>
                      <a:pt x="1099" y="664"/>
                    </a:cubicBezTo>
                    <a:cubicBezTo>
                      <a:pt x="1117" y="668"/>
                      <a:pt x="1111" y="687"/>
                      <a:pt x="1115" y="698"/>
                    </a:cubicBezTo>
                    <a:cubicBezTo>
                      <a:pt x="1119" y="709"/>
                      <a:pt x="1135" y="748"/>
                      <a:pt x="1135" y="748"/>
                    </a:cubicBezTo>
                    <a:cubicBezTo>
                      <a:pt x="1149" y="760"/>
                      <a:pt x="1149" y="760"/>
                      <a:pt x="1149" y="760"/>
                    </a:cubicBezTo>
                    <a:cubicBezTo>
                      <a:pt x="1149" y="760"/>
                      <a:pt x="1148" y="752"/>
                      <a:pt x="1148" y="746"/>
                    </a:cubicBezTo>
                    <a:cubicBezTo>
                      <a:pt x="1148" y="740"/>
                      <a:pt x="1152" y="752"/>
                      <a:pt x="1161" y="750"/>
                    </a:cubicBezTo>
                    <a:cubicBezTo>
                      <a:pt x="1170" y="748"/>
                      <a:pt x="1160" y="736"/>
                      <a:pt x="1156" y="732"/>
                    </a:cubicBezTo>
                    <a:cubicBezTo>
                      <a:pt x="1152" y="728"/>
                      <a:pt x="1152" y="714"/>
                      <a:pt x="1149" y="705"/>
                    </a:cubicBezTo>
                    <a:cubicBezTo>
                      <a:pt x="1146" y="696"/>
                      <a:pt x="1163" y="694"/>
                      <a:pt x="1163" y="694"/>
                    </a:cubicBezTo>
                    <a:cubicBezTo>
                      <a:pt x="1161" y="661"/>
                      <a:pt x="1161" y="661"/>
                      <a:pt x="1161" y="661"/>
                    </a:cubicBezTo>
                    <a:cubicBezTo>
                      <a:pt x="1161" y="661"/>
                      <a:pt x="1147" y="650"/>
                      <a:pt x="1143" y="648"/>
                    </a:cubicBezTo>
                    <a:cubicBezTo>
                      <a:pt x="1139" y="646"/>
                      <a:pt x="1164" y="647"/>
                      <a:pt x="1168" y="648"/>
                    </a:cubicBezTo>
                    <a:cubicBezTo>
                      <a:pt x="1172" y="649"/>
                      <a:pt x="1197" y="653"/>
                      <a:pt x="1197" y="653"/>
                    </a:cubicBezTo>
                    <a:cubicBezTo>
                      <a:pt x="1197" y="629"/>
                      <a:pt x="1197" y="629"/>
                      <a:pt x="1197" y="629"/>
                    </a:cubicBezTo>
                    <a:cubicBezTo>
                      <a:pt x="1209" y="594"/>
                      <a:pt x="1209" y="594"/>
                      <a:pt x="1209" y="594"/>
                    </a:cubicBezTo>
                    <a:cubicBezTo>
                      <a:pt x="1209" y="594"/>
                      <a:pt x="1199" y="586"/>
                      <a:pt x="1199" y="576"/>
                    </a:cubicBezTo>
                    <a:cubicBezTo>
                      <a:pt x="1199" y="566"/>
                      <a:pt x="1213" y="562"/>
                      <a:pt x="1213" y="562"/>
                    </a:cubicBezTo>
                    <a:cubicBezTo>
                      <a:pt x="1225" y="541"/>
                      <a:pt x="1225" y="541"/>
                      <a:pt x="1225" y="541"/>
                    </a:cubicBezTo>
                    <a:cubicBezTo>
                      <a:pt x="1225" y="541"/>
                      <a:pt x="1219" y="530"/>
                      <a:pt x="1218" y="525"/>
                    </a:cubicBezTo>
                    <a:cubicBezTo>
                      <a:pt x="1217" y="520"/>
                      <a:pt x="1215" y="506"/>
                      <a:pt x="1215" y="506"/>
                    </a:cubicBezTo>
                    <a:cubicBezTo>
                      <a:pt x="1215" y="506"/>
                      <a:pt x="1226" y="501"/>
                      <a:pt x="1238" y="497"/>
                    </a:cubicBezTo>
                    <a:cubicBezTo>
                      <a:pt x="1250" y="493"/>
                      <a:pt x="1245" y="478"/>
                      <a:pt x="1253" y="476"/>
                    </a:cubicBezTo>
                    <a:cubicBezTo>
                      <a:pt x="1261" y="474"/>
                      <a:pt x="1276" y="473"/>
                      <a:pt x="1276" y="473"/>
                    </a:cubicBezTo>
                    <a:cubicBezTo>
                      <a:pt x="1276" y="473"/>
                      <a:pt x="1299" y="481"/>
                      <a:pt x="1301" y="477"/>
                    </a:cubicBezTo>
                    <a:cubicBezTo>
                      <a:pt x="1303" y="473"/>
                      <a:pt x="1280" y="463"/>
                      <a:pt x="1280" y="454"/>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71" name="Freeform 193">
                <a:extLst>
                  <a:ext uri="{FF2B5EF4-FFF2-40B4-BE49-F238E27FC236}">
                    <a16:creationId xmlns:a16="http://schemas.microsoft.com/office/drawing/2014/main" id="{07CA589C-39BA-444A-887B-1ACFA2C63CDA}"/>
                  </a:ext>
                </a:extLst>
              </p:cNvPr>
              <p:cNvSpPr>
                <a:spLocks/>
              </p:cNvSpPr>
              <p:nvPr>
                <p:custDataLst>
                  <p:tags r:id="rId152"/>
                </p:custDataLst>
              </p:nvPr>
            </p:nvSpPr>
            <p:spPr bwMode="gray">
              <a:xfrm>
                <a:off x="7067510" y="3533788"/>
                <a:ext cx="255587" cy="554040"/>
              </a:xfrm>
              <a:custGeom>
                <a:avLst/>
                <a:gdLst>
                  <a:gd name="T0" fmla="*/ 9 w 426"/>
                  <a:gd name="T1" fmla="*/ 422 h 1001"/>
                  <a:gd name="T2" fmla="*/ 81 w 426"/>
                  <a:gd name="T3" fmla="*/ 465 h 1001"/>
                  <a:gd name="T4" fmla="*/ 132 w 426"/>
                  <a:gd name="T5" fmla="*/ 562 h 1001"/>
                  <a:gd name="T6" fmla="*/ 145 w 426"/>
                  <a:gd name="T7" fmla="*/ 654 h 1001"/>
                  <a:gd name="T8" fmla="*/ 168 w 426"/>
                  <a:gd name="T9" fmla="*/ 671 h 1001"/>
                  <a:gd name="T10" fmla="*/ 240 w 426"/>
                  <a:gd name="T11" fmla="*/ 641 h 1001"/>
                  <a:gd name="T12" fmla="*/ 267 w 426"/>
                  <a:gd name="T13" fmla="*/ 638 h 1001"/>
                  <a:gd name="T14" fmla="*/ 303 w 426"/>
                  <a:gd name="T15" fmla="*/ 745 h 1001"/>
                  <a:gd name="T16" fmla="*/ 350 w 426"/>
                  <a:gd name="T17" fmla="*/ 849 h 1001"/>
                  <a:gd name="T18" fmla="*/ 337 w 426"/>
                  <a:gd name="T19" fmla="*/ 918 h 1001"/>
                  <a:gd name="T20" fmla="*/ 355 w 426"/>
                  <a:gd name="T21" fmla="*/ 970 h 1001"/>
                  <a:gd name="T22" fmla="*/ 375 w 426"/>
                  <a:gd name="T23" fmla="*/ 956 h 1001"/>
                  <a:gd name="T24" fmla="*/ 396 w 426"/>
                  <a:gd name="T25" fmla="*/ 861 h 1001"/>
                  <a:gd name="T26" fmla="*/ 344 w 426"/>
                  <a:gd name="T27" fmla="*/ 760 h 1001"/>
                  <a:gd name="T28" fmla="*/ 341 w 426"/>
                  <a:gd name="T29" fmla="*/ 687 h 1001"/>
                  <a:gd name="T30" fmla="*/ 344 w 426"/>
                  <a:gd name="T31" fmla="*/ 653 h 1001"/>
                  <a:gd name="T32" fmla="*/ 295 w 426"/>
                  <a:gd name="T33" fmla="*/ 592 h 1001"/>
                  <a:gd name="T34" fmla="*/ 273 w 426"/>
                  <a:gd name="T35" fmla="*/ 554 h 1001"/>
                  <a:gd name="T36" fmla="*/ 272 w 426"/>
                  <a:gd name="T37" fmla="*/ 512 h 1001"/>
                  <a:gd name="T38" fmla="*/ 318 w 426"/>
                  <a:gd name="T39" fmla="*/ 477 h 1001"/>
                  <a:gd name="T40" fmla="*/ 352 w 426"/>
                  <a:gd name="T41" fmla="*/ 440 h 1001"/>
                  <a:gd name="T42" fmla="*/ 399 w 426"/>
                  <a:gd name="T43" fmla="*/ 414 h 1001"/>
                  <a:gd name="T44" fmla="*/ 399 w 426"/>
                  <a:gd name="T45" fmla="*/ 392 h 1001"/>
                  <a:gd name="T46" fmla="*/ 397 w 426"/>
                  <a:gd name="T47" fmla="*/ 380 h 1001"/>
                  <a:gd name="T48" fmla="*/ 361 w 426"/>
                  <a:gd name="T49" fmla="*/ 370 h 1001"/>
                  <a:gd name="T50" fmla="*/ 326 w 426"/>
                  <a:gd name="T51" fmla="*/ 329 h 1001"/>
                  <a:gd name="T52" fmla="*/ 301 w 426"/>
                  <a:gd name="T53" fmla="*/ 292 h 1001"/>
                  <a:gd name="T54" fmla="*/ 297 w 426"/>
                  <a:gd name="T55" fmla="*/ 237 h 1001"/>
                  <a:gd name="T56" fmla="*/ 242 w 426"/>
                  <a:gd name="T57" fmla="*/ 235 h 1001"/>
                  <a:gd name="T58" fmla="*/ 233 w 426"/>
                  <a:gd name="T59" fmla="*/ 203 h 1001"/>
                  <a:gd name="T60" fmla="*/ 243 w 426"/>
                  <a:gd name="T61" fmla="*/ 156 h 1001"/>
                  <a:gd name="T62" fmla="*/ 253 w 426"/>
                  <a:gd name="T63" fmla="*/ 133 h 1001"/>
                  <a:gd name="T64" fmla="*/ 255 w 426"/>
                  <a:gd name="T65" fmla="*/ 74 h 1001"/>
                  <a:gd name="T66" fmla="*/ 211 w 426"/>
                  <a:gd name="T67" fmla="*/ 15 h 1001"/>
                  <a:gd name="T68" fmla="*/ 187 w 426"/>
                  <a:gd name="T69" fmla="*/ 32 h 1001"/>
                  <a:gd name="T70" fmla="*/ 159 w 426"/>
                  <a:gd name="T71" fmla="*/ 69 h 1001"/>
                  <a:gd name="T72" fmla="*/ 98 w 426"/>
                  <a:gd name="T73" fmla="*/ 102 h 1001"/>
                  <a:gd name="T74" fmla="*/ 96 w 426"/>
                  <a:gd name="T75" fmla="*/ 158 h 1001"/>
                  <a:gd name="T76" fmla="*/ 80 w 426"/>
                  <a:gd name="T77" fmla="*/ 225 h 1001"/>
                  <a:gd name="T78" fmla="*/ 26 w 426"/>
                  <a:gd name="T79" fmla="*/ 244 h 1001"/>
                  <a:gd name="T80" fmla="*/ 32 w 426"/>
                  <a:gd name="T81" fmla="*/ 301 h 1001"/>
                  <a:gd name="T82" fmla="*/ 31 w 426"/>
                  <a:gd name="T83" fmla="*/ 342 h 1001"/>
                  <a:gd name="T84" fmla="*/ 25 w 426"/>
                  <a:gd name="T85" fmla="*/ 383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6" h="1001">
                    <a:moveTo>
                      <a:pt x="0" y="391"/>
                    </a:moveTo>
                    <a:cubicBezTo>
                      <a:pt x="5" y="391"/>
                      <a:pt x="9" y="391"/>
                      <a:pt x="9" y="391"/>
                    </a:cubicBezTo>
                    <a:cubicBezTo>
                      <a:pt x="9" y="422"/>
                      <a:pt x="9" y="422"/>
                      <a:pt x="9" y="422"/>
                    </a:cubicBezTo>
                    <a:cubicBezTo>
                      <a:pt x="9" y="422"/>
                      <a:pt x="32" y="428"/>
                      <a:pt x="41" y="438"/>
                    </a:cubicBezTo>
                    <a:cubicBezTo>
                      <a:pt x="51" y="448"/>
                      <a:pt x="59" y="470"/>
                      <a:pt x="59" y="470"/>
                    </a:cubicBezTo>
                    <a:cubicBezTo>
                      <a:pt x="81" y="465"/>
                      <a:pt x="81" y="465"/>
                      <a:pt x="81" y="465"/>
                    </a:cubicBezTo>
                    <a:cubicBezTo>
                      <a:pt x="67" y="494"/>
                      <a:pt x="67" y="494"/>
                      <a:pt x="67" y="494"/>
                    </a:cubicBezTo>
                    <a:cubicBezTo>
                      <a:pt x="67" y="494"/>
                      <a:pt x="98" y="501"/>
                      <a:pt x="110" y="510"/>
                    </a:cubicBezTo>
                    <a:cubicBezTo>
                      <a:pt x="122" y="519"/>
                      <a:pt x="130" y="555"/>
                      <a:pt x="132" y="562"/>
                    </a:cubicBezTo>
                    <a:cubicBezTo>
                      <a:pt x="134" y="568"/>
                      <a:pt x="148" y="581"/>
                      <a:pt x="148" y="581"/>
                    </a:cubicBezTo>
                    <a:cubicBezTo>
                      <a:pt x="137" y="593"/>
                      <a:pt x="137" y="593"/>
                      <a:pt x="137" y="593"/>
                    </a:cubicBezTo>
                    <a:cubicBezTo>
                      <a:pt x="145" y="654"/>
                      <a:pt x="145" y="654"/>
                      <a:pt x="145" y="654"/>
                    </a:cubicBezTo>
                    <a:cubicBezTo>
                      <a:pt x="134" y="662"/>
                      <a:pt x="134" y="662"/>
                      <a:pt x="134" y="662"/>
                    </a:cubicBezTo>
                    <a:cubicBezTo>
                      <a:pt x="134" y="662"/>
                      <a:pt x="140" y="681"/>
                      <a:pt x="149" y="680"/>
                    </a:cubicBezTo>
                    <a:cubicBezTo>
                      <a:pt x="158" y="679"/>
                      <a:pt x="168" y="671"/>
                      <a:pt x="168" y="671"/>
                    </a:cubicBezTo>
                    <a:cubicBezTo>
                      <a:pt x="168" y="671"/>
                      <a:pt x="172" y="686"/>
                      <a:pt x="183" y="681"/>
                    </a:cubicBezTo>
                    <a:cubicBezTo>
                      <a:pt x="195" y="677"/>
                      <a:pt x="206" y="654"/>
                      <a:pt x="206" y="654"/>
                    </a:cubicBezTo>
                    <a:cubicBezTo>
                      <a:pt x="206" y="654"/>
                      <a:pt x="228" y="650"/>
                      <a:pt x="240" y="641"/>
                    </a:cubicBezTo>
                    <a:cubicBezTo>
                      <a:pt x="252" y="631"/>
                      <a:pt x="238" y="602"/>
                      <a:pt x="245" y="596"/>
                    </a:cubicBezTo>
                    <a:cubicBezTo>
                      <a:pt x="253" y="590"/>
                      <a:pt x="268" y="617"/>
                      <a:pt x="268" y="617"/>
                    </a:cubicBezTo>
                    <a:cubicBezTo>
                      <a:pt x="267" y="638"/>
                      <a:pt x="267" y="638"/>
                      <a:pt x="267" y="638"/>
                    </a:cubicBezTo>
                    <a:cubicBezTo>
                      <a:pt x="267" y="638"/>
                      <a:pt x="288" y="639"/>
                      <a:pt x="289" y="656"/>
                    </a:cubicBezTo>
                    <a:cubicBezTo>
                      <a:pt x="289" y="673"/>
                      <a:pt x="296" y="685"/>
                      <a:pt x="298" y="698"/>
                    </a:cubicBezTo>
                    <a:cubicBezTo>
                      <a:pt x="300" y="712"/>
                      <a:pt x="303" y="745"/>
                      <a:pt x="303" y="745"/>
                    </a:cubicBezTo>
                    <a:cubicBezTo>
                      <a:pt x="303" y="745"/>
                      <a:pt x="304" y="757"/>
                      <a:pt x="311" y="766"/>
                    </a:cubicBezTo>
                    <a:cubicBezTo>
                      <a:pt x="319" y="775"/>
                      <a:pt x="322" y="788"/>
                      <a:pt x="322" y="788"/>
                    </a:cubicBezTo>
                    <a:cubicBezTo>
                      <a:pt x="350" y="849"/>
                      <a:pt x="350" y="849"/>
                      <a:pt x="350" y="849"/>
                    </a:cubicBezTo>
                    <a:cubicBezTo>
                      <a:pt x="360" y="879"/>
                      <a:pt x="360" y="879"/>
                      <a:pt x="360" y="879"/>
                    </a:cubicBezTo>
                    <a:cubicBezTo>
                      <a:pt x="360" y="879"/>
                      <a:pt x="346" y="876"/>
                      <a:pt x="345" y="884"/>
                    </a:cubicBezTo>
                    <a:cubicBezTo>
                      <a:pt x="343" y="893"/>
                      <a:pt x="337" y="918"/>
                      <a:pt x="337" y="918"/>
                    </a:cubicBezTo>
                    <a:cubicBezTo>
                      <a:pt x="366" y="908"/>
                      <a:pt x="366" y="908"/>
                      <a:pt x="366" y="908"/>
                    </a:cubicBezTo>
                    <a:cubicBezTo>
                      <a:pt x="358" y="945"/>
                      <a:pt x="358" y="945"/>
                      <a:pt x="358" y="945"/>
                    </a:cubicBezTo>
                    <a:cubicBezTo>
                      <a:pt x="358" y="945"/>
                      <a:pt x="354" y="957"/>
                      <a:pt x="355" y="970"/>
                    </a:cubicBezTo>
                    <a:cubicBezTo>
                      <a:pt x="356" y="982"/>
                      <a:pt x="363" y="1001"/>
                      <a:pt x="363" y="1001"/>
                    </a:cubicBezTo>
                    <a:cubicBezTo>
                      <a:pt x="363" y="1001"/>
                      <a:pt x="372" y="988"/>
                      <a:pt x="373" y="979"/>
                    </a:cubicBezTo>
                    <a:cubicBezTo>
                      <a:pt x="374" y="970"/>
                      <a:pt x="366" y="963"/>
                      <a:pt x="375" y="956"/>
                    </a:cubicBezTo>
                    <a:cubicBezTo>
                      <a:pt x="384" y="949"/>
                      <a:pt x="389" y="942"/>
                      <a:pt x="392" y="932"/>
                    </a:cubicBezTo>
                    <a:cubicBezTo>
                      <a:pt x="395" y="922"/>
                      <a:pt x="402" y="897"/>
                      <a:pt x="398" y="884"/>
                    </a:cubicBezTo>
                    <a:cubicBezTo>
                      <a:pt x="394" y="871"/>
                      <a:pt x="396" y="861"/>
                      <a:pt x="396" y="861"/>
                    </a:cubicBezTo>
                    <a:cubicBezTo>
                      <a:pt x="396" y="861"/>
                      <a:pt x="381" y="849"/>
                      <a:pt x="377" y="843"/>
                    </a:cubicBezTo>
                    <a:cubicBezTo>
                      <a:pt x="373" y="837"/>
                      <a:pt x="378" y="813"/>
                      <a:pt x="374" y="798"/>
                    </a:cubicBezTo>
                    <a:cubicBezTo>
                      <a:pt x="370" y="783"/>
                      <a:pt x="348" y="770"/>
                      <a:pt x="344" y="760"/>
                    </a:cubicBezTo>
                    <a:cubicBezTo>
                      <a:pt x="340" y="750"/>
                      <a:pt x="328" y="736"/>
                      <a:pt x="328" y="736"/>
                    </a:cubicBezTo>
                    <a:cubicBezTo>
                      <a:pt x="328" y="736"/>
                      <a:pt x="320" y="723"/>
                      <a:pt x="330" y="713"/>
                    </a:cubicBezTo>
                    <a:cubicBezTo>
                      <a:pt x="340" y="703"/>
                      <a:pt x="341" y="693"/>
                      <a:pt x="341" y="687"/>
                    </a:cubicBezTo>
                    <a:cubicBezTo>
                      <a:pt x="341" y="681"/>
                      <a:pt x="338" y="670"/>
                      <a:pt x="338" y="670"/>
                    </a:cubicBezTo>
                    <a:cubicBezTo>
                      <a:pt x="338" y="670"/>
                      <a:pt x="350" y="671"/>
                      <a:pt x="350" y="658"/>
                    </a:cubicBezTo>
                    <a:cubicBezTo>
                      <a:pt x="350" y="645"/>
                      <a:pt x="344" y="653"/>
                      <a:pt x="344" y="653"/>
                    </a:cubicBezTo>
                    <a:cubicBezTo>
                      <a:pt x="344" y="653"/>
                      <a:pt x="336" y="652"/>
                      <a:pt x="331" y="640"/>
                    </a:cubicBezTo>
                    <a:cubicBezTo>
                      <a:pt x="326" y="628"/>
                      <a:pt x="340" y="633"/>
                      <a:pt x="332" y="622"/>
                    </a:cubicBezTo>
                    <a:cubicBezTo>
                      <a:pt x="324" y="611"/>
                      <a:pt x="298" y="602"/>
                      <a:pt x="295" y="592"/>
                    </a:cubicBezTo>
                    <a:cubicBezTo>
                      <a:pt x="292" y="582"/>
                      <a:pt x="287" y="579"/>
                      <a:pt x="287" y="579"/>
                    </a:cubicBezTo>
                    <a:cubicBezTo>
                      <a:pt x="291" y="564"/>
                      <a:pt x="291" y="564"/>
                      <a:pt x="291" y="564"/>
                    </a:cubicBezTo>
                    <a:cubicBezTo>
                      <a:pt x="291" y="564"/>
                      <a:pt x="278" y="558"/>
                      <a:pt x="273" y="554"/>
                    </a:cubicBezTo>
                    <a:cubicBezTo>
                      <a:pt x="268" y="550"/>
                      <a:pt x="265" y="545"/>
                      <a:pt x="268" y="542"/>
                    </a:cubicBezTo>
                    <a:cubicBezTo>
                      <a:pt x="271" y="539"/>
                      <a:pt x="282" y="545"/>
                      <a:pt x="282" y="536"/>
                    </a:cubicBezTo>
                    <a:cubicBezTo>
                      <a:pt x="282" y="527"/>
                      <a:pt x="271" y="516"/>
                      <a:pt x="272" y="512"/>
                    </a:cubicBezTo>
                    <a:cubicBezTo>
                      <a:pt x="273" y="508"/>
                      <a:pt x="283" y="507"/>
                      <a:pt x="284" y="498"/>
                    </a:cubicBezTo>
                    <a:cubicBezTo>
                      <a:pt x="285" y="489"/>
                      <a:pt x="277" y="473"/>
                      <a:pt x="288" y="471"/>
                    </a:cubicBezTo>
                    <a:cubicBezTo>
                      <a:pt x="299" y="469"/>
                      <a:pt x="308" y="480"/>
                      <a:pt x="318" y="477"/>
                    </a:cubicBezTo>
                    <a:cubicBezTo>
                      <a:pt x="328" y="474"/>
                      <a:pt x="330" y="456"/>
                      <a:pt x="330" y="456"/>
                    </a:cubicBezTo>
                    <a:cubicBezTo>
                      <a:pt x="347" y="455"/>
                      <a:pt x="347" y="455"/>
                      <a:pt x="347" y="455"/>
                    </a:cubicBezTo>
                    <a:cubicBezTo>
                      <a:pt x="352" y="440"/>
                      <a:pt x="352" y="440"/>
                      <a:pt x="352" y="440"/>
                    </a:cubicBezTo>
                    <a:cubicBezTo>
                      <a:pt x="352" y="440"/>
                      <a:pt x="371" y="434"/>
                      <a:pt x="375" y="435"/>
                    </a:cubicBezTo>
                    <a:cubicBezTo>
                      <a:pt x="375" y="435"/>
                      <a:pt x="373" y="423"/>
                      <a:pt x="382" y="420"/>
                    </a:cubicBezTo>
                    <a:cubicBezTo>
                      <a:pt x="391" y="417"/>
                      <a:pt x="399" y="414"/>
                      <a:pt x="399" y="414"/>
                    </a:cubicBezTo>
                    <a:cubicBezTo>
                      <a:pt x="394" y="407"/>
                      <a:pt x="394" y="407"/>
                      <a:pt x="394" y="407"/>
                    </a:cubicBezTo>
                    <a:cubicBezTo>
                      <a:pt x="399" y="399"/>
                      <a:pt x="399" y="399"/>
                      <a:pt x="399" y="399"/>
                    </a:cubicBezTo>
                    <a:cubicBezTo>
                      <a:pt x="399" y="392"/>
                      <a:pt x="399" y="392"/>
                      <a:pt x="399" y="392"/>
                    </a:cubicBezTo>
                    <a:cubicBezTo>
                      <a:pt x="421" y="382"/>
                      <a:pt x="421" y="382"/>
                      <a:pt x="421" y="382"/>
                    </a:cubicBezTo>
                    <a:cubicBezTo>
                      <a:pt x="421" y="382"/>
                      <a:pt x="426" y="364"/>
                      <a:pt x="416" y="363"/>
                    </a:cubicBezTo>
                    <a:cubicBezTo>
                      <a:pt x="406" y="362"/>
                      <a:pt x="397" y="380"/>
                      <a:pt x="397" y="380"/>
                    </a:cubicBezTo>
                    <a:cubicBezTo>
                      <a:pt x="397" y="380"/>
                      <a:pt x="378" y="381"/>
                      <a:pt x="375" y="381"/>
                    </a:cubicBezTo>
                    <a:cubicBezTo>
                      <a:pt x="372" y="381"/>
                      <a:pt x="372" y="369"/>
                      <a:pt x="372" y="369"/>
                    </a:cubicBezTo>
                    <a:cubicBezTo>
                      <a:pt x="361" y="370"/>
                      <a:pt x="361" y="370"/>
                      <a:pt x="361" y="370"/>
                    </a:cubicBezTo>
                    <a:cubicBezTo>
                      <a:pt x="356" y="350"/>
                      <a:pt x="356" y="350"/>
                      <a:pt x="356" y="350"/>
                    </a:cubicBezTo>
                    <a:cubicBezTo>
                      <a:pt x="317" y="346"/>
                      <a:pt x="317" y="346"/>
                      <a:pt x="317" y="346"/>
                    </a:cubicBezTo>
                    <a:cubicBezTo>
                      <a:pt x="317" y="346"/>
                      <a:pt x="323" y="332"/>
                      <a:pt x="326" y="329"/>
                    </a:cubicBezTo>
                    <a:cubicBezTo>
                      <a:pt x="329" y="326"/>
                      <a:pt x="320" y="314"/>
                      <a:pt x="320" y="314"/>
                    </a:cubicBezTo>
                    <a:cubicBezTo>
                      <a:pt x="320" y="314"/>
                      <a:pt x="343" y="305"/>
                      <a:pt x="336" y="299"/>
                    </a:cubicBezTo>
                    <a:cubicBezTo>
                      <a:pt x="329" y="293"/>
                      <a:pt x="301" y="292"/>
                      <a:pt x="301" y="292"/>
                    </a:cubicBezTo>
                    <a:cubicBezTo>
                      <a:pt x="296" y="265"/>
                      <a:pt x="296" y="265"/>
                      <a:pt x="296" y="265"/>
                    </a:cubicBezTo>
                    <a:cubicBezTo>
                      <a:pt x="280" y="252"/>
                      <a:pt x="280" y="252"/>
                      <a:pt x="280" y="252"/>
                    </a:cubicBezTo>
                    <a:cubicBezTo>
                      <a:pt x="297" y="237"/>
                      <a:pt x="297" y="237"/>
                      <a:pt x="297" y="237"/>
                    </a:cubicBezTo>
                    <a:cubicBezTo>
                      <a:pt x="297" y="237"/>
                      <a:pt x="268" y="237"/>
                      <a:pt x="260" y="238"/>
                    </a:cubicBezTo>
                    <a:cubicBezTo>
                      <a:pt x="252" y="239"/>
                      <a:pt x="236" y="249"/>
                      <a:pt x="236" y="249"/>
                    </a:cubicBezTo>
                    <a:cubicBezTo>
                      <a:pt x="242" y="235"/>
                      <a:pt x="242" y="235"/>
                      <a:pt x="242" y="235"/>
                    </a:cubicBezTo>
                    <a:cubicBezTo>
                      <a:pt x="242" y="235"/>
                      <a:pt x="237" y="225"/>
                      <a:pt x="232" y="220"/>
                    </a:cubicBezTo>
                    <a:cubicBezTo>
                      <a:pt x="227" y="215"/>
                      <a:pt x="226" y="206"/>
                      <a:pt x="226" y="206"/>
                    </a:cubicBezTo>
                    <a:cubicBezTo>
                      <a:pt x="233" y="203"/>
                      <a:pt x="233" y="203"/>
                      <a:pt x="233" y="203"/>
                    </a:cubicBezTo>
                    <a:cubicBezTo>
                      <a:pt x="231" y="183"/>
                      <a:pt x="231" y="183"/>
                      <a:pt x="231" y="183"/>
                    </a:cubicBezTo>
                    <a:cubicBezTo>
                      <a:pt x="231" y="183"/>
                      <a:pt x="242" y="187"/>
                      <a:pt x="243" y="176"/>
                    </a:cubicBezTo>
                    <a:cubicBezTo>
                      <a:pt x="244" y="165"/>
                      <a:pt x="243" y="156"/>
                      <a:pt x="243" y="156"/>
                    </a:cubicBezTo>
                    <a:cubicBezTo>
                      <a:pt x="243" y="156"/>
                      <a:pt x="255" y="164"/>
                      <a:pt x="258" y="157"/>
                    </a:cubicBezTo>
                    <a:cubicBezTo>
                      <a:pt x="261" y="150"/>
                      <a:pt x="262" y="144"/>
                      <a:pt x="262" y="144"/>
                    </a:cubicBezTo>
                    <a:cubicBezTo>
                      <a:pt x="262" y="144"/>
                      <a:pt x="246" y="133"/>
                      <a:pt x="253" y="133"/>
                    </a:cubicBezTo>
                    <a:cubicBezTo>
                      <a:pt x="260" y="133"/>
                      <a:pt x="270" y="127"/>
                      <a:pt x="270" y="127"/>
                    </a:cubicBezTo>
                    <a:cubicBezTo>
                      <a:pt x="263" y="90"/>
                      <a:pt x="263" y="90"/>
                      <a:pt x="263" y="90"/>
                    </a:cubicBezTo>
                    <a:cubicBezTo>
                      <a:pt x="255" y="74"/>
                      <a:pt x="255" y="74"/>
                      <a:pt x="255" y="74"/>
                    </a:cubicBezTo>
                    <a:cubicBezTo>
                      <a:pt x="255" y="74"/>
                      <a:pt x="257" y="52"/>
                      <a:pt x="250" y="50"/>
                    </a:cubicBezTo>
                    <a:cubicBezTo>
                      <a:pt x="243" y="48"/>
                      <a:pt x="228" y="50"/>
                      <a:pt x="228" y="50"/>
                    </a:cubicBezTo>
                    <a:cubicBezTo>
                      <a:pt x="228" y="50"/>
                      <a:pt x="219" y="23"/>
                      <a:pt x="211" y="15"/>
                    </a:cubicBezTo>
                    <a:cubicBezTo>
                      <a:pt x="203" y="7"/>
                      <a:pt x="189" y="0"/>
                      <a:pt x="189" y="0"/>
                    </a:cubicBezTo>
                    <a:cubicBezTo>
                      <a:pt x="185" y="13"/>
                      <a:pt x="185" y="13"/>
                      <a:pt x="185" y="13"/>
                    </a:cubicBezTo>
                    <a:cubicBezTo>
                      <a:pt x="187" y="32"/>
                      <a:pt x="187" y="32"/>
                      <a:pt x="187" y="32"/>
                    </a:cubicBezTo>
                    <a:cubicBezTo>
                      <a:pt x="187" y="32"/>
                      <a:pt x="163" y="41"/>
                      <a:pt x="163" y="50"/>
                    </a:cubicBezTo>
                    <a:cubicBezTo>
                      <a:pt x="163" y="59"/>
                      <a:pt x="186" y="69"/>
                      <a:pt x="184" y="73"/>
                    </a:cubicBezTo>
                    <a:cubicBezTo>
                      <a:pt x="182" y="77"/>
                      <a:pt x="159" y="69"/>
                      <a:pt x="159" y="69"/>
                    </a:cubicBezTo>
                    <a:cubicBezTo>
                      <a:pt x="159" y="69"/>
                      <a:pt x="144" y="70"/>
                      <a:pt x="136" y="72"/>
                    </a:cubicBezTo>
                    <a:cubicBezTo>
                      <a:pt x="128" y="74"/>
                      <a:pt x="133" y="89"/>
                      <a:pt x="121" y="93"/>
                    </a:cubicBezTo>
                    <a:cubicBezTo>
                      <a:pt x="109" y="97"/>
                      <a:pt x="98" y="102"/>
                      <a:pt x="98" y="102"/>
                    </a:cubicBezTo>
                    <a:cubicBezTo>
                      <a:pt x="98" y="102"/>
                      <a:pt x="100" y="116"/>
                      <a:pt x="101" y="121"/>
                    </a:cubicBezTo>
                    <a:cubicBezTo>
                      <a:pt x="102" y="126"/>
                      <a:pt x="108" y="137"/>
                      <a:pt x="108" y="137"/>
                    </a:cubicBezTo>
                    <a:cubicBezTo>
                      <a:pt x="96" y="158"/>
                      <a:pt x="96" y="158"/>
                      <a:pt x="96" y="158"/>
                    </a:cubicBezTo>
                    <a:cubicBezTo>
                      <a:pt x="96" y="158"/>
                      <a:pt x="82" y="162"/>
                      <a:pt x="82" y="172"/>
                    </a:cubicBezTo>
                    <a:cubicBezTo>
                      <a:pt x="82" y="182"/>
                      <a:pt x="92" y="190"/>
                      <a:pt x="92" y="190"/>
                    </a:cubicBezTo>
                    <a:cubicBezTo>
                      <a:pt x="80" y="225"/>
                      <a:pt x="80" y="225"/>
                      <a:pt x="80" y="225"/>
                    </a:cubicBezTo>
                    <a:cubicBezTo>
                      <a:pt x="80" y="249"/>
                      <a:pt x="80" y="249"/>
                      <a:pt x="80" y="249"/>
                    </a:cubicBezTo>
                    <a:cubicBezTo>
                      <a:pt x="80" y="249"/>
                      <a:pt x="55" y="245"/>
                      <a:pt x="51" y="244"/>
                    </a:cubicBezTo>
                    <a:cubicBezTo>
                      <a:pt x="47" y="243"/>
                      <a:pt x="22" y="242"/>
                      <a:pt x="26" y="244"/>
                    </a:cubicBezTo>
                    <a:cubicBezTo>
                      <a:pt x="30" y="246"/>
                      <a:pt x="44" y="257"/>
                      <a:pt x="44" y="257"/>
                    </a:cubicBezTo>
                    <a:cubicBezTo>
                      <a:pt x="46" y="290"/>
                      <a:pt x="46" y="290"/>
                      <a:pt x="46" y="290"/>
                    </a:cubicBezTo>
                    <a:cubicBezTo>
                      <a:pt x="46" y="290"/>
                      <a:pt x="29" y="292"/>
                      <a:pt x="32" y="301"/>
                    </a:cubicBezTo>
                    <a:cubicBezTo>
                      <a:pt x="35" y="310"/>
                      <a:pt x="35" y="324"/>
                      <a:pt x="39" y="328"/>
                    </a:cubicBezTo>
                    <a:cubicBezTo>
                      <a:pt x="43" y="332"/>
                      <a:pt x="53" y="344"/>
                      <a:pt x="44" y="346"/>
                    </a:cubicBezTo>
                    <a:cubicBezTo>
                      <a:pt x="35" y="348"/>
                      <a:pt x="31" y="336"/>
                      <a:pt x="31" y="342"/>
                    </a:cubicBezTo>
                    <a:cubicBezTo>
                      <a:pt x="31" y="348"/>
                      <a:pt x="32" y="356"/>
                      <a:pt x="32" y="356"/>
                    </a:cubicBezTo>
                    <a:cubicBezTo>
                      <a:pt x="18" y="344"/>
                      <a:pt x="18" y="344"/>
                      <a:pt x="18" y="344"/>
                    </a:cubicBezTo>
                    <a:cubicBezTo>
                      <a:pt x="25" y="383"/>
                      <a:pt x="25" y="383"/>
                      <a:pt x="25" y="383"/>
                    </a:cubicBezTo>
                    <a:cubicBezTo>
                      <a:pt x="4" y="380"/>
                      <a:pt x="4" y="380"/>
                      <a:pt x="4" y="380"/>
                    </a:cubicBezTo>
                    <a:cubicBezTo>
                      <a:pt x="4" y="380"/>
                      <a:pt x="2" y="384"/>
                      <a:pt x="0" y="391"/>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72" name="Freeform 194">
                <a:extLst>
                  <a:ext uri="{FF2B5EF4-FFF2-40B4-BE49-F238E27FC236}">
                    <a16:creationId xmlns:a16="http://schemas.microsoft.com/office/drawing/2014/main" id="{6A9B6899-735F-48EF-8A02-56A79A636903}"/>
                  </a:ext>
                </a:extLst>
              </p:cNvPr>
              <p:cNvSpPr>
                <a:spLocks/>
              </p:cNvSpPr>
              <p:nvPr>
                <p:custDataLst>
                  <p:tags r:id="rId153"/>
                </p:custDataLst>
              </p:nvPr>
            </p:nvSpPr>
            <p:spPr bwMode="gray">
              <a:xfrm>
                <a:off x="7775532" y="3105161"/>
                <a:ext cx="133349" cy="153989"/>
              </a:xfrm>
              <a:custGeom>
                <a:avLst/>
                <a:gdLst>
                  <a:gd name="T0" fmla="*/ 182 w 220"/>
                  <a:gd name="T1" fmla="*/ 0 h 280"/>
                  <a:gd name="T2" fmla="*/ 160 w 220"/>
                  <a:gd name="T3" fmla="*/ 0 h 280"/>
                  <a:gd name="T4" fmla="*/ 171 w 220"/>
                  <a:gd name="T5" fmla="*/ 27 h 280"/>
                  <a:gd name="T6" fmla="*/ 153 w 220"/>
                  <a:gd name="T7" fmla="*/ 28 h 280"/>
                  <a:gd name="T8" fmla="*/ 153 w 220"/>
                  <a:gd name="T9" fmla="*/ 49 h 280"/>
                  <a:gd name="T10" fmla="*/ 113 w 220"/>
                  <a:gd name="T11" fmla="*/ 50 h 280"/>
                  <a:gd name="T12" fmla="*/ 135 w 220"/>
                  <a:gd name="T13" fmla="*/ 71 h 280"/>
                  <a:gd name="T14" fmla="*/ 134 w 220"/>
                  <a:gd name="T15" fmla="*/ 81 h 280"/>
                  <a:gd name="T16" fmla="*/ 87 w 220"/>
                  <a:gd name="T17" fmla="*/ 77 h 280"/>
                  <a:gd name="T18" fmla="*/ 61 w 220"/>
                  <a:gd name="T19" fmla="*/ 63 h 280"/>
                  <a:gd name="T20" fmla="*/ 47 w 220"/>
                  <a:gd name="T21" fmla="*/ 115 h 280"/>
                  <a:gd name="T22" fmla="*/ 13 w 220"/>
                  <a:gd name="T23" fmla="*/ 138 h 280"/>
                  <a:gd name="T24" fmla="*/ 7 w 220"/>
                  <a:gd name="T25" fmla="*/ 154 h 280"/>
                  <a:gd name="T26" fmla="*/ 0 w 220"/>
                  <a:gd name="T27" fmla="*/ 165 h 280"/>
                  <a:gd name="T28" fmla="*/ 8 w 220"/>
                  <a:gd name="T29" fmla="*/ 152 h 280"/>
                  <a:gd name="T30" fmla="*/ 14 w 220"/>
                  <a:gd name="T31" fmla="*/ 166 h 280"/>
                  <a:gd name="T32" fmla="*/ 26 w 220"/>
                  <a:gd name="T33" fmla="*/ 180 h 280"/>
                  <a:gd name="T34" fmla="*/ 33 w 220"/>
                  <a:gd name="T35" fmla="*/ 168 h 280"/>
                  <a:gd name="T36" fmla="*/ 47 w 220"/>
                  <a:gd name="T37" fmla="*/ 181 h 280"/>
                  <a:gd name="T38" fmla="*/ 64 w 220"/>
                  <a:gd name="T39" fmla="*/ 182 h 280"/>
                  <a:gd name="T40" fmla="*/ 68 w 220"/>
                  <a:gd name="T41" fmla="*/ 223 h 280"/>
                  <a:gd name="T42" fmla="*/ 93 w 220"/>
                  <a:gd name="T43" fmla="*/ 223 h 280"/>
                  <a:gd name="T44" fmla="*/ 96 w 220"/>
                  <a:gd name="T45" fmla="*/ 233 h 280"/>
                  <a:gd name="T46" fmla="*/ 69 w 220"/>
                  <a:gd name="T47" fmla="*/ 234 h 280"/>
                  <a:gd name="T48" fmla="*/ 80 w 220"/>
                  <a:gd name="T49" fmla="*/ 263 h 280"/>
                  <a:gd name="T50" fmla="*/ 87 w 220"/>
                  <a:gd name="T51" fmla="*/ 274 h 280"/>
                  <a:gd name="T52" fmla="*/ 106 w 220"/>
                  <a:gd name="T53" fmla="*/ 266 h 280"/>
                  <a:gd name="T54" fmla="*/ 135 w 220"/>
                  <a:gd name="T55" fmla="*/ 279 h 280"/>
                  <a:gd name="T56" fmla="*/ 153 w 220"/>
                  <a:gd name="T57" fmla="*/ 275 h 280"/>
                  <a:gd name="T58" fmla="*/ 166 w 220"/>
                  <a:gd name="T59" fmla="*/ 265 h 280"/>
                  <a:gd name="T60" fmla="*/ 169 w 220"/>
                  <a:gd name="T61" fmla="*/ 252 h 280"/>
                  <a:gd name="T62" fmla="*/ 207 w 220"/>
                  <a:gd name="T63" fmla="*/ 246 h 280"/>
                  <a:gd name="T64" fmla="*/ 217 w 220"/>
                  <a:gd name="T65" fmla="*/ 236 h 280"/>
                  <a:gd name="T66" fmla="*/ 208 w 220"/>
                  <a:gd name="T67" fmla="*/ 224 h 280"/>
                  <a:gd name="T68" fmla="*/ 177 w 220"/>
                  <a:gd name="T69" fmla="*/ 207 h 280"/>
                  <a:gd name="T70" fmla="*/ 162 w 220"/>
                  <a:gd name="T71" fmla="*/ 202 h 280"/>
                  <a:gd name="T72" fmla="*/ 169 w 220"/>
                  <a:gd name="T73" fmla="*/ 189 h 280"/>
                  <a:gd name="T74" fmla="*/ 154 w 220"/>
                  <a:gd name="T75" fmla="*/ 167 h 280"/>
                  <a:gd name="T76" fmla="*/ 190 w 220"/>
                  <a:gd name="T77" fmla="*/ 146 h 280"/>
                  <a:gd name="T78" fmla="*/ 200 w 220"/>
                  <a:gd name="T79" fmla="*/ 117 h 280"/>
                  <a:gd name="T80" fmla="*/ 216 w 220"/>
                  <a:gd name="T81" fmla="*/ 109 h 280"/>
                  <a:gd name="T82" fmla="*/ 211 w 220"/>
                  <a:gd name="T83" fmla="*/ 88 h 280"/>
                  <a:gd name="T84" fmla="*/ 196 w 220"/>
                  <a:gd name="T85" fmla="*/ 60 h 280"/>
                  <a:gd name="T86" fmla="*/ 220 w 220"/>
                  <a:gd name="T87" fmla="*/ 38 h 280"/>
                  <a:gd name="T88" fmla="*/ 211 w 220"/>
                  <a:gd name="T89" fmla="*/ 23 h 280"/>
                  <a:gd name="T90" fmla="*/ 192 w 220"/>
                  <a:gd name="T91" fmla="*/ 17 h 280"/>
                  <a:gd name="T92" fmla="*/ 182 w 220"/>
                  <a:gd name="T9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0" h="280">
                    <a:moveTo>
                      <a:pt x="182" y="0"/>
                    </a:moveTo>
                    <a:cubicBezTo>
                      <a:pt x="160" y="0"/>
                      <a:pt x="160" y="0"/>
                      <a:pt x="160" y="0"/>
                    </a:cubicBezTo>
                    <a:cubicBezTo>
                      <a:pt x="160" y="0"/>
                      <a:pt x="173" y="22"/>
                      <a:pt x="171" y="27"/>
                    </a:cubicBezTo>
                    <a:cubicBezTo>
                      <a:pt x="169" y="32"/>
                      <a:pt x="153" y="28"/>
                      <a:pt x="153" y="28"/>
                    </a:cubicBezTo>
                    <a:cubicBezTo>
                      <a:pt x="153" y="28"/>
                      <a:pt x="163" y="40"/>
                      <a:pt x="153" y="49"/>
                    </a:cubicBezTo>
                    <a:cubicBezTo>
                      <a:pt x="143" y="58"/>
                      <a:pt x="119" y="42"/>
                      <a:pt x="113" y="50"/>
                    </a:cubicBezTo>
                    <a:cubicBezTo>
                      <a:pt x="107" y="58"/>
                      <a:pt x="135" y="71"/>
                      <a:pt x="135" y="71"/>
                    </a:cubicBezTo>
                    <a:cubicBezTo>
                      <a:pt x="134" y="81"/>
                      <a:pt x="134" y="81"/>
                      <a:pt x="134" y="81"/>
                    </a:cubicBezTo>
                    <a:cubicBezTo>
                      <a:pt x="134" y="81"/>
                      <a:pt x="94" y="82"/>
                      <a:pt x="87" y="77"/>
                    </a:cubicBezTo>
                    <a:cubicBezTo>
                      <a:pt x="80" y="72"/>
                      <a:pt x="65" y="61"/>
                      <a:pt x="61" y="63"/>
                    </a:cubicBezTo>
                    <a:cubicBezTo>
                      <a:pt x="57" y="65"/>
                      <a:pt x="62" y="103"/>
                      <a:pt x="47" y="115"/>
                    </a:cubicBezTo>
                    <a:cubicBezTo>
                      <a:pt x="32" y="127"/>
                      <a:pt x="25" y="128"/>
                      <a:pt x="13" y="138"/>
                    </a:cubicBezTo>
                    <a:cubicBezTo>
                      <a:pt x="3" y="146"/>
                      <a:pt x="5" y="152"/>
                      <a:pt x="7" y="154"/>
                    </a:cubicBezTo>
                    <a:cubicBezTo>
                      <a:pt x="0" y="165"/>
                      <a:pt x="0" y="165"/>
                      <a:pt x="0" y="165"/>
                    </a:cubicBezTo>
                    <a:cubicBezTo>
                      <a:pt x="8" y="152"/>
                      <a:pt x="8" y="152"/>
                      <a:pt x="8" y="152"/>
                    </a:cubicBezTo>
                    <a:cubicBezTo>
                      <a:pt x="14" y="166"/>
                      <a:pt x="14" y="166"/>
                      <a:pt x="14" y="166"/>
                    </a:cubicBezTo>
                    <a:cubicBezTo>
                      <a:pt x="26" y="180"/>
                      <a:pt x="26" y="180"/>
                      <a:pt x="26" y="180"/>
                    </a:cubicBezTo>
                    <a:cubicBezTo>
                      <a:pt x="33" y="168"/>
                      <a:pt x="33" y="168"/>
                      <a:pt x="33" y="168"/>
                    </a:cubicBezTo>
                    <a:cubicBezTo>
                      <a:pt x="33" y="168"/>
                      <a:pt x="42" y="181"/>
                      <a:pt x="47" y="181"/>
                    </a:cubicBezTo>
                    <a:cubicBezTo>
                      <a:pt x="52" y="181"/>
                      <a:pt x="60" y="175"/>
                      <a:pt x="64" y="182"/>
                    </a:cubicBezTo>
                    <a:cubicBezTo>
                      <a:pt x="68" y="189"/>
                      <a:pt x="68" y="223"/>
                      <a:pt x="68" y="223"/>
                    </a:cubicBezTo>
                    <a:cubicBezTo>
                      <a:pt x="93" y="223"/>
                      <a:pt x="93" y="223"/>
                      <a:pt x="93" y="223"/>
                    </a:cubicBezTo>
                    <a:cubicBezTo>
                      <a:pt x="96" y="233"/>
                      <a:pt x="96" y="233"/>
                      <a:pt x="96" y="233"/>
                    </a:cubicBezTo>
                    <a:cubicBezTo>
                      <a:pt x="96" y="233"/>
                      <a:pt x="73" y="221"/>
                      <a:pt x="69" y="234"/>
                    </a:cubicBezTo>
                    <a:cubicBezTo>
                      <a:pt x="65" y="247"/>
                      <a:pt x="80" y="263"/>
                      <a:pt x="80" y="263"/>
                    </a:cubicBezTo>
                    <a:cubicBezTo>
                      <a:pt x="87" y="274"/>
                      <a:pt x="87" y="274"/>
                      <a:pt x="87" y="274"/>
                    </a:cubicBezTo>
                    <a:cubicBezTo>
                      <a:pt x="106" y="266"/>
                      <a:pt x="106" y="266"/>
                      <a:pt x="106" y="266"/>
                    </a:cubicBezTo>
                    <a:cubicBezTo>
                      <a:pt x="106" y="266"/>
                      <a:pt x="126" y="280"/>
                      <a:pt x="135" y="279"/>
                    </a:cubicBezTo>
                    <a:cubicBezTo>
                      <a:pt x="144" y="278"/>
                      <a:pt x="153" y="275"/>
                      <a:pt x="153" y="275"/>
                    </a:cubicBezTo>
                    <a:cubicBezTo>
                      <a:pt x="153" y="275"/>
                      <a:pt x="165" y="268"/>
                      <a:pt x="166" y="265"/>
                    </a:cubicBezTo>
                    <a:cubicBezTo>
                      <a:pt x="167" y="262"/>
                      <a:pt x="155" y="260"/>
                      <a:pt x="169" y="252"/>
                    </a:cubicBezTo>
                    <a:cubicBezTo>
                      <a:pt x="183" y="245"/>
                      <a:pt x="207" y="246"/>
                      <a:pt x="207" y="246"/>
                    </a:cubicBezTo>
                    <a:cubicBezTo>
                      <a:pt x="217" y="236"/>
                      <a:pt x="217" y="236"/>
                      <a:pt x="217" y="236"/>
                    </a:cubicBezTo>
                    <a:cubicBezTo>
                      <a:pt x="212" y="229"/>
                      <a:pt x="208" y="224"/>
                      <a:pt x="208" y="224"/>
                    </a:cubicBezTo>
                    <a:cubicBezTo>
                      <a:pt x="177" y="207"/>
                      <a:pt x="177" y="207"/>
                      <a:pt x="177" y="207"/>
                    </a:cubicBezTo>
                    <a:cubicBezTo>
                      <a:pt x="177" y="207"/>
                      <a:pt x="155" y="215"/>
                      <a:pt x="162" y="202"/>
                    </a:cubicBezTo>
                    <a:cubicBezTo>
                      <a:pt x="169" y="189"/>
                      <a:pt x="169" y="189"/>
                      <a:pt x="169" y="189"/>
                    </a:cubicBezTo>
                    <a:cubicBezTo>
                      <a:pt x="169" y="189"/>
                      <a:pt x="144" y="178"/>
                      <a:pt x="154" y="167"/>
                    </a:cubicBezTo>
                    <a:cubicBezTo>
                      <a:pt x="164" y="156"/>
                      <a:pt x="185" y="160"/>
                      <a:pt x="190" y="146"/>
                    </a:cubicBezTo>
                    <a:cubicBezTo>
                      <a:pt x="195" y="132"/>
                      <a:pt x="200" y="117"/>
                      <a:pt x="200" y="117"/>
                    </a:cubicBezTo>
                    <a:cubicBezTo>
                      <a:pt x="216" y="109"/>
                      <a:pt x="216" y="109"/>
                      <a:pt x="216" y="109"/>
                    </a:cubicBezTo>
                    <a:cubicBezTo>
                      <a:pt x="211" y="88"/>
                      <a:pt x="211" y="88"/>
                      <a:pt x="211" y="88"/>
                    </a:cubicBezTo>
                    <a:cubicBezTo>
                      <a:pt x="211" y="88"/>
                      <a:pt x="195" y="77"/>
                      <a:pt x="196" y="60"/>
                    </a:cubicBezTo>
                    <a:cubicBezTo>
                      <a:pt x="197" y="43"/>
                      <a:pt x="220" y="38"/>
                      <a:pt x="220" y="38"/>
                    </a:cubicBezTo>
                    <a:cubicBezTo>
                      <a:pt x="211" y="23"/>
                      <a:pt x="211" y="23"/>
                      <a:pt x="211" y="23"/>
                    </a:cubicBezTo>
                    <a:cubicBezTo>
                      <a:pt x="192" y="17"/>
                      <a:pt x="192" y="17"/>
                      <a:pt x="192" y="17"/>
                    </a:cubicBezTo>
                    <a:lnTo>
                      <a:pt x="182" y="0"/>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73" name="Freeform 195">
                <a:extLst>
                  <a:ext uri="{FF2B5EF4-FFF2-40B4-BE49-F238E27FC236}">
                    <a16:creationId xmlns:a16="http://schemas.microsoft.com/office/drawing/2014/main" id="{291E5F50-78F4-41FB-BB6D-9F303D67FAB7}"/>
                  </a:ext>
                </a:extLst>
              </p:cNvPr>
              <p:cNvSpPr>
                <a:spLocks noEditPoints="1"/>
              </p:cNvSpPr>
              <p:nvPr>
                <p:custDataLst>
                  <p:tags r:id="rId154"/>
                </p:custDataLst>
              </p:nvPr>
            </p:nvSpPr>
            <p:spPr bwMode="gray">
              <a:xfrm>
                <a:off x="6449977" y="2794011"/>
                <a:ext cx="1466842" cy="1044579"/>
              </a:xfrm>
              <a:custGeom>
                <a:avLst/>
                <a:gdLst>
                  <a:gd name="T0" fmla="*/ 1905 w 2441"/>
                  <a:gd name="T1" fmla="*/ 1857 h 1882"/>
                  <a:gd name="T2" fmla="*/ 2423 w 2441"/>
                  <a:gd name="T3" fmla="*/ 352 h 1882"/>
                  <a:gd name="T4" fmla="*/ 2365 w 2441"/>
                  <a:gd name="T5" fmla="*/ 288 h 1882"/>
                  <a:gd name="T6" fmla="*/ 2248 w 2441"/>
                  <a:gd name="T7" fmla="*/ 288 h 1882"/>
                  <a:gd name="T8" fmla="*/ 2077 w 2441"/>
                  <a:gd name="T9" fmla="*/ 209 h 1882"/>
                  <a:gd name="T10" fmla="*/ 1934 w 2441"/>
                  <a:gd name="T11" fmla="*/ 76 h 1882"/>
                  <a:gd name="T12" fmla="*/ 1769 w 2441"/>
                  <a:gd name="T13" fmla="*/ 0 h 1882"/>
                  <a:gd name="T14" fmla="*/ 1704 w 2441"/>
                  <a:gd name="T15" fmla="*/ 80 h 1882"/>
                  <a:gd name="T16" fmla="*/ 1653 w 2441"/>
                  <a:gd name="T17" fmla="*/ 209 h 1882"/>
                  <a:gd name="T18" fmla="*/ 1639 w 2441"/>
                  <a:gd name="T19" fmla="*/ 310 h 1882"/>
                  <a:gd name="T20" fmla="*/ 1786 w 2441"/>
                  <a:gd name="T21" fmla="*/ 322 h 1882"/>
                  <a:gd name="T22" fmla="*/ 1753 w 2441"/>
                  <a:gd name="T23" fmla="*/ 371 h 1882"/>
                  <a:gd name="T24" fmla="*/ 1627 w 2441"/>
                  <a:gd name="T25" fmla="*/ 462 h 1882"/>
                  <a:gd name="T26" fmla="*/ 1536 w 2441"/>
                  <a:gd name="T27" fmla="*/ 569 h 1882"/>
                  <a:gd name="T28" fmla="*/ 1228 w 2441"/>
                  <a:gd name="T29" fmla="*/ 608 h 1882"/>
                  <a:gd name="T30" fmla="*/ 973 w 2441"/>
                  <a:gd name="T31" fmla="*/ 571 h 1882"/>
                  <a:gd name="T32" fmla="*/ 775 w 2441"/>
                  <a:gd name="T33" fmla="*/ 459 h 1882"/>
                  <a:gd name="T34" fmla="*/ 612 w 2441"/>
                  <a:gd name="T35" fmla="*/ 353 h 1882"/>
                  <a:gd name="T36" fmla="*/ 452 w 2441"/>
                  <a:gd name="T37" fmla="*/ 264 h 1882"/>
                  <a:gd name="T38" fmla="*/ 373 w 2441"/>
                  <a:gd name="T39" fmla="*/ 309 h 1882"/>
                  <a:gd name="T40" fmla="*/ 273 w 2441"/>
                  <a:gd name="T41" fmla="*/ 425 h 1882"/>
                  <a:gd name="T42" fmla="*/ 216 w 2441"/>
                  <a:gd name="T43" fmla="*/ 499 h 1882"/>
                  <a:gd name="T44" fmla="*/ 199 w 2441"/>
                  <a:gd name="T45" fmla="*/ 625 h 1882"/>
                  <a:gd name="T46" fmla="*/ 63 w 2441"/>
                  <a:gd name="T47" fmla="*/ 683 h 1882"/>
                  <a:gd name="T48" fmla="*/ 15 w 2441"/>
                  <a:gd name="T49" fmla="*/ 765 h 1882"/>
                  <a:gd name="T50" fmla="*/ 111 w 2441"/>
                  <a:gd name="T51" fmla="*/ 880 h 1882"/>
                  <a:gd name="T52" fmla="*/ 294 w 2441"/>
                  <a:gd name="T53" fmla="*/ 934 h 1882"/>
                  <a:gd name="T54" fmla="*/ 306 w 2441"/>
                  <a:gd name="T55" fmla="*/ 1057 h 1882"/>
                  <a:gd name="T56" fmla="*/ 316 w 2441"/>
                  <a:gd name="T57" fmla="*/ 1113 h 1882"/>
                  <a:gd name="T58" fmla="*/ 403 w 2441"/>
                  <a:gd name="T59" fmla="*/ 1210 h 1882"/>
                  <a:gd name="T60" fmla="*/ 571 w 2441"/>
                  <a:gd name="T61" fmla="*/ 1302 h 1882"/>
                  <a:gd name="T62" fmla="*/ 698 w 2441"/>
                  <a:gd name="T63" fmla="*/ 1349 h 1882"/>
                  <a:gd name="T64" fmla="*/ 894 w 2441"/>
                  <a:gd name="T65" fmla="*/ 1350 h 1882"/>
                  <a:gd name="T66" fmla="*/ 1044 w 2441"/>
                  <a:gd name="T67" fmla="*/ 1318 h 1882"/>
                  <a:gd name="T68" fmla="*/ 1161 w 2441"/>
                  <a:gd name="T69" fmla="*/ 1339 h 1882"/>
                  <a:gd name="T70" fmla="*/ 1291 w 2441"/>
                  <a:gd name="T71" fmla="*/ 1422 h 1882"/>
                  <a:gd name="T72" fmla="*/ 1261 w 2441"/>
                  <a:gd name="T73" fmla="*/ 1535 h 1882"/>
                  <a:gd name="T74" fmla="*/ 1324 w 2441"/>
                  <a:gd name="T75" fmla="*/ 1597 h 1882"/>
                  <a:gd name="T76" fmla="*/ 1400 w 2441"/>
                  <a:gd name="T77" fmla="*/ 1701 h 1882"/>
                  <a:gd name="T78" fmla="*/ 1461 w 2441"/>
                  <a:gd name="T79" fmla="*/ 1679 h 1882"/>
                  <a:gd name="T80" fmla="*/ 1554 w 2441"/>
                  <a:gd name="T81" fmla="*/ 1639 h 1882"/>
                  <a:gd name="T82" fmla="*/ 1625 w 2441"/>
                  <a:gd name="T83" fmla="*/ 1610 h 1882"/>
                  <a:gd name="T84" fmla="*/ 1698 w 2441"/>
                  <a:gd name="T85" fmla="*/ 1684 h 1882"/>
                  <a:gd name="T86" fmla="*/ 1846 w 2441"/>
                  <a:gd name="T87" fmla="*/ 1750 h 1882"/>
                  <a:gd name="T88" fmla="*/ 2036 w 2441"/>
                  <a:gd name="T89" fmla="*/ 1660 h 1882"/>
                  <a:gd name="T90" fmla="*/ 2205 w 2441"/>
                  <a:gd name="T91" fmla="*/ 1544 h 1882"/>
                  <a:gd name="T92" fmla="*/ 2274 w 2441"/>
                  <a:gd name="T93" fmla="*/ 1405 h 1882"/>
                  <a:gd name="T94" fmla="*/ 2335 w 2441"/>
                  <a:gd name="T95" fmla="*/ 1231 h 1882"/>
                  <a:gd name="T96" fmla="*/ 2240 w 2441"/>
                  <a:gd name="T97" fmla="*/ 1164 h 1882"/>
                  <a:gd name="T98" fmla="*/ 2236 w 2441"/>
                  <a:gd name="T99" fmla="*/ 1155 h 1882"/>
                  <a:gd name="T100" fmla="*/ 2157 w 2441"/>
                  <a:gd name="T101" fmla="*/ 1022 h 1882"/>
                  <a:gd name="T102" fmla="*/ 2131 w 2441"/>
                  <a:gd name="T103" fmla="*/ 897 h 1882"/>
                  <a:gd name="T104" fmla="*/ 2161 w 2441"/>
                  <a:gd name="T105" fmla="*/ 854 h 1882"/>
                  <a:gd name="T106" fmla="*/ 2004 w 2441"/>
                  <a:gd name="T107" fmla="*/ 828 h 1882"/>
                  <a:gd name="T108" fmla="*/ 1997 w 2441"/>
                  <a:gd name="T109" fmla="*/ 758 h 1882"/>
                  <a:gd name="T110" fmla="*/ 2079 w 2441"/>
                  <a:gd name="T111" fmla="*/ 665 h 1882"/>
                  <a:gd name="T112" fmla="*/ 2131 w 2441"/>
                  <a:gd name="T113" fmla="*/ 770 h 1882"/>
                  <a:gd name="T114" fmla="*/ 2292 w 2441"/>
                  <a:gd name="T115" fmla="*/ 637 h 1882"/>
                  <a:gd name="T116" fmla="*/ 2387 w 2441"/>
                  <a:gd name="T117" fmla="*/ 560 h 1882"/>
                  <a:gd name="T118" fmla="*/ 2379 w 2441"/>
                  <a:gd name="T119" fmla="*/ 455 h 1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41" h="1882">
                    <a:moveTo>
                      <a:pt x="1912" y="1793"/>
                    </a:moveTo>
                    <a:cubicBezTo>
                      <a:pt x="1898" y="1783"/>
                      <a:pt x="1850" y="1789"/>
                      <a:pt x="1850" y="1789"/>
                    </a:cubicBezTo>
                    <a:cubicBezTo>
                      <a:pt x="1846" y="1801"/>
                      <a:pt x="1846" y="1801"/>
                      <a:pt x="1846" y="1801"/>
                    </a:cubicBezTo>
                    <a:cubicBezTo>
                      <a:pt x="1835" y="1795"/>
                      <a:pt x="1835" y="1795"/>
                      <a:pt x="1835" y="1795"/>
                    </a:cubicBezTo>
                    <a:cubicBezTo>
                      <a:pt x="1829" y="1812"/>
                      <a:pt x="1829" y="1812"/>
                      <a:pt x="1829" y="1812"/>
                    </a:cubicBezTo>
                    <a:cubicBezTo>
                      <a:pt x="1829" y="1812"/>
                      <a:pt x="1799" y="1835"/>
                      <a:pt x="1818" y="1859"/>
                    </a:cubicBezTo>
                    <a:cubicBezTo>
                      <a:pt x="1838" y="1882"/>
                      <a:pt x="1851" y="1882"/>
                      <a:pt x="1851" y="1882"/>
                    </a:cubicBezTo>
                    <a:cubicBezTo>
                      <a:pt x="1907" y="1881"/>
                      <a:pt x="1903" y="1864"/>
                      <a:pt x="1905" y="1857"/>
                    </a:cubicBezTo>
                    <a:cubicBezTo>
                      <a:pt x="1906" y="1851"/>
                      <a:pt x="1902" y="1836"/>
                      <a:pt x="1902" y="1836"/>
                    </a:cubicBezTo>
                    <a:cubicBezTo>
                      <a:pt x="1902" y="1836"/>
                      <a:pt x="1927" y="1804"/>
                      <a:pt x="1912" y="1793"/>
                    </a:cubicBezTo>
                    <a:close/>
                    <a:moveTo>
                      <a:pt x="2441" y="416"/>
                    </a:moveTo>
                    <a:cubicBezTo>
                      <a:pt x="2438" y="399"/>
                      <a:pt x="2438" y="399"/>
                      <a:pt x="2438" y="399"/>
                    </a:cubicBezTo>
                    <a:cubicBezTo>
                      <a:pt x="2441" y="382"/>
                      <a:pt x="2441" y="382"/>
                      <a:pt x="2441" y="382"/>
                    </a:cubicBezTo>
                    <a:cubicBezTo>
                      <a:pt x="2430" y="375"/>
                      <a:pt x="2430" y="375"/>
                      <a:pt x="2430" y="375"/>
                    </a:cubicBezTo>
                    <a:cubicBezTo>
                      <a:pt x="2430" y="362"/>
                      <a:pt x="2430" y="362"/>
                      <a:pt x="2430" y="362"/>
                    </a:cubicBezTo>
                    <a:cubicBezTo>
                      <a:pt x="2423" y="352"/>
                      <a:pt x="2423" y="352"/>
                      <a:pt x="2423" y="352"/>
                    </a:cubicBezTo>
                    <a:cubicBezTo>
                      <a:pt x="2423" y="340"/>
                      <a:pt x="2423" y="340"/>
                      <a:pt x="2423" y="340"/>
                    </a:cubicBezTo>
                    <a:cubicBezTo>
                      <a:pt x="2415" y="330"/>
                      <a:pt x="2415" y="330"/>
                      <a:pt x="2415" y="330"/>
                    </a:cubicBezTo>
                    <a:cubicBezTo>
                      <a:pt x="2427" y="325"/>
                      <a:pt x="2427" y="325"/>
                      <a:pt x="2427" y="325"/>
                    </a:cubicBezTo>
                    <a:cubicBezTo>
                      <a:pt x="2427" y="305"/>
                      <a:pt x="2427" y="305"/>
                      <a:pt x="2427" y="305"/>
                    </a:cubicBezTo>
                    <a:cubicBezTo>
                      <a:pt x="2409" y="297"/>
                      <a:pt x="2409" y="297"/>
                      <a:pt x="2409" y="297"/>
                    </a:cubicBezTo>
                    <a:cubicBezTo>
                      <a:pt x="2409" y="297"/>
                      <a:pt x="2415" y="284"/>
                      <a:pt x="2405" y="276"/>
                    </a:cubicBezTo>
                    <a:cubicBezTo>
                      <a:pt x="2395" y="268"/>
                      <a:pt x="2370" y="274"/>
                      <a:pt x="2370" y="274"/>
                    </a:cubicBezTo>
                    <a:cubicBezTo>
                      <a:pt x="2365" y="288"/>
                      <a:pt x="2365" y="288"/>
                      <a:pt x="2365" y="288"/>
                    </a:cubicBezTo>
                    <a:cubicBezTo>
                      <a:pt x="2365" y="288"/>
                      <a:pt x="2337" y="287"/>
                      <a:pt x="2334" y="292"/>
                    </a:cubicBezTo>
                    <a:cubicBezTo>
                      <a:pt x="2331" y="297"/>
                      <a:pt x="2330" y="308"/>
                      <a:pt x="2330" y="308"/>
                    </a:cubicBezTo>
                    <a:cubicBezTo>
                      <a:pt x="2311" y="306"/>
                      <a:pt x="2311" y="306"/>
                      <a:pt x="2311" y="306"/>
                    </a:cubicBezTo>
                    <a:cubicBezTo>
                      <a:pt x="2311" y="313"/>
                      <a:pt x="2311" y="313"/>
                      <a:pt x="2311" y="313"/>
                    </a:cubicBezTo>
                    <a:cubicBezTo>
                      <a:pt x="2298" y="314"/>
                      <a:pt x="2298" y="314"/>
                      <a:pt x="2298" y="314"/>
                    </a:cubicBezTo>
                    <a:cubicBezTo>
                      <a:pt x="2290" y="304"/>
                      <a:pt x="2290" y="304"/>
                      <a:pt x="2290" y="304"/>
                    </a:cubicBezTo>
                    <a:cubicBezTo>
                      <a:pt x="2273" y="308"/>
                      <a:pt x="2273" y="308"/>
                      <a:pt x="2273" y="308"/>
                    </a:cubicBezTo>
                    <a:cubicBezTo>
                      <a:pt x="2248" y="288"/>
                      <a:pt x="2248" y="288"/>
                      <a:pt x="2248" y="288"/>
                    </a:cubicBezTo>
                    <a:cubicBezTo>
                      <a:pt x="2248" y="288"/>
                      <a:pt x="2247" y="280"/>
                      <a:pt x="2244" y="273"/>
                    </a:cubicBezTo>
                    <a:cubicBezTo>
                      <a:pt x="2241" y="266"/>
                      <a:pt x="2225" y="265"/>
                      <a:pt x="2225" y="265"/>
                    </a:cubicBezTo>
                    <a:cubicBezTo>
                      <a:pt x="2216" y="246"/>
                      <a:pt x="2216" y="246"/>
                      <a:pt x="2216" y="246"/>
                    </a:cubicBezTo>
                    <a:cubicBezTo>
                      <a:pt x="2192" y="246"/>
                      <a:pt x="2192" y="246"/>
                      <a:pt x="2192" y="246"/>
                    </a:cubicBezTo>
                    <a:cubicBezTo>
                      <a:pt x="2192" y="246"/>
                      <a:pt x="2154" y="218"/>
                      <a:pt x="2150" y="218"/>
                    </a:cubicBezTo>
                    <a:cubicBezTo>
                      <a:pt x="2146" y="218"/>
                      <a:pt x="2138" y="225"/>
                      <a:pt x="2138" y="225"/>
                    </a:cubicBezTo>
                    <a:cubicBezTo>
                      <a:pt x="2138" y="225"/>
                      <a:pt x="2122" y="209"/>
                      <a:pt x="2112" y="211"/>
                    </a:cubicBezTo>
                    <a:cubicBezTo>
                      <a:pt x="2102" y="213"/>
                      <a:pt x="2085" y="214"/>
                      <a:pt x="2077" y="209"/>
                    </a:cubicBezTo>
                    <a:cubicBezTo>
                      <a:pt x="2069" y="204"/>
                      <a:pt x="2050" y="194"/>
                      <a:pt x="2050" y="194"/>
                    </a:cubicBezTo>
                    <a:cubicBezTo>
                      <a:pt x="2046" y="178"/>
                      <a:pt x="2046" y="178"/>
                      <a:pt x="2046" y="178"/>
                    </a:cubicBezTo>
                    <a:cubicBezTo>
                      <a:pt x="2039" y="178"/>
                      <a:pt x="2039" y="178"/>
                      <a:pt x="2039" y="178"/>
                    </a:cubicBezTo>
                    <a:cubicBezTo>
                      <a:pt x="2039" y="178"/>
                      <a:pt x="2021" y="154"/>
                      <a:pt x="2011" y="145"/>
                    </a:cubicBezTo>
                    <a:cubicBezTo>
                      <a:pt x="2001" y="136"/>
                      <a:pt x="1980" y="134"/>
                      <a:pt x="1980" y="134"/>
                    </a:cubicBezTo>
                    <a:cubicBezTo>
                      <a:pt x="1969" y="112"/>
                      <a:pt x="1969" y="112"/>
                      <a:pt x="1969" y="112"/>
                    </a:cubicBezTo>
                    <a:cubicBezTo>
                      <a:pt x="1937" y="95"/>
                      <a:pt x="1937" y="95"/>
                      <a:pt x="1937" y="95"/>
                    </a:cubicBezTo>
                    <a:cubicBezTo>
                      <a:pt x="1934" y="76"/>
                      <a:pt x="1934" y="76"/>
                      <a:pt x="1934" y="76"/>
                    </a:cubicBezTo>
                    <a:cubicBezTo>
                      <a:pt x="1934" y="76"/>
                      <a:pt x="1919" y="71"/>
                      <a:pt x="1914" y="67"/>
                    </a:cubicBezTo>
                    <a:cubicBezTo>
                      <a:pt x="1909" y="63"/>
                      <a:pt x="1891" y="53"/>
                      <a:pt x="1891" y="53"/>
                    </a:cubicBezTo>
                    <a:cubicBezTo>
                      <a:pt x="1889" y="44"/>
                      <a:pt x="1889" y="44"/>
                      <a:pt x="1889" y="44"/>
                    </a:cubicBezTo>
                    <a:cubicBezTo>
                      <a:pt x="1889" y="44"/>
                      <a:pt x="1868" y="30"/>
                      <a:pt x="1861" y="29"/>
                    </a:cubicBezTo>
                    <a:cubicBezTo>
                      <a:pt x="1854" y="28"/>
                      <a:pt x="1835" y="27"/>
                      <a:pt x="1835" y="27"/>
                    </a:cubicBezTo>
                    <a:cubicBezTo>
                      <a:pt x="1820" y="30"/>
                      <a:pt x="1820" y="30"/>
                      <a:pt x="1820" y="30"/>
                    </a:cubicBezTo>
                    <a:cubicBezTo>
                      <a:pt x="1794" y="13"/>
                      <a:pt x="1794" y="13"/>
                      <a:pt x="1794" y="13"/>
                    </a:cubicBezTo>
                    <a:cubicBezTo>
                      <a:pt x="1769" y="0"/>
                      <a:pt x="1769" y="0"/>
                      <a:pt x="1769" y="0"/>
                    </a:cubicBezTo>
                    <a:cubicBezTo>
                      <a:pt x="1734" y="7"/>
                      <a:pt x="1734" y="7"/>
                      <a:pt x="1734" y="7"/>
                    </a:cubicBezTo>
                    <a:cubicBezTo>
                      <a:pt x="1706" y="5"/>
                      <a:pt x="1706" y="5"/>
                      <a:pt x="1706" y="5"/>
                    </a:cubicBezTo>
                    <a:cubicBezTo>
                      <a:pt x="1702" y="13"/>
                      <a:pt x="1702" y="13"/>
                      <a:pt x="1702" y="13"/>
                    </a:cubicBezTo>
                    <a:cubicBezTo>
                      <a:pt x="1678" y="16"/>
                      <a:pt x="1678" y="16"/>
                      <a:pt x="1678" y="16"/>
                    </a:cubicBezTo>
                    <a:cubicBezTo>
                      <a:pt x="1658" y="36"/>
                      <a:pt x="1658" y="36"/>
                      <a:pt x="1658" y="36"/>
                    </a:cubicBezTo>
                    <a:cubicBezTo>
                      <a:pt x="1658" y="36"/>
                      <a:pt x="1636" y="51"/>
                      <a:pt x="1651" y="54"/>
                    </a:cubicBezTo>
                    <a:cubicBezTo>
                      <a:pt x="1666" y="57"/>
                      <a:pt x="1678" y="59"/>
                      <a:pt x="1678" y="59"/>
                    </a:cubicBezTo>
                    <a:cubicBezTo>
                      <a:pt x="1678" y="59"/>
                      <a:pt x="1705" y="74"/>
                      <a:pt x="1704" y="80"/>
                    </a:cubicBezTo>
                    <a:cubicBezTo>
                      <a:pt x="1703" y="86"/>
                      <a:pt x="1691" y="91"/>
                      <a:pt x="1689" y="100"/>
                    </a:cubicBezTo>
                    <a:cubicBezTo>
                      <a:pt x="1687" y="109"/>
                      <a:pt x="1692" y="127"/>
                      <a:pt x="1692" y="127"/>
                    </a:cubicBezTo>
                    <a:cubicBezTo>
                      <a:pt x="1692" y="146"/>
                      <a:pt x="1692" y="146"/>
                      <a:pt x="1692" y="146"/>
                    </a:cubicBezTo>
                    <a:cubicBezTo>
                      <a:pt x="1693" y="171"/>
                      <a:pt x="1693" y="171"/>
                      <a:pt x="1693" y="171"/>
                    </a:cubicBezTo>
                    <a:cubicBezTo>
                      <a:pt x="1693" y="171"/>
                      <a:pt x="1717" y="181"/>
                      <a:pt x="1704" y="189"/>
                    </a:cubicBezTo>
                    <a:cubicBezTo>
                      <a:pt x="1691" y="197"/>
                      <a:pt x="1680" y="192"/>
                      <a:pt x="1680" y="192"/>
                    </a:cubicBezTo>
                    <a:cubicBezTo>
                      <a:pt x="1680" y="192"/>
                      <a:pt x="1676" y="214"/>
                      <a:pt x="1666" y="214"/>
                    </a:cubicBezTo>
                    <a:cubicBezTo>
                      <a:pt x="1656" y="214"/>
                      <a:pt x="1653" y="209"/>
                      <a:pt x="1653" y="209"/>
                    </a:cubicBezTo>
                    <a:cubicBezTo>
                      <a:pt x="1629" y="208"/>
                      <a:pt x="1629" y="208"/>
                      <a:pt x="1629" y="208"/>
                    </a:cubicBezTo>
                    <a:cubicBezTo>
                      <a:pt x="1606" y="194"/>
                      <a:pt x="1606" y="194"/>
                      <a:pt x="1606" y="194"/>
                    </a:cubicBezTo>
                    <a:cubicBezTo>
                      <a:pt x="1607" y="249"/>
                      <a:pt x="1607" y="249"/>
                      <a:pt x="1607" y="249"/>
                    </a:cubicBezTo>
                    <a:cubicBezTo>
                      <a:pt x="1612" y="255"/>
                      <a:pt x="1612" y="255"/>
                      <a:pt x="1612" y="255"/>
                    </a:cubicBezTo>
                    <a:cubicBezTo>
                      <a:pt x="1613" y="273"/>
                      <a:pt x="1613" y="273"/>
                      <a:pt x="1613" y="273"/>
                    </a:cubicBezTo>
                    <a:cubicBezTo>
                      <a:pt x="1617" y="279"/>
                      <a:pt x="1617" y="279"/>
                      <a:pt x="1617" y="279"/>
                    </a:cubicBezTo>
                    <a:cubicBezTo>
                      <a:pt x="1617" y="279"/>
                      <a:pt x="1612" y="282"/>
                      <a:pt x="1615" y="292"/>
                    </a:cubicBezTo>
                    <a:cubicBezTo>
                      <a:pt x="1618" y="302"/>
                      <a:pt x="1630" y="313"/>
                      <a:pt x="1639" y="310"/>
                    </a:cubicBezTo>
                    <a:cubicBezTo>
                      <a:pt x="1648" y="307"/>
                      <a:pt x="1632" y="300"/>
                      <a:pt x="1651" y="299"/>
                    </a:cubicBezTo>
                    <a:cubicBezTo>
                      <a:pt x="1670" y="298"/>
                      <a:pt x="1680" y="302"/>
                      <a:pt x="1680" y="302"/>
                    </a:cubicBezTo>
                    <a:cubicBezTo>
                      <a:pt x="1680" y="302"/>
                      <a:pt x="1691" y="313"/>
                      <a:pt x="1697" y="311"/>
                    </a:cubicBezTo>
                    <a:cubicBezTo>
                      <a:pt x="1703" y="309"/>
                      <a:pt x="1704" y="291"/>
                      <a:pt x="1704" y="291"/>
                    </a:cubicBezTo>
                    <a:cubicBezTo>
                      <a:pt x="1745" y="291"/>
                      <a:pt x="1745" y="291"/>
                      <a:pt x="1745" y="291"/>
                    </a:cubicBezTo>
                    <a:cubicBezTo>
                      <a:pt x="1745" y="291"/>
                      <a:pt x="1748" y="306"/>
                      <a:pt x="1757" y="307"/>
                    </a:cubicBezTo>
                    <a:cubicBezTo>
                      <a:pt x="1766" y="308"/>
                      <a:pt x="1769" y="308"/>
                      <a:pt x="1769" y="308"/>
                    </a:cubicBezTo>
                    <a:cubicBezTo>
                      <a:pt x="1769" y="308"/>
                      <a:pt x="1777" y="315"/>
                      <a:pt x="1786" y="322"/>
                    </a:cubicBezTo>
                    <a:cubicBezTo>
                      <a:pt x="1795" y="329"/>
                      <a:pt x="1813" y="333"/>
                      <a:pt x="1813" y="333"/>
                    </a:cubicBezTo>
                    <a:cubicBezTo>
                      <a:pt x="1813" y="333"/>
                      <a:pt x="1818" y="344"/>
                      <a:pt x="1827" y="350"/>
                    </a:cubicBezTo>
                    <a:cubicBezTo>
                      <a:pt x="1836" y="356"/>
                      <a:pt x="1839" y="362"/>
                      <a:pt x="1831" y="363"/>
                    </a:cubicBezTo>
                    <a:cubicBezTo>
                      <a:pt x="1823" y="364"/>
                      <a:pt x="1805" y="365"/>
                      <a:pt x="1805" y="365"/>
                    </a:cubicBezTo>
                    <a:cubicBezTo>
                      <a:pt x="1805" y="365"/>
                      <a:pt x="1797" y="356"/>
                      <a:pt x="1788" y="356"/>
                    </a:cubicBezTo>
                    <a:cubicBezTo>
                      <a:pt x="1779" y="356"/>
                      <a:pt x="1768" y="359"/>
                      <a:pt x="1768" y="359"/>
                    </a:cubicBezTo>
                    <a:cubicBezTo>
                      <a:pt x="1759" y="368"/>
                      <a:pt x="1759" y="368"/>
                      <a:pt x="1759" y="368"/>
                    </a:cubicBezTo>
                    <a:cubicBezTo>
                      <a:pt x="1753" y="371"/>
                      <a:pt x="1753" y="371"/>
                      <a:pt x="1753" y="371"/>
                    </a:cubicBezTo>
                    <a:cubicBezTo>
                      <a:pt x="1735" y="368"/>
                      <a:pt x="1735" y="368"/>
                      <a:pt x="1735" y="368"/>
                    </a:cubicBezTo>
                    <a:cubicBezTo>
                      <a:pt x="1735" y="379"/>
                      <a:pt x="1735" y="379"/>
                      <a:pt x="1735" y="379"/>
                    </a:cubicBezTo>
                    <a:cubicBezTo>
                      <a:pt x="1735" y="379"/>
                      <a:pt x="1710" y="380"/>
                      <a:pt x="1703" y="391"/>
                    </a:cubicBezTo>
                    <a:cubicBezTo>
                      <a:pt x="1696" y="402"/>
                      <a:pt x="1711" y="413"/>
                      <a:pt x="1711" y="413"/>
                    </a:cubicBezTo>
                    <a:cubicBezTo>
                      <a:pt x="1695" y="427"/>
                      <a:pt x="1695" y="427"/>
                      <a:pt x="1695" y="427"/>
                    </a:cubicBezTo>
                    <a:cubicBezTo>
                      <a:pt x="1695" y="427"/>
                      <a:pt x="1649" y="424"/>
                      <a:pt x="1646" y="427"/>
                    </a:cubicBezTo>
                    <a:cubicBezTo>
                      <a:pt x="1643" y="430"/>
                      <a:pt x="1645" y="446"/>
                      <a:pt x="1645" y="446"/>
                    </a:cubicBezTo>
                    <a:cubicBezTo>
                      <a:pt x="1645" y="446"/>
                      <a:pt x="1634" y="460"/>
                      <a:pt x="1627" y="462"/>
                    </a:cubicBezTo>
                    <a:cubicBezTo>
                      <a:pt x="1620" y="464"/>
                      <a:pt x="1593" y="465"/>
                      <a:pt x="1593" y="465"/>
                    </a:cubicBezTo>
                    <a:cubicBezTo>
                      <a:pt x="1593" y="465"/>
                      <a:pt x="1571" y="448"/>
                      <a:pt x="1567" y="447"/>
                    </a:cubicBezTo>
                    <a:cubicBezTo>
                      <a:pt x="1563" y="446"/>
                      <a:pt x="1545" y="440"/>
                      <a:pt x="1539" y="450"/>
                    </a:cubicBezTo>
                    <a:cubicBezTo>
                      <a:pt x="1533" y="460"/>
                      <a:pt x="1535" y="480"/>
                      <a:pt x="1541" y="484"/>
                    </a:cubicBezTo>
                    <a:cubicBezTo>
                      <a:pt x="1547" y="488"/>
                      <a:pt x="1578" y="511"/>
                      <a:pt x="1577" y="516"/>
                    </a:cubicBezTo>
                    <a:cubicBezTo>
                      <a:pt x="1576" y="521"/>
                      <a:pt x="1566" y="536"/>
                      <a:pt x="1562" y="536"/>
                    </a:cubicBezTo>
                    <a:cubicBezTo>
                      <a:pt x="1558" y="536"/>
                      <a:pt x="1548" y="533"/>
                      <a:pt x="1545" y="540"/>
                    </a:cubicBezTo>
                    <a:cubicBezTo>
                      <a:pt x="1542" y="547"/>
                      <a:pt x="1544" y="562"/>
                      <a:pt x="1536" y="569"/>
                    </a:cubicBezTo>
                    <a:cubicBezTo>
                      <a:pt x="1528" y="576"/>
                      <a:pt x="1511" y="574"/>
                      <a:pt x="1511" y="574"/>
                    </a:cubicBezTo>
                    <a:cubicBezTo>
                      <a:pt x="1499" y="587"/>
                      <a:pt x="1499" y="587"/>
                      <a:pt x="1499" y="587"/>
                    </a:cubicBezTo>
                    <a:cubicBezTo>
                      <a:pt x="1499" y="587"/>
                      <a:pt x="1409" y="584"/>
                      <a:pt x="1395" y="590"/>
                    </a:cubicBezTo>
                    <a:cubicBezTo>
                      <a:pt x="1381" y="596"/>
                      <a:pt x="1338" y="625"/>
                      <a:pt x="1332" y="630"/>
                    </a:cubicBezTo>
                    <a:cubicBezTo>
                      <a:pt x="1326" y="635"/>
                      <a:pt x="1306" y="627"/>
                      <a:pt x="1306" y="627"/>
                    </a:cubicBezTo>
                    <a:cubicBezTo>
                      <a:pt x="1306" y="627"/>
                      <a:pt x="1303" y="615"/>
                      <a:pt x="1297" y="615"/>
                    </a:cubicBezTo>
                    <a:cubicBezTo>
                      <a:pt x="1291" y="615"/>
                      <a:pt x="1270" y="624"/>
                      <a:pt x="1270" y="624"/>
                    </a:cubicBezTo>
                    <a:cubicBezTo>
                      <a:pt x="1270" y="624"/>
                      <a:pt x="1242" y="609"/>
                      <a:pt x="1228" y="608"/>
                    </a:cubicBezTo>
                    <a:cubicBezTo>
                      <a:pt x="1214" y="607"/>
                      <a:pt x="1203" y="609"/>
                      <a:pt x="1188" y="604"/>
                    </a:cubicBezTo>
                    <a:cubicBezTo>
                      <a:pt x="1173" y="599"/>
                      <a:pt x="1171" y="584"/>
                      <a:pt x="1161" y="581"/>
                    </a:cubicBezTo>
                    <a:cubicBezTo>
                      <a:pt x="1151" y="578"/>
                      <a:pt x="1112" y="578"/>
                      <a:pt x="1112" y="578"/>
                    </a:cubicBezTo>
                    <a:cubicBezTo>
                      <a:pt x="1112" y="578"/>
                      <a:pt x="1092" y="570"/>
                      <a:pt x="1087" y="570"/>
                    </a:cubicBezTo>
                    <a:cubicBezTo>
                      <a:pt x="1082" y="570"/>
                      <a:pt x="1068" y="581"/>
                      <a:pt x="1068" y="581"/>
                    </a:cubicBezTo>
                    <a:cubicBezTo>
                      <a:pt x="1043" y="576"/>
                      <a:pt x="1043" y="576"/>
                      <a:pt x="1043" y="576"/>
                    </a:cubicBezTo>
                    <a:cubicBezTo>
                      <a:pt x="1012" y="576"/>
                      <a:pt x="1012" y="576"/>
                      <a:pt x="1012" y="576"/>
                    </a:cubicBezTo>
                    <a:cubicBezTo>
                      <a:pt x="973" y="571"/>
                      <a:pt x="973" y="571"/>
                      <a:pt x="973" y="571"/>
                    </a:cubicBezTo>
                    <a:cubicBezTo>
                      <a:pt x="935" y="575"/>
                      <a:pt x="935" y="575"/>
                      <a:pt x="935" y="575"/>
                    </a:cubicBezTo>
                    <a:cubicBezTo>
                      <a:pt x="935" y="575"/>
                      <a:pt x="902" y="550"/>
                      <a:pt x="898" y="544"/>
                    </a:cubicBezTo>
                    <a:cubicBezTo>
                      <a:pt x="894" y="538"/>
                      <a:pt x="880" y="519"/>
                      <a:pt x="876" y="515"/>
                    </a:cubicBezTo>
                    <a:cubicBezTo>
                      <a:pt x="872" y="511"/>
                      <a:pt x="863" y="506"/>
                      <a:pt x="863" y="506"/>
                    </a:cubicBezTo>
                    <a:cubicBezTo>
                      <a:pt x="856" y="490"/>
                      <a:pt x="856" y="490"/>
                      <a:pt x="856" y="490"/>
                    </a:cubicBezTo>
                    <a:cubicBezTo>
                      <a:pt x="834" y="487"/>
                      <a:pt x="834" y="487"/>
                      <a:pt x="834" y="487"/>
                    </a:cubicBezTo>
                    <a:cubicBezTo>
                      <a:pt x="834" y="487"/>
                      <a:pt x="797" y="475"/>
                      <a:pt x="794" y="474"/>
                    </a:cubicBezTo>
                    <a:cubicBezTo>
                      <a:pt x="791" y="473"/>
                      <a:pt x="784" y="461"/>
                      <a:pt x="775" y="459"/>
                    </a:cubicBezTo>
                    <a:cubicBezTo>
                      <a:pt x="766" y="457"/>
                      <a:pt x="755" y="452"/>
                      <a:pt x="755" y="452"/>
                    </a:cubicBezTo>
                    <a:cubicBezTo>
                      <a:pt x="755" y="452"/>
                      <a:pt x="721" y="450"/>
                      <a:pt x="707" y="451"/>
                    </a:cubicBezTo>
                    <a:cubicBezTo>
                      <a:pt x="693" y="452"/>
                      <a:pt x="679" y="449"/>
                      <a:pt x="668" y="445"/>
                    </a:cubicBezTo>
                    <a:cubicBezTo>
                      <a:pt x="657" y="441"/>
                      <a:pt x="636" y="439"/>
                      <a:pt x="631" y="426"/>
                    </a:cubicBezTo>
                    <a:cubicBezTo>
                      <a:pt x="626" y="413"/>
                      <a:pt x="625" y="403"/>
                      <a:pt x="625" y="403"/>
                    </a:cubicBezTo>
                    <a:cubicBezTo>
                      <a:pt x="625" y="403"/>
                      <a:pt x="635" y="399"/>
                      <a:pt x="633" y="392"/>
                    </a:cubicBezTo>
                    <a:cubicBezTo>
                      <a:pt x="631" y="385"/>
                      <a:pt x="621" y="377"/>
                      <a:pt x="621" y="377"/>
                    </a:cubicBezTo>
                    <a:cubicBezTo>
                      <a:pt x="621" y="377"/>
                      <a:pt x="624" y="361"/>
                      <a:pt x="612" y="353"/>
                    </a:cubicBezTo>
                    <a:cubicBezTo>
                      <a:pt x="600" y="345"/>
                      <a:pt x="591" y="336"/>
                      <a:pt x="586" y="329"/>
                    </a:cubicBezTo>
                    <a:cubicBezTo>
                      <a:pt x="581" y="322"/>
                      <a:pt x="574" y="308"/>
                      <a:pt x="560" y="304"/>
                    </a:cubicBezTo>
                    <a:cubicBezTo>
                      <a:pt x="546" y="300"/>
                      <a:pt x="540" y="298"/>
                      <a:pt x="540" y="298"/>
                    </a:cubicBezTo>
                    <a:cubicBezTo>
                      <a:pt x="525" y="290"/>
                      <a:pt x="525" y="290"/>
                      <a:pt x="525" y="290"/>
                    </a:cubicBezTo>
                    <a:cubicBezTo>
                      <a:pt x="504" y="296"/>
                      <a:pt x="504" y="296"/>
                      <a:pt x="504" y="296"/>
                    </a:cubicBezTo>
                    <a:cubicBezTo>
                      <a:pt x="487" y="280"/>
                      <a:pt x="487" y="280"/>
                      <a:pt x="487" y="280"/>
                    </a:cubicBezTo>
                    <a:cubicBezTo>
                      <a:pt x="481" y="272"/>
                      <a:pt x="481" y="272"/>
                      <a:pt x="481" y="272"/>
                    </a:cubicBezTo>
                    <a:cubicBezTo>
                      <a:pt x="481" y="272"/>
                      <a:pt x="457" y="269"/>
                      <a:pt x="452" y="264"/>
                    </a:cubicBezTo>
                    <a:cubicBezTo>
                      <a:pt x="447" y="259"/>
                      <a:pt x="451" y="251"/>
                      <a:pt x="451" y="251"/>
                    </a:cubicBezTo>
                    <a:cubicBezTo>
                      <a:pt x="433" y="251"/>
                      <a:pt x="433" y="251"/>
                      <a:pt x="433" y="251"/>
                    </a:cubicBezTo>
                    <a:cubicBezTo>
                      <a:pt x="433" y="251"/>
                      <a:pt x="443" y="239"/>
                      <a:pt x="435" y="235"/>
                    </a:cubicBezTo>
                    <a:cubicBezTo>
                      <a:pt x="427" y="231"/>
                      <a:pt x="414" y="238"/>
                      <a:pt x="414" y="238"/>
                    </a:cubicBezTo>
                    <a:cubicBezTo>
                      <a:pt x="414" y="238"/>
                      <a:pt x="388" y="230"/>
                      <a:pt x="387" y="239"/>
                    </a:cubicBezTo>
                    <a:cubicBezTo>
                      <a:pt x="386" y="248"/>
                      <a:pt x="405" y="251"/>
                      <a:pt x="399" y="260"/>
                    </a:cubicBezTo>
                    <a:cubicBezTo>
                      <a:pt x="393" y="269"/>
                      <a:pt x="364" y="259"/>
                      <a:pt x="359" y="273"/>
                    </a:cubicBezTo>
                    <a:cubicBezTo>
                      <a:pt x="354" y="287"/>
                      <a:pt x="364" y="296"/>
                      <a:pt x="373" y="309"/>
                    </a:cubicBezTo>
                    <a:cubicBezTo>
                      <a:pt x="382" y="322"/>
                      <a:pt x="388" y="333"/>
                      <a:pt x="381" y="338"/>
                    </a:cubicBezTo>
                    <a:cubicBezTo>
                      <a:pt x="374" y="343"/>
                      <a:pt x="366" y="342"/>
                      <a:pt x="366" y="342"/>
                    </a:cubicBezTo>
                    <a:cubicBezTo>
                      <a:pt x="355" y="354"/>
                      <a:pt x="355" y="354"/>
                      <a:pt x="355" y="354"/>
                    </a:cubicBezTo>
                    <a:cubicBezTo>
                      <a:pt x="346" y="346"/>
                      <a:pt x="346" y="346"/>
                      <a:pt x="346" y="346"/>
                    </a:cubicBezTo>
                    <a:cubicBezTo>
                      <a:pt x="346" y="346"/>
                      <a:pt x="325" y="348"/>
                      <a:pt x="317" y="346"/>
                    </a:cubicBezTo>
                    <a:cubicBezTo>
                      <a:pt x="309" y="344"/>
                      <a:pt x="284" y="332"/>
                      <a:pt x="278" y="332"/>
                    </a:cubicBezTo>
                    <a:cubicBezTo>
                      <a:pt x="272" y="332"/>
                      <a:pt x="273" y="347"/>
                      <a:pt x="273" y="359"/>
                    </a:cubicBezTo>
                    <a:cubicBezTo>
                      <a:pt x="273" y="371"/>
                      <a:pt x="269" y="423"/>
                      <a:pt x="273" y="425"/>
                    </a:cubicBezTo>
                    <a:cubicBezTo>
                      <a:pt x="277" y="427"/>
                      <a:pt x="300" y="429"/>
                      <a:pt x="291" y="440"/>
                    </a:cubicBezTo>
                    <a:cubicBezTo>
                      <a:pt x="282" y="451"/>
                      <a:pt x="275" y="437"/>
                      <a:pt x="275" y="437"/>
                    </a:cubicBezTo>
                    <a:cubicBezTo>
                      <a:pt x="262" y="444"/>
                      <a:pt x="262" y="444"/>
                      <a:pt x="262" y="444"/>
                    </a:cubicBezTo>
                    <a:cubicBezTo>
                      <a:pt x="262" y="444"/>
                      <a:pt x="253" y="430"/>
                      <a:pt x="248" y="430"/>
                    </a:cubicBezTo>
                    <a:cubicBezTo>
                      <a:pt x="243" y="430"/>
                      <a:pt x="219" y="440"/>
                      <a:pt x="213" y="441"/>
                    </a:cubicBezTo>
                    <a:cubicBezTo>
                      <a:pt x="207" y="442"/>
                      <a:pt x="176" y="449"/>
                      <a:pt x="183" y="458"/>
                    </a:cubicBezTo>
                    <a:cubicBezTo>
                      <a:pt x="190" y="467"/>
                      <a:pt x="208" y="464"/>
                      <a:pt x="208" y="464"/>
                    </a:cubicBezTo>
                    <a:cubicBezTo>
                      <a:pt x="208" y="464"/>
                      <a:pt x="208" y="490"/>
                      <a:pt x="216" y="499"/>
                    </a:cubicBezTo>
                    <a:cubicBezTo>
                      <a:pt x="224" y="508"/>
                      <a:pt x="254" y="539"/>
                      <a:pt x="254" y="546"/>
                    </a:cubicBezTo>
                    <a:cubicBezTo>
                      <a:pt x="254" y="553"/>
                      <a:pt x="238" y="550"/>
                      <a:pt x="238" y="553"/>
                    </a:cubicBezTo>
                    <a:cubicBezTo>
                      <a:pt x="238" y="556"/>
                      <a:pt x="249" y="568"/>
                      <a:pt x="249" y="568"/>
                    </a:cubicBezTo>
                    <a:cubicBezTo>
                      <a:pt x="249" y="568"/>
                      <a:pt x="235" y="566"/>
                      <a:pt x="235" y="571"/>
                    </a:cubicBezTo>
                    <a:cubicBezTo>
                      <a:pt x="235" y="576"/>
                      <a:pt x="239" y="587"/>
                      <a:pt x="244" y="592"/>
                    </a:cubicBezTo>
                    <a:cubicBezTo>
                      <a:pt x="249" y="597"/>
                      <a:pt x="251" y="610"/>
                      <a:pt x="248" y="611"/>
                    </a:cubicBezTo>
                    <a:cubicBezTo>
                      <a:pt x="245" y="612"/>
                      <a:pt x="231" y="612"/>
                      <a:pt x="231" y="612"/>
                    </a:cubicBezTo>
                    <a:cubicBezTo>
                      <a:pt x="199" y="625"/>
                      <a:pt x="199" y="625"/>
                      <a:pt x="199" y="625"/>
                    </a:cubicBezTo>
                    <a:cubicBezTo>
                      <a:pt x="199" y="625"/>
                      <a:pt x="180" y="642"/>
                      <a:pt x="180" y="645"/>
                    </a:cubicBezTo>
                    <a:cubicBezTo>
                      <a:pt x="180" y="648"/>
                      <a:pt x="180" y="666"/>
                      <a:pt x="168" y="666"/>
                    </a:cubicBezTo>
                    <a:cubicBezTo>
                      <a:pt x="156" y="666"/>
                      <a:pt x="137" y="658"/>
                      <a:pt x="129" y="659"/>
                    </a:cubicBezTo>
                    <a:cubicBezTo>
                      <a:pt x="121" y="660"/>
                      <a:pt x="113" y="673"/>
                      <a:pt x="112" y="682"/>
                    </a:cubicBezTo>
                    <a:cubicBezTo>
                      <a:pt x="111" y="691"/>
                      <a:pt x="106" y="700"/>
                      <a:pt x="106" y="700"/>
                    </a:cubicBezTo>
                    <a:cubicBezTo>
                      <a:pt x="87" y="695"/>
                      <a:pt x="87" y="695"/>
                      <a:pt x="87" y="695"/>
                    </a:cubicBezTo>
                    <a:cubicBezTo>
                      <a:pt x="80" y="702"/>
                      <a:pt x="80" y="702"/>
                      <a:pt x="80" y="702"/>
                    </a:cubicBezTo>
                    <a:cubicBezTo>
                      <a:pt x="80" y="702"/>
                      <a:pt x="69" y="683"/>
                      <a:pt x="63" y="683"/>
                    </a:cubicBezTo>
                    <a:cubicBezTo>
                      <a:pt x="57" y="683"/>
                      <a:pt x="52" y="692"/>
                      <a:pt x="52" y="692"/>
                    </a:cubicBezTo>
                    <a:cubicBezTo>
                      <a:pt x="33" y="694"/>
                      <a:pt x="33" y="694"/>
                      <a:pt x="33" y="694"/>
                    </a:cubicBezTo>
                    <a:cubicBezTo>
                      <a:pt x="33" y="704"/>
                      <a:pt x="33" y="704"/>
                      <a:pt x="33" y="704"/>
                    </a:cubicBezTo>
                    <a:cubicBezTo>
                      <a:pt x="33" y="704"/>
                      <a:pt x="0" y="719"/>
                      <a:pt x="1" y="722"/>
                    </a:cubicBezTo>
                    <a:cubicBezTo>
                      <a:pt x="2" y="725"/>
                      <a:pt x="13" y="738"/>
                      <a:pt x="13" y="742"/>
                    </a:cubicBezTo>
                    <a:cubicBezTo>
                      <a:pt x="13" y="746"/>
                      <a:pt x="1" y="744"/>
                      <a:pt x="1" y="744"/>
                    </a:cubicBezTo>
                    <a:cubicBezTo>
                      <a:pt x="1" y="761"/>
                      <a:pt x="1" y="761"/>
                      <a:pt x="1" y="761"/>
                    </a:cubicBezTo>
                    <a:cubicBezTo>
                      <a:pt x="1" y="761"/>
                      <a:pt x="15" y="758"/>
                      <a:pt x="15" y="765"/>
                    </a:cubicBezTo>
                    <a:cubicBezTo>
                      <a:pt x="15" y="772"/>
                      <a:pt x="7" y="790"/>
                      <a:pt x="17" y="794"/>
                    </a:cubicBezTo>
                    <a:cubicBezTo>
                      <a:pt x="27" y="798"/>
                      <a:pt x="31" y="783"/>
                      <a:pt x="45" y="787"/>
                    </a:cubicBezTo>
                    <a:cubicBezTo>
                      <a:pt x="59" y="791"/>
                      <a:pt x="71" y="794"/>
                      <a:pt x="71" y="804"/>
                    </a:cubicBezTo>
                    <a:cubicBezTo>
                      <a:pt x="71" y="814"/>
                      <a:pt x="72" y="836"/>
                      <a:pt x="79" y="843"/>
                    </a:cubicBezTo>
                    <a:cubicBezTo>
                      <a:pt x="86" y="850"/>
                      <a:pt x="98" y="853"/>
                      <a:pt x="90" y="859"/>
                    </a:cubicBezTo>
                    <a:cubicBezTo>
                      <a:pt x="82" y="865"/>
                      <a:pt x="62" y="857"/>
                      <a:pt x="65" y="868"/>
                    </a:cubicBezTo>
                    <a:cubicBezTo>
                      <a:pt x="68" y="879"/>
                      <a:pt x="90" y="880"/>
                      <a:pt x="90" y="880"/>
                    </a:cubicBezTo>
                    <a:cubicBezTo>
                      <a:pt x="111" y="880"/>
                      <a:pt x="111" y="880"/>
                      <a:pt x="111" y="880"/>
                    </a:cubicBezTo>
                    <a:cubicBezTo>
                      <a:pt x="114" y="889"/>
                      <a:pt x="114" y="889"/>
                      <a:pt x="114" y="889"/>
                    </a:cubicBezTo>
                    <a:cubicBezTo>
                      <a:pt x="114" y="889"/>
                      <a:pt x="129" y="890"/>
                      <a:pt x="138" y="900"/>
                    </a:cubicBezTo>
                    <a:cubicBezTo>
                      <a:pt x="147" y="910"/>
                      <a:pt x="148" y="931"/>
                      <a:pt x="148" y="931"/>
                    </a:cubicBezTo>
                    <a:cubicBezTo>
                      <a:pt x="169" y="939"/>
                      <a:pt x="169" y="939"/>
                      <a:pt x="169" y="939"/>
                    </a:cubicBezTo>
                    <a:cubicBezTo>
                      <a:pt x="177" y="935"/>
                      <a:pt x="177" y="935"/>
                      <a:pt x="177" y="935"/>
                    </a:cubicBezTo>
                    <a:cubicBezTo>
                      <a:pt x="177" y="935"/>
                      <a:pt x="182" y="955"/>
                      <a:pt x="201" y="956"/>
                    </a:cubicBezTo>
                    <a:cubicBezTo>
                      <a:pt x="220" y="957"/>
                      <a:pt x="246" y="957"/>
                      <a:pt x="246" y="957"/>
                    </a:cubicBezTo>
                    <a:cubicBezTo>
                      <a:pt x="246" y="957"/>
                      <a:pt x="277" y="928"/>
                      <a:pt x="294" y="934"/>
                    </a:cubicBezTo>
                    <a:cubicBezTo>
                      <a:pt x="311" y="940"/>
                      <a:pt x="313" y="954"/>
                      <a:pt x="324" y="956"/>
                    </a:cubicBezTo>
                    <a:cubicBezTo>
                      <a:pt x="335" y="958"/>
                      <a:pt x="349" y="956"/>
                      <a:pt x="349" y="956"/>
                    </a:cubicBezTo>
                    <a:cubicBezTo>
                      <a:pt x="349" y="956"/>
                      <a:pt x="353" y="992"/>
                      <a:pt x="349" y="997"/>
                    </a:cubicBezTo>
                    <a:cubicBezTo>
                      <a:pt x="345" y="1002"/>
                      <a:pt x="336" y="1002"/>
                      <a:pt x="336" y="1002"/>
                    </a:cubicBezTo>
                    <a:cubicBezTo>
                      <a:pt x="336" y="1002"/>
                      <a:pt x="342" y="1026"/>
                      <a:pt x="333" y="1031"/>
                    </a:cubicBezTo>
                    <a:cubicBezTo>
                      <a:pt x="324" y="1036"/>
                      <a:pt x="305" y="1035"/>
                      <a:pt x="305" y="1035"/>
                    </a:cubicBezTo>
                    <a:cubicBezTo>
                      <a:pt x="317" y="1051"/>
                      <a:pt x="317" y="1051"/>
                      <a:pt x="317" y="1051"/>
                    </a:cubicBezTo>
                    <a:cubicBezTo>
                      <a:pt x="306" y="1057"/>
                      <a:pt x="306" y="1057"/>
                      <a:pt x="306" y="1057"/>
                    </a:cubicBezTo>
                    <a:cubicBezTo>
                      <a:pt x="306" y="1057"/>
                      <a:pt x="300" y="1068"/>
                      <a:pt x="315" y="1075"/>
                    </a:cubicBezTo>
                    <a:cubicBezTo>
                      <a:pt x="330" y="1082"/>
                      <a:pt x="335" y="1085"/>
                      <a:pt x="335" y="1085"/>
                    </a:cubicBezTo>
                    <a:cubicBezTo>
                      <a:pt x="340" y="1094"/>
                      <a:pt x="340" y="1094"/>
                      <a:pt x="340" y="1094"/>
                    </a:cubicBezTo>
                    <a:cubicBezTo>
                      <a:pt x="340" y="1094"/>
                      <a:pt x="359" y="1109"/>
                      <a:pt x="351" y="1114"/>
                    </a:cubicBezTo>
                    <a:cubicBezTo>
                      <a:pt x="343" y="1119"/>
                      <a:pt x="334" y="1122"/>
                      <a:pt x="334" y="1122"/>
                    </a:cubicBezTo>
                    <a:cubicBezTo>
                      <a:pt x="328" y="1131"/>
                      <a:pt x="328" y="1131"/>
                      <a:pt x="328" y="1131"/>
                    </a:cubicBezTo>
                    <a:cubicBezTo>
                      <a:pt x="318" y="1123"/>
                      <a:pt x="318" y="1123"/>
                      <a:pt x="318" y="1123"/>
                    </a:cubicBezTo>
                    <a:cubicBezTo>
                      <a:pt x="318" y="1123"/>
                      <a:pt x="320" y="1113"/>
                      <a:pt x="316" y="1113"/>
                    </a:cubicBezTo>
                    <a:cubicBezTo>
                      <a:pt x="312" y="1113"/>
                      <a:pt x="299" y="1118"/>
                      <a:pt x="301" y="1128"/>
                    </a:cubicBezTo>
                    <a:cubicBezTo>
                      <a:pt x="303" y="1138"/>
                      <a:pt x="323" y="1149"/>
                      <a:pt x="323" y="1149"/>
                    </a:cubicBezTo>
                    <a:cubicBezTo>
                      <a:pt x="323" y="1149"/>
                      <a:pt x="316" y="1174"/>
                      <a:pt x="323" y="1177"/>
                    </a:cubicBezTo>
                    <a:cubicBezTo>
                      <a:pt x="330" y="1180"/>
                      <a:pt x="341" y="1175"/>
                      <a:pt x="341" y="1175"/>
                    </a:cubicBezTo>
                    <a:cubicBezTo>
                      <a:pt x="341" y="1175"/>
                      <a:pt x="345" y="1190"/>
                      <a:pt x="356" y="1194"/>
                    </a:cubicBezTo>
                    <a:cubicBezTo>
                      <a:pt x="367" y="1198"/>
                      <a:pt x="377" y="1200"/>
                      <a:pt x="377" y="1200"/>
                    </a:cubicBezTo>
                    <a:cubicBezTo>
                      <a:pt x="392" y="1211"/>
                      <a:pt x="392" y="1211"/>
                      <a:pt x="392" y="1211"/>
                    </a:cubicBezTo>
                    <a:cubicBezTo>
                      <a:pt x="403" y="1210"/>
                      <a:pt x="403" y="1210"/>
                      <a:pt x="403" y="1210"/>
                    </a:cubicBezTo>
                    <a:cubicBezTo>
                      <a:pt x="403" y="1210"/>
                      <a:pt x="397" y="1218"/>
                      <a:pt x="403" y="1221"/>
                    </a:cubicBezTo>
                    <a:cubicBezTo>
                      <a:pt x="409" y="1224"/>
                      <a:pt x="420" y="1224"/>
                      <a:pt x="420" y="1224"/>
                    </a:cubicBezTo>
                    <a:cubicBezTo>
                      <a:pt x="447" y="1249"/>
                      <a:pt x="447" y="1249"/>
                      <a:pt x="447" y="1249"/>
                    </a:cubicBezTo>
                    <a:cubicBezTo>
                      <a:pt x="462" y="1236"/>
                      <a:pt x="462" y="1236"/>
                      <a:pt x="462" y="1236"/>
                    </a:cubicBezTo>
                    <a:cubicBezTo>
                      <a:pt x="462" y="1236"/>
                      <a:pt x="475" y="1219"/>
                      <a:pt x="489" y="1234"/>
                    </a:cubicBezTo>
                    <a:cubicBezTo>
                      <a:pt x="503" y="1249"/>
                      <a:pt x="521" y="1263"/>
                      <a:pt x="521" y="1263"/>
                    </a:cubicBezTo>
                    <a:cubicBezTo>
                      <a:pt x="552" y="1269"/>
                      <a:pt x="552" y="1269"/>
                      <a:pt x="552" y="1269"/>
                    </a:cubicBezTo>
                    <a:cubicBezTo>
                      <a:pt x="552" y="1269"/>
                      <a:pt x="567" y="1301"/>
                      <a:pt x="571" y="1302"/>
                    </a:cubicBezTo>
                    <a:cubicBezTo>
                      <a:pt x="575" y="1303"/>
                      <a:pt x="579" y="1278"/>
                      <a:pt x="590" y="1285"/>
                    </a:cubicBezTo>
                    <a:cubicBezTo>
                      <a:pt x="601" y="1292"/>
                      <a:pt x="596" y="1308"/>
                      <a:pt x="604" y="1314"/>
                    </a:cubicBezTo>
                    <a:cubicBezTo>
                      <a:pt x="612" y="1320"/>
                      <a:pt x="626" y="1332"/>
                      <a:pt x="626" y="1332"/>
                    </a:cubicBezTo>
                    <a:cubicBezTo>
                      <a:pt x="626" y="1332"/>
                      <a:pt x="641" y="1321"/>
                      <a:pt x="646" y="1328"/>
                    </a:cubicBezTo>
                    <a:cubicBezTo>
                      <a:pt x="651" y="1335"/>
                      <a:pt x="634" y="1338"/>
                      <a:pt x="650" y="1345"/>
                    </a:cubicBezTo>
                    <a:cubicBezTo>
                      <a:pt x="666" y="1352"/>
                      <a:pt x="678" y="1343"/>
                      <a:pt x="678" y="1343"/>
                    </a:cubicBezTo>
                    <a:cubicBezTo>
                      <a:pt x="678" y="1343"/>
                      <a:pt x="678" y="1361"/>
                      <a:pt x="687" y="1362"/>
                    </a:cubicBezTo>
                    <a:cubicBezTo>
                      <a:pt x="696" y="1363"/>
                      <a:pt x="698" y="1349"/>
                      <a:pt x="698" y="1349"/>
                    </a:cubicBezTo>
                    <a:cubicBezTo>
                      <a:pt x="698" y="1349"/>
                      <a:pt x="697" y="1363"/>
                      <a:pt x="707" y="1362"/>
                    </a:cubicBezTo>
                    <a:cubicBezTo>
                      <a:pt x="717" y="1361"/>
                      <a:pt x="719" y="1353"/>
                      <a:pt x="719" y="1353"/>
                    </a:cubicBezTo>
                    <a:cubicBezTo>
                      <a:pt x="719" y="1353"/>
                      <a:pt x="752" y="1373"/>
                      <a:pt x="766" y="1372"/>
                    </a:cubicBezTo>
                    <a:cubicBezTo>
                      <a:pt x="780" y="1371"/>
                      <a:pt x="806" y="1346"/>
                      <a:pt x="817" y="1355"/>
                    </a:cubicBezTo>
                    <a:cubicBezTo>
                      <a:pt x="828" y="1364"/>
                      <a:pt x="817" y="1392"/>
                      <a:pt x="822" y="1394"/>
                    </a:cubicBezTo>
                    <a:cubicBezTo>
                      <a:pt x="827" y="1396"/>
                      <a:pt x="832" y="1395"/>
                      <a:pt x="832" y="1395"/>
                    </a:cubicBezTo>
                    <a:cubicBezTo>
                      <a:pt x="832" y="1395"/>
                      <a:pt x="856" y="1339"/>
                      <a:pt x="870" y="1344"/>
                    </a:cubicBezTo>
                    <a:cubicBezTo>
                      <a:pt x="884" y="1349"/>
                      <a:pt x="894" y="1350"/>
                      <a:pt x="894" y="1350"/>
                    </a:cubicBezTo>
                    <a:cubicBezTo>
                      <a:pt x="894" y="1364"/>
                      <a:pt x="894" y="1364"/>
                      <a:pt x="894" y="1364"/>
                    </a:cubicBezTo>
                    <a:cubicBezTo>
                      <a:pt x="894" y="1364"/>
                      <a:pt x="930" y="1346"/>
                      <a:pt x="943" y="1357"/>
                    </a:cubicBezTo>
                    <a:cubicBezTo>
                      <a:pt x="956" y="1368"/>
                      <a:pt x="956" y="1378"/>
                      <a:pt x="956" y="1378"/>
                    </a:cubicBezTo>
                    <a:cubicBezTo>
                      <a:pt x="956" y="1378"/>
                      <a:pt x="987" y="1380"/>
                      <a:pt x="995" y="1373"/>
                    </a:cubicBezTo>
                    <a:cubicBezTo>
                      <a:pt x="1003" y="1366"/>
                      <a:pt x="995" y="1350"/>
                      <a:pt x="995" y="1350"/>
                    </a:cubicBezTo>
                    <a:cubicBezTo>
                      <a:pt x="995" y="1350"/>
                      <a:pt x="1016" y="1348"/>
                      <a:pt x="1018" y="1343"/>
                    </a:cubicBezTo>
                    <a:cubicBezTo>
                      <a:pt x="1020" y="1338"/>
                      <a:pt x="1013" y="1322"/>
                      <a:pt x="1013" y="1322"/>
                    </a:cubicBezTo>
                    <a:cubicBezTo>
                      <a:pt x="1013" y="1322"/>
                      <a:pt x="1037" y="1326"/>
                      <a:pt x="1044" y="1318"/>
                    </a:cubicBezTo>
                    <a:cubicBezTo>
                      <a:pt x="1051" y="1310"/>
                      <a:pt x="1068" y="1291"/>
                      <a:pt x="1076" y="1291"/>
                    </a:cubicBezTo>
                    <a:cubicBezTo>
                      <a:pt x="1084" y="1291"/>
                      <a:pt x="1098" y="1305"/>
                      <a:pt x="1109" y="1305"/>
                    </a:cubicBezTo>
                    <a:cubicBezTo>
                      <a:pt x="1120" y="1305"/>
                      <a:pt x="1112" y="1274"/>
                      <a:pt x="1130" y="1283"/>
                    </a:cubicBezTo>
                    <a:cubicBezTo>
                      <a:pt x="1148" y="1292"/>
                      <a:pt x="1149" y="1297"/>
                      <a:pt x="1149" y="1297"/>
                    </a:cubicBezTo>
                    <a:cubicBezTo>
                      <a:pt x="1149" y="1297"/>
                      <a:pt x="1133" y="1305"/>
                      <a:pt x="1142" y="1307"/>
                    </a:cubicBezTo>
                    <a:cubicBezTo>
                      <a:pt x="1151" y="1309"/>
                      <a:pt x="1162" y="1308"/>
                      <a:pt x="1162" y="1308"/>
                    </a:cubicBezTo>
                    <a:cubicBezTo>
                      <a:pt x="1173" y="1328"/>
                      <a:pt x="1173" y="1328"/>
                      <a:pt x="1173" y="1328"/>
                    </a:cubicBezTo>
                    <a:cubicBezTo>
                      <a:pt x="1173" y="1328"/>
                      <a:pt x="1153" y="1337"/>
                      <a:pt x="1161" y="1339"/>
                    </a:cubicBezTo>
                    <a:cubicBezTo>
                      <a:pt x="1169" y="1341"/>
                      <a:pt x="1184" y="1341"/>
                      <a:pt x="1191" y="1341"/>
                    </a:cubicBezTo>
                    <a:cubicBezTo>
                      <a:pt x="1198" y="1341"/>
                      <a:pt x="1213" y="1345"/>
                      <a:pt x="1213" y="1345"/>
                    </a:cubicBezTo>
                    <a:cubicBezTo>
                      <a:pt x="1217" y="1332"/>
                      <a:pt x="1217" y="1332"/>
                      <a:pt x="1217" y="1332"/>
                    </a:cubicBezTo>
                    <a:cubicBezTo>
                      <a:pt x="1217" y="1332"/>
                      <a:pt x="1231" y="1339"/>
                      <a:pt x="1239" y="1347"/>
                    </a:cubicBezTo>
                    <a:cubicBezTo>
                      <a:pt x="1247" y="1355"/>
                      <a:pt x="1256" y="1382"/>
                      <a:pt x="1256" y="1382"/>
                    </a:cubicBezTo>
                    <a:cubicBezTo>
                      <a:pt x="1256" y="1382"/>
                      <a:pt x="1271" y="1380"/>
                      <a:pt x="1278" y="1382"/>
                    </a:cubicBezTo>
                    <a:cubicBezTo>
                      <a:pt x="1285" y="1384"/>
                      <a:pt x="1283" y="1406"/>
                      <a:pt x="1283" y="1406"/>
                    </a:cubicBezTo>
                    <a:cubicBezTo>
                      <a:pt x="1291" y="1422"/>
                      <a:pt x="1291" y="1422"/>
                      <a:pt x="1291" y="1422"/>
                    </a:cubicBezTo>
                    <a:cubicBezTo>
                      <a:pt x="1298" y="1459"/>
                      <a:pt x="1298" y="1459"/>
                      <a:pt x="1298" y="1459"/>
                    </a:cubicBezTo>
                    <a:cubicBezTo>
                      <a:pt x="1298" y="1459"/>
                      <a:pt x="1288" y="1465"/>
                      <a:pt x="1281" y="1465"/>
                    </a:cubicBezTo>
                    <a:cubicBezTo>
                      <a:pt x="1274" y="1465"/>
                      <a:pt x="1290" y="1476"/>
                      <a:pt x="1290" y="1476"/>
                    </a:cubicBezTo>
                    <a:cubicBezTo>
                      <a:pt x="1290" y="1476"/>
                      <a:pt x="1289" y="1482"/>
                      <a:pt x="1286" y="1489"/>
                    </a:cubicBezTo>
                    <a:cubicBezTo>
                      <a:pt x="1283" y="1496"/>
                      <a:pt x="1271" y="1488"/>
                      <a:pt x="1271" y="1488"/>
                    </a:cubicBezTo>
                    <a:cubicBezTo>
                      <a:pt x="1271" y="1488"/>
                      <a:pt x="1272" y="1497"/>
                      <a:pt x="1271" y="1508"/>
                    </a:cubicBezTo>
                    <a:cubicBezTo>
                      <a:pt x="1270" y="1519"/>
                      <a:pt x="1259" y="1515"/>
                      <a:pt x="1259" y="1515"/>
                    </a:cubicBezTo>
                    <a:cubicBezTo>
                      <a:pt x="1261" y="1535"/>
                      <a:pt x="1261" y="1535"/>
                      <a:pt x="1261" y="1535"/>
                    </a:cubicBezTo>
                    <a:cubicBezTo>
                      <a:pt x="1254" y="1538"/>
                      <a:pt x="1254" y="1538"/>
                      <a:pt x="1254" y="1538"/>
                    </a:cubicBezTo>
                    <a:cubicBezTo>
                      <a:pt x="1254" y="1538"/>
                      <a:pt x="1255" y="1547"/>
                      <a:pt x="1260" y="1552"/>
                    </a:cubicBezTo>
                    <a:cubicBezTo>
                      <a:pt x="1265" y="1557"/>
                      <a:pt x="1270" y="1567"/>
                      <a:pt x="1270" y="1567"/>
                    </a:cubicBezTo>
                    <a:cubicBezTo>
                      <a:pt x="1264" y="1581"/>
                      <a:pt x="1264" y="1581"/>
                      <a:pt x="1264" y="1581"/>
                    </a:cubicBezTo>
                    <a:cubicBezTo>
                      <a:pt x="1264" y="1581"/>
                      <a:pt x="1280" y="1571"/>
                      <a:pt x="1288" y="1570"/>
                    </a:cubicBezTo>
                    <a:cubicBezTo>
                      <a:pt x="1296" y="1569"/>
                      <a:pt x="1325" y="1569"/>
                      <a:pt x="1325" y="1569"/>
                    </a:cubicBezTo>
                    <a:cubicBezTo>
                      <a:pt x="1308" y="1584"/>
                      <a:pt x="1308" y="1584"/>
                      <a:pt x="1308" y="1584"/>
                    </a:cubicBezTo>
                    <a:cubicBezTo>
                      <a:pt x="1324" y="1597"/>
                      <a:pt x="1324" y="1597"/>
                      <a:pt x="1324" y="1597"/>
                    </a:cubicBezTo>
                    <a:cubicBezTo>
                      <a:pt x="1329" y="1624"/>
                      <a:pt x="1329" y="1624"/>
                      <a:pt x="1329" y="1624"/>
                    </a:cubicBezTo>
                    <a:cubicBezTo>
                      <a:pt x="1329" y="1624"/>
                      <a:pt x="1357" y="1625"/>
                      <a:pt x="1364" y="1631"/>
                    </a:cubicBezTo>
                    <a:cubicBezTo>
                      <a:pt x="1371" y="1637"/>
                      <a:pt x="1348" y="1646"/>
                      <a:pt x="1348" y="1646"/>
                    </a:cubicBezTo>
                    <a:cubicBezTo>
                      <a:pt x="1348" y="1646"/>
                      <a:pt x="1357" y="1658"/>
                      <a:pt x="1354" y="1661"/>
                    </a:cubicBezTo>
                    <a:cubicBezTo>
                      <a:pt x="1351" y="1664"/>
                      <a:pt x="1345" y="1678"/>
                      <a:pt x="1345" y="1678"/>
                    </a:cubicBezTo>
                    <a:cubicBezTo>
                      <a:pt x="1384" y="1682"/>
                      <a:pt x="1384" y="1682"/>
                      <a:pt x="1384" y="1682"/>
                    </a:cubicBezTo>
                    <a:cubicBezTo>
                      <a:pt x="1389" y="1702"/>
                      <a:pt x="1389" y="1702"/>
                      <a:pt x="1389" y="1702"/>
                    </a:cubicBezTo>
                    <a:cubicBezTo>
                      <a:pt x="1400" y="1701"/>
                      <a:pt x="1400" y="1701"/>
                      <a:pt x="1400" y="1701"/>
                    </a:cubicBezTo>
                    <a:cubicBezTo>
                      <a:pt x="1400" y="1701"/>
                      <a:pt x="1400" y="1713"/>
                      <a:pt x="1403" y="1713"/>
                    </a:cubicBezTo>
                    <a:cubicBezTo>
                      <a:pt x="1406" y="1713"/>
                      <a:pt x="1425" y="1712"/>
                      <a:pt x="1425" y="1712"/>
                    </a:cubicBezTo>
                    <a:cubicBezTo>
                      <a:pt x="1425" y="1712"/>
                      <a:pt x="1434" y="1694"/>
                      <a:pt x="1444" y="1695"/>
                    </a:cubicBezTo>
                    <a:cubicBezTo>
                      <a:pt x="1454" y="1696"/>
                      <a:pt x="1449" y="1714"/>
                      <a:pt x="1449" y="1714"/>
                    </a:cubicBezTo>
                    <a:cubicBezTo>
                      <a:pt x="1451" y="1727"/>
                      <a:pt x="1451" y="1727"/>
                      <a:pt x="1451" y="1727"/>
                    </a:cubicBezTo>
                    <a:cubicBezTo>
                      <a:pt x="1480" y="1729"/>
                      <a:pt x="1480" y="1729"/>
                      <a:pt x="1480" y="1729"/>
                    </a:cubicBezTo>
                    <a:cubicBezTo>
                      <a:pt x="1480" y="1704"/>
                      <a:pt x="1480" y="1704"/>
                      <a:pt x="1480" y="1704"/>
                    </a:cubicBezTo>
                    <a:cubicBezTo>
                      <a:pt x="1480" y="1704"/>
                      <a:pt x="1462" y="1692"/>
                      <a:pt x="1461" y="1679"/>
                    </a:cubicBezTo>
                    <a:cubicBezTo>
                      <a:pt x="1460" y="1666"/>
                      <a:pt x="1468" y="1657"/>
                      <a:pt x="1468" y="1657"/>
                    </a:cubicBezTo>
                    <a:cubicBezTo>
                      <a:pt x="1492" y="1659"/>
                      <a:pt x="1492" y="1659"/>
                      <a:pt x="1492" y="1659"/>
                    </a:cubicBezTo>
                    <a:cubicBezTo>
                      <a:pt x="1492" y="1653"/>
                      <a:pt x="1493" y="1646"/>
                      <a:pt x="1495" y="1642"/>
                    </a:cubicBezTo>
                    <a:cubicBezTo>
                      <a:pt x="1499" y="1634"/>
                      <a:pt x="1518" y="1657"/>
                      <a:pt x="1524" y="1657"/>
                    </a:cubicBezTo>
                    <a:cubicBezTo>
                      <a:pt x="1530" y="1657"/>
                      <a:pt x="1539" y="1641"/>
                      <a:pt x="1539" y="1641"/>
                    </a:cubicBezTo>
                    <a:cubicBezTo>
                      <a:pt x="1550" y="1653"/>
                      <a:pt x="1550" y="1653"/>
                      <a:pt x="1550" y="1653"/>
                    </a:cubicBezTo>
                    <a:cubicBezTo>
                      <a:pt x="1549" y="1640"/>
                      <a:pt x="1549" y="1640"/>
                      <a:pt x="1549" y="1640"/>
                    </a:cubicBezTo>
                    <a:cubicBezTo>
                      <a:pt x="1554" y="1639"/>
                      <a:pt x="1554" y="1639"/>
                      <a:pt x="1554" y="1639"/>
                    </a:cubicBezTo>
                    <a:cubicBezTo>
                      <a:pt x="1563" y="1652"/>
                      <a:pt x="1563" y="1652"/>
                      <a:pt x="1563" y="1652"/>
                    </a:cubicBezTo>
                    <a:cubicBezTo>
                      <a:pt x="1563" y="1652"/>
                      <a:pt x="1562" y="1657"/>
                      <a:pt x="1575" y="1656"/>
                    </a:cubicBezTo>
                    <a:cubicBezTo>
                      <a:pt x="1588" y="1655"/>
                      <a:pt x="1571" y="1639"/>
                      <a:pt x="1571" y="1639"/>
                    </a:cubicBezTo>
                    <a:cubicBezTo>
                      <a:pt x="1582" y="1639"/>
                      <a:pt x="1582" y="1639"/>
                      <a:pt x="1582" y="1639"/>
                    </a:cubicBezTo>
                    <a:cubicBezTo>
                      <a:pt x="1586" y="1646"/>
                      <a:pt x="1586" y="1646"/>
                      <a:pt x="1586" y="1646"/>
                    </a:cubicBezTo>
                    <a:cubicBezTo>
                      <a:pt x="1586" y="1646"/>
                      <a:pt x="1594" y="1642"/>
                      <a:pt x="1601" y="1640"/>
                    </a:cubicBezTo>
                    <a:cubicBezTo>
                      <a:pt x="1608" y="1638"/>
                      <a:pt x="1602" y="1624"/>
                      <a:pt x="1606" y="1619"/>
                    </a:cubicBezTo>
                    <a:cubicBezTo>
                      <a:pt x="1610" y="1614"/>
                      <a:pt x="1625" y="1610"/>
                      <a:pt x="1625" y="1610"/>
                    </a:cubicBezTo>
                    <a:cubicBezTo>
                      <a:pt x="1647" y="1632"/>
                      <a:pt x="1647" y="1632"/>
                      <a:pt x="1647" y="1632"/>
                    </a:cubicBezTo>
                    <a:cubicBezTo>
                      <a:pt x="1668" y="1627"/>
                      <a:pt x="1668" y="1627"/>
                      <a:pt x="1668" y="1627"/>
                    </a:cubicBezTo>
                    <a:cubicBezTo>
                      <a:pt x="1673" y="1635"/>
                      <a:pt x="1673" y="1635"/>
                      <a:pt x="1673" y="1635"/>
                    </a:cubicBezTo>
                    <a:cubicBezTo>
                      <a:pt x="1673" y="1635"/>
                      <a:pt x="1693" y="1634"/>
                      <a:pt x="1698" y="1642"/>
                    </a:cubicBezTo>
                    <a:cubicBezTo>
                      <a:pt x="1703" y="1650"/>
                      <a:pt x="1687" y="1657"/>
                      <a:pt x="1687" y="1657"/>
                    </a:cubicBezTo>
                    <a:cubicBezTo>
                      <a:pt x="1691" y="1667"/>
                      <a:pt x="1691" y="1667"/>
                      <a:pt x="1691" y="1667"/>
                    </a:cubicBezTo>
                    <a:cubicBezTo>
                      <a:pt x="1698" y="1671"/>
                      <a:pt x="1698" y="1671"/>
                      <a:pt x="1698" y="1671"/>
                    </a:cubicBezTo>
                    <a:cubicBezTo>
                      <a:pt x="1698" y="1684"/>
                      <a:pt x="1698" y="1684"/>
                      <a:pt x="1698" y="1684"/>
                    </a:cubicBezTo>
                    <a:cubicBezTo>
                      <a:pt x="1709" y="1685"/>
                      <a:pt x="1709" y="1685"/>
                      <a:pt x="1709" y="1685"/>
                    </a:cubicBezTo>
                    <a:cubicBezTo>
                      <a:pt x="1709" y="1685"/>
                      <a:pt x="1713" y="1690"/>
                      <a:pt x="1720" y="1697"/>
                    </a:cubicBezTo>
                    <a:cubicBezTo>
                      <a:pt x="1727" y="1704"/>
                      <a:pt x="1740" y="1701"/>
                      <a:pt x="1748" y="1702"/>
                    </a:cubicBezTo>
                    <a:cubicBezTo>
                      <a:pt x="1752" y="1702"/>
                      <a:pt x="1755" y="1704"/>
                      <a:pt x="1757" y="1705"/>
                    </a:cubicBezTo>
                    <a:cubicBezTo>
                      <a:pt x="1786" y="1686"/>
                      <a:pt x="1786" y="1686"/>
                      <a:pt x="1786" y="1686"/>
                    </a:cubicBezTo>
                    <a:cubicBezTo>
                      <a:pt x="1798" y="1694"/>
                      <a:pt x="1798" y="1694"/>
                      <a:pt x="1798" y="1694"/>
                    </a:cubicBezTo>
                    <a:cubicBezTo>
                      <a:pt x="1798" y="1694"/>
                      <a:pt x="1843" y="1694"/>
                      <a:pt x="1849" y="1705"/>
                    </a:cubicBezTo>
                    <a:cubicBezTo>
                      <a:pt x="1854" y="1717"/>
                      <a:pt x="1839" y="1739"/>
                      <a:pt x="1846" y="1750"/>
                    </a:cubicBezTo>
                    <a:cubicBezTo>
                      <a:pt x="1854" y="1761"/>
                      <a:pt x="1875" y="1776"/>
                      <a:pt x="1875" y="1776"/>
                    </a:cubicBezTo>
                    <a:cubicBezTo>
                      <a:pt x="1889" y="1774"/>
                      <a:pt x="1889" y="1774"/>
                      <a:pt x="1889" y="1774"/>
                    </a:cubicBezTo>
                    <a:cubicBezTo>
                      <a:pt x="1889" y="1762"/>
                      <a:pt x="1889" y="1762"/>
                      <a:pt x="1889" y="1762"/>
                    </a:cubicBezTo>
                    <a:cubicBezTo>
                      <a:pt x="1889" y="1762"/>
                      <a:pt x="1880" y="1730"/>
                      <a:pt x="1892" y="1713"/>
                    </a:cubicBezTo>
                    <a:cubicBezTo>
                      <a:pt x="1904" y="1697"/>
                      <a:pt x="1931" y="1699"/>
                      <a:pt x="1945" y="1696"/>
                    </a:cubicBezTo>
                    <a:cubicBezTo>
                      <a:pt x="1958" y="1693"/>
                      <a:pt x="2001" y="1684"/>
                      <a:pt x="2001" y="1674"/>
                    </a:cubicBezTo>
                    <a:cubicBezTo>
                      <a:pt x="2002" y="1664"/>
                      <a:pt x="2002" y="1634"/>
                      <a:pt x="2011" y="1632"/>
                    </a:cubicBezTo>
                    <a:cubicBezTo>
                      <a:pt x="2020" y="1630"/>
                      <a:pt x="2027" y="1664"/>
                      <a:pt x="2036" y="1660"/>
                    </a:cubicBezTo>
                    <a:cubicBezTo>
                      <a:pt x="2046" y="1657"/>
                      <a:pt x="2066" y="1626"/>
                      <a:pt x="2066" y="1626"/>
                    </a:cubicBezTo>
                    <a:cubicBezTo>
                      <a:pt x="2077" y="1636"/>
                      <a:pt x="2077" y="1636"/>
                      <a:pt x="2077" y="1636"/>
                    </a:cubicBezTo>
                    <a:cubicBezTo>
                      <a:pt x="2099" y="1629"/>
                      <a:pt x="2099" y="1629"/>
                      <a:pt x="2099" y="1629"/>
                    </a:cubicBezTo>
                    <a:cubicBezTo>
                      <a:pt x="2099" y="1629"/>
                      <a:pt x="2124" y="1636"/>
                      <a:pt x="2136" y="1629"/>
                    </a:cubicBezTo>
                    <a:cubicBezTo>
                      <a:pt x="2149" y="1622"/>
                      <a:pt x="2154" y="1619"/>
                      <a:pt x="2161" y="1614"/>
                    </a:cubicBezTo>
                    <a:cubicBezTo>
                      <a:pt x="2167" y="1609"/>
                      <a:pt x="2196" y="1584"/>
                      <a:pt x="2201" y="1574"/>
                    </a:cubicBezTo>
                    <a:cubicBezTo>
                      <a:pt x="2205" y="1564"/>
                      <a:pt x="2192" y="1544"/>
                      <a:pt x="2192" y="1544"/>
                    </a:cubicBezTo>
                    <a:cubicBezTo>
                      <a:pt x="2205" y="1544"/>
                      <a:pt x="2205" y="1544"/>
                      <a:pt x="2205" y="1544"/>
                    </a:cubicBezTo>
                    <a:cubicBezTo>
                      <a:pt x="2211" y="1524"/>
                      <a:pt x="2211" y="1524"/>
                      <a:pt x="2211" y="1524"/>
                    </a:cubicBezTo>
                    <a:cubicBezTo>
                      <a:pt x="2226" y="1525"/>
                      <a:pt x="2226" y="1525"/>
                      <a:pt x="2226" y="1525"/>
                    </a:cubicBezTo>
                    <a:cubicBezTo>
                      <a:pt x="2233" y="1500"/>
                      <a:pt x="2233" y="1500"/>
                      <a:pt x="2233" y="1500"/>
                    </a:cubicBezTo>
                    <a:cubicBezTo>
                      <a:pt x="2241" y="1500"/>
                      <a:pt x="2241" y="1500"/>
                      <a:pt x="2241" y="1500"/>
                    </a:cubicBezTo>
                    <a:cubicBezTo>
                      <a:pt x="2245" y="1473"/>
                      <a:pt x="2245" y="1473"/>
                      <a:pt x="2245" y="1473"/>
                    </a:cubicBezTo>
                    <a:cubicBezTo>
                      <a:pt x="2245" y="1473"/>
                      <a:pt x="2259" y="1478"/>
                      <a:pt x="2259" y="1456"/>
                    </a:cubicBezTo>
                    <a:cubicBezTo>
                      <a:pt x="2259" y="1434"/>
                      <a:pt x="2246" y="1437"/>
                      <a:pt x="2251" y="1429"/>
                    </a:cubicBezTo>
                    <a:cubicBezTo>
                      <a:pt x="2255" y="1420"/>
                      <a:pt x="2274" y="1423"/>
                      <a:pt x="2274" y="1405"/>
                    </a:cubicBezTo>
                    <a:cubicBezTo>
                      <a:pt x="2275" y="1388"/>
                      <a:pt x="2263" y="1388"/>
                      <a:pt x="2264" y="1381"/>
                    </a:cubicBezTo>
                    <a:cubicBezTo>
                      <a:pt x="2264" y="1373"/>
                      <a:pt x="2275" y="1370"/>
                      <a:pt x="2275" y="1370"/>
                    </a:cubicBezTo>
                    <a:cubicBezTo>
                      <a:pt x="2276" y="1344"/>
                      <a:pt x="2276" y="1344"/>
                      <a:pt x="2276" y="1344"/>
                    </a:cubicBezTo>
                    <a:cubicBezTo>
                      <a:pt x="2276" y="1344"/>
                      <a:pt x="2303" y="1336"/>
                      <a:pt x="2310" y="1320"/>
                    </a:cubicBezTo>
                    <a:cubicBezTo>
                      <a:pt x="2317" y="1304"/>
                      <a:pt x="2300" y="1303"/>
                      <a:pt x="2300" y="1303"/>
                    </a:cubicBezTo>
                    <a:cubicBezTo>
                      <a:pt x="2300" y="1303"/>
                      <a:pt x="2332" y="1298"/>
                      <a:pt x="2332" y="1289"/>
                    </a:cubicBezTo>
                    <a:cubicBezTo>
                      <a:pt x="2333" y="1280"/>
                      <a:pt x="2314" y="1275"/>
                      <a:pt x="2314" y="1275"/>
                    </a:cubicBezTo>
                    <a:cubicBezTo>
                      <a:pt x="2314" y="1275"/>
                      <a:pt x="2352" y="1241"/>
                      <a:pt x="2335" y="1231"/>
                    </a:cubicBezTo>
                    <a:cubicBezTo>
                      <a:pt x="2318" y="1222"/>
                      <a:pt x="2238" y="1244"/>
                      <a:pt x="2238" y="1244"/>
                    </a:cubicBezTo>
                    <a:cubicBezTo>
                      <a:pt x="2228" y="1233"/>
                      <a:pt x="2228" y="1233"/>
                      <a:pt x="2228" y="1233"/>
                    </a:cubicBezTo>
                    <a:cubicBezTo>
                      <a:pt x="2253" y="1232"/>
                      <a:pt x="2253" y="1232"/>
                      <a:pt x="2253" y="1232"/>
                    </a:cubicBezTo>
                    <a:cubicBezTo>
                      <a:pt x="2253" y="1232"/>
                      <a:pt x="2253" y="1217"/>
                      <a:pt x="2263" y="1213"/>
                    </a:cubicBezTo>
                    <a:cubicBezTo>
                      <a:pt x="2273" y="1209"/>
                      <a:pt x="2292" y="1207"/>
                      <a:pt x="2292" y="1207"/>
                    </a:cubicBezTo>
                    <a:cubicBezTo>
                      <a:pt x="2292" y="1207"/>
                      <a:pt x="2279" y="1183"/>
                      <a:pt x="2275" y="1182"/>
                    </a:cubicBezTo>
                    <a:cubicBezTo>
                      <a:pt x="2271" y="1181"/>
                      <a:pt x="2248" y="1175"/>
                      <a:pt x="2248" y="1175"/>
                    </a:cubicBezTo>
                    <a:cubicBezTo>
                      <a:pt x="2240" y="1164"/>
                      <a:pt x="2240" y="1164"/>
                      <a:pt x="2240" y="1164"/>
                    </a:cubicBezTo>
                    <a:cubicBezTo>
                      <a:pt x="2231" y="1165"/>
                      <a:pt x="2231" y="1165"/>
                      <a:pt x="2231" y="1165"/>
                    </a:cubicBezTo>
                    <a:cubicBezTo>
                      <a:pt x="2231" y="1165"/>
                      <a:pt x="2222" y="1153"/>
                      <a:pt x="2215" y="1152"/>
                    </a:cubicBezTo>
                    <a:cubicBezTo>
                      <a:pt x="2208" y="1151"/>
                      <a:pt x="2190" y="1157"/>
                      <a:pt x="2190" y="1157"/>
                    </a:cubicBezTo>
                    <a:cubicBezTo>
                      <a:pt x="2167" y="1126"/>
                      <a:pt x="2167" y="1126"/>
                      <a:pt x="2167" y="1126"/>
                    </a:cubicBezTo>
                    <a:cubicBezTo>
                      <a:pt x="2167" y="1126"/>
                      <a:pt x="2188" y="1147"/>
                      <a:pt x="2194" y="1145"/>
                    </a:cubicBezTo>
                    <a:cubicBezTo>
                      <a:pt x="2200" y="1143"/>
                      <a:pt x="2207" y="1139"/>
                      <a:pt x="2207" y="1139"/>
                    </a:cubicBezTo>
                    <a:cubicBezTo>
                      <a:pt x="2226" y="1144"/>
                      <a:pt x="2226" y="1144"/>
                      <a:pt x="2226" y="1144"/>
                    </a:cubicBezTo>
                    <a:cubicBezTo>
                      <a:pt x="2236" y="1155"/>
                      <a:pt x="2236" y="1155"/>
                      <a:pt x="2236" y="1155"/>
                    </a:cubicBezTo>
                    <a:cubicBezTo>
                      <a:pt x="2245" y="1151"/>
                      <a:pt x="2245" y="1151"/>
                      <a:pt x="2245" y="1151"/>
                    </a:cubicBezTo>
                    <a:cubicBezTo>
                      <a:pt x="2276" y="1161"/>
                      <a:pt x="2276" y="1161"/>
                      <a:pt x="2276" y="1161"/>
                    </a:cubicBezTo>
                    <a:cubicBezTo>
                      <a:pt x="2263" y="1144"/>
                      <a:pt x="2263" y="1144"/>
                      <a:pt x="2263" y="1144"/>
                    </a:cubicBezTo>
                    <a:cubicBezTo>
                      <a:pt x="2252" y="1142"/>
                      <a:pt x="2252" y="1142"/>
                      <a:pt x="2252" y="1142"/>
                    </a:cubicBezTo>
                    <a:cubicBezTo>
                      <a:pt x="2252" y="1142"/>
                      <a:pt x="2251" y="1120"/>
                      <a:pt x="2243" y="1119"/>
                    </a:cubicBezTo>
                    <a:cubicBezTo>
                      <a:pt x="2235" y="1118"/>
                      <a:pt x="2223" y="1115"/>
                      <a:pt x="2218" y="1111"/>
                    </a:cubicBezTo>
                    <a:cubicBezTo>
                      <a:pt x="2213" y="1107"/>
                      <a:pt x="2211" y="1088"/>
                      <a:pt x="2211" y="1088"/>
                    </a:cubicBezTo>
                    <a:cubicBezTo>
                      <a:pt x="2157" y="1022"/>
                      <a:pt x="2157" y="1022"/>
                      <a:pt x="2157" y="1022"/>
                    </a:cubicBezTo>
                    <a:cubicBezTo>
                      <a:pt x="2135" y="1016"/>
                      <a:pt x="2135" y="1016"/>
                      <a:pt x="2135" y="1016"/>
                    </a:cubicBezTo>
                    <a:cubicBezTo>
                      <a:pt x="2112" y="998"/>
                      <a:pt x="2112" y="998"/>
                      <a:pt x="2112" y="998"/>
                    </a:cubicBezTo>
                    <a:cubicBezTo>
                      <a:pt x="2097" y="1000"/>
                      <a:pt x="2097" y="1000"/>
                      <a:pt x="2097" y="1000"/>
                    </a:cubicBezTo>
                    <a:cubicBezTo>
                      <a:pt x="2097" y="1000"/>
                      <a:pt x="2084" y="975"/>
                      <a:pt x="2090" y="971"/>
                    </a:cubicBezTo>
                    <a:cubicBezTo>
                      <a:pt x="2096" y="967"/>
                      <a:pt x="2114" y="955"/>
                      <a:pt x="2114" y="946"/>
                    </a:cubicBezTo>
                    <a:cubicBezTo>
                      <a:pt x="2114" y="937"/>
                      <a:pt x="2107" y="919"/>
                      <a:pt x="2107" y="919"/>
                    </a:cubicBezTo>
                    <a:cubicBezTo>
                      <a:pt x="2107" y="919"/>
                      <a:pt x="2124" y="936"/>
                      <a:pt x="2132" y="930"/>
                    </a:cubicBezTo>
                    <a:cubicBezTo>
                      <a:pt x="2140" y="924"/>
                      <a:pt x="2131" y="897"/>
                      <a:pt x="2131" y="897"/>
                    </a:cubicBezTo>
                    <a:cubicBezTo>
                      <a:pt x="2146" y="898"/>
                      <a:pt x="2146" y="898"/>
                      <a:pt x="2146" y="898"/>
                    </a:cubicBezTo>
                    <a:cubicBezTo>
                      <a:pt x="2171" y="879"/>
                      <a:pt x="2171" y="879"/>
                      <a:pt x="2171" y="879"/>
                    </a:cubicBezTo>
                    <a:cubicBezTo>
                      <a:pt x="2171" y="879"/>
                      <a:pt x="2191" y="885"/>
                      <a:pt x="2196" y="884"/>
                    </a:cubicBezTo>
                    <a:cubicBezTo>
                      <a:pt x="2201" y="883"/>
                      <a:pt x="2192" y="869"/>
                      <a:pt x="2192" y="869"/>
                    </a:cubicBezTo>
                    <a:cubicBezTo>
                      <a:pt x="2196" y="853"/>
                      <a:pt x="2196" y="853"/>
                      <a:pt x="2196" y="853"/>
                    </a:cubicBezTo>
                    <a:cubicBezTo>
                      <a:pt x="2174" y="853"/>
                      <a:pt x="2174" y="853"/>
                      <a:pt x="2174" y="853"/>
                    </a:cubicBezTo>
                    <a:cubicBezTo>
                      <a:pt x="2166" y="846"/>
                      <a:pt x="2166" y="846"/>
                      <a:pt x="2166" y="846"/>
                    </a:cubicBezTo>
                    <a:cubicBezTo>
                      <a:pt x="2161" y="854"/>
                      <a:pt x="2161" y="854"/>
                      <a:pt x="2161" y="854"/>
                    </a:cubicBezTo>
                    <a:cubicBezTo>
                      <a:pt x="2140" y="851"/>
                      <a:pt x="2140" y="851"/>
                      <a:pt x="2140" y="851"/>
                    </a:cubicBezTo>
                    <a:cubicBezTo>
                      <a:pt x="2140" y="851"/>
                      <a:pt x="2124" y="833"/>
                      <a:pt x="2111" y="833"/>
                    </a:cubicBezTo>
                    <a:cubicBezTo>
                      <a:pt x="2098" y="833"/>
                      <a:pt x="2080" y="856"/>
                      <a:pt x="2079" y="861"/>
                    </a:cubicBezTo>
                    <a:cubicBezTo>
                      <a:pt x="2078" y="866"/>
                      <a:pt x="2074" y="875"/>
                      <a:pt x="2064" y="873"/>
                    </a:cubicBezTo>
                    <a:cubicBezTo>
                      <a:pt x="2054" y="871"/>
                      <a:pt x="2032" y="865"/>
                      <a:pt x="2030" y="851"/>
                    </a:cubicBezTo>
                    <a:cubicBezTo>
                      <a:pt x="2028" y="837"/>
                      <a:pt x="2020" y="820"/>
                      <a:pt x="2014" y="816"/>
                    </a:cubicBezTo>
                    <a:cubicBezTo>
                      <a:pt x="2008" y="812"/>
                      <a:pt x="2004" y="819"/>
                      <a:pt x="2004" y="819"/>
                    </a:cubicBezTo>
                    <a:cubicBezTo>
                      <a:pt x="2004" y="828"/>
                      <a:pt x="2004" y="828"/>
                      <a:pt x="2004" y="828"/>
                    </a:cubicBezTo>
                    <a:cubicBezTo>
                      <a:pt x="1996" y="816"/>
                      <a:pt x="1996" y="816"/>
                      <a:pt x="1996" y="816"/>
                    </a:cubicBezTo>
                    <a:cubicBezTo>
                      <a:pt x="1996" y="816"/>
                      <a:pt x="1968" y="819"/>
                      <a:pt x="1959" y="810"/>
                    </a:cubicBezTo>
                    <a:cubicBezTo>
                      <a:pt x="1950" y="801"/>
                      <a:pt x="1939" y="782"/>
                      <a:pt x="1942" y="776"/>
                    </a:cubicBezTo>
                    <a:cubicBezTo>
                      <a:pt x="1945" y="770"/>
                      <a:pt x="1944" y="760"/>
                      <a:pt x="1944" y="760"/>
                    </a:cubicBezTo>
                    <a:cubicBezTo>
                      <a:pt x="1955" y="759"/>
                      <a:pt x="1955" y="759"/>
                      <a:pt x="1955" y="759"/>
                    </a:cubicBezTo>
                    <a:cubicBezTo>
                      <a:pt x="1955" y="759"/>
                      <a:pt x="1961" y="768"/>
                      <a:pt x="1965" y="767"/>
                    </a:cubicBezTo>
                    <a:cubicBezTo>
                      <a:pt x="1969" y="766"/>
                      <a:pt x="1975" y="758"/>
                      <a:pt x="1975" y="758"/>
                    </a:cubicBezTo>
                    <a:cubicBezTo>
                      <a:pt x="1975" y="758"/>
                      <a:pt x="1988" y="766"/>
                      <a:pt x="1997" y="758"/>
                    </a:cubicBezTo>
                    <a:cubicBezTo>
                      <a:pt x="2006" y="750"/>
                      <a:pt x="1998" y="742"/>
                      <a:pt x="1998" y="742"/>
                    </a:cubicBezTo>
                    <a:cubicBezTo>
                      <a:pt x="1998" y="742"/>
                      <a:pt x="1997" y="718"/>
                      <a:pt x="2003" y="714"/>
                    </a:cubicBezTo>
                    <a:cubicBezTo>
                      <a:pt x="2009" y="710"/>
                      <a:pt x="2028" y="718"/>
                      <a:pt x="2032" y="707"/>
                    </a:cubicBezTo>
                    <a:cubicBezTo>
                      <a:pt x="2036" y="696"/>
                      <a:pt x="2037" y="683"/>
                      <a:pt x="2037" y="683"/>
                    </a:cubicBezTo>
                    <a:cubicBezTo>
                      <a:pt x="2049" y="676"/>
                      <a:pt x="2049" y="676"/>
                      <a:pt x="2049" y="676"/>
                    </a:cubicBezTo>
                    <a:cubicBezTo>
                      <a:pt x="2043" y="668"/>
                      <a:pt x="2043" y="668"/>
                      <a:pt x="2043" y="668"/>
                    </a:cubicBezTo>
                    <a:cubicBezTo>
                      <a:pt x="2068" y="675"/>
                      <a:pt x="2068" y="675"/>
                      <a:pt x="2068" y="675"/>
                    </a:cubicBezTo>
                    <a:cubicBezTo>
                      <a:pt x="2079" y="665"/>
                      <a:pt x="2079" y="665"/>
                      <a:pt x="2079" y="665"/>
                    </a:cubicBezTo>
                    <a:cubicBezTo>
                      <a:pt x="2079" y="665"/>
                      <a:pt x="2110" y="688"/>
                      <a:pt x="2108" y="702"/>
                    </a:cubicBezTo>
                    <a:cubicBezTo>
                      <a:pt x="2106" y="716"/>
                      <a:pt x="2088" y="719"/>
                      <a:pt x="2087" y="728"/>
                    </a:cubicBezTo>
                    <a:cubicBezTo>
                      <a:pt x="2086" y="737"/>
                      <a:pt x="2091" y="752"/>
                      <a:pt x="2098" y="752"/>
                    </a:cubicBezTo>
                    <a:cubicBezTo>
                      <a:pt x="2105" y="752"/>
                      <a:pt x="2114" y="749"/>
                      <a:pt x="2114" y="749"/>
                    </a:cubicBezTo>
                    <a:cubicBezTo>
                      <a:pt x="2109" y="767"/>
                      <a:pt x="2109" y="767"/>
                      <a:pt x="2109" y="767"/>
                    </a:cubicBezTo>
                    <a:cubicBezTo>
                      <a:pt x="2109" y="767"/>
                      <a:pt x="2090" y="784"/>
                      <a:pt x="2099" y="786"/>
                    </a:cubicBezTo>
                    <a:cubicBezTo>
                      <a:pt x="2108" y="788"/>
                      <a:pt x="2122" y="774"/>
                      <a:pt x="2122" y="774"/>
                    </a:cubicBezTo>
                    <a:cubicBezTo>
                      <a:pt x="2122" y="774"/>
                      <a:pt x="2126" y="775"/>
                      <a:pt x="2131" y="770"/>
                    </a:cubicBezTo>
                    <a:cubicBezTo>
                      <a:pt x="2136" y="765"/>
                      <a:pt x="2135" y="750"/>
                      <a:pt x="2135" y="750"/>
                    </a:cubicBezTo>
                    <a:cubicBezTo>
                      <a:pt x="2135" y="750"/>
                      <a:pt x="2176" y="729"/>
                      <a:pt x="2180" y="726"/>
                    </a:cubicBezTo>
                    <a:cubicBezTo>
                      <a:pt x="2184" y="723"/>
                      <a:pt x="2205" y="725"/>
                      <a:pt x="2205" y="725"/>
                    </a:cubicBezTo>
                    <a:cubicBezTo>
                      <a:pt x="2212" y="714"/>
                      <a:pt x="2212" y="714"/>
                      <a:pt x="2212" y="714"/>
                    </a:cubicBezTo>
                    <a:cubicBezTo>
                      <a:pt x="2210" y="712"/>
                      <a:pt x="2208" y="706"/>
                      <a:pt x="2218" y="698"/>
                    </a:cubicBezTo>
                    <a:cubicBezTo>
                      <a:pt x="2230" y="688"/>
                      <a:pt x="2237" y="687"/>
                      <a:pt x="2252" y="675"/>
                    </a:cubicBezTo>
                    <a:cubicBezTo>
                      <a:pt x="2267" y="663"/>
                      <a:pt x="2262" y="625"/>
                      <a:pt x="2266" y="623"/>
                    </a:cubicBezTo>
                    <a:cubicBezTo>
                      <a:pt x="2270" y="621"/>
                      <a:pt x="2285" y="632"/>
                      <a:pt x="2292" y="637"/>
                    </a:cubicBezTo>
                    <a:cubicBezTo>
                      <a:pt x="2299" y="642"/>
                      <a:pt x="2339" y="641"/>
                      <a:pt x="2339" y="641"/>
                    </a:cubicBezTo>
                    <a:cubicBezTo>
                      <a:pt x="2340" y="631"/>
                      <a:pt x="2340" y="631"/>
                      <a:pt x="2340" y="631"/>
                    </a:cubicBezTo>
                    <a:cubicBezTo>
                      <a:pt x="2340" y="631"/>
                      <a:pt x="2312" y="618"/>
                      <a:pt x="2318" y="610"/>
                    </a:cubicBezTo>
                    <a:cubicBezTo>
                      <a:pt x="2324" y="602"/>
                      <a:pt x="2348" y="618"/>
                      <a:pt x="2358" y="609"/>
                    </a:cubicBezTo>
                    <a:cubicBezTo>
                      <a:pt x="2368" y="600"/>
                      <a:pt x="2358" y="588"/>
                      <a:pt x="2358" y="588"/>
                    </a:cubicBezTo>
                    <a:cubicBezTo>
                      <a:pt x="2358" y="588"/>
                      <a:pt x="2374" y="592"/>
                      <a:pt x="2376" y="587"/>
                    </a:cubicBezTo>
                    <a:cubicBezTo>
                      <a:pt x="2378" y="582"/>
                      <a:pt x="2365" y="560"/>
                      <a:pt x="2365" y="560"/>
                    </a:cubicBezTo>
                    <a:cubicBezTo>
                      <a:pt x="2387" y="560"/>
                      <a:pt x="2387" y="560"/>
                      <a:pt x="2387" y="560"/>
                    </a:cubicBezTo>
                    <a:cubicBezTo>
                      <a:pt x="2397" y="577"/>
                      <a:pt x="2397" y="577"/>
                      <a:pt x="2397" y="577"/>
                    </a:cubicBezTo>
                    <a:cubicBezTo>
                      <a:pt x="2404" y="559"/>
                      <a:pt x="2404" y="559"/>
                      <a:pt x="2404" y="559"/>
                    </a:cubicBezTo>
                    <a:cubicBezTo>
                      <a:pt x="2421" y="563"/>
                      <a:pt x="2421" y="563"/>
                      <a:pt x="2421" y="563"/>
                    </a:cubicBezTo>
                    <a:cubicBezTo>
                      <a:pt x="2420" y="540"/>
                      <a:pt x="2420" y="540"/>
                      <a:pt x="2420" y="540"/>
                    </a:cubicBezTo>
                    <a:cubicBezTo>
                      <a:pt x="2420" y="540"/>
                      <a:pt x="2409" y="529"/>
                      <a:pt x="2407" y="523"/>
                    </a:cubicBezTo>
                    <a:cubicBezTo>
                      <a:pt x="2405" y="517"/>
                      <a:pt x="2401" y="498"/>
                      <a:pt x="2387" y="485"/>
                    </a:cubicBezTo>
                    <a:cubicBezTo>
                      <a:pt x="2373" y="472"/>
                      <a:pt x="2358" y="471"/>
                      <a:pt x="2361" y="461"/>
                    </a:cubicBezTo>
                    <a:cubicBezTo>
                      <a:pt x="2364" y="451"/>
                      <a:pt x="2377" y="460"/>
                      <a:pt x="2379" y="455"/>
                    </a:cubicBezTo>
                    <a:cubicBezTo>
                      <a:pt x="2381" y="450"/>
                      <a:pt x="2369" y="444"/>
                      <a:pt x="2380" y="439"/>
                    </a:cubicBezTo>
                    <a:cubicBezTo>
                      <a:pt x="2391" y="434"/>
                      <a:pt x="2427" y="457"/>
                      <a:pt x="2434" y="451"/>
                    </a:cubicBezTo>
                    <a:cubicBezTo>
                      <a:pt x="2441" y="445"/>
                      <a:pt x="2439" y="444"/>
                      <a:pt x="2434" y="432"/>
                    </a:cubicBezTo>
                    <a:cubicBezTo>
                      <a:pt x="2429" y="420"/>
                      <a:pt x="2441" y="416"/>
                      <a:pt x="2441" y="416"/>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74" name="Freeform 196">
                <a:extLst>
                  <a:ext uri="{FF2B5EF4-FFF2-40B4-BE49-F238E27FC236}">
                    <a16:creationId xmlns:a16="http://schemas.microsoft.com/office/drawing/2014/main" id="{01FD054D-A889-4AC3-BB44-8AE654056735}"/>
                  </a:ext>
                </a:extLst>
              </p:cNvPr>
              <p:cNvSpPr>
                <a:spLocks/>
              </p:cNvSpPr>
              <p:nvPr>
                <p:custDataLst>
                  <p:tags r:id="rId155"/>
                </p:custDataLst>
              </p:nvPr>
            </p:nvSpPr>
            <p:spPr bwMode="gray">
              <a:xfrm>
                <a:off x="5929280" y="3590939"/>
                <a:ext cx="133349" cy="119063"/>
              </a:xfrm>
              <a:custGeom>
                <a:avLst/>
                <a:gdLst>
                  <a:gd name="T0" fmla="*/ 198 w 224"/>
                  <a:gd name="T1" fmla="*/ 84 h 215"/>
                  <a:gd name="T2" fmla="*/ 208 w 224"/>
                  <a:gd name="T3" fmla="*/ 97 h 215"/>
                  <a:gd name="T4" fmla="*/ 224 w 224"/>
                  <a:gd name="T5" fmla="*/ 91 h 215"/>
                  <a:gd name="T6" fmla="*/ 214 w 224"/>
                  <a:gd name="T7" fmla="*/ 51 h 215"/>
                  <a:gd name="T8" fmla="*/ 215 w 224"/>
                  <a:gd name="T9" fmla="*/ 3 h 215"/>
                  <a:gd name="T10" fmla="*/ 186 w 224"/>
                  <a:gd name="T11" fmla="*/ 51 h 215"/>
                  <a:gd name="T12" fmla="*/ 166 w 224"/>
                  <a:gd name="T13" fmla="*/ 61 h 215"/>
                  <a:gd name="T14" fmla="*/ 131 w 224"/>
                  <a:gd name="T15" fmla="*/ 102 h 215"/>
                  <a:gd name="T16" fmla="*/ 122 w 224"/>
                  <a:gd name="T17" fmla="*/ 131 h 215"/>
                  <a:gd name="T18" fmla="*/ 62 w 224"/>
                  <a:gd name="T19" fmla="*/ 127 h 215"/>
                  <a:gd name="T20" fmla="*/ 16 w 224"/>
                  <a:gd name="T21" fmla="*/ 140 h 215"/>
                  <a:gd name="T22" fmla="*/ 1 w 224"/>
                  <a:gd name="T23" fmla="*/ 127 h 215"/>
                  <a:gd name="T24" fmla="*/ 5 w 224"/>
                  <a:gd name="T25" fmla="*/ 145 h 215"/>
                  <a:gd name="T26" fmla="*/ 52 w 224"/>
                  <a:gd name="T27" fmla="*/ 200 h 215"/>
                  <a:gd name="T28" fmla="*/ 177 w 224"/>
                  <a:gd name="T29" fmla="*/ 215 h 215"/>
                  <a:gd name="T30" fmla="*/ 168 w 224"/>
                  <a:gd name="T31" fmla="*/ 192 h 215"/>
                  <a:gd name="T32" fmla="*/ 181 w 224"/>
                  <a:gd name="T33" fmla="*/ 163 h 215"/>
                  <a:gd name="T34" fmla="*/ 189 w 224"/>
                  <a:gd name="T35" fmla="*/ 136 h 215"/>
                  <a:gd name="T36" fmla="*/ 201 w 224"/>
                  <a:gd name="T37" fmla="*/ 135 h 215"/>
                  <a:gd name="T38" fmla="*/ 191 w 224"/>
                  <a:gd name="T39" fmla="*/ 118 h 215"/>
                  <a:gd name="T40" fmla="*/ 198 w 224"/>
                  <a:gd name="T41" fmla="*/ 8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15">
                    <a:moveTo>
                      <a:pt x="198" y="84"/>
                    </a:moveTo>
                    <a:cubicBezTo>
                      <a:pt x="202" y="84"/>
                      <a:pt x="208" y="97"/>
                      <a:pt x="208" y="97"/>
                    </a:cubicBezTo>
                    <a:cubicBezTo>
                      <a:pt x="224" y="91"/>
                      <a:pt x="224" y="91"/>
                      <a:pt x="224" y="91"/>
                    </a:cubicBezTo>
                    <a:cubicBezTo>
                      <a:pt x="219" y="78"/>
                      <a:pt x="212" y="63"/>
                      <a:pt x="214" y="51"/>
                    </a:cubicBezTo>
                    <a:cubicBezTo>
                      <a:pt x="217" y="34"/>
                      <a:pt x="222" y="6"/>
                      <a:pt x="215" y="3"/>
                    </a:cubicBezTo>
                    <a:cubicBezTo>
                      <a:pt x="207" y="0"/>
                      <a:pt x="186" y="51"/>
                      <a:pt x="186" y="51"/>
                    </a:cubicBezTo>
                    <a:cubicBezTo>
                      <a:pt x="186" y="51"/>
                      <a:pt x="172" y="53"/>
                      <a:pt x="166" y="61"/>
                    </a:cubicBezTo>
                    <a:cubicBezTo>
                      <a:pt x="161" y="70"/>
                      <a:pt x="131" y="102"/>
                      <a:pt x="131" y="102"/>
                    </a:cubicBezTo>
                    <a:cubicBezTo>
                      <a:pt x="131" y="102"/>
                      <a:pt x="131" y="130"/>
                      <a:pt x="122" y="131"/>
                    </a:cubicBezTo>
                    <a:cubicBezTo>
                      <a:pt x="113" y="132"/>
                      <a:pt x="69" y="127"/>
                      <a:pt x="62" y="127"/>
                    </a:cubicBezTo>
                    <a:cubicBezTo>
                      <a:pt x="56" y="127"/>
                      <a:pt x="25" y="144"/>
                      <a:pt x="16" y="140"/>
                    </a:cubicBezTo>
                    <a:cubicBezTo>
                      <a:pt x="11" y="138"/>
                      <a:pt x="5" y="132"/>
                      <a:pt x="1" y="127"/>
                    </a:cubicBezTo>
                    <a:cubicBezTo>
                      <a:pt x="0" y="132"/>
                      <a:pt x="0" y="140"/>
                      <a:pt x="5" y="145"/>
                    </a:cubicBezTo>
                    <a:cubicBezTo>
                      <a:pt x="12" y="152"/>
                      <a:pt x="49" y="200"/>
                      <a:pt x="52" y="200"/>
                    </a:cubicBezTo>
                    <a:cubicBezTo>
                      <a:pt x="54" y="200"/>
                      <a:pt x="143" y="211"/>
                      <a:pt x="177" y="215"/>
                    </a:cubicBezTo>
                    <a:cubicBezTo>
                      <a:pt x="173" y="207"/>
                      <a:pt x="168" y="196"/>
                      <a:pt x="168" y="192"/>
                    </a:cubicBezTo>
                    <a:cubicBezTo>
                      <a:pt x="168" y="186"/>
                      <a:pt x="181" y="163"/>
                      <a:pt x="181" y="163"/>
                    </a:cubicBezTo>
                    <a:cubicBezTo>
                      <a:pt x="181" y="163"/>
                      <a:pt x="187" y="143"/>
                      <a:pt x="189" y="136"/>
                    </a:cubicBezTo>
                    <a:cubicBezTo>
                      <a:pt x="191" y="129"/>
                      <a:pt x="197" y="137"/>
                      <a:pt x="201" y="135"/>
                    </a:cubicBezTo>
                    <a:cubicBezTo>
                      <a:pt x="205" y="133"/>
                      <a:pt x="195" y="122"/>
                      <a:pt x="191" y="118"/>
                    </a:cubicBezTo>
                    <a:cubicBezTo>
                      <a:pt x="187" y="114"/>
                      <a:pt x="194" y="84"/>
                      <a:pt x="198" y="84"/>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75" name="Freeform 197">
                <a:extLst>
                  <a:ext uri="{FF2B5EF4-FFF2-40B4-BE49-F238E27FC236}">
                    <a16:creationId xmlns:a16="http://schemas.microsoft.com/office/drawing/2014/main" id="{BD21021C-0AE0-41A5-A683-A742033415F8}"/>
                  </a:ext>
                </a:extLst>
              </p:cNvPr>
              <p:cNvSpPr>
                <a:spLocks/>
              </p:cNvSpPr>
              <p:nvPr>
                <p:custDataLst>
                  <p:tags r:id="rId156"/>
                </p:custDataLst>
              </p:nvPr>
            </p:nvSpPr>
            <p:spPr bwMode="gray">
              <a:xfrm>
                <a:off x="5951504" y="3636977"/>
                <a:ext cx="219074" cy="247651"/>
              </a:xfrm>
              <a:custGeom>
                <a:avLst/>
                <a:gdLst>
                  <a:gd name="T0" fmla="*/ 169 w 364"/>
                  <a:gd name="T1" fmla="*/ 375 h 445"/>
                  <a:gd name="T2" fmla="*/ 220 w 364"/>
                  <a:gd name="T3" fmla="*/ 358 h 445"/>
                  <a:gd name="T4" fmla="*/ 228 w 364"/>
                  <a:gd name="T5" fmla="*/ 330 h 445"/>
                  <a:gd name="T6" fmla="*/ 269 w 364"/>
                  <a:gd name="T7" fmla="*/ 304 h 445"/>
                  <a:gd name="T8" fmla="*/ 283 w 364"/>
                  <a:gd name="T9" fmla="*/ 249 h 445"/>
                  <a:gd name="T10" fmla="*/ 312 w 364"/>
                  <a:gd name="T11" fmla="*/ 249 h 445"/>
                  <a:gd name="T12" fmla="*/ 318 w 364"/>
                  <a:gd name="T13" fmla="*/ 218 h 445"/>
                  <a:gd name="T14" fmla="*/ 355 w 364"/>
                  <a:gd name="T15" fmla="*/ 184 h 445"/>
                  <a:gd name="T16" fmla="*/ 359 w 364"/>
                  <a:gd name="T17" fmla="*/ 134 h 445"/>
                  <a:gd name="T18" fmla="*/ 339 w 364"/>
                  <a:gd name="T19" fmla="*/ 127 h 445"/>
                  <a:gd name="T20" fmla="*/ 302 w 364"/>
                  <a:gd name="T21" fmla="*/ 74 h 445"/>
                  <a:gd name="T22" fmla="*/ 237 w 364"/>
                  <a:gd name="T23" fmla="*/ 52 h 445"/>
                  <a:gd name="T24" fmla="*/ 191 w 364"/>
                  <a:gd name="T25" fmla="*/ 23 h 445"/>
                  <a:gd name="T26" fmla="*/ 184 w 364"/>
                  <a:gd name="T27" fmla="*/ 7 h 445"/>
                  <a:gd name="T28" fmla="*/ 168 w 364"/>
                  <a:gd name="T29" fmla="*/ 13 h 445"/>
                  <a:gd name="T30" fmla="*/ 158 w 364"/>
                  <a:gd name="T31" fmla="*/ 0 h 445"/>
                  <a:gd name="T32" fmla="*/ 151 w 364"/>
                  <a:gd name="T33" fmla="*/ 34 h 445"/>
                  <a:gd name="T34" fmla="*/ 161 w 364"/>
                  <a:gd name="T35" fmla="*/ 51 h 445"/>
                  <a:gd name="T36" fmla="*/ 149 w 364"/>
                  <a:gd name="T37" fmla="*/ 52 h 445"/>
                  <a:gd name="T38" fmla="*/ 141 w 364"/>
                  <a:gd name="T39" fmla="*/ 79 h 445"/>
                  <a:gd name="T40" fmla="*/ 128 w 364"/>
                  <a:gd name="T41" fmla="*/ 108 h 445"/>
                  <a:gd name="T42" fmla="*/ 141 w 364"/>
                  <a:gd name="T43" fmla="*/ 142 h 445"/>
                  <a:gd name="T44" fmla="*/ 159 w 364"/>
                  <a:gd name="T45" fmla="*/ 161 h 445"/>
                  <a:gd name="T46" fmla="*/ 133 w 364"/>
                  <a:gd name="T47" fmla="*/ 276 h 445"/>
                  <a:gd name="T48" fmla="*/ 0 w 364"/>
                  <a:gd name="T49" fmla="*/ 325 h 445"/>
                  <a:gd name="T50" fmla="*/ 54 w 364"/>
                  <a:gd name="T51" fmla="*/ 445 h 445"/>
                  <a:gd name="T52" fmla="*/ 162 w 364"/>
                  <a:gd name="T53" fmla="*/ 410 h 445"/>
                  <a:gd name="T54" fmla="*/ 169 w 364"/>
                  <a:gd name="T55" fmla="*/ 375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4" h="445">
                    <a:moveTo>
                      <a:pt x="169" y="375"/>
                    </a:moveTo>
                    <a:cubicBezTo>
                      <a:pt x="169" y="375"/>
                      <a:pt x="211" y="369"/>
                      <a:pt x="220" y="358"/>
                    </a:cubicBezTo>
                    <a:cubicBezTo>
                      <a:pt x="228" y="348"/>
                      <a:pt x="228" y="330"/>
                      <a:pt x="228" y="330"/>
                    </a:cubicBezTo>
                    <a:cubicBezTo>
                      <a:pt x="228" y="330"/>
                      <a:pt x="260" y="319"/>
                      <a:pt x="269" y="304"/>
                    </a:cubicBezTo>
                    <a:cubicBezTo>
                      <a:pt x="279" y="288"/>
                      <a:pt x="274" y="250"/>
                      <a:pt x="283" y="249"/>
                    </a:cubicBezTo>
                    <a:cubicBezTo>
                      <a:pt x="292" y="248"/>
                      <a:pt x="302" y="260"/>
                      <a:pt x="312" y="249"/>
                    </a:cubicBezTo>
                    <a:cubicBezTo>
                      <a:pt x="323" y="238"/>
                      <a:pt x="318" y="218"/>
                      <a:pt x="318" y="218"/>
                    </a:cubicBezTo>
                    <a:cubicBezTo>
                      <a:pt x="355" y="184"/>
                      <a:pt x="355" y="184"/>
                      <a:pt x="355" y="184"/>
                    </a:cubicBezTo>
                    <a:cubicBezTo>
                      <a:pt x="355" y="184"/>
                      <a:pt x="364" y="144"/>
                      <a:pt x="359" y="134"/>
                    </a:cubicBezTo>
                    <a:cubicBezTo>
                      <a:pt x="355" y="124"/>
                      <a:pt x="339" y="127"/>
                      <a:pt x="339" y="127"/>
                    </a:cubicBezTo>
                    <a:cubicBezTo>
                      <a:pt x="339" y="127"/>
                      <a:pt x="317" y="87"/>
                      <a:pt x="302" y="74"/>
                    </a:cubicBezTo>
                    <a:cubicBezTo>
                      <a:pt x="287" y="61"/>
                      <a:pt x="237" y="52"/>
                      <a:pt x="237" y="52"/>
                    </a:cubicBezTo>
                    <a:cubicBezTo>
                      <a:pt x="237" y="52"/>
                      <a:pt x="194" y="38"/>
                      <a:pt x="191" y="23"/>
                    </a:cubicBezTo>
                    <a:cubicBezTo>
                      <a:pt x="190" y="18"/>
                      <a:pt x="187" y="13"/>
                      <a:pt x="184" y="7"/>
                    </a:cubicBezTo>
                    <a:cubicBezTo>
                      <a:pt x="168" y="13"/>
                      <a:pt x="168" y="13"/>
                      <a:pt x="168" y="13"/>
                    </a:cubicBezTo>
                    <a:cubicBezTo>
                      <a:pt x="168" y="13"/>
                      <a:pt x="162" y="0"/>
                      <a:pt x="158" y="0"/>
                    </a:cubicBezTo>
                    <a:cubicBezTo>
                      <a:pt x="154" y="0"/>
                      <a:pt x="147" y="30"/>
                      <a:pt x="151" y="34"/>
                    </a:cubicBezTo>
                    <a:cubicBezTo>
                      <a:pt x="155" y="38"/>
                      <a:pt x="165" y="49"/>
                      <a:pt x="161" y="51"/>
                    </a:cubicBezTo>
                    <a:cubicBezTo>
                      <a:pt x="157" y="53"/>
                      <a:pt x="151" y="45"/>
                      <a:pt x="149" y="52"/>
                    </a:cubicBezTo>
                    <a:cubicBezTo>
                      <a:pt x="147" y="59"/>
                      <a:pt x="141" y="79"/>
                      <a:pt x="141" y="79"/>
                    </a:cubicBezTo>
                    <a:cubicBezTo>
                      <a:pt x="141" y="79"/>
                      <a:pt x="128" y="102"/>
                      <a:pt x="128" y="108"/>
                    </a:cubicBezTo>
                    <a:cubicBezTo>
                      <a:pt x="128" y="114"/>
                      <a:pt x="141" y="138"/>
                      <a:pt x="141" y="142"/>
                    </a:cubicBezTo>
                    <a:cubicBezTo>
                      <a:pt x="141" y="146"/>
                      <a:pt x="159" y="161"/>
                      <a:pt x="159" y="161"/>
                    </a:cubicBezTo>
                    <a:cubicBezTo>
                      <a:pt x="133" y="276"/>
                      <a:pt x="133" y="276"/>
                      <a:pt x="133" y="276"/>
                    </a:cubicBezTo>
                    <a:cubicBezTo>
                      <a:pt x="0" y="325"/>
                      <a:pt x="0" y="325"/>
                      <a:pt x="0" y="325"/>
                    </a:cubicBezTo>
                    <a:cubicBezTo>
                      <a:pt x="54" y="445"/>
                      <a:pt x="54" y="445"/>
                      <a:pt x="54" y="445"/>
                    </a:cubicBezTo>
                    <a:cubicBezTo>
                      <a:pt x="81" y="434"/>
                      <a:pt x="159" y="415"/>
                      <a:pt x="162" y="410"/>
                    </a:cubicBezTo>
                    <a:cubicBezTo>
                      <a:pt x="167" y="404"/>
                      <a:pt x="169" y="375"/>
                      <a:pt x="169" y="375"/>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76" name="Freeform 198">
                <a:extLst>
                  <a:ext uri="{FF2B5EF4-FFF2-40B4-BE49-F238E27FC236}">
                    <a16:creationId xmlns:a16="http://schemas.microsoft.com/office/drawing/2014/main" id="{B5A11CFE-EDA0-4C1D-AAB3-B92EBBDF9258}"/>
                  </a:ext>
                </a:extLst>
              </p:cNvPr>
              <p:cNvSpPr>
                <a:spLocks/>
              </p:cNvSpPr>
              <p:nvPr>
                <p:custDataLst>
                  <p:tags r:id="rId157"/>
                </p:custDataLst>
              </p:nvPr>
            </p:nvSpPr>
            <p:spPr bwMode="gray">
              <a:xfrm>
                <a:off x="6167403" y="3279787"/>
                <a:ext cx="422273" cy="392114"/>
              </a:xfrm>
              <a:custGeom>
                <a:avLst/>
                <a:gdLst>
                  <a:gd name="T0" fmla="*/ 639 w 701"/>
                  <a:gd name="T1" fmla="*/ 64 h 705"/>
                  <a:gd name="T2" fmla="*/ 584 w 701"/>
                  <a:gd name="T3" fmla="*/ 14 h 705"/>
                  <a:gd name="T4" fmla="*/ 541 w 701"/>
                  <a:gd name="T5" fmla="*/ 0 h 705"/>
                  <a:gd name="T6" fmla="*/ 479 w 701"/>
                  <a:gd name="T7" fmla="*/ 10 h 705"/>
                  <a:gd name="T8" fmla="*/ 408 w 701"/>
                  <a:gd name="T9" fmla="*/ 46 h 705"/>
                  <a:gd name="T10" fmla="*/ 433 w 701"/>
                  <a:gd name="T11" fmla="*/ 110 h 705"/>
                  <a:gd name="T12" fmla="*/ 418 w 701"/>
                  <a:gd name="T13" fmla="*/ 160 h 705"/>
                  <a:gd name="T14" fmla="*/ 395 w 701"/>
                  <a:gd name="T15" fmla="*/ 168 h 705"/>
                  <a:gd name="T16" fmla="*/ 370 w 701"/>
                  <a:gd name="T17" fmla="*/ 171 h 705"/>
                  <a:gd name="T18" fmla="*/ 401 w 701"/>
                  <a:gd name="T19" fmla="*/ 197 h 705"/>
                  <a:gd name="T20" fmla="*/ 363 w 701"/>
                  <a:gd name="T21" fmla="*/ 238 h 705"/>
                  <a:gd name="T22" fmla="*/ 348 w 701"/>
                  <a:gd name="T23" fmla="*/ 293 h 705"/>
                  <a:gd name="T24" fmla="*/ 305 w 701"/>
                  <a:gd name="T25" fmla="*/ 289 h 705"/>
                  <a:gd name="T26" fmla="*/ 266 w 701"/>
                  <a:gd name="T27" fmla="*/ 312 h 705"/>
                  <a:gd name="T28" fmla="*/ 242 w 701"/>
                  <a:gd name="T29" fmla="*/ 355 h 705"/>
                  <a:gd name="T30" fmla="*/ 157 w 701"/>
                  <a:gd name="T31" fmla="*/ 404 h 705"/>
                  <a:gd name="T32" fmla="*/ 100 w 701"/>
                  <a:gd name="T33" fmla="*/ 405 h 705"/>
                  <a:gd name="T34" fmla="*/ 0 w 701"/>
                  <a:gd name="T35" fmla="*/ 389 h 705"/>
                  <a:gd name="T36" fmla="*/ 77 w 701"/>
                  <a:gd name="T37" fmla="*/ 462 h 705"/>
                  <a:gd name="T38" fmla="*/ 98 w 701"/>
                  <a:gd name="T39" fmla="*/ 492 h 705"/>
                  <a:gd name="T40" fmla="*/ 120 w 701"/>
                  <a:gd name="T41" fmla="*/ 529 h 705"/>
                  <a:gd name="T42" fmla="*/ 85 w 701"/>
                  <a:gd name="T43" fmla="*/ 575 h 705"/>
                  <a:gd name="T44" fmla="*/ 60 w 701"/>
                  <a:gd name="T45" fmla="*/ 600 h 705"/>
                  <a:gd name="T46" fmla="*/ 110 w 701"/>
                  <a:gd name="T47" fmla="*/ 635 h 705"/>
                  <a:gd name="T48" fmla="*/ 208 w 701"/>
                  <a:gd name="T49" fmla="*/ 615 h 705"/>
                  <a:gd name="T50" fmla="*/ 299 w 701"/>
                  <a:gd name="T51" fmla="*/ 662 h 705"/>
                  <a:gd name="T52" fmla="*/ 381 w 701"/>
                  <a:gd name="T53" fmla="*/ 705 h 705"/>
                  <a:gd name="T54" fmla="*/ 416 w 701"/>
                  <a:gd name="T55" fmla="*/ 689 h 705"/>
                  <a:gd name="T56" fmla="*/ 467 w 701"/>
                  <a:gd name="T57" fmla="*/ 679 h 705"/>
                  <a:gd name="T58" fmla="*/ 492 w 701"/>
                  <a:gd name="T59" fmla="*/ 654 h 705"/>
                  <a:gd name="T60" fmla="*/ 455 w 701"/>
                  <a:gd name="T61" fmla="*/ 604 h 705"/>
                  <a:gd name="T62" fmla="*/ 447 w 701"/>
                  <a:gd name="T63" fmla="*/ 559 h 705"/>
                  <a:gd name="T64" fmla="*/ 423 w 701"/>
                  <a:gd name="T65" fmla="*/ 522 h 705"/>
                  <a:gd name="T66" fmla="*/ 470 w 701"/>
                  <a:gd name="T67" fmla="*/ 500 h 705"/>
                  <a:gd name="T68" fmla="*/ 518 w 701"/>
                  <a:gd name="T69" fmla="*/ 472 h 705"/>
                  <a:gd name="T70" fmla="*/ 560 w 701"/>
                  <a:gd name="T71" fmla="*/ 425 h 705"/>
                  <a:gd name="T72" fmla="*/ 581 w 701"/>
                  <a:gd name="T73" fmla="*/ 358 h 705"/>
                  <a:gd name="T74" fmla="*/ 604 w 701"/>
                  <a:gd name="T75" fmla="*/ 297 h 705"/>
                  <a:gd name="T76" fmla="*/ 624 w 701"/>
                  <a:gd name="T77" fmla="*/ 248 h 705"/>
                  <a:gd name="T78" fmla="*/ 583 w 701"/>
                  <a:gd name="T79" fmla="*/ 225 h 705"/>
                  <a:gd name="T80" fmla="*/ 567 w 701"/>
                  <a:gd name="T81" fmla="*/ 194 h 705"/>
                  <a:gd name="T82" fmla="*/ 548 w 701"/>
                  <a:gd name="T83" fmla="*/ 161 h 705"/>
                  <a:gd name="T84" fmla="*/ 557 w 701"/>
                  <a:gd name="T85" fmla="*/ 123 h 705"/>
                  <a:gd name="T86" fmla="*/ 643 w 701"/>
                  <a:gd name="T87" fmla="*/ 123 h 705"/>
                  <a:gd name="T88" fmla="*/ 667 w 701"/>
                  <a:gd name="T89" fmla="*/ 122 h 705"/>
                  <a:gd name="T90" fmla="*/ 700 w 701"/>
                  <a:gd name="T91" fmla="*/ 82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1" h="705">
                    <a:moveTo>
                      <a:pt x="671" y="81"/>
                    </a:moveTo>
                    <a:cubicBezTo>
                      <a:pt x="652" y="80"/>
                      <a:pt x="647" y="60"/>
                      <a:pt x="647" y="60"/>
                    </a:cubicBezTo>
                    <a:cubicBezTo>
                      <a:pt x="639" y="64"/>
                      <a:pt x="639" y="64"/>
                      <a:pt x="639" y="64"/>
                    </a:cubicBezTo>
                    <a:cubicBezTo>
                      <a:pt x="618" y="56"/>
                      <a:pt x="618" y="56"/>
                      <a:pt x="618" y="56"/>
                    </a:cubicBezTo>
                    <a:cubicBezTo>
                      <a:pt x="618" y="56"/>
                      <a:pt x="617" y="35"/>
                      <a:pt x="608" y="25"/>
                    </a:cubicBezTo>
                    <a:cubicBezTo>
                      <a:pt x="599" y="15"/>
                      <a:pt x="584" y="14"/>
                      <a:pt x="584" y="14"/>
                    </a:cubicBezTo>
                    <a:cubicBezTo>
                      <a:pt x="581" y="5"/>
                      <a:pt x="581" y="5"/>
                      <a:pt x="581" y="5"/>
                    </a:cubicBezTo>
                    <a:cubicBezTo>
                      <a:pt x="560" y="5"/>
                      <a:pt x="560" y="5"/>
                      <a:pt x="560" y="5"/>
                    </a:cubicBezTo>
                    <a:cubicBezTo>
                      <a:pt x="560" y="5"/>
                      <a:pt x="549" y="4"/>
                      <a:pt x="541" y="0"/>
                    </a:cubicBezTo>
                    <a:cubicBezTo>
                      <a:pt x="535" y="4"/>
                      <a:pt x="526" y="9"/>
                      <a:pt x="523" y="10"/>
                    </a:cubicBezTo>
                    <a:cubicBezTo>
                      <a:pt x="518" y="11"/>
                      <a:pt x="508" y="5"/>
                      <a:pt x="505" y="5"/>
                    </a:cubicBezTo>
                    <a:cubicBezTo>
                      <a:pt x="502" y="5"/>
                      <a:pt x="479" y="10"/>
                      <a:pt x="479" y="10"/>
                    </a:cubicBezTo>
                    <a:cubicBezTo>
                      <a:pt x="479" y="10"/>
                      <a:pt x="462" y="9"/>
                      <a:pt x="455" y="12"/>
                    </a:cubicBezTo>
                    <a:cubicBezTo>
                      <a:pt x="448" y="15"/>
                      <a:pt x="425" y="31"/>
                      <a:pt x="425" y="31"/>
                    </a:cubicBezTo>
                    <a:cubicBezTo>
                      <a:pt x="425" y="31"/>
                      <a:pt x="414" y="34"/>
                      <a:pt x="408" y="46"/>
                    </a:cubicBezTo>
                    <a:cubicBezTo>
                      <a:pt x="402" y="58"/>
                      <a:pt x="407" y="54"/>
                      <a:pt x="418" y="66"/>
                    </a:cubicBezTo>
                    <a:cubicBezTo>
                      <a:pt x="429" y="78"/>
                      <a:pt x="426" y="95"/>
                      <a:pt x="426" y="95"/>
                    </a:cubicBezTo>
                    <a:cubicBezTo>
                      <a:pt x="426" y="95"/>
                      <a:pt x="436" y="103"/>
                      <a:pt x="433" y="110"/>
                    </a:cubicBezTo>
                    <a:cubicBezTo>
                      <a:pt x="430" y="117"/>
                      <a:pt x="413" y="125"/>
                      <a:pt x="412" y="134"/>
                    </a:cubicBezTo>
                    <a:cubicBezTo>
                      <a:pt x="411" y="143"/>
                      <a:pt x="418" y="144"/>
                      <a:pt x="418" y="144"/>
                    </a:cubicBezTo>
                    <a:cubicBezTo>
                      <a:pt x="418" y="144"/>
                      <a:pt x="419" y="153"/>
                      <a:pt x="418" y="160"/>
                    </a:cubicBezTo>
                    <a:cubicBezTo>
                      <a:pt x="417" y="167"/>
                      <a:pt x="406" y="164"/>
                      <a:pt x="406" y="164"/>
                    </a:cubicBezTo>
                    <a:cubicBezTo>
                      <a:pt x="402" y="171"/>
                      <a:pt x="402" y="171"/>
                      <a:pt x="402" y="171"/>
                    </a:cubicBezTo>
                    <a:cubicBezTo>
                      <a:pt x="395" y="168"/>
                      <a:pt x="395" y="168"/>
                      <a:pt x="395" y="168"/>
                    </a:cubicBezTo>
                    <a:cubicBezTo>
                      <a:pt x="384" y="167"/>
                      <a:pt x="384" y="167"/>
                      <a:pt x="384" y="167"/>
                    </a:cubicBezTo>
                    <a:cubicBezTo>
                      <a:pt x="384" y="167"/>
                      <a:pt x="377" y="159"/>
                      <a:pt x="373" y="160"/>
                    </a:cubicBezTo>
                    <a:cubicBezTo>
                      <a:pt x="369" y="161"/>
                      <a:pt x="369" y="166"/>
                      <a:pt x="370" y="171"/>
                    </a:cubicBezTo>
                    <a:cubicBezTo>
                      <a:pt x="371" y="176"/>
                      <a:pt x="386" y="180"/>
                      <a:pt x="386" y="180"/>
                    </a:cubicBezTo>
                    <a:cubicBezTo>
                      <a:pt x="386" y="180"/>
                      <a:pt x="386" y="184"/>
                      <a:pt x="388" y="191"/>
                    </a:cubicBezTo>
                    <a:cubicBezTo>
                      <a:pt x="390" y="198"/>
                      <a:pt x="401" y="197"/>
                      <a:pt x="401" y="197"/>
                    </a:cubicBezTo>
                    <a:cubicBezTo>
                      <a:pt x="381" y="211"/>
                      <a:pt x="381" y="211"/>
                      <a:pt x="381" y="211"/>
                    </a:cubicBezTo>
                    <a:cubicBezTo>
                      <a:pt x="381" y="211"/>
                      <a:pt x="368" y="210"/>
                      <a:pt x="364" y="213"/>
                    </a:cubicBezTo>
                    <a:cubicBezTo>
                      <a:pt x="360" y="216"/>
                      <a:pt x="363" y="238"/>
                      <a:pt x="363" y="238"/>
                    </a:cubicBezTo>
                    <a:cubicBezTo>
                      <a:pt x="363" y="238"/>
                      <a:pt x="357" y="235"/>
                      <a:pt x="356" y="247"/>
                    </a:cubicBezTo>
                    <a:cubicBezTo>
                      <a:pt x="355" y="259"/>
                      <a:pt x="364" y="277"/>
                      <a:pt x="364" y="277"/>
                    </a:cubicBezTo>
                    <a:cubicBezTo>
                      <a:pt x="364" y="277"/>
                      <a:pt x="361" y="286"/>
                      <a:pt x="348" y="293"/>
                    </a:cubicBezTo>
                    <a:cubicBezTo>
                      <a:pt x="335" y="300"/>
                      <a:pt x="338" y="281"/>
                      <a:pt x="338" y="281"/>
                    </a:cubicBezTo>
                    <a:cubicBezTo>
                      <a:pt x="338" y="281"/>
                      <a:pt x="328" y="283"/>
                      <a:pt x="320" y="283"/>
                    </a:cubicBezTo>
                    <a:cubicBezTo>
                      <a:pt x="312" y="283"/>
                      <a:pt x="305" y="289"/>
                      <a:pt x="305" y="289"/>
                    </a:cubicBezTo>
                    <a:cubicBezTo>
                      <a:pt x="305" y="289"/>
                      <a:pt x="291" y="293"/>
                      <a:pt x="287" y="298"/>
                    </a:cubicBezTo>
                    <a:cubicBezTo>
                      <a:pt x="283" y="303"/>
                      <a:pt x="300" y="305"/>
                      <a:pt x="298" y="311"/>
                    </a:cubicBezTo>
                    <a:cubicBezTo>
                      <a:pt x="296" y="317"/>
                      <a:pt x="266" y="312"/>
                      <a:pt x="266" y="312"/>
                    </a:cubicBezTo>
                    <a:cubicBezTo>
                      <a:pt x="266" y="312"/>
                      <a:pt x="270" y="306"/>
                      <a:pt x="262" y="306"/>
                    </a:cubicBezTo>
                    <a:cubicBezTo>
                      <a:pt x="254" y="306"/>
                      <a:pt x="239" y="319"/>
                      <a:pt x="237" y="325"/>
                    </a:cubicBezTo>
                    <a:cubicBezTo>
                      <a:pt x="235" y="331"/>
                      <a:pt x="242" y="355"/>
                      <a:pt x="242" y="355"/>
                    </a:cubicBezTo>
                    <a:cubicBezTo>
                      <a:pt x="242" y="355"/>
                      <a:pt x="248" y="375"/>
                      <a:pt x="246" y="381"/>
                    </a:cubicBezTo>
                    <a:cubicBezTo>
                      <a:pt x="244" y="387"/>
                      <a:pt x="205" y="400"/>
                      <a:pt x="202" y="401"/>
                    </a:cubicBezTo>
                    <a:cubicBezTo>
                      <a:pt x="199" y="402"/>
                      <a:pt x="157" y="404"/>
                      <a:pt x="157" y="404"/>
                    </a:cubicBezTo>
                    <a:cubicBezTo>
                      <a:pt x="157" y="404"/>
                      <a:pt x="156" y="410"/>
                      <a:pt x="144" y="410"/>
                    </a:cubicBezTo>
                    <a:cubicBezTo>
                      <a:pt x="132" y="410"/>
                      <a:pt x="135" y="406"/>
                      <a:pt x="135" y="406"/>
                    </a:cubicBezTo>
                    <a:cubicBezTo>
                      <a:pt x="100" y="405"/>
                      <a:pt x="100" y="405"/>
                      <a:pt x="100" y="405"/>
                    </a:cubicBezTo>
                    <a:cubicBezTo>
                      <a:pt x="100" y="405"/>
                      <a:pt x="102" y="410"/>
                      <a:pt x="81" y="412"/>
                    </a:cubicBezTo>
                    <a:cubicBezTo>
                      <a:pt x="60" y="414"/>
                      <a:pt x="30" y="396"/>
                      <a:pt x="21" y="391"/>
                    </a:cubicBezTo>
                    <a:cubicBezTo>
                      <a:pt x="12" y="386"/>
                      <a:pt x="0" y="389"/>
                      <a:pt x="0" y="389"/>
                    </a:cubicBezTo>
                    <a:cubicBezTo>
                      <a:pt x="0" y="389"/>
                      <a:pt x="20" y="408"/>
                      <a:pt x="26" y="419"/>
                    </a:cubicBezTo>
                    <a:cubicBezTo>
                      <a:pt x="32" y="430"/>
                      <a:pt x="46" y="450"/>
                      <a:pt x="54" y="460"/>
                    </a:cubicBezTo>
                    <a:cubicBezTo>
                      <a:pt x="62" y="470"/>
                      <a:pt x="77" y="462"/>
                      <a:pt x="77" y="462"/>
                    </a:cubicBezTo>
                    <a:cubicBezTo>
                      <a:pt x="86" y="473"/>
                      <a:pt x="86" y="473"/>
                      <a:pt x="86" y="473"/>
                    </a:cubicBezTo>
                    <a:cubicBezTo>
                      <a:pt x="99" y="472"/>
                      <a:pt x="99" y="472"/>
                      <a:pt x="99" y="472"/>
                    </a:cubicBezTo>
                    <a:cubicBezTo>
                      <a:pt x="98" y="492"/>
                      <a:pt x="98" y="492"/>
                      <a:pt x="98" y="492"/>
                    </a:cubicBezTo>
                    <a:cubicBezTo>
                      <a:pt x="101" y="494"/>
                      <a:pt x="101" y="494"/>
                      <a:pt x="101" y="494"/>
                    </a:cubicBezTo>
                    <a:cubicBezTo>
                      <a:pt x="101" y="494"/>
                      <a:pt x="100" y="517"/>
                      <a:pt x="103" y="524"/>
                    </a:cubicBezTo>
                    <a:cubicBezTo>
                      <a:pt x="106" y="531"/>
                      <a:pt x="112" y="518"/>
                      <a:pt x="120" y="529"/>
                    </a:cubicBezTo>
                    <a:cubicBezTo>
                      <a:pt x="128" y="540"/>
                      <a:pt x="129" y="556"/>
                      <a:pt x="125" y="561"/>
                    </a:cubicBezTo>
                    <a:cubicBezTo>
                      <a:pt x="121" y="566"/>
                      <a:pt x="119" y="553"/>
                      <a:pt x="101" y="559"/>
                    </a:cubicBezTo>
                    <a:cubicBezTo>
                      <a:pt x="83" y="565"/>
                      <a:pt x="89" y="569"/>
                      <a:pt x="85" y="575"/>
                    </a:cubicBezTo>
                    <a:cubicBezTo>
                      <a:pt x="81" y="581"/>
                      <a:pt x="72" y="579"/>
                      <a:pt x="72" y="579"/>
                    </a:cubicBezTo>
                    <a:cubicBezTo>
                      <a:pt x="70" y="590"/>
                      <a:pt x="70" y="590"/>
                      <a:pt x="70" y="590"/>
                    </a:cubicBezTo>
                    <a:cubicBezTo>
                      <a:pt x="70" y="590"/>
                      <a:pt x="66" y="597"/>
                      <a:pt x="60" y="600"/>
                    </a:cubicBezTo>
                    <a:cubicBezTo>
                      <a:pt x="55" y="602"/>
                      <a:pt x="59" y="630"/>
                      <a:pt x="60" y="637"/>
                    </a:cubicBezTo>
                    <a:cubicBezTo>
                      <a:pt x="70" y="633"/>
                      <a:pt x="78" y="628"/>
                      <a:pt x="78" y="628"/>
                    </a:cubicBezTo>
                    <a:cubicBezTo>
                      <a:pt x="78" y="628"/>
                      <a:pt x="100" y="635"/>
                      <a:pt x="110" y="635"/>
                    </a:cubicBezTo>
                    <a:cubicBezTo>
                      <a:pt x="120" y="636"/>
                      <a:pt x="149" y="620"/>
                      <a:pt x="149" y="620"/>
                    </a:cubicBezTo>
                    <a:cubicBezTo>
                      <a:pt x="149" y="620"/>
                      <a:pt x="165" y="628"/>
                      <a:pt x="175" y="626"/>
                    </a:cubicBezTo>
                    <a:cubicBezTo>
                      <a:pt x="186" y="624"/>
                      <a:pt x="208" y="615"/>
                      <a:pt x="208" y="615"/>
                    </a:cubicBezTo>
                    <a:cubicBezTo>
                      <a:pt x="234" y="622"/>
                      <a:pt x="234" y="622"/>
                      <a:pt x="234" y="622"/>
                    </a:cubicBezTo>
                    <a:cubicBezTo>
                      <a:pt x="234" y="622"/>
                      <a:pt x="249" y="601"/>
                      <a:pt x="267" y="613"/>
                    </a:cubicBezTo>
                    <a:cubicBezTo>
                      <a:pt x="284" y="624"/>
                      <a:pt x="285" y="659"/>
                      <a:pt x="299" y="662"/>
                    </a:cubicBezTo>
                    <a:cubicBezTo>
                      <a:pt x="313" y="665"/>
                      <a:pt x="339" y="665"/>
                      <a:pt x="348" y="674"/>
                    </a:cubicBezTo>
                    <a:cubicBezTo>
                      <a:pt x="358" y="683"/>
                      <a:pt x="359" y="704"/>
                      <a:pt x="370" y="705"/>
                    </a:cubicBezTo>
                    <a:cubicBezTo>
                      <a:pt x="373" y="705"/>
                      <a:pt x="377" y="705"/>
                      <a:pt x="381" y="705"/>
                    </a:cubicBezTo>
                    <a:cubicBezTo>
                      <a:pt x="394" y="700"/>
                      <a:pt x="394" y="700"/>
                      <a:pt x="394" y="700"/>
                    </a:cubicBezTo>
                    <a:cubicBezTo>
                      <a:pt x="394" y="700"/>
                      <a:pt x="385" y="684"/>
                      <a:pt x="396" y="683"/>
                    </a:cubicBezTo>
                    <a:cubicBezTo>
                      <a:pt x="407" y="682"/>
                      <a:pt x="416" y="689"/>
                      <a:pt x="416" y="689"/>
                    </a:cubicBezTo>
                    <a:cubicBezTo>
                      <a:pt x="433" y="683"/>
                      <a:pt x="433" y="683"/>
                      <a:pt x="433" y="683"/>
                    </a:cubicBezTo>
                    <a:cubicBezTo>
                      <a:pt x="433" y="683"/>
                      <a:pt x="430" y="691"/>
                      <a:pt x="444" y="691"/>
                    </a:cubicBezTo>
                    <a:cubicBezTo>
                      <a:pt x="458" y="691"/>
                      <a:pt x="456" y="681"/>
                      <a:pt x="467" y="679"/>
                    </a:cubicBezTo>
                    <a:cubicBezTo>
                      <a:pt x="478" y="677"/>
                      <a:pt x="468" y="688"/>
                      <a:pt x="479" y="688"/>
                    </a:cubicBezTo>
                    <a:cubicBezTo>
                      <a:pt x="490" y="688"/>
                      <a:pt x="499" y="687"/>
                      <a:pt x="501" y="678"/>
                    </a:cubicBezTo>
                    <a:cubicBezTo>
                      <a:pt x="503" y="669"/>
                      <a:pt x="492" y="654"/>
                      <a:pt x="492" y="654"/>
                    </a:cubicBezTo>
                    <a:cubicBezTo>
                      <a:pt x="478" y="626"/>
                      <a:pt x="478" y="626"/>
                      <a:pt x="478" y="626"/>
                    </a:cubicBezTo>
                    <a:cubicBezTo>
                      <a:pt x="478" y="611"/>
                      <a:pt x="478" y="611"/>
                      <a:pt x="478" y="611"/>
                    </a:cubicBezTo>
                    <a:cubicBezTo>
                      <a:pt x="478" y="611"/>
                      <a:pt x="462" y="611"/>
                      <a:pt x="455" y="604"/>
                    </a:cubicBezTo>
                    <a:cubicBezTo>
                      <a:pt x="448" y="597"/>
                      <a:pt x="446" y="589"/>
                      <a:pt x="446" y="589"/>
                    </a:cubicBezTo>
                    <a:cubicBezTo>
                      <a:pt x="448" y="569"/>
                      <a:pt x="448" y="569"/>
                      <a:pt x="448" y="569"/>
                    </a:cubicBezTo>
                    <a:cubicBezTo>
                      <a:pt x="447" y="559"/>
                      <a:pt x="447" y="559"/>
                      <a:pt x="447" y="559"/>
                    </a:cubicBezTo>
                    <a:cubicBezTo>
                      <a:pt x="429" y="561"/>
                      <a:pt x="429" y="561"/>
                      <a:pt x="429" y="561"/>
                    </a:cubicBezTo>
                    <a:cubicBezTo>
                      <a:pt x="429" y="561"/>
                      <a:pt x="414" y="563"/>
                      <a:pt x="414" y="546"/>
                    </a:cubicBezTo>
                    <a:cubicBezTo>
                      <a:pt x="414" y="529"/>
                      <a:pt x="415" y="529"/>
                      <a:pt x="423" y="522"/>
                    </a:cubicBezTo>
                    <a:cubicBezTo>
                      <a:pt x="431" y="515"/>
                      <a:pt x="438" y="503"/>
                      <a:pt x="438" y="503"/>
                    </a:cubicBezTo>
                    <a:cubicBezTo>
                      <a:pt x="438" y="503"/>
                      <a:pt x="437" y="489"/>
                      <a:pt x="451" y="487"/>
                    </a:cubicBezTo>
                    <a:cubicBezTo>
                      <a:pt x="465" y="485"/>
                      <a:pt x="457" y="502"/>
                      <a:pt x="470" y="500"/>
                    </a:cubicBezTo>
                    <a:cubicBezTo>
                      <a:pt x="483" y="498"/>
                      <a:pt x="488" y="490"/>
                      <a:pt x="488" y="490"/>
                    </a:cubicBezTo>
                    <a:cubicBezTo>
                      <a:pt x="488" y="490"/>
                      <a:pt x="503" y="498"/>
                      <a:pt x="510" y="490"/>
                    </a:cubicBezTo>
                    <a:cubicBezTo>
                      <a:pt x="517" y="482"/>
                      <a:pt x="518" y="472"/>
                      <a:pt x="518" y="472"/>
                    </a:cubicBezTo>
                    <a:cubicBezTo>
                      <a:pt x="527" y="467"/>
                      <a:pt x="527" y="467"/>
                      <a:pt x="527" y="467"/>
                    </a:cubicBezTo>
                    <a:cubicBezTo>
                      <a:pt x="527" y="467"/>
                      <a:pt x="528" y="447"/>
                      <a:pt x="532" y="444"/>
                    </a:cubicBezTo>
                    <a:cubicBezTo>
                      <a:pt x="536" y="441"/>
                      <a:pt x="552" y="438"/>
                      <a:pt x="560" y="425"/>
                    </a:cubicBezTo>
                    <a:cubicBezTo>
                      <a:pt x="568" y="412"/>
                      <a:pt x="565" y="394"/>
                      <a:pt x="569" y="385"/>
                    </a:cubicBezTo>
                    <a:cubicBezTo>
                      <a:pt x="573" y="376"/>
                      <a:pt x="592" y="375"/>
                      <a:pt x="592" y="375"/>
                    </a:cubicBezTo>
                    <a:cubicBezTo>
                      <a:pt x="581" y="358"/>
                      <a:pt x="581" y="358"/>
                      <a:pt x="581" y="358"/>
                    </a:cubicBezTo>
                    <a:cubicBezTo>
                      <a:pt x="598" y="334"/>
                      <a:pt x="598" y="334"/>
                      <a:pt x="598" y="334"/>
                    </a:cubicBezTo>
                    <a:cubicBezTo>
                      <a:pt x="616" y="321"/>
                      <a:pt x="616" y="321"/>
                      <a:pt x="616" y="321"/>
                    </a:cubicBezTo>
                    <a:cubicBezTo>
                      <a:pt x="616" y="321"/>
                      <a:pt x="604" y="301"/>
                      <a:pt x="604" y="297"/>
                    </a:cubicBezTo>
                    <a:cubicBezTo>
                      <a:pt x="604" y="293"/>
                      <a:pt x="601" y="279"/>
                      <a:pt x="605" y="277"/>
                    </a:cubicBezTo>
                    <a:cubicBezTo>
                      <a:pt x="609" y="275"/>
                      <a:pt x="638" y="271"/>
                      <a:pt x="637" y="262"/>
                    </a:cubicBezTo>
                    <a:cubicBezTo>
                      <a:pt x="636" y="253"/>
                      <a:pt x="624" y="248"/>
                      <a:pt x="624" y="248"/>
                    </a:cubicBezTo>
                    <a:cubicBezTo>
                      <a:pt x="600" y="249"/>
                      <a:pt x="600" y="249"/>
                      <a:pt x="600" y="249"/>
                    </a:cubicBezTo>
                    <a:cubicBezTo>
                      <a:pt x="597" y="226"/>
                      <a:pt x="597" y="226"/>
                      <a:pt x="597" y="226"/>
                    </a:cubicBezTo>
                    <a:cubicBezTo>
                      <a:pt x="583" y="225"/>
                      <a:pt x="583" y="225"/>
                      <a:pt x="583" y="225"/>
                    </a:cubicBezTo>
                    <a:cubicBezTo>
                      <a:pt x="575" y="215"/>
                      <a:pt x="575" y="215"/>
                      <a:pt x="575" y="215"/>
                    </a:cubicBezTo>
                    <a:cubicBezTo>
                      <a:pt x="575" y="215"/>
                      <a:pt x="564" y="218"/>
                      <a:pt x="565" y="210"/>
                    </a:cubicBezTo>
                    <a:cubicBezTo>
                      <a:pt x="566" y="202"/>
                      <a:pt x="567" y="194"/>
                      <a:pt x="567" y="194"/>
                    </a:cubicBezTo>
                    <a:cubicBezTo>
                      <a:pt x="567" y="194"/>
                      <a:pt x="553" y="193"/>
                      <a:pt x="556" y="183"/>
                    </a:cubicBezTo>
                    <a:cubicBezTo>
                      <a:pt x="559" y="173"/>
                      <a:pt x="568" y="165"/>
                      <a:pt x="568" y="165"/>
                    </a:cubicBezTo>
                    <a:cubicBezTo>
                      <a:pt x="548" y="161"/>
                      <a:pt x="548" y="161"/>
                      <a:pt x="548" y="161"/>
                    </a:cubicBezTo>
                    <a:cubicBezTo>
                      <a:pt x="552" y="152"/>
                      <a:pt x="552" y="152"/>
                      <a:pt x="552" y="152"/>
                    </a:cubicBezTo>
                    <a:cubicBezTo>
                      <a:pt x="537" y="142"/>
                      <a:pt x="537" y="142"/>
                      <a:pt x="537" y="142"/>
                    </a:cubicBezTo>
                    <a:cubicBezTo>
                      <a:pt x="537" y="142"/>
                      <a:pt x="535" y="126"/>
                      <a:pt x="557" y="123"/>
                    </a:cubicBezTo>
                    <a:cubicBezTo>
                      <a:pt x="579" y="120"/>
                      <a:pt x="608" y="126"/>
                      <a:pt x="608" y="126"/>
                    </a:cubicBezTo>
                    <a:cubicBezTo>
                      <a:pt x="608" y="126"/>
                      <a:pt x="611" y="138"/>
                      <a:pt x="618" y="137"/>
                    </a:cubicBezTo>
                    <a:cubicBezTo>
                      <a:pt x="625" y="136"/>
                      <a:pt x="643" y="123"/>
                      <a:pt x="643" y="123"/>
                    </a:cubicBezTo>
                    <a:cubicBezTo>
                      <a:pt x="647" y="127"/>
                      <a:pt x="647" y="127"/>
                      <a:pt x="647" y="127"/>
                    </a:cubicBezTo>
                    <a:cubicBezTo>
                      <a:pt x="653" y="122"/>
                      <a:pt x="653" y="122"/>
                      <a:pt x="653" y="122"/>
                    </a:cubicBezTo>
                    <a:cubicBezTo>
                      <a:pt x="653" y="122"/>
                      <a:pt x="664" y="123"/>
                      <a:pt x="667" y="122"/>
                    </a:cubicBezTo>
                    <a:cubicBezTo>
                      <a:pt x="670" y="121"/>
                      <a:pt x="670" y="110"/>
                      <a:pt x="670" y="110"/>
                    </a:cubicBezTo>
                    <a:cubicBezTo>
                      <a:pt x="685" y="104"/>
                      <a:pt x="685" y="104"/>
                      <a:pt x="685" y="104"/>
                    </a:cubicBezTo>
                    <a:cubicBezTo>
                      <a:pt x="700" y="82"/>
                      <a:pt x="700" y="82"/>
                      <a:pt x="700" y="82"/>
                    </a:cubicBezTo>
                    <a:cubicBezTo>
                      <a:pt x="701" y="82"/>
                      <a:pt x="701" y="82"/>
                      <a:pt x="701" y="82"/>
                    </a:cubicBezTo>
                    <a:cubicBezTo>
                      <a:pt x="692" y="82"/>
                      <a:pt x="680" y="81"/>
                      <a:pt x="671" y="81"/>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77" name="Freeform 199">
                <a:extLst>
                  <a:ext uri="{FF2B5EF4-FFF2-40B4-BE49-F238E27FC236}">
                    <a16:creationId xmlns:a16="http://schemas.microsoft.com/office/drawing/2014/main" id="{D8151FCA-B584-4490-9600-1A8158A0F09D}"/>
                  </a:ext>
                </a:extLst>
              </p:cNvPr>
              <p:cNvSpPr>
                <a:spLocks/>
              </p:cNvSpPr>
              <p:nvPr>
                <p:custDataLst>
                  <p:tags r:id="rId158"/>
                </p:custDataLst>
              </p:nvPr>
            </p:nvSpPr>
            <p:spPr bwMode="gray">
              <a:xfrm>
                <a:off x="5549869" y="3270263"/>
                <a:ext cx="274636" cy="244475"/>
              </a:xfrm>
              <a:custGeom>
                <a:avLst/>
                <a:gdLst>
                  <a:gd name="T0" fmla="*/ 448 w 454"/>
                  <a:gd name="T1" fmla="*/ 378 h 442"/>
                  <a:gd name="T2" fmla="*/ 432 w 454"/>
                  <a:gd name="T3" fmla="*/ 365 h 442"/>
                  <a:gd name="T4" fmla="*/ 428 w 454"/>
                  <a:gd name="T5" fmla="*/ 346 h 442"/>
                  <a:gd name="T6" fmla="*/ 415 w 454"/>
                  <a:gd name="T7" fmla="*/ 340 h 442"/>
                  <a:gd name="T8" fmla="*/ 415 w 454"/>
                  <a:gd name="T9" fmla="*/ 295 h 442"/>
                  <a:gd name="T10" fmla="*/ 393 w 454"/>
                  <a:gd name="T11" fmla="*/ 270 h 442"/>
                  <a:gd name="T12" fmla="*/ 380 w 454"/>
                  <a:gd name="T13" fmla="*/ 258 h 442"/>
                  <a:gd name="T14" fmla="*/ 348 w 454"/>
                  <a:gd name="T15" fmla="*/ 240 h 442"/>
                  <a:gd name="T16" fmla="*/ 335 w 454"/>
                  <a:gd name="T17" fmla="*/ 239 h 442"/>
                  <a:gd name="T18" fmla="*/ 335 w 454"/>
                  <a:gd name="T19" fmla="*/ 212 h 442"/>
                  <a:gd name="T20" fmla="*/ 291 w 454"/>
                  <a:gd name="T21" fmla="*/ 182 h 442"/>
                  <a:gd name="T22" fmla="*/ 299 w 454"/>
                  <a:gd name="T23" fmla="*/ 168 h 442"/>
                  <a:gd name="T24" fmla="*/ 291 w 454"/>
                  <a:gd name="T25" fmla="*/ 154 h 442"/>
                  <a:gd name="T26" fmla="*/ 305 w 454"/>
                  <a:gd name="T27" fmla="*/ 148 h 442"/>
                  <a:gd name="T28" fmla="*/ 304 w 454"/>
                  <a:gd name="T29" fmla="*/ 135 h 442"/>
                  <a:gd name="T30" fmla="*/ 305 w 454"/>
                  <a:gd name="T31" fmla="*/ 126 h 442"/>
                  <a:gd name="T32" fmla="*/ 318 w 454"/>
                  <a:gd name="T33" fmla="*/ 118 h 442"/>
                  <a:gd name="T34" fmla="*/ 307 w 454"/>
                  <a:gd name="T35" fmla="*/ 97 h 442"/>
                  <a:gd name="T36" fmla="*/ 318 w 454"/>
                  <a:gd name="T37" fmla="*/ 80 h 442"/>
                  <a:gd name="T38" fmla="*/ 299 w 454"/>
                  <a:gd name="T39" fmla="*/ 85 h 442"/>
                  <a:gd name="T40" fmla="*/ 288 w 454"/>
                  <a:gd name="T41" fmla="*/ 73 h 442"/>
                  <a:gd name="T42" fmla="*/ 274 w 454"/>
                  <a:gd name="T43" fmla="*/ 71 h 442"/>
                  <a:gd name="T44" fmla="*/ 265 w 454"/>
                  <a:gd name="T45" fmla="*/ 50 h 442"/>
                  <a:gd name="T46" fmla="*/ 249 w 454"/>
                  <a:gd name="T47" fmla="*/ 8 h 442"/>
                  <a:gd name="T48" fmla="*/ 222 w 454"/>
                  <a:gd name="T49" fmla="*/ 19 h 442"/>
                  <a:gd name="T50" fmla="*/ 210 w 454"/>
                  <a:gd name="T51" fmla="*/ 1 h 442"/>
                  <a:gd name="T52" fmla="*/ 196 w 454"/>
                  <a:gd name="T53" fmla="*/ 10 h 442"/>
                  <a:gd name="T54" fmla="*/ 179 w 454"/>
                  <a:gd name="T55" fmla="*/ 1 h 442"/>
                  <a:gd name="T56" fmla="*/ 153 w 454"/>
                  <a:gd name="T57" fmla="*/ 1 h 442"/>
                  <a:gd name="T58" fmla="*/ 142 w 454"/>
                  <a:gd name="T59" fmla="*/ 17 h 442"/>
                  <a:gd name="T60" fmla="*/ 140 w 454"/>
                  <a:gd name="T61" fmla="*/ 17 h 442"/>
                  <a:gd name="T62" fmla="*/ 124 w 454"/>
                  <a:gd name="T63" fmla="*/ 37 h 442"/>
                  <a:gd name="T64" fmla="*/ 92 w 454"/>
                  <a:gd name="T65" fmla="*/ 53 h 442"/>
                  <a:gd name="T66" fmla="*/ 103 w 454"/>
                  <a:gd name="T67" fmla="*/ 75 h 442"/>
                  <a:gd name="T68" fmla="*/ 107 w 454"/>
                  <a:gd name="T69" fmla="*/ 110 h 442"/>
                  <a:gd name="T70" fmla="*/ 98 w 454"/>
                  <a:gd name="T71" fmla="*/ 129 h 442"/>
                  <a:gd name="T72" fmla="*/ 104 w 454"/>
                  <a:gd name="T73" fmla="*/ 154 h 442"/>
                  <a:gd name="T74" fmla="*/ 43 w 454"/>
                  <a:gd name="T75" fmla="*/ 181 h 442"/>
                  <a:gd name="T76" fmla="*/ 0 w 454"/>
                  <a:gd name="T77" fmla="*/ 216 h 442"/>
                  <a:gd name="T78" fmla="*/ 0 w 454"/>
                  <a:gd name="T79" fmla="*/ 216 h 442"/>
                  <a:gd name="T80" fmla="*/ 12 w 454"/>
                  <a:gd name="T81" fmla="*/ 246 h 442"/>
                  <a:gd name="T82" fmla="*/ 12 w 454"/>
                  <a:gd name="T83" fmla="*/ 260 h 442"/>
                  <a:gd name="T84" fmla="*/ 29 w 454"/>
                  <a:gd name="T85" fmla="*/ 269 h 442"/>
                  <a:gd name="T86" fmla="*/ 28 w 454"/>
                  <a:gd name="T87" fmla="*/ 278 h 442"/>
                  <a:gd name="T88" fmla="*/ 44 w 454"/>
                  <a:gd name="T89" fmla="*/ 287 h 442"/>
                  <a:gd name="T90" fmla="*/ 78 w 454"/>
                  <a:gd name="T91" fmla="*/ 287 h 442"/>
                  <a:gd name="T92" fmla="*/ 127 w 454"/>
                  <a:gd name="T93" fmla="*/ 321 h 442"/>
                  <a:gd name="T94" fmla="*/ 160 w 454"/>
                  <a:gd name="T95" fmla="*/ 341 h 442"/>
                  <a:gd name="T96" fmla="*/ 288 w 454"/>
                  <a:gd name="T97" fmla="*/ 438 h 442"/>
                  <a:gd name="T98" fmla="*/ 376 w 454"/>
                  <a:gd name="T99" fmla="*/ 442 h 442"/>
                  <a:gd name="T100" fmla="*/ 376 w 454"/>
                  <a:gd name="T101" fmla="*/ 442 h 442"/>
                  <a:gd name="T102" fmla="*/ 387 w 454"/>
                  <a:gd name="T103" fmla="*/ 422 h 442"/>
                  <a:gd name="T104" fmla="*/ 396 w 454"/>
                  <a:gd name="T105" fmla="*/ 395 h 442"/>
                  <a:gd name="T106" fmla="*/ 411 w 454"/>
                  <a:gd name="T107" fmla="*/ 393 h 442"/>
                  <a:gd name="T108" fmla="*/ 431 w 454"/>
                  <a:gd name="T109" fmla="*/ 393 h 442"/>
                  <a:gd name="T110" fmla="*/ 433 w 454"/>
                  <a:gd name="T111" fmla="*/ 398 h 442"/>
                  <a:gd name="T112" fmla="*/ 451 w 454"/>
                  <a:gd name="T113" fmla="*/ 392 h 442"/>
                  <a:gd name="T114" fmla="*/ 454 w 454"/>
                  <a:gd name="T115" fmla="*/ 387 h 442"/>
                  <a:gd name="T116" fmla="*/ 448 w 454"/>
                  <a:gd name="T117" fmla="*/ 3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4" h="442">
                    <a:moveTo>
                      <a:pt x="448" y="378"/>
                    </a:moveTo>
                    <a:cubicBezTo>
                      <a:pt x="447" y="369"/>
                      <a:pt x="432" y="365"/>
                      <a:pt x="432" y="365"/>
                    </a:cubicBezTo>
                    <a:cubicBezTo>
                      <a:pt x="428" y="346"/>
                      <a:pt x="428" y="346"/>
                      <a:pt x="428" y="346"/>
                    </a:cubicBezTo>
                    <a:cubicBezTo>
                      <a:pt x="428" y="346"/>
                      <a:pt x="423" y="346"/>
                      <a:pt x="415" y="340"/>
                    </a:cubicBezTo>
                    <a:cubicBezTo>
                      <a:pt x="407" y="334"/>
                      <a:pt x="415" y="295"/>
                      <a:pt x="415" y="295"/>
                    </a:cubicBezTo>
                    <a:cubicBezTo>
                      <a:pt x="393" y="270"/>
                      <a:pt x="393" y="270"/>
                      <a:pt x="393" y="270"/>
                    </a:cubicBezTo>
                    <a:cubicBezTo>
                      <a:pt x="393" y="270"/>
                      <a:pt x="391" y="258"/>
                      <a:pt x="380" y="258"/>
                    </a:cubicBezTo>
                    <a:cubicBezTo>
                      <a:pt x="369" y="258"/>
                      <a:pt x="348" y="240"/>
                      <a:pt x="348" y="240"/>
                    </a:cubicBezTo>
                    <a:cubicBezTo>
                      <a:pt x="335" y="239"/>
                      <a:pt x="335" y="239"/>
                      <a:pt x="335" y="239"/>
                    </a:cubicBezTo>
                    <a:cubicBezTo>
                      <a:pt x="335" y="212"/>
                      <a:pt x="335" y="212"/>
                      <a:pt x="335" y="212"/>
                    </a:cubicBezTo>
                    <a:cubicBezTo>
                      <a:pt x="335" y="212"/>
                      <a:pt x="293" y="191"/>
                      <a:pt x="291" y="182"/>
                    </a:cubicBezTo>
                    <a:cubicBezTo>
                      <a:pt x="289" y="173"/>
                      <a:pt x="299" y="168"/>
                      <a:pt x="299" y="168"/>
                    </a:cubicBezTo>
                    <a:cubicBezTo>
                      <a:pt x="299" y="168"/>
                      <a:pt x="290" y="161"/>
                      <a:pt x="291" y="154"/>
                    </a:cubicBezTo>
                    <a:cubicBezTo>
                      <a:pt x="292" y="147"/>
                      <a:pt x="305" y="148"/>
                      <a:pt x="305" y="148"/>
                    </a:cubicBezTo>
                    <a:cubicBezTo>
                      <a:pt x="304" y="135"/>
                      <a:pt x="304" y="135"/>
                      <a:pt x="304" y="135"/>
                    </a:cubicBezTo>
                    <a:cubicBezTo>
                      <a:pt x="305" y="126"/>
                      <a:pt x="305" y="126"/>
                      <a:pt x="305" y="126"/>
                    </a:cubicBezTo>
                    <a:cubicBezTo>
                      <a:pt x="305" y="126"/>
                      <a:pt x="315" y="126"/>
                      <a:pt x="318" y="118"/>
                    </a:cubicBezTo>
                    <a:cubicBezTo>
                      <a:pt x="321" y="110"/>
                      <a:pt x="307" y="101"/>
                      <a:pt x="307" y="97"/>
                    </a:cubicBezTo>
                    <a:cubicBezTo>
                      <a:pt x="307" y="93"/>
                      <a:pt x="323" y="84"/>
                      <a:pt x="318" y="80"/>
                    </a:cubicBezTo>
                    <a:cubicBezTo>
                      <a:pt x="313" y="76"/>
                      <a:pt x="299" y="85"/>
                      <a:pt x="299" y="85"/>
                    </a:cubicBezTo>
                    <a:cubicBezTo>
                      <a:pt x="288" y="73"/>
                      <a:pt x="288" y="73"/>
                      <a:pt x="288" y="73"/>
                    </a:cubicBezTo>
                    <a:cubicBezTo>
                      <a:pt x="274" y="71"/>
                      <a:pt x="274" y="71"/>
                      <a:pt x="274" y="71"/>
                    </a:cubicBezTo>
                    <a:cubicBezTo>
                      <a:pt x="274" y="71"/>
                      <a:pt x="277" y="61"/>
                      <a:pt x="265" y="50"/>
                    </a:cubicBezTo>
                    <a:cubicBezTo>
                      <a:pt x="256" y="42"/>
                      <a:pt x="251" y="19"/>
                      <a:pt x="249" y="8"/>
                    </a:cubicBezTo>
                    <a:cubicBezTo>
                      <a:pt x="222" y="19"/>
                      <a:pt x="222" y="19"/>
                      <a:pt x="222" y="19"/>
                    </a:cubicBezTo>
                    <a:cubicBezTo>
                      <a:pt x="222" y="19"/>
                      <a:pt x="224" y="2"/>
                      <a:pt x="210" y="1"/>
                    </a:cubicBezTo>
                    <a:cubicBezTo>
                      <a:pt x="196" y="0"/>
                      <a:pt x="204" y="8"/>
                      <a:pt x="196" y="10"/>
                    </a:cubicBezTo>
                    <a:cubicBezTo>
                      <a:pt x="188" y="12"/>
                      <a:pt x="179" y="1"/>
                      <a:pt x="179" y="1"/>
                    </a:cubicBezTo>
                    <a:cubicBezTo>
                      <a:pt x="153" y="1"/>
                      <a:pt x="153" y="1"/>
                      <a:pt x="153" y="1"/>
                    </a:cubicBezTo>
                    <a:cubicBezTo>
                      <a:pt x="153" y="1"/>
                      <a:pt x="154" y="14"/>
                      <a:pt x="142" y="17"/>
                    </a:cubicBezTo>
                    <a:cubicBezTo>
                      <a:pt x="141" y="17"/>
                      <a:pt x="141" y="17"/>
                      <a:pt x="140" y="17"/>
                    </a:cubicBezTo>
                    <a:cubicBezTo>
                      <a:pt x="138" y="24"/>
                      <a:pt x="133" y="33"/>
                      <a:pt x="124" y="37"/>
                    </a:cubicBezTo>
                    <a:cubicBezTo>
                      <a:pt x="108" y="44"/>
                      <a:pt x="96" y="39"/>
                      <a:pt x="92" y="53"/>
                    </a:cubicBezTo>
                    <a:cubicBezTo>
                      <a:pt x="88" y="67"/>
                      <a:pt x="103" y="75"/>
                      <a:pt x="103" y="75"/>
                    </a:cubicBezTo>
                    <a:cubicBezTo>
                      <a:pt x="103" y="75"/>
                      <a:pt x="111" y="105"/>
                      <a:pt x="107" y="110"/>
                    </a:cubicBezTo>
                    <a:cubicBezTo>
                      <a:pt x="103" y="115"/>
                      <a:pt x="97" y="122"/>
                      <a:pt x="98" y="129"/>
                    </a:cubicBezTo>
                    <a:cubicBezTo>
                      <a:pt x="99" y="136"/>
                      <a:pt x="116" y="145"/>
                      <a:pt x="104" y="154"/>
                    </a:cubicBezTo>
                    <a:cubicBezTo>
                      <a:pt x="92" y="163"/>
                      <a:pt x="43" y="181"/>
                      <a:pt x="43" y="181"/>
                    </a:cubicBezTo>
                    <a:cubicBezTo>
                      <a:pt x="0" y="216"/>
                      <a:pt x="0" y="216"/>
                      <a:pt x="0" y="216"/>
                    </a:cubicBezTo>
                    <a:cubicBezTo>
                      <a:pt x="0" y="216"/>
                      <a:pt x="0" y="216"/>
                      <a:pt x="0" y="216"/>
                    </a:cubicBezTo>
                    <a:cubicBezTo>
                      <a:pt x="12" y="246"/>
                      <a:pt x="12" y="246"/>
                      <a:pt x="12" y="246"/>
                    </a:cubicBezTo>
                    <a:cubicBezTo>
                      <a:pt x="12" y="260"/>
                      <a:pt x="12" y="260"/>
                      <a:pt x="12" y="260"/>
                    </a:cubicBezTo>
                    <a:cubicBezTo>
                      <a:pt x="29" y="269"/>
                      <a:pt x="29" y="269"/>
                      <a:pt x="29" y="269"/>
                    </a:cubicBezTo>
                    <a:cubicBezTo>
                      <a:pt x="28" y="278"/>
                      <a:pt x="28" y="278"/>
                      <a:pt x="28" y="278"/>
                    </a:cubicBezTo>
                    <a:cubicBezTo>
                      <a:pt x="28" y="278"/>
                      <a:pt x="35" y="288"/>
                      <a:pt x="44" y="287"/>
                    </a:cubicBezTo>
                    <a:cubicBezTo>
                      <a:pt x="53" y="286"/>
                      <a:pt x="78" y="287"/>
                      <a:pt x="78" y="287"/>
                    </a:cubicBezTo>
                    <a:cubicBezTo>
                      <a:pt x="78" y="287"/>
                      <a:pt x="115" y="315"/>
                      <a:pt x="127" y="321"/>
                    </a:cubicBezTo>
                    <a:cubicBezTo>
                      <a:pt x="139" y="327"/>
                      <a:pt x="160" y="341"/>
                      <a:pt x="160" y="341"/>
                    </a:cubicBezTo>
                    <a:cubicBezTo>
                      <a:pt x="288" y="438"/>
                      <a:pt x="288" y="438"/>
                      <a:pt x="288" y="438"/>
                    </a:cubicBezTo>
                    <a:cubicBezTo>
                      <a:pt x="288" y="438"/>
                      <a:pt x="339" y="439"/>
                      <a:pt x="376" y="442"/>
                    </a:cubicBezTo>
                    <a:cubicBezTo>
                      <a:pt x="376" y="442"/>
                      <a:pt x="376" y="442"/>
                      <a:pt x="376" y="442"/>
                    </a:cubicBezTo>
                    <a:cubicBezTo>
                      <a:pt x="379" y="438"/>
                      <a:pt x="386" y="431"/>
                      <a:pt x="387" y="422"/>
                    </a:cubicBezTo>
                    <a:cubicBezTo>
                      <a:pt x="389" y="410"/>
                      <a:pt x="396" y="395"/>
                      <a:pt x="396" y="395"/>
                    </a:cubicBezTo>
                    <a:cubicBezTo>
                      <a:pt x="411" y="393"/>
                      <a:pt x="411" y="393"/>
                      <a:pt x="411" y="393"/>
                    </a:cubicBezTo>
                    <a:cubicBezTo>
                      <a:pt x="431" y="393"/>
                      <a:pt x="431" y="393"/>
                      <a:pt x="431" y="393"/>
                    </a:cubicBezTo>
                    <a:cubicBezTo>
                      <a:pt x="433" y="398"/>
                      <a:pt x="433" y="398"/>
                      <a:pt x="433" y="398"/>
                    </a:cubicBezTo>
                    <a:cubicBezTo>
                      <a:pt x="451" y="392"/>
                      <a:pt x="451" y="392"/>
                      <a:pt x="451" y="392"/>
                    </a:cubicBezTo>
                    <a:cubicBezTo>
                      <a:pt x="454" y="387"/>
                      <a:pt x="454" y="387"/>
                      <a:pt x="454" y="387"/>
                    </a:cubicBezTo>
                    <a:cubicBezTo>
                      <a:pt x="451" y="384"/>
                      <a:pt x="448" y="381"/>
                      <a:pt x="448" y="378"/>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78" name="Freeform 200">
                <a:extLst>
                  <a:ext uri="{FF2B5EF4-FFF2-40B4-BE49-F238E27FC236}">
                    <a16:creationId xmlns:a16="http://schemas.microsoft.com/office/drawing/2014/main" id="{B9F4B7A7-37DB-451F-B6C6-C38B046FBC9E}"/>
                  </a:ext>
                </a:extLst>
              </p:cNvPr>
              <p:cNvSpPr>
                <a:spLocks/>
              </p:cNvSpPr>
              <p:nvPr>
                <p:custDataLst>
                  <p:tags r:id="rId159"/>
                </p:custDataLst>
              </p:nvPr>
            </p:nvSpPr>
            <p:spPr bwMode="gray">
              <a:xfrm>
                <a:off x="5667344" y="3197238"/>
                <a:ext cx="577846" cy="436565"/>
              </a:xfrm>
              <a:custGeom>
                <a:avLst/>
                <a:gdLst>
                  <a:gd name="T0" fmla="*/ 900 w 959"/>
                  <a:gd name="T1" fmla="*/ 739 h 789"/>
                  <a:gd name="T2" fmla="*/ 931 w 959"/>
                  <a:gd name="T3" fmla="*/ 708 h 789"/>
                  <a:gd name="T4" fmla="*/ 933 w 959"/>
                  <a:gd name="T5" fmla="*/ 673 h 789"/>
                  <a:gd name="T6" fmla="*/ 929 w 959"/>
                  <a:gd name="T7" fmla="*/ 621 h 789"/>
                  <a:gd name="T8" fmla="*/ 884 w 959"/>
                  <a:gd name="T9" fmla="*/ 609 h 789"/>
                  <a:gd name="T10" fmla="*/ 825 w 959"/>
                  <a:gd name="T11" fmla="*/ 533 h 789"/>
                  <a:gd name="T12" fmla="*/ 839 w 959"/>
                  <a:gd name="T13" fmla="*/ 453 h 789"/>
                  <a:gd name="T14" fmla="*/ 784 w 959"/>
                  <a:gd name="T15" fmla="*/ 364 h 789"/>
                  <a:gd name="T16" fmla="*/ 780 w 959"/>
                  <a:gd name="T17" fmla="*/ 315 h 789"/>
                  <a:gd name="T18" fmla="*/ 784 w 959"/>
                  <a:gd name="T19" fmla="*/ 280 h 789"/>
                  <a:gd name="T20" fmla="*/ 799 w 959"/>
                  <a:gd name="T21" fmla="*/ 225 h 789"/>
                  <a:gd name="T22" fmla="*/ 786 w 959"/>
                  <a:gd name="T23" fmla="*/ 189 h 789"/>
                  <a:gd name="T24" fmla="*/ 723 w 959"/>
                  <a:gd name="T25" fmla="*/ 149 h 789"/>
                  <a:gd name="T26" fmla="*/ 648 w 959"/>
                  <a:gd name="T27" fmla="*/ 116 h 789"/>
                  <a:gd name="T28" fmla="*/ 602 w 959"/>
                  <a:gd name="T29" fmla="*/ 103 h 789"/>
                  <a:gd name="T30" fmla="*/ 556 w 959"/>
                  <a:gd name="T31" fmla="*/ 85 h 789"/>
                  <a:gd name="T32" fmla="*/ 487 w 959"/>
                  <a:gd name="T33" fmla="*/ 115 h 789"/>
                  <a:gd name="T34" fmla="*/ 452 w 959"/>
                  <a:gd name="T35" fmla="*/ 133 h 789"/>
                  <a:gd name="T36" fmla="*/ 399 w 959"/>
                  <a:gd name="T37" fmla="*/ 164 h 789"/>
                  <a:gd name="T38" fmla="*/ 309 w 959"/>
                  <a:gd name="T39" fmla="*/ 155 h 789"/>
                  <a:gd name="T40" fmla="*/ 233 w 959"/>
                  <a:gd name="T41" fmla="*/ 110 h 789"/>
                  <a:gd name="T42" fmla="*/ 199 w 959"/>
                  <a:gd name="T43" fmla="*/ 69 h 789"/>
                  <a:gd name="T44" fmla="*/ 181 w 959"/>
                  <a:gd name="T45" fmla="*/ 33 h 789"/>
                  <a:gd name="T46" fmla="*/ 128 w 959"/>
                  <a:gd name="T47" fmla="*/ 35 h 789"/>
                  <a:gd name="T48" fmla="*/ 45 w 959"/>
                  <a:gd name="T49" fmla="*/ 30 h 789"/>
                  <a:gd name="T50" fmla="*/ 0 w 959"/>
                  <a:gd name="T51" fmla="*/ 24 h 789"/>
                  <a:gd name="T52" fmla="*/ 24 w 959"/>
                  <a:gd name="T53" fmla="*/ 78 h 789"/>
                  <a:gd name="T54" fmla="*/ 37 w 959"/>
                  <a:gd name="T55" fmla="*/ 129 h 789"/>
                  <a:gd name="T56" fmla="*/ 79 w 959"/>
                  <a:gd name="T57" fmla="*/ 203 h 789"/>
                  <a:gd name="T58" fmla="*/ 123 w 959"/>
                  <a:gd name="T59" fmla="*/ 212 h 789"/>
                  <a:gd name="T60" fmla="*/ 110 w 959"/>
                  <a:gd name="T61" fmla="*/ 258 h 789"/>
                  <a:gd name="T62" fmla="*/ 96 w 959"/>
                  <a:gd name="T63" fmla="*/ 286 h 789"/>
                  <a:gd name="T64" fmla="*/ 140 w 959"/>
                  <a:gd name="T65" fmla="*/ 344 h 789"/>
                  <a:gd name="T66" fmla="*/ 185 w 959"/>
                  <a:gd name="T67" fmla="*/ 390 h 789"/>
                  <a:gd name="T68" fmla="*/ 220 w 959"/>
                  <a:gd name="T69" fmla="*/ 472 h 789"/>
                  <a:gd name="T70" fmla="*/ 253 w 959"/>
                  <a:gd name="T71" fmla="*/ 510 h 789"/>
                  <a:gd name="T72" fmla="*/ 298 w 959"/>
                  <a:gd name="T73" fmla="*/ 516 h 789"/>
                  <a:gd name="T74" fmla="*/ 316 w 959"/>
                  <a:gd name="T75" fmla="*/ 524 h 789"/>
                  <a:gd name="T76" fmla="*/ 338 w 959"/>
                  <a:gd name="T77" fmla="*/ 541 h 789"/>
                  <a:gd name="T78" fmla="*/ 371 w 959"/>
                  <a:gd name="T79" fmla="*/ 583 h 789"/>
                  <a:gd name="T80" fmla="*/ 387 w 959"/>
                  <a:gd name="T81" fmla="*/ 600 h 789"/>
                  <a:gd name="T82" fmla="*/ 431 w 959"/>
                  <a:gd name="T83" fmla="*/ 644 h 789"/>
                  <a:gd name="T84" fmla="*/ 526 w 959"/>
                  <a:gd name="T85" fmla="*/ 703 h 789"/>
                  <a:gd name="T86" fmla="*/ 565 w 959"/>
                  <a:gd name="T87" fmla="*/ 715 h 789"/>
                  <a:gd name="T88" fmla="*/ 606 w 959"/>
                  <a:gd name="T89" fmla="*/ 691 h 789"/>
                  <a:gd name="T90" fmla="*/ 641 w 959"/>
                  <a:gd name="T91" fmla="*/ 682 h 789"/>
                  <a:gd name="T92" fmla="*/ 718 w 959"/>
                  <a:gd name="T93" fmla="*/ 752 h 789"/>
                  <a:gd name="T94" fmla="*/ 805 w 959"/>
                  <a:gd name="T95" fmla="*/ 781 h 789"/>
                  <a:gd name="T96" fmla="*/ 889 w 959"/>
                  <a:gd name="T97" fmla="*/ 786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59" h="789">
                    <a:moveTo>
                      <a:pt x="890" y="786"/>
                    </a:moveTo>
                    <a:cubicBezTo>
                      <a:pt x="889" y="779"/>
                      <a:pt x="885" y="751"/>
                      <a:pt x="890" y="749"/>
                    </a:cubicBezTo>
                    <a:cubicBezTo>
                      <a:pt x="896" y="746"/>
                      <a:pt x="900" y="739"/>
                      <a:pt x="900" y="739"/>
                    </a:cubicBezTo>
                    <a:cubicBezTo>
                      <a:pt x="902" y="728"/>
                      <a:pt x="902" y="728"/>
                      <a:pt x="902" y="728"/>
                    </a:cubicBezTo>
                    <a:cubicBezTo>
                      <a:pt x="902" y="728"/>
                      <a:pt x="911" y="730"/>
                      <a:pt x="915" y="724"/>
                    </a:cubicBezTo>
                    <a:cubicBezTo>
                      <a:pt x="919" y="718"/>
                      <a:pt x="913" y="714"/>
                      <a:pt x="931" y="708"/>
                    </a:cubicBezTo>
                    <a:cubicBezTo>
                      <a:pt x="949" y="702"/>
                      <a:pt x="951" y="715"/>
                      <a:pt x="955" y="710"/>
                    </a:cubicBezTo>
                    <a:cubicBezTo>
                      <a:pt x="959" y="705"/>
                      <a:pt x="958" y="689"/>
                      <a:pt x="950" y="678"/>
                    </a:cubicBezTo>
                    <a:cubicBezTo>
                      <a:pt x="942" y="667"/>
                      <a:pt x="936" y="680"/>
                      <a:pt x="933" y="673"/>
                    </a:cubicBezTo>
                    <a:cubicBezTo>
                      <a:pt x="930" y="666"/>
                      <a:pt x="931" y="643"/>
                      <a:pt x="931" y="643"/>
                    </a:cubicBezTo>
                    <a:cubicBezTo>
                      <a:pt x="928" y="641"/>
                      <a:pt x="928" y="641"/>
                      <a:pt x="928" y="641"/>
                    </a:cubicBezTo>
                    <a:cubicBezTo>
                      <a:pt x="929" y="621"/>
                      <a:pt x="929" y="621"/>
                      <a:pt x="929" y="621"/>
                    </a:cubicBezTo>
                    <a:cubicBezTo>
                      <a:pt x="916" y="622"/>
                      <a:pt x="916" y="622"/>
                      <a:pt x="916" y="622"/>
                    </a:cubicBezTo>
                    <a:cubicBezTo>
                      <a:pt x="907" y="611"/>
                      <a:pt x="907" y="611"/>
                      <a:pt x="907" y="611"/>
                    </a:cubicBezTo>
                    <a:cubicBezTo>
                      <a:pt x="907" y="611"/>
                      <a:pt x="892" y="619"/>
                      <a:pt x="884" y="609"/>
                    </a:cubicBezTo>
                    <a:cubicBezTo>
                      <a:pt x="876" y="599"/>
                      <a:pt x="862" y="579"/>
                      <a:pt x="856" y="568"/>
                    </a:cubicBezTo>
                    <a:cubicBezTo>
                      <a:pt x="850" y="557"/>
                      <a:pt x="830" y="538"/>
                      <a:pt x="830" y="538"/>
                    </a:cubicBezTo>
                    <a:cubicBezTo>
                      <a:pt x="830" y="538"/>
                      <a:pt x="825" y="537"/>
                      <a:pt x="825" y="533"/>
                    </a:cubicBezTo>
                    <a:cubicBezTo>
                      <a:pt x="825" y="529"/>
                      <a:pt x="841" y="515"/>
                      <a:pt x="848" y="505"/>
                    </a:cubicBezTo>
                    <a:cubicBezTo>
                      <a:pt x="855" y="495"/>
                      <a:pt x="866" y="482"/>
                      <a:pt x="860" y="465"/>
                    </a:cubicBezTo>
                    <a:cubicBezTo>
                      <a:pt x="854" y="448"/>
                      <a:pt x="839" y="453"/>
                      <a:pt x="839" y="453"/>
                    </a:cubicBezTo>
                    <a:cubicBezTo>
                      <a:pt x="839" y="453"/>
                      <a:pt x="809" y="453"/>
                      <a:pt x="809" y="445"/>
                    </a:cubicBezTo>
                    <a:cubicBezTo>
                      <a:pt x="809" y="437"/>
                      <a:pt x="809" y="423"/>
                      <a:pt x="809" y="412"/>
                    </a:cubicBezTo>
                    <a:cubicBezTo>
                      <a:pt x="809" y="401"/>
                      <a:pt x="782" y="377"/>
                      <a:pt x="784" y="364"/>
                    </a:cubicBezTo>
                    <a:cubicBezTo>
                      <a:pt x="786" y="351"/>
                      <a:pt x="801" y="343"/>
                      <a:pt x="800" y="337"/>
                    </a:cubicBezTo>
                    <a:cubicBezTo>
                      <a:pt x="799" y="331"/>
                      <a:pt x="778" y="334"/>
                      <a:pt x="778" y="334"/>
                    </a:cubicBezTo>
                    <a:cubicBezTo>
                      <a:pt x="780" y="315"/>
                      <a:pt x="780" y="315"/>
                      <a:pt x="780" y="315"/>
                    </a:cubicBezTo>
                    <a:cubicBezTo>
                      <a:pt x="780" y="315"/>
                      <a:pt x="769" y="306"/>
                      <a:pt x="772" y="301"/>
                    </a:cubicBezTo>
                    <a:cubicBezTo>
                      <a:pt x="775" y="296"/>
                      <a:pt x="789" y="291"/>
                      <a:pt x="789" y="291"/>
                    </a:cubicBezTo>
                    <a:cubicBezTo>
                      <a:pt x="784" y="280"/>
                      <a:pt x="784" y="280"/>
                      <a:pt x="784" y="280"/>
                    </a:cubicBezTo>
                    <a:cubicBezTo>
                      <a:pt x="798" y="276"/>
                      <a:pt x="798" y="276"/>
                      <a:pt x="798" y="276"/>
                    </a:cubicBezTo>
                    <a:cubicBezTo>
                      <a:pt x="798" y="276"/>
                      <a:pt x="791" y="246"/>
                      <a:pt x="792" y="239"/>
                    </a:cubicBezTo>
                    <a:cubicBezTo>
                      <a:pt x="793" y="232"/>
                      <a:pt x="799" y="225"/>
                      <a:pt x="799" y="225"/>
                    </a:cubicBezTo>
                    <a:cubicBezTo>
                      <a:pt x="792" y="207"/>
                      <a:pt x="792" y="207"/>
                      <a:pt x="792" y="207"/>
                    </a:cubicBezTo>
                    <a:cubicBezTo>
                      <a:pt x="793" y="192"/>
                      <a:pt x="793" y="192"/>
                      <a:pt x="793" y="192"/>
                    </a:cubicBezTo>
                    <a:cubicBezTo>
                      <a:pt x="786" y="189"/>
                      <a:pt x="786" y="189"/>
                      <a:pt x="786" y="189"/>
                    </a:cubicBezTo>
                    <a:cubicBezTo>
                      <a:pt x="785" y="167"/>
                      <a:pt x="785" y="167"/>
                      <a:pt x="785" y="167"/>
                    </a:cubicBezTo>
                    <a:cubicBezTo>
                      <a:pt x="743" y="169"/>
                      <a:pt x="743" y="169"/>
                      <a:pt x="743" y="169"/>
                    </a:cubicBezTo>
                    <a:cubicBezTo>
                      <a:pt x="743" y="169"/>
                      <a:pt x="729" y="153"/>
                      <a:pt x="723" y="149"/>
                    </a:cubicBezTo>
                    <a:cubicBezTo>
                      <a:pt x="717" y="145"/>
                      <a:pt x="704" y="143"/>
                      <a:pt x="704" y="143"/>
                    </a:cubicBezTo>
                    <a:cubicBezTo>
                      <a:pt x="704" y="143"/>
                      <a:pt x="696" y="125"/>
                      <a:pt x="691" y="121"/>
                    </a:cubicBezTo>
                    <a:cubicBezTo>
                      <a:pt x="686" y="117"/>
                      <a:pt x="648" y="116"/>
                      <a:pt x="648" y="116"/>
                    </a:cubicBezTo>
                    <a:cubicBezTo>
                      <a:pt x="645" y="120"/>
                      <a:pt x="645" y="120"/>
                      <a:pt x="645" y="120"/>
                    </a:cubicBezTo>
                    <a:cubicBezTo>
                      <a:pt x="645" y="120"/>
                      <a:pt x="624" y="103"/>
                      <a:pt x="619" y="103"/>
                    </a:cubicBezTo>
                    <a:cubicBezTo>
                      <a:pt x="614" y="103"/>
                      <a:pt x="602" y="103"/>
                      <a:pt x="602" y="103"/>
                    </a:cubicBezTo>
                    <a:cubicBezTo>
                      <a:pt x="602" y="103"/>
                      <a:pt x="601" y="89"/>
                      <a:pt x="595" y="85"/>
                    </a:cubicBezTo>
                    <a:cubicBezTo>
                      <a:pt x="589" y="81"/>
                      <a:pt x="580" y="86"/>
                      <a:pt x="580" y="86"/>
                    </a:cubicBezTo>
                    <a:cubicBezTo>
                      <a:pt x="580" y="86"/>
                      <a:pt x="559" y="83"/>
                      <a:pt x="556" y="85"/>
                    </a:cubicBezTo>
                    <a:cubicBezTo>
                      <a:pt x="553" y="87"/>
                      <a:pt x="551" y="93"/>
                      <a:pt x="551" y="93"/>
                    </a:cubicBezTo>
                    <a:cubicBezTo>
                      <a:pt x="551" y="93"/>
                      <a:pt x="535" y="88"/>
                      <a:pt x="524" y="90"/>
                    </a:cubicBezTo>
                    <a:cubicBezTo>
                      <a:pt x="513" y="92"/>
                      <a:pt x="487" y="115"/>
                      <a:pt x="487" y="115"/>
                    </a:cubicBezTo>
                    <a:cubicBezTo>
                      <a:pt x="487" y="123"/>
                      <a:pt x="487" y="123"/>
                      <a:pt x="487" y="123"/>
                    </a:cubicBezTo>
                    <a:cubicBezTo>
                      <a:pt x="487" y="123"/>
                      <a:pt x="476" y="132"/>
                      <a:pt x="472" y="133"/>
                    </a:cubicBezTo>
                    <a:cubicBezTo>
                      <a:pt x="468" y="134"/>
                      <a:pt x="452" y="133"/>
                      <a:pt x="452" y="133"/>
                    </a:cubicBezTo>
                    <a:cubicBezTo>
                      <a:pt x="452" y="133"/>
                      <a:pt x="472" y="159"/>
                      <a:pt x="460" y="161"/>
                    </a:cubicBezTo>
                    <a:cubicBezTo>
                      <a:pt x="448" y="163"/>
                      <a:pt x="437" y="156"/>
                      <a:pt x="437" y="156"/>
                    </a:cubicBezTo>
                    <a:cubicBezTo>
                      <a:pt x="437" y="156"/>
                      <a:pt x="412" y="161"/>
                      <a:pt x="399" y="164"/>
                    </a:cubicBezTo>
                    <a:cubicBezTo>
                      <a:pt x="386" y="167"/>
                      <a:pt x="379" y="176"/>
                      <a:pt x="371" y="175"/>
                    </a:cubicBezTo>
                    <a:cubicBezTo>
                      <a:pt x="363" y="174"/>
                      <a:pt x="355" y="165"/>
                      <a:pt x="345" y="165"/>
                    </a:cubicBezTo>
                    <a:cubicBezTo>
                      <a:pt x="335" y="165"/>
                      <a:pt x="323" y="165"/>
                      <a:pt x="309" y="155"/>
                    </a:cubicBezTo>
                    <a:cubicBezTo>
                      <a:pt x="295" y="145"/>
                      <a:pt x="287" y="128"/>
                      <a:pt x="287" y="128"/>
                    </a:cubicBezTo>
                    <a:cubicBezTo>
                      <a:pt x="287" y="128"/>
                      <a:pt x="258" y="125"/>
                      <a:pt x="255" y="125"/>
                    </a:cubicBezTo>
                    <a:cubicBezTo>
                      <a:pt x="252" y="125"/>
                      <a:pt x="240" y="118"/>
                      <a:pt x="233" y="110"/>
                    </a:cubicBezTo>
                    <a:cubicBezTo>
                      <a:pt x="226" y="102"/>
                      <a:pt x="218" y="80"/>
                      <a:pt x="218" y="80"/>
                    </a:cubicBezTo>
                    <a:cubicBezTo>
                      <a:pt x="208" y="78"/>
                      <a:pt x="208" y="78"/>
                      <a:pt x="208" y="78"/>
                    </a:cubicBezTo>
                    <a:cubicBezTo>
                      <a:pt x="208" y="78"/>
                      <a:pt x="205" y="72"/>
                      <a:pt x="199" y="69"/>
                    </a:cubicBezTo>
                    <a:cubicBezTo>
                      <a:pt x="193" y="66"/>
                      <a:pt x="180" y="58"/>
                      <a:pt x="180" y="53"/>
                    </a:cubicBezTo>
                    <a:cubicBezTo>
                      <a:pt x="180" y="48"/>
                      <a:pt x="190" y="52"/>
                      <a:pt x="190" y="46"/>
                    </a:cubicBezTo>
                    <a:cubicBezTo>
                      <a:pt x="190" y="40"/>
                      <a:pt x="181" y="38"/>
                      <a:pt x="181" y="33"/>
                    </a:cubicBezTo>
                    <a:cubicBezTo>
                      <a:pt x="181" y="28"/>
                      <a:pt x="190" y="28"/>
                      <a:pt x="188" y="22"/>
                    </a:cubicBezTo>
                    <a:cubicBezTo>
                      <a:pt x="186" y="16"/>
                      <a:pt x="179" y="4"/>
                      <a:pt x="173" y="4"/>
                    </a:cubicBezTo>
                    <a:cubicBezTo>
                      <a:pt x="167" y="4"/>
                      <a:pt x="131" y="31"/>
                      <a:pt x="128" y="35"/>
                    </a:cubicBezTo>
                    <a:cubicBezTo>
                      <a:pt x="125" y="39"/>
                      <a:pt x="117" y="50"/>
                      <a:pt x="114" y="51"/>
                    </a:cubicBezTo>
                    <a:cubicBezTo>
                      <a:pt x="111" y="52"/>
                      <a:pt x="102" y="52"/>
                      <a:pt x="87" y="52"/>
                    </a:cubicBezTo>
                    <a:cubicBezTo>
                      <a:pt x="72" y="52"/>
                      <a:pt x="55" y="38"/>
                      <a:pt x="45" y="30"/>
                    </a:cubicBezTo>
                    <a:cubicBezTo>
                      <a:pt x="35" y="22"/>
                      <a:pt x="38" y="4"/>
                      <a:pt x="29" y="2"/>
                    </a:cubicBezTo>
                    <a:cubicBezTo>
                      <a:pt x="20" y="0"/>
                      <a:pt x="16" y="22"/>
                      <a:pt x="16" y="22"/>
                    </a:cubicBezTo>
                    <a:cubicBezTo>
                      <a:pt x="0" y="24"/>
                      <a:pt x="0" y="24"/>
                      <a:pt x="0" y="24"/>
                    </a:cubicBezTo>
                    <a:cubicBezTo>
                      <a:pt x="11" y="40"/>
                      <a:pt x="11" y="40"/>
                      <a:pt x="11" y="40"/>
                    </a:cubicBezTo>
                    <a:cubicBezTo>
                      <a:pt x="12" y="55"/>
                      <a:pt x="12" y="55"/>
                      <a:pt x="12" y="55"/>
                    </a:cubicBezTo>
                    <a:cubicBezTo>
                      <a:pt x="12" y="55"/>
                      <a:pt x="19" y="76"/>
                      <a:pt x="24" y="78"/>
                    </a:cubicBezTo>
                    <a:cubicBezTo>
                      <a:pt x="29" y="80"/>
                      <a:pt x="16" y="99"/>
                      <a:pt x="16" y="99"/>
                    </a:cubicBezTo>
                    <a:cubicBezTo>
                      <a:pt x="37" y="111"/>
                      <a:pt x="37" y="111"/>
                      <a:pt x="37" y="111"/>
                    </a:cubicBezTo>
                    <a:cubicBezTo>
                      <a:pt x="37" y="129"/>
                      <a:pt x="37" y="129"/>
                      <a:pt x="37" y="129"/>
                    </a:cubicBezTo>
                    <a:cubicBezTo>
                      <a:pt x="53" y="134"/>
                      <a:pt x="53" y="134"/>
                      <a:pt x="53" y="134"/>
                    </a:cubicBezTo>
                    <a:cubicBezTo>
                      <a:pt x="53" y="134"/>
                      <a:pt x="58" y="171"/>
                      <a:pt x="70" y="182"/>
                    </a:cubicBezTo>
                    <a:cubicBezTo>
                      <a:pt x="82" y="193"/>
                      <a:pt x="79" y="203"/>
                      <a:pt x="79" y="203"/>
                    </a:cubicBezTo>
                    <a:cubicBezTo>
                      <a:pt x="93" y="205"/>
                      <a:pt x="93" y="205"/>
                      <a:pt x="93" y="205"/>
                    </a:cubicBezTo>
                    <a:cubicBezTo>
                      <a:pt x="104" y="217"/>
                      <a:pt x="104" y="217"/>
                      <a:pt x="104" y="217"/>
                    </a:cubicBezTo>
                    <a:cubicBezTo>
                      <a:pt x="104" y="217"/>
                      <a:pt x="118" y="208"/>
                      <a:pt x="123" y="212"/>
                    </a:cubicBezTo>
                    <a:cubicBezTo>
                      <a:pt x="128" y="216"/>
                      <a:pt x="112" y="225"/>
                      <a:pt x="112" y="229"/>
                    </a:cubicBezTo>
                    <a:cubicBezTo>
                      <a:pt x="112" y="233"/>
                      <a:pt x="126" y="242"/>
                      <a:pt x="123" y="250"/>
                    </a:cubicBezTo>
                    <a:cubicBezTo>
                      <a:pt x="120" y="258"/>
                      <a:pt x="110" y="258"/>
                      <a:pt x="110" y="258"/>
                    </a:cubicBezTo>
                    <a:cubicBezTo>
                      <a:pt x="109" y="267"/>
                      <a:pt x="109" y="267"/>
                      <a:pt x="109" y="267"/>
                    </a:cubicBezTo>
                    <a:cubicBezTo>
                      <a:pt x="110" y="280"/>
                      <a:pt x="110" y="280"/>
                      <a:pt x="110" y="280"/>
                    </a:cubicBezTo>
                    <a:cubicBezTo>
                      <a:pt x="110" y="280"/>
                      <a:pt x="97" y="279"/>
                      <a:pt x="96" y="286"/>
                    </a:cubicBezTo>
                    <a:cubicBezTo>
                      <a:pt x="95" y="293"/>
                      <a:pt x="104" y="300"/>
                      <a:pt x="104" y="300"/>
                    </a:cubicBezTo>
                    <a:cubicBezTo>
                      <a:pt x="104" y="300"/>
                      <a:pt x="94" y="305"/>
                      <a:pt x="96" y="314"/>
                    </a:cubicBezTo>
                    <a:cubicBezTo>
                      <a:pt x="98" y="323"/>
                      <a:pt x="140" y="344"/>
                      <a:pt x="140" y="344"/>
                    </a:cubicBezTo>
                    <a:cubicBezTo>
                      <a:pt x="140" y="371"/>
                      <a:pt x="140" y="371"/>
                      <a:pt x="140" y="371"/>
                    </a:cubicBezTo>
                    <a:cubicBezTo>
                      <a:pt x="153" y="372"/>
                      <a:pt x="153" y="372"/>
                      <a:pt x="153" y="372"/>
                    </a:cubicBezTo>
                    <a:cubicBezTo>
                      <a:pt x="153" y="372"/>
                      <a:pt x="174" y="390"/>
                      <a:pt x="185" y="390"/>
                    </a:cubicBezTo>
                    <a:cubicBezTo>
                      <a:pt x="196" y="390"/>
                      <a:pt x="198" y="402"/>
                      <a:pt x="198" y="402"/>
                    </a:cubicBezTo>
                    <a:cubicBezTo>
                      <a:pt x="220" y="427"/>
                      <a:pt x="220" y="427"/>
                      <a:pt x="220" y="427"/>
                    </a:cubicBezTo>
                    <a:cubicBezTo>
                      <a:pt x="220" y="427"/>
                      <a:pt x="212" y="466"/>
                      <a:pt x="220" y="472"/>
                    </a:cubicBezTo>
                    <a:cubicBezTo>
                      <a:pt x="228" y="478"/>
                      <a:pt x="233" y="478"/>
                      <a:pt x="233" y="478"/>
                    </a:cubicBezTo>
                    <a:cubicBezTo>
                      <a:pt x="237" y="497"/>
                      <a:pt x="237" y="497"/>
                      <a:pt x="237" y="497"/>
                    </a:cubicBezTo>
                    <a:cubicBezTo>
                      <a:pt x="237" y="497"/>
                      <a:pt x="252" y="501"/>
                      <a:pt x="253" y="510"/>
                    </a:cubicBezTo>
                    <a:cubicBezTo>
                      <a:pt x="254" y="519"/>
                      <a:pt x="275" y="533"/>
                      <a:pt x="282" y="528"/>
                    </a:cubicBezTo>
                    <a:cubicBezTo>
                      <a:pt x="289" y="523"/>
                      <a:pt x="267" y="512"/>
                      <a:pt x="283" y="505"/>
                    </a:cubicBezTo>
                    <a:cubicBezTo>
                      <a:pt x="299" y="498"/>
                      <a:pt x="298" y="516"/>
                      <a:pt x="298" y="516"/>
                    </a:cubicBezTo>
                    <a:cubicBezTo>
                      <a:pt x="305" y="522"/>
                      <a:pt x="305" y="522"/>
                      <a:pt x="305" y="522"/>
                    </a:cubicBezTo>
                    <a:cubicBezTo>
                      <a:pt x="306" y="521"/>
                      <a:pt x="308" y="521"/>
                      <a:pt x="311" y="522"/>
                    </a:cubicBezTo>
                    <a:cubicBezTo>
                      <a:pt x="313" y="523"/>
                      <a:pt x="314" y="523"/>
                      <a:pt x="316" y="524"/>
                    </a:cubicBezTo>
                    <a:cubicBezTo>
                      <a:pt x="317" y="523"/>
                      <a:pt x="318" y="521"/>
                      <a:pt x="318" y="520"/>
                    </a:cubicBezTo>
                    <a:cubicBezTo>
                      <a:pt x="319" y="516"/>
                      <a:pt x="330" y="513"/>
                      <a:pt x="333" y="515"/>
                    </a:cubicBezTo>
                    <a:cubicBezTo>
                      <a:pt x="336" y="517"/>
                      <a:pt x="331" y="538"/>
                      <a:pt x="338" y="541"/>
                    </a:cubicBezTo>
                    <a:cubicBezTo>
                      <a:pt x="345" y="544"/>
                      <a:pt x="360" y="555"/>
                      <a:pt x="360" y="555"/>
                    </a:cubicBezTo>
                    <a:cubicBezTo>
                      <a:pt x="360" y="555"/>
                      <a:pt x="358" y="560"/>
                      <a:pt x="358" y="565"/>
                    </a:cubicBezTo>
                    <a:cubicBezTo>
                      <a:pt x="363" y="571"/>
                      <a:pt x="368" y="577"/>
                      <a:pt x="371" y="583"/>
                    </a:cubicBezTo>
                    <a:cubicBezTo>
                      <a:pt x="371" y="583"/>
                      <a:pt x="371" y="583"/>
                      <a:pt x="371" y="583"/>
                    </a:cubicBezTo>
                    <a:cubicBezTo>
                      <a:pt x="375" y="585"/>
                      <a:pt x="378" y="587"/>
                      <a:pt x="378" y="587"/>
                    </a:cubicBezTo>
                    <a:cubicBezTo>
                      <a:pt x="387" y="600"/>
                      <a:pt x="387" y="600"/>
                      <a:pt x="387" y="600"/>
                    </a:cubicBezTo>
                    <a:cubicBezTo>
                      <a:pt x="387" y="600"/>
                      <a:pt x="389" y="624"/>
                      <a:pt x="399" y="626"/>
                    </a:cubicBezTo>
                    <a:cubicBezTo>
                      <a:pt x="409" y="628"/>
                      <a:pt x="409" y="644"/>
                      <a:pt x="409" y="644"/>
                    </a:cubicBezTo>
                    <a:cubicBezTo>
                      <a:pt x="431" y="644"/>
                      <a:pt x="431" y="644"/>
                      <a:pt x="431" y="644"/>
                    </a:cubicBezTo>
                    <a:cubicBezTo>
                      <a:pt x="443" y="656"/>
                      <a:pt x="443" y="656"/>
                      <a:pt x="443" y="656"/>
                    </a:cubicBezTo>
                    <a:cubicBezTo>
                      <a:pt x="451" y="654"/>
                      <a:pt x="458" y="652"/>
                      <a:pt x="465" y="656"/>
                    </a:cubicBezTo>
                    <a:cubicBezTo>
                      <a:pt x="475" y="661"/>
                      <a:pt x="504" y="686"/>
                      <a:pt x="526" y="703"/>
                    </a:cubicBezTo>
                    <a:cubicBezTo>
                      <a:pt x="527" y="704"/>
                      <a:pt x="528" y="704"/>
                      <a:pt x="529" y="704"/>
                    </a:cubicBezTo>
                    <a:cubicBezTo>
                      <a:pt x="535" y="704"/>
                      <a:pt x="546" y="706"/>
                      <a:pt x="546" y="706"/>
                    </a:cubicBezTo>
                    <a:cubicBezTo>
                      <a:pt x="546" y="706"/>
                      <a:pt x="549" y="720"/>
                      <a:pt x="565" y="715"/>
                    </a:cubicBezTo>
                    <a:cubicBezTo>
                      <a:pt x="581" y="710"/>
                      <a:pt x="584" y="703"/>
                      <a:pt x="584" y="703"/>
                    </a:cubicBezTo>
                    <a:cubicBezTo>
                      <a:pt x="600" y="705"/>
                      <a:pt x="600" y="705"/>
                      <a:pt x="600" y="705"/>
                    </a:cubicBezTo>
                    <a:cubicBezTo>
                      <a:pt x="606" y="691"/>
                      <a:pt x="606" y="691"/>
                      <a:pt x="606" y="691"/>
                    </a:cubicBezTo>
                    <a:cubicBezTo>
                      <a:pt x="620" y="689"/>
                      <a:pt x="620" y="689"/>
                      <a:pt x="620" y="689"/>
                    </a:cubicBezTo>
                    <a:cubicBezTo>
                      <a:pt x="636" y="674"/>
                      <a:pt x="636" y="674"/>
                      <a:pt x="636" y="674"/>
                    </a:cubicBezTo>
                    <a:cubicBezTo>
                      <a:pt x="641" y="682"/>
                      <a:pt x="641" y="682"/>
                      <a:pt x="641" y="682"/>
                    </a:cubicBezTo>
                    <a:cubicBezTo>
                      <a:pt x="649" y="680"/>
                      <a:pt x="656" y="679"/>
                      <a:pt x="659" y="683"/>
                    </a:cubicBezTo>
                    <a:cubicBezTo>
                      <a:pt x="672" y="694"/>
                      <a:pt x="686" y="717"/>
                      <a:pt x="688" y="735"/>
                    </a:cubicBezTo>
                    <a:cubicBezTo>
                      <a:pt x="690" y="754"/>
                      <a:pt x="718" y="752"/>
                      <a:pt x="718" y="752"/>
                    </a:cubicBezTo>
                    <a:cubicBezTo>
                      <a:pt x="718" y="752"/>
                      <a:pt x="717" y="759"/>
                      <a:pt x="730" y="762"/>
                    </a:cubicBezTo>
                    <a:cubicBezTo>
                      <a:pt x="743" y="765"/>
                      <a:pt x="774" y="761"/>
                      <a:pt x="774" y="761"/>
                    </a:cubicBezTo>
                    <a:cubicBezTo>
                      <a:pt x="774" y="761"/>
                      <a:pt x="800" y="781"/>
                      <a:pt x="805" y="781"/>
                    </a:cubicBezTo>
                    <a:cubicBezTo>
                      <a:pt x="810" y="781"/>
                      <a:pt x="828" y="772"/>
                      <a:pt x="828" y="772"/>
                    </a:cubicBezTo>
                    <a:cubicBezTo>
                      <a:pt x="828" y="772"/>
                      <a:pt x="854" y="788"/>
                      <a:pt x="872" y="789"/>
                    </a:cubicBezTo>
                    <a:cubicBezTo>
                      <a:pt x="878" y="789"/>
                      <a:pt x="884" y="788"/>
                      <a:pt x="889" y="786"/>
                    </a:cubicBezTo>
                    <a:lnTo>
                      <a:pt x="890" y="786"/>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79" name="Freeform 201">
                <a:extLst>
                  <a:ext uri="{FF2B5EF4-FFF2-40B4-BE49-F238E27FC236}">
                    <a16:creationId xmlns:a16="http://schemas.microsoft.com/office/drawing/2014/main" id="{06948E30-B744-471C-BDB4-6F0808AF4F0E}"/>
                  </a:ext>
                </a:extLst>
              </p:cNvPr>
              <p:cNvSpPr>
                <a:spLocks/>
              </p:cNvSpPr>
              <p:nvPr>
                <p:custDataLst>
                  <p:tags r:id="rId160"/>
                </p:custDataLst>
              </p:nvPr>
            </p:nvSpPr>
            <p:spPr bwMode="gray">
              <a:xfrm>
                <a:off x="6284878" y="3162312"/>
                <a:ext cx="223836" cy="131763"/>
              </a:xfrm>
              <a:custGeom>
                <a:avLst/>
                <a:gdLst>
                  <a:gd name="T0" fmla="*/ 345 w 372"/>
                  <a:gd name="T1" fmla="*/ 142 h 238"/>
                  <a:gd name="T2" fmla="*/ 291 w 372"/>
                  <a:gd name="T3" fmla="*/ 132 h 238"/>
                  <a:gd name="T4" fmla="*/ 275 w 372"/>
                  <a:gd name="T5" fmla="*/ 99 h 238"/>
                  <a:gd name="T6" fmla="*/ 266 w 372"/>
                  <a:gd name="T7" fmla="*/ 79 h 238"/>
                  <a:gd name="T8" fmla="*/ 230 w 372"/>
                  <a:gd name="T9" fmla="*/ 87 h 238"/>
                  <a:gd name="T10" fmla="*/ 210 w 372"/>
                  <a:gd name="T11" fmla="*/ 90 h 238"/>
                  <a:gd name="T12" fmla="*/ 176 w 372"/>
                  <a:gd name="T13" fmla="*/ 76 h 238"/>
                  <a:gd name="T14" fmla="*/ 142 w 372"/>
                  <a:gd name="T15" fmla="*/ 77 h 238"/>
                  <a:gd name="T16" fmla="*/ 108 w 372"/>
                  <a:gd name="T17" fmla="*/ 75 h 238"/>
                  <a:gd name="T18" fmla="*/ 76 w 372"/>
                  <a:gd name="T19" fmla="*/ 62 h 238"/>
                  <a:gd name="T20" fmla="*/ 101 w 372"/>
                  <a:gd name="T21" fmla="*/ 43 h 238"/>
                  <a:gd name="T22" fmla="*/ 141 w 372"/>
                  <a:gd name="T23" fmla="*/ 45 h 238"/>
                  <a:gd name="T24" fmla="*/ 133 w 372"/>
                  <a:gd name="T25" fmla="*/ 12 h 238"/>
                  <a:gd name="T26" fmla="*/ 91 w 372"/>
                  <a:gd name="T27" fmla="*/ 21 h 238"/>
                  <a:gd name="T28" fmla="*/ 65 w 372"/>
                  <a:gd name="T29" fmla="*/ 25 h 238"/>
                  <a:gd name="T30" fmla="*/ 46 w 372"/>
                  <a:gd name="T31" fmla="*/ 43 h 238"/>
                  <a:gd name="T32" fmla="*/ 49 w 372"/>
                  <a:gd name="T33" fmla="*/ 66 h 238"/>
                  <a:gd name="T34" fmla="*/ 6 w 372"/>
                  <a:gd name="T35" fmla="*/ 82 h 238"/>
                  <a:gd name="T36" fmla="*/ 14 w 372"/>
                  <a:gd name="T37" fmla="*/ 100 h 238"/>
                  <a:gd name="T38" fmla="*/ 42 w 372"/>
                  <a:gd name="T39" fmla="*/ 114 h 238"/>
                  <a:gd name="T40" fmla="*/ 61 w 372"/>
                  <a:gd name="T41" fmla="*/ 158 h 238"/>
                  <a:gd name="T42" fmla="*/ 42 w 372"/>
                  <a:gd name="T43" fmla="*/ 206 h 238"/>
                  <a:gd name="T44" fmla="*/ 89 w 372"/>
                  <a:gd name="T45" fmla="*/ 199 h 238"/>
                  <a:gd name="T46" fmla="*/ 111 w 372"/>
                  <a:gd name="T47" fmla="*/ 189 h 238"/>
                  <a:gd name="T48" fmla="*/ 145 w 372"/>
                  <a:gd name="T49" fmla="*/ 189 h 238"/>
                  <a:gd name="T50" fmla="*/ 142 w 372"/>
                  <a:gd name="T51" fmla="*/ 168 h 238"/>
                  <a:gd name="T52" fmla="*/ 164 w 372"/>
                  <a:gd name="T53" fmla="*/ 135 h 238"/>
                  <a:gd name="T54" fmla="*/ 184 w 372"/>
                  <a:gd name="T55" fmla="*/ 168 h 238"/>
                  <a:gd name="T56" fmla="*/ 205 w 372"/>
                  <a:gd name="T57" fmla="*/ 210 h 238"/>
                  <a:gd name="T58" fmla="*/ 249 w 372"/>
                  <a:gd name="T59" fmla="*/ 216 h 238"/>
                  <a:gd name="T60" fmla="*/ 273 w 372"/>
                  <a:gd name="T61" fmla="*/ 197 h 238"/>
                  <a:gd name="T62" fmla="*/ 306 w 372"/>
                  <a:gd name="T63" fmla="*/ 202 h 238"/>
                  <a:gd name="T64" fmla="*/ 343 w 372"/>
                  <a:gd name="T65" fmla="*/ 194 h 238"/>
                  <a:gd name="T66" fmla="*/ 364 w 372"/>
                  <a:gd name="T67" fmla="*/ 197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2" h="238">
                    <a:moveTo>
                      <a:pt x="353" y="181"/>
                    </a:moveTo>
                    <a:cubicBezTo>
                      <a:pt x="346" y="174"/>
                      <a:pt x="345" y="152"/>
                      <a:pt x="345" y="142"/>
                    </a:cubicBezTo>
                    <a:cubicBezTo>
                      <a:pt x="345" y="132"/>
                      <a:pt x="333" y="129"/>
                      <a:pt x="319" y="125"/>
                    </a:cubicBezTo>
                    <a:cubicBezTo>
                      <a:pt x="305" y="121"/>
                      <a:pt x="301" y="136"/>
                      <a:pt x="291" y="132"/>
                    </a:cubicBezTo>
                    <a:cubicBezTo>
                      <a:pt x="281" y="128"/>
                      <a:pt x="289" y="110"/>
                      <a:pt x="289" y="103"/>
                    </a:cubicBezTo>
                    <a:cubicBezTo>
                      <a:pt x="289" y="96"/>
                      <a:pt x="275" y="99"/>
                      <a:pt x="275" y="99"/>
                    </a:cubicBezTo>
                    <a:cubicBezTo>
                      <a:pt x="275" y="82"/>
                      <a:pt x="275" y="82"/>
                      <a:pt x="275" y="82"/>
                    </a:cubicBezTo>
                    <a:cubicBezTo>
                      <a:pt x="266" y="79"/>
                      <a:pt x="266" y="79"/>
                      <a:pt x="266" y="79"/>
                    </a:cubicBezTo>
                    <a:cubicBezTo>
                      <a:pt x="258" y="88"/>
                      <a:pt x="258" y="88"/>
                      <a:pt x="258" y="88"/>
                    </a:cubicBezTo>
                    <a:cubicBezTo>
                      <a:pt x="230" y="87"/>
                      <a:pt x="230" y="87"/>
                      <a:pt x="230" y="87"/>
                    </a:cubicBezTo>
                    <a:cubicBezTo>
                      <a:pt x="230" y="87"/>
                      <a:pt x="226" y="90"/>
                      <a:pt x="216" y="93"/>
                    </a:cubicBezTo>
                    <a:cubicBezTo>
                      <a:pt x="206" y="96"/>
                      <a:pt x="210" y="90"/>
                      <a:pt x="210" y="90"/>
                    </a:cubicBezTo>
                    <a:cubicBezTo>
                      <a:pt x="210" y="90"/>
                      <a:pt x="198" y="93"/>
                      <a:pt x="195" y="93"/>
                    </a:cubicBezTo>
                    <a:cubicBezTo>
                      <a:pt x="192" y="93"/>
                      <a:pt x="181" y="75"/>
                      <a:pt x="176" y="76"/>
                    </a:cubicBezTo>
                    <a:cubicBezTo>
                      <a:pt x="171" y="77"/>
                      <a:pt x="160" y="85"/>
                      <a:pt x="154" y="86"/>
                    </a:cubicBezTo>
                    <a:cubicBezTo>
                      <a:pt x="148" y="87"/>
                      <a:pt x="142" y="77"/>
                      <a:pt x="142" y="77"/>
                    </a:cubicBezTo>
                    <a:cubicBezTo>
                      <a:pt x="142" y="77"/>
                      <a:pt x="135" y="76"/>
                      <a:pt x="130" y="78"/>
                    </a:cubicBezTo>
                    <a:cubicBezTo>
                      <a:pt x="125" y="80"/>
                      <a:pt x="108" y="75"/>
                      <a:pt x="108" y="75"/>
                    </a:cubicBezTo>
                    <a:cubicBezTo>
                      <a:pt x="108" y="75"/>
                      <a:pt x="93" y="80"/>
                      <a:pt x="86" y="81"/>
                    </a:cubicBezTo>
                    <a:cubicBezTo>
                      <a:pt x="79" y="82"/>
                      <a:pt x="76" y="62"/>
                      <a:pt x="76" y="62"/>
                    </a:cubicBezTo>
                    <a:cubicBezTo>
                      <a:pt x="85" y="59"/>
                      <a:pt x="85" y="59"/>
                      <a:pt x="85" y="59"/>
                    </a:cubicBezTo>
                    <a:cubicBezTo>
                      <a:pt x="85" y="59"/>
                      <a:pt x="88" y="44"/>
                      <a:pt x="101" y="43"/>
                    </a:cubicBezTo>
                    <a:cubicBezTo>
                      <a:pt x="114" y="42"/>
                      <a:pt x="124" y="52"/>
                      <a:pt x="131" y="56"/>
                    </a:cubicBezTo>
                    <a:cubicBezTo>
                      <a:pt x="138" y="60"/>
                      <a:pt x="140" y="49"/>
                      <a:pt x="141" y="45"/>
                    </a:cubicBezTo>
                    <a:cubicBezTo>
                      <a:pt x="142" y="41"/>
                      <a:pt x="117" y="33"/>
                      <a:pt x="117" y="33"/>
                    </a:cubicBezTo>
                    <a:cubicBezTo>
                      <a:pt x="133" y="12"/>
                      <a:pt x="133" y="12"/>
                      <a:pt x="133" y="12"/>
                    </a:cubicBezTo>
                    <a:cubicBezTo>
                      <a:pt x="133" y="12"/>
                      <a:pt x="118" y="0"/>
                      <a:pt x="114" y="2"/>
                    </a:cubicBezTo>
                    <a:cubicBezTo>
                      <a:pt x="110" y="4"/>
                      <a:pt x="99" y="16"/>
                      <a:pt x="91" y="21"/>
                    </a:cubicBezTo>
                    <a:cubicBezTo>
                      <a:pt x="83" y="26"/>
                      <a:pt x="80" y="12"/>
                      <a:pt x="74" y="12"/>
                    </a:cubicBezTo>
                    <a:cubicBezTo>
                      <a:pt x="68" y="12"/>
                      <a:pt x="66" y="21"/>
                      <a:pt x="65" y="25"/>
                    </a:cubicBezTo>
                    <a:cubicBezTo>
                      <a:pt x="64" y="29"/>
                      <a:pt x="77" y="36"/>
                      <a:pt x="71" y="42"/>
                    </a:cubicBezTo>
                    <a:cubicBezTo>
                      <a:pt x="65" y="48"/>
                      <a:pt x="46" y="43"/>
                      <a:pt x="46" y="43"/>
                    </a:cubicBezTo>
                    <a:cubicBezTo>
                      <a:pt x="59" y="57"/>
                      <a:pt x="59" y="57"/>
                      <a:pt x="59" y="57"/>
                    </a:cubicBezTo>
                    <a:cubicBezTo>
                      <a:pt x="49" y="66"/>
                      <a:pt x="49" y="66"/>
                      <a:pt x="49" y="66"/>
                    </a:cubicBezTo>
                    <a:cubicBezTo>
                      <a:pt x="49" y="66"/>
                      <a:pt x="61" y="71"/>
                      <a:pt x="46" y="80"/>
                    </a:cubicBezTo>
                    <a:cubicBezTo>
                      <a:pt x="31" y="89"/>
                      <a:pt x="12" y="77"/>
                      <a:pt x="6" y="82"/>
                    </a:cubicBezTo>
                    <a:cubicBezTo>
                      <a:pt x="0" y="87"/>
                      <a:pt x="0" y="97"/>
                      <a:pt x="0" y="97"/>
                    </a:cubicBezTo>
                    <a:cubicBezTo>
                      <a:pt x="14" y="100"/>
                      <a:pt x="14" y="100"/>
                      <a:pt x="14" y="100"/>
                    </a:cubicBezTo>
                    <a:cubicBezTo>
                      <a:pt x="21" y="108"/>
                      <a:pt x="21" y="108"/>
                      <a:pt x="21" y="108"/>
                    </a:cubicBezTo>
                    <a:cubicBezTo>
                      <a:pt x="21" y="108"/>
                      <a:pt x="37" y="109"/>
                      <a:pt x="42" y="114"/>
                    </a:cubicBezTo>
                    <a:cubicBezTo>
                      <a:pt x="47" y="119"/>
                      <a:pt x="36" y="128"/>
                      <a:pt x="42" y="138"/>
                    </a:cubicBezTo>
                    <a:cubicBezTo>
                      <a:pt x="48" y="148"/>
                      <a:pt x="61" y="147"/>
                      <a:pt x="61" y="158"/>
                    </a:cubicBezTo>
                    <a:cubicBezTo>
                      <a:pt x="61" y="169"/>
                      <a:pt x="51" y="179"/>
                      <a:pt x="44" y="187"/>
                    </a:cubicBezTo>
                    <a:cubicBezTo>
                      <a:pt x="40" y="191"/>
                      <a:pt x="41" y="200"/>
                      <a:pt x="42" y="206"/>
                    </a:cubicBezTo>
                    <a:cubicBezTo>
                      <a:pt x="48" y="211"/>
                      <a:pt x="56" y="217"/>
                      <a:pt x="58" y="218"/>
                    </a:cubicBezTo>
                    <a:cubicBezTo>
                      <a:pt x="61" y="219"/>
                      <a:pt x="86" y="199"/>
                      <a:pt x="89" y="199"/>
                    </a:cubicBezTo>
                    <a:cubicBezTo>
                      <a:pt x="92" y="199"/>
                      <a:pt x="103" y="216"/>
                      <a:pt x="107" y="214"/>
                    </a:cubicBezTo>
                    <a:cubicBezTo>
                      <a:pt x="111" y="212"/>
                      <a:pt x="106" y="194"/>
                      <a:pt x="111" y="189"/>
                    </a:cubicBezTo>
                    <a:cubicBezTo>
                      <a:pt x="116" y="184"/>
                      <a:pt x="138" y="183"/>
                      <a:pt x="138" y="183"/>
                    </a:cubicBezTo>
                    <a:cubicBezTo>
                      <a:pt x="145" y="189"/>
                      <a:pt x="145" y="189"/>
                      <a:pt x="145" y="189"/>
                    </a:cubicBezTo>
                    <a:cubicBezTo>
                      <a:pt x="150" y="175"/>
                      <a:pt x="150" y="175"/>
                      <a:pt x="150" y="175"/>
                    </a:cubicBezTo>
                    <a:cubicBezTo>
                      <a:pt x="150" y="175"/>
                      <a:pt x="142" y="175"/>
                      <a:pt x="142" y="168"/>
                    </a:cubicBezTo>
                    <a:cubicBezTo>
                      <a:pt x="142" y="161"/>
                      <a:pt x="156" y="158"/>
                      <a:pt x="156" y="154"/>
                    </a:cubicBezTo>
                    <a:cubicBezTo>
                      <a:pt x="156" y="150"/>
                      <a:pt x="155" y="135"/>
                      <a:pt x="164" y="135"/>
                    </a:cubicBezTo>
                    <a:cubicBezTo>
                      <a:pt x="173" y="135"/>
                      <a:pt x="184" y="144"/>
                      <a:pt x="184" y="149"/>
                    </a:cubicBezTo>
                    <a:cubicBezTo>
                      <a:pt x="184" y="154"/>
                      <a:pt x="184" y="168"/>
                      <a:pt x="184" y="168"/>
                    </a:cubicBezTo>
                    <a:cubicBezTo>
                      <a:pt x="198" y="168"/>
                      <a:pt x="198" y="168"/>
                      <a:pt x="198" y="168"/>
                    </a:cubicBezTo>
                    <a:cubicBezTo>
                      <a:pt x="205" y="210"/>
                      <a:pt x="205" y="210"/>
                      <a:pt x="205" y="210"/>
                    </a:cubicBezTo>
                    <a:cubicBezTo>
                      <a:pt x="205" y="210"/>
                      <a:pt x="221" y="238"/>
                      <a:pt x="228" y="235"/>
                    </a:cubicBezTo>
                    <a:cubicBezTo>
                      <a:pt x="235" y="232"/>
                      <a:pt x="249" y="216"/>
                      <a:pt x="249" y="216"/>
                    </a:cubicBezTo>
                    <a:cubicBezTo>
                      <a:pt x="259" y="216"/>
                      <a:pt x="259" y="216"/>
                      <a:pt x="259" y="216"/>
                    </a:cubicBezTo>
                    <a:cubicBezTo>
                      <a:pt x="259" y="216"/>
                      <a:pt x="266" y="205"/>
                      <a:pt x="273" y="197"/>
                    </a:cubicBezTo>
                    <a:cubicBezTo>
                      <a:pt x="280" y="189"/>
                      <a:pt x="304" y="192"/>
                      <a:pt x="304" y="192"/>
                    </a:cubicBezTo>
                    <a:cubicBezTo>
                      <a:pt x="306" y="202"/>
                      <a:pt x="306" y="202"/>
                      <a:pt x="306" y="202"/>
                    </a:cubicBezTo>
                    <a:cubicBezTo>
                      <a:pt x="330" y="194"/>
                      <a:pt x="330" y="194"/>
                      <a:pt x="330" y="194"/>
                    </a:cubicBezTo>
                    <a:cubicBezTo>
                      <a:pt x="343" y="194"/>
                      <a:pt x="343" y="194"/>
                      <a:pt x="343" y="194"/>
                    </a:cubicBezTo>
                    <a:cubicBezTo>
                      <a:pt x="350" y="199"/>
                      <a:pt x="350" y="199"/>
                      <a:pt x="350" y="199"/>
                    </a:cubicBezTo>
                    <a:cubicBezTo>
                      <a:pt x="355" y="199"/>
                      <a:pt x="361" y="199"/>
                      <a:pt x="364" y="197"/>
                    </a:cubicBezTo>
                    <a:cubicBezTo>
                      <a:pt x="372" y="191"/>
                      <a:pt x="360" y="188"/>
                      <a:pt x="353" y="181"/>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80" name="Freeform 202">
                <a:extLst>
                  <a:ext uri="{FF2B5EF4-FFF2-40B4-BE49-F238E27FC236}">
                    <a16:creationId xmlns:a16="http://schemas.microsoft.com/office/drawing/2014/main" id="{779EBEB7-BCB2-4994-BEE3-5E3B2E021D70}"/>
                  </a:ext>
                </a:extLst>
              </p:cNvPr>
              <p:cNvSpPr>
                <a:spLocks/>
              </p:cNvSpPr>
              <p:nvPr>
                <p:custDataLst>
                  <p:tags r:id="rId161"/>
                </p:custDataLst>
              </p:nvPr>
            </p:nvSpPr>
            <p:spPr bwMode="gray">
              <a:xfrm>
                <a:off x="6329327" y="3097224"/>
                <a:ext cx="271460" cy="115888"/>
              </a:xfrm>
              <a:custGeom>
                <a:avLst/>
                <a:gdLst>
                  <a:gd name="T0" fmla="*/ 46 w 449"/>
                  <a:gd name="T1" fmla="*/ 96 h 211"/>
                  <a:gd name="T2" fmla="*/ 76 w 449"/>
                  <a:gd name="T3" fmla="*/ 107 h 211"/>
                  <a:gd name="T4" fmla="*/ 84 w 449"/>
                  <a:gd name="T5" fmla="*/ 98 h 211"/>
                  <a:gd name="T6" fmla="*/ 95 w 449"/>
                  <a:gd name="T7" fmla="*/ 106 h 211"/>
                  <a:gd name="T8" fmla="*/ 114 w 449"/>
                  <a:gd name="T9" fmla="*/ 117 h 211"/>
                  <a:gd name="T10" fmla="*/ 132 w 449"/>
                  <a:gd name="T11" fmla="*/ 124 h 211"/>
                  <a:gd name="T12" fmla="*/ 129 w 449"/>
                  <a:gd name="T13" fmla="*/ 141 h 211"/>
                  <a:gd name="T14" fmla="*/ 115 w 449"/>
                  <a:gd name="T15" fmla="*/ 149 h 211"/>
                  <a:gd name="T16" fmla="*/ 84 w 449"/>
                  <a:gd name="T17" fmla="*/ 152 h 211"/>
                  <a:gd name="T18" fmla="*/ 65 w 449"/>
                  <a:gd name="T19" fmla="*/ 160 h 211"/>
                  <a:gd name="T20" fmla="*/ 25 w 449"/>
                  <a:gd name="T21" fmla="*/ 158 h 211"/>
                  <a:gd name="T22" fmla="*/ 0 w 449"/>
                  <a:gd name="T23" fmla="*/ 177 h 211"/>
                  <a:gd name="T24" fmla="*/ 32 w 449"/>
                  <a:gd name="T25" fmla="*/ 190 h 211"/>
                  <a:gd name="T26" fmla="*/ 66 w 449"/>
                  <a:gd name="T27" fmla="*/ 192 h 211"/>
                  <a:gd name="T28" fmla="*/ 100 w 449"/>
                  <a:gd name="T29" fmla="*/ 191 h 211"/>
                  <a:gd name="T30" fmla="*/ 134 w 449"/>
                  <a:gd name="T31" fmla="*/ 205 h 211"/>
                  <a:gd name="T32" fmla="*/ 154 w 449"/>
                  <a:gd name="T33" fmla="*/ 202 h 211"/>
                  <a:gd name="T34" fmla="*/ 190 w 449"/>
                  <a:gd name="T35" fmla="*/ 194 h 211"/>
                  <a:gd name="T36" fmla="*/ 211 w 449"/>
                  <a:gd name="T37" fmla="*/ 195 h 211"/>
                  <a:gd name="T38" fmla="*/ 231 w 449"/>
                  <a:gd name="T39" fmla="*/ 157 h 211"/>
                  <a:gd name="T40" fmla="*/ 250 w 449"/>
                  <a:gd name="T41" fmla="*/ 145 h 211"/>
                  <a:gd name="T42" fmla="*/ 278 w 449"/>
                  <a:gd name="T43" fmla="*/ 155 h 211"/>
                  <a:gd name="T44" fmla="*/ 304 w 449"/>
                  <a:gd name="T45" fmla="*/ 153 h 211"/>
                  <a:gd name="T46" fmla="*/ 327 w 449"/>
                  <a:gd name="T47" fmla="*/ 112 h 211"/>
                  <a:gd name="T48" fmla="*/ 378 w 449"/>
                  <a:gd name="T49" fmla="*/ 98 h 211"/>
                  <a:gd name="T50" fmla="*/ 429 w 449"/>
                  <a:gd name="T51" fmla="*/ 65 h 211"/>
                  <a:gd name="T52" fmla="*/ 443 w 449"/>
                  <a:gd name="T53" fmla="*/ 46 h 211"/>
                  <a:gd name="T54" fmla="*/ 401 w 449"/>
                  <a:gd name="T55" fmla="*/ 41 h 211"/>
                  <a:gd name="T56" fmla="*/ 372 w 449"/>
                  <a:gd name="T57" fmla="*/ 23 h 211"/>
                  <a:gd name="T58" fmla="*/ 332 w 449"/>
                  <a:gd name="T59" fmla="*/ 16 h 211"/>
                  <a:gd name="T60" fmla="*/ 238 w 449"/>
                  <a:gd name="T61" fmla="*/ 14 h 211"/>
                  <a:gd name="T62" fmla="*/ 194 w 449"/>
                  <a:gd name="T63" fmla="*/ 12 h 211"/>
                  <a:gd name="T64" fmla="*/ 144 w 449"/>
                  <a:gd name="T65" fmla="*/ 5 h 211"/>
                  <a:gd name="T66" fmla="*/ 138 w 449"/>
                  <a:gd name="T67" fmla="*/ 37 h 211"/>
                  <a:gd name="T68" fmla="*/ 61 w 449"/>
                  <a:gd name="T69" fmla="*/ 18 h 211"/>
                  <a:gd name="T70" fmla="*/ 57 w 449"/>
                  <a:gd name="T71" fmla="*/ 5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9" h="211">
                    <a:moveTo>
                      <a:pt x="23" y="88"/>
                    </a:moveTo>
                    <a:cubicBezTo>
                      <a:pt x="46" y="96"/>
                      <a:pt x="46" y="96"/>
                      <a:pt x="46" y="96"/>
                    </a:cubicBezTo>
                    <a:cubicBezTo>
                      <a:pt x="46" y="96"/>
                      <a:pt x="47" y="101"/>
                      <a:pt x="52" y="105"/>
                    </a:cubicBezTo>
                    <a:cubicBezTo>
                      <a:pt x="57" y="109"/>
                      <a:pt x="76" y="107"/>
                      <a:pt x="76" y="107"/>
                    </a:cubicBezTo>
                    <a:cubicBezTo>
                      <a:pt x="75" y="98"/>
                      <a:pt x="75" y="98"/>
                      <a:pt x="75" y="98"/>
                    </a:cubicBezTo>
                    <a:cubicBezTo>
                      <a:pt x="84" y="98"/>
                      <a:pt x="84" y="98"/>
                      <a:pt x="84" y="98"/>
                    </a:cubicBezTo>
                    <a:cubicBezTo>
                      <a:pt x="84" y="88"/>
                      <a:pt x="84" y="88"/>
                      <a:pt x="84" y="88"/>
                    </a:cubicBezTo>
                    <a:cubicBezTo>
                      <a:pt x="95" y="106"/>
                      <a:pt x="95" y="106"/>
                      <a:pt x="95" y="106"/>
                    </a:cubicBezTo>
                    <a:cubicBezTo>
                      <a:pt x="108" y="106"/>
                      <a:pt x="108" y="106"/>
                      <a:pt x="108" y="106"/>
                    </a:cubicBezTo>
                    <a:cubicBezTo>
                      <a:pt x="114" y="117"/>
                      <a:pt x="114" y="117"/>
                      <a:pt x="114" y="117"/>
                    </a:cubicBezTo>
                    <a:cubicBezTo>
                      <a:pt x="127" y="119"/>
                      <a:pt x="127" y="119"/>
                      <a:pt x="127" y="119"/>
                    </a:cubicBezTo>
                    <a:cubicBezTo>
                      <a:pt x="132" y="124"/>
                      <a:pt x="132" y="124"/>
                      <a:pt x="132" y="124"/>
                    </a:cubicBezTo>
                    <a:cubicBezTo>
                      <a:pt x="132" y="124"/>
                      <a:pt x="161" y="118"/>
                      <a:pt x="151" y="130"/>
                    </a:cubicBezTo>
                    <a:cubicBezTo>
                      <a:pt x="141" y="142"/>
                      <a:pt x="129" y="141"/>
                      <a:pt x="129" y="141"/>
                    </a:cubicBezTo>
                    <a:cubicBezTo>
                      <a:pt x="129" y="147"/>
                      <a:pt x="129" y="147"/>
                      <a:pt x="129" y="147"/>
                    </a:cubicBezTo>
                    <a:cubicBezTo>
                      <a:pt x="115" y="149"/>
                      <a:pt x="115" y="149"/>
                      <a:pt x="115" y="149"/>
                    </a:cubicBezTo>
                    <a:cubicBezTo>
                      <a:pt x="115" y="149"/>
                      <a:pt x="113" y="158"/>
                      <a:pt x="104" y="162"/>
                    </a:cubicBezTo>
                    <a:cubicBezTo>
                      <a:pt x="95" y="166"/>
                      <a:pt x="91" y="150"/>
                      <a:pt x="84" y="152"/>
                    </a:cubicBezTo>
                    <a:cubicBezTo>
                      <a:pt x="80" y="153"/>
                      <a:pt x="71" y="156"/>
                      <a:pt x="64" y="159"/>
                    </a:cubicBezTo>
                    <a:cubicBezTo>
                      <a:pt x="65" y="159"/>
                      <a:pt x="65" y="159"/>
                      <a:pt x="65" y="160"/>
                    </a:cubicBezTo>
                    <a:cubicBezTo>
                      <a:pt x="64" y="164"/>
                      <a:pt x="62" y="175"/>
                      <a:pt x="55" y="171"/>
                    </a:cubicBezTo>
                    <a:cubicBezTo>
                      <a:pt x="48" y="167"/>
                      <a:pt x="38" y="157"/>
                      <a:pt x="25" y="158"/>
                    </a:cubicBezTo>
                    <a:cubicBezTo>
                      <a:pt x="12" y="159"/>
                      <a:pt x="9" y="174"/>
                      <a:pt x="9" y="174"/>
                    </a:cubicBezTo>
                    <a:cubicBezTo>
                      <a:pt x="0" y="177"/>
                      <a:pt x="0" y="177"/>
                      <a:pt x="0" y="177"/>
                    </a:cubicBezTo>
                    <a:cubicBezTo>
                      <a:pt x="0" y="177"/>
                      <a:pt x="3" y="197"/>
                      <a:pt x="10" y="196"/>
                    </a:cubicBezTo>
                    <a:cubicBezTo>
                      <a:pt x="17" y="195"/>
                      <a:pt x="32" y="190"/>
                      <a:pt x="32" y="190"/>
                    </a:cubicBezTo>
                    <a:cubicBezTo>
                      <a:pt x="32" y="190"/>
                      <a:pt x="49" y="195"/>
                      <a:pt x="54" y="193"/>
                    </a:cubicBezTo>
                    <a:cubicBezTo>
                      <a:pt x="59" y="191"/>
                      <a:pt x="66" y="192"/>
                      <a:pt x="66" y="192"/>
                    </a:cubicBezTo>
                    <a:cubicBezTo>
                      <a:pt x="66" y="192"/>
                      <a:pt x="72" y="202"/>
                      <a:pt x="78" y="201"/>
                    </a:cubicBezTo>
                    <a:cubicBezTo>
                      <a:pt x="84" y="200"/>
                      <a:pt x="95" y="192"/>
                      <a:pt x="100" y="191"/>
                    </a:cubicBezTo>
                    <a:cubicBezTo>
                      <a:pt x="105" y="190"/>
                      <a:pt x="116" y="208"/>
                      <a:pt x="119" y="208"/>
                    </a:cubicBezTo>
                    <a:cubicBezTo>
                      <a:pt x="122" y="208"/>
                      <a:pt x="134" y="205"/>
                      <a:pt x="134" y="205"/>
                    </a:cubicBezTo>
                    <a:cubicBezTo>
                      <a:pt x="134" y="205"/>
                      <a:pt x="130" y="211"/>
                      <a:pt x="140" y="208"/>
                    </a:cubicBezTo>
                    <a:cubicBezTo>
                      <a:pt x="150" y="205"/>
                      <a:pt x="154" y="202"/>
                      <a:pt x="154" y="202"/>
                    </a:cubicBezTo>
                    <a:cubicBezTo>
                      <a:pt x="182" y="203"/>
                      <a:pt x="182" y="203"/>
                      <a:pt x="182" y="203"/>
                    </a:cubicBezTo>
                    <a:cubicBezTo>
                      <a:pt x="190" y="194"/>
                      <a:pt x="190" y="194"/>
                      <a:pt x="190" y="194"/>
                    </a:cubicBezTo>
                    <a:cubicBezTo>
                      <a:pt x="199" y="197"/>
                      <a:pt x="199" y="197"/>
                      <a:pt x="199" y="197"/>
                    </a:cubicBezTo>
                    <a:cubicBezTo>
                      <a:pt x="199" y="197"/>
                      <a:pt x="211" y="199"/>
                      <a:pt x="211" y="195"/>
                    </a:cubicBezTo>
                    <a:cubicBezTo>
                      <a:pt x="211" y="191"/>
                      <a:pt x="200" y="178"/>
                      <a:pt x="199" y="175"/>
                    </a:cubicBezTo>
                    <a:cubicBezTo>
                      <a:pt x="198" y="172"/>
                      <a:pt x="231" y="157"/>
                      <a:pt x="231" y="157"/>
                    </a:cubicBezTo>
                    <a:cubicBezTo>
                      <a:pt x="231" y="147"/>
                      <a:pt x="231" y="147"/>
                      <a:pt x="231" y="147"/>
                    </a:cubicBezTo>
                    <a:cubicBezTo>
                      <a:pt x="250" y="145"/>
                      <a:pt x="250" y="145"/>
                      <a:pt x="250" y="145"/>
                    </a:cubicBezTo>
                    <a:cubicBezTo>
                      <a:pt x="250" y="145"/>
                      <a:pt x="255" y="136"/>
                      <a:pt x="261" y="136"/>
                    </a:cubicBezTo>
                    <a:cubicBezTo>
                      <a:pt x="267" y="136"/>
                      <a:pt x="278" y="155"/>
                      <a:pt x="278" y="155"/>
                    </a:cubicBezTo>
                    <a:cubicBezTo>
                      <a:pt x="285" y="148"/>
                      <a:pt x="285" y="148"/>
                      <a:pt x="285" y="148"/>
                    </a:cubicBezTo>
                    <a:cubicBezTo>
                      <a:pt x="304" y="153"/>
                      <a:pt x="304" y="153"/>
                      <a:pt x="304" y="153"/>
                    </a:cubicBezTo>
                    <a:cubicBezTo>
                      <a:pt x="304" y="153"/>
                      <a:pt x="309" y="144"/>
                      <a:pt x="310" y="135"/>
                    </a:cubicBezTo>
                    <a:cubicBezTo>
                      <a:pt x="311" y="126"/>
                      <a:pt x="319" y="113"/>
                      <a:pt x="327" y="112"/>
                    </a:cubicBezTo>
                    <a:cubicBezTo>
                      <a:pt x="335" y="111"/>
                      <a:pt x="354" y="119"/>
                      <a:pt x="366" y="119"/>
                    </a:cubicBezTo>
                    <a:cubicBezTo>
                      <a:pt x="378" y="119"/>
                      <a:pt x="378" y="101"/>
                      <a:pt x="378" y="98"/>
                    </a:cubicBezTo>
                    <a:cubicBezTo>
                      <a:pt x="378" y="95"/>
                      <a:pt x="397" y="78"/>
                      <a:pt x="397" y="78"/>
                    </a:cubicBezTo>
                    <a:cubicBezTo>
                      <a:pt x="429" y="65"/>
                      <a:pt x="429" y="65"/>
                      <a:pt x="429" y="65"/>
                    </a:cubicBezTo>
                    <a:cubicBezTo>
                      <a:pt x="429" y="65"/>
                      <a:pt x="443" y="65"/>
                      <a:pt x="446" y="64"/>
                    </a:cubicBezTo>
                    <a:cubicBezTo>
                      <a:pt x="449" y="63"/>
                      <a:pt x="447" y="51"/>
                      <a:pt x="443" y="46"/>
                    </a:cubicBezTo>
                    <a:cubicBezTo>
                      <a:pt x="429" y="41"/>
                      <a:pt x="429" y="41"/>
                      <a:pt x="429" y="41"/>
                    </a:cubicBezTo>
                    <a:cubicBezTo>
                      <a:pt x="401" y="41"/>
                      <a:pt x="401" y="41"/>
                      <a:pt x="401" y="41"/>
                    </a:cubicBezTo>
                    <a:cubicBezTo>
                      <a:pt x="384" y="23"/>
                      <a:pt x="384" y="23"/>
                      <a:pt x="384" y="23"/>
                    </a:cubicBezTo>
                    <a:cubicBezTo>
                      <a:pt x="372" y="23"/>
                      <a:pt x="372" y="23"/>
                      <a:pt x="372" y="23"/>
                    </a:cubicBezTo>
                    <a:cubicBezTo>
                      <a:pt x="364" y="15"/>
                      <a:pt x="364" y="15"/>
                      <a:pt x="364" y="15"/>
                    </a:cubicBezTo>
                    <a:cubicBezTo>
                      <a:pt x="332" y="16"/>
                      <a:pt x="332" y="16"/>
                      <a:pt x="332" y="16"/>
                    </a:cubicBezTo>
                    <a:cubicBezTo>
                      <a:pt x="332" y="16"/>
                      <a:pt x="302" y="12"/>
                      <a:pt x="294" y="13"/>
                    </a:cubicBezTo>
                    <a:cubicBezTo>
                      <a:pt x="286" y="14"/>
                      <a:pt x="238" y="14"/>
                      <a:pt x="238" y="14"/>
                    </a:cubicBezTo>
                    <a:cubicBezTo>
                      <a:pt x="226" y="18"/>
                      <a:pt x="226" y="18"/>
                      <a:pt x="226" y="18"/>
                    </a:cubicBezTo>
                    <a:cubicBezTo>
                      <a:pt x="226" y="18"/>
                      <a:pt x="198" y="12"/>
                      <a:pt x="194" y="12"/>
                    </a:cubicBezTo>
                    <a:cubicBezTo>
                      <a:pt x="190" y="12"/>
                      <a:pt x="180" y="0"/>
                      <a:pt x="170" y="0"/>
                    </a:cubicBezTo>
                    <a:cubicBezTo>
                      <a:pt x="160" y="0"/>
                      <a:pt x="147" y="2"/>
                      <a:pt x="144" y="5"/>
                    </a:cubicBezTo>
                    <a:cubicBezTo>
                      <a:pt x="141" y="8"/>
                      <a:pt x="149" y="43"/>
                      <a:pt x="149" y="43"/>
                    </a:cubicBezTo>
                    <a:cubicBezTo>
                      <a:pt x="138" y="37"/>
                      <a:pt x="138" y="37"/>
                      <a:pt x="138" y="37"/>
                    </a:cubicBezTo>
                    <a:cubicBezTo>
                      <a:pt x="115" y="37"/>
                      <a:pt x="115" y="37"/>
                      <a:pt x="115" y="37"/>
                    </a:cubicBezTo>
                    <a:cubicBezTo>
                      <a:pt x="115" y="37"/>
                      <a:pt x="84" y="17"/>
                      <a:pt x="61" y="18"/>
                    </a:cubicBezTo>
                    <a:cubicBezTo>
                      <a:pt x="38" y="19"/>
                      <a:pt x="37" y="48"/>
                      <a:pt x="37" y="48"/>
                    </a:cubicBezTo>
                    <a:cubicBezTo>
                      <a:pt x="37" y="48"/>
                      <a:pt x="55" y="49"/>
                      <a:pt x="57" y="54"/>
                    </a:cubicBezTo>
                    <a:cubicBezTo>
                      <a:pt x="59" y="59"/>
                      <a:pt x="23" y="88"/>
                      <a:pt x="23" y="88"/>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81" name="Freeform 203">
                <a:extLst>
                  <a:ext uri="{FF2B5EF4-FFF2-40B4-BE49-F238E27FC236}">
                    <a16:creationId xmlns:a16="http://schemas.microsoft.com/office/drawing/2014/main" id="{AE446667-96B6-4530-AB31-A352A6C18A0F}"/>
                  </a:ext>
                </a:extLst>
              </p:cNvPr>
              <p:cNvSpPr>
                <a:spLocks/>
              </p:cNvSpPr>
              <p:nvPr>
                <p:custDataLst>
                  <p:tags r:id="rId162"/>
                </p:custDataLst>
              </p:nvPr>
            </p:nvSpPr>
            <p:spPr bwMode="gray">
              <a:xfrm>
                <a:off x="5875305" y="3109925"/>
                <a:ext cx="406397" cy="223838"/>
              </a:xfrm>
              <a:custGeom>
                <a:avLst/>
                <a:gdLst>
                  <a:gd name="T0" fmla="*/ 24 w 674"/>
                  <a:gd name="T1" fmla="*/ 120 h 406"/>
                  <a:gd name="T2" fmla="*/ 60 w 674"/>
                  <a:gd name="T3" fmla="*/ 148 h 406"/>
                  <a:gd name="T4" fmla="*/ 75 w 674"/>
                  <a:gd name="T5" fmla="*/ 172 h 406"/>
                  <a:gd name="T6" fmla="*/ 71 w 674"/>
                  <a:gd name="T7" fmla="*/ 187 h 406"/>
                  <a:gd name="T8" fmla="*/ 94 w 674"/>
                  <a:gd name="T9" fmla="*/ 238 h 406"/>
                  <a:gd name="T10" fmla="*/ 96 w 674"/>
                  <a:gd name="T11" fmla="*/ 262 h 406"/>
                  <a:gd name="T12" fmla="*/ 126 w 674"/>
                  <a:gd name="T13" fmla="*/ 291 h 406"/>
                  <a:gd name="T14" fmla="*/ 141 w 674"/>
                  <a:gd name="T15" fmla="*/ 273 h 406"/>
                  <a:gd name="T16" fmla="*/ 205 w 674"/>
                  <a:gd name="T17" fmla="*/ 251 h 406"/>
                  <a:gd name="T18" fmla="*/ 234 w 674"/>
                  <a:gd name="T19" fmla="*/ 244 h 406"/>
                  <a:gd name="T20" fmla="*/ 256 w 674"/>
                  <a:gd name="T21" fmla="*/ 261 h 406"/>
                  <a:gd name="T22" fmla="*/ 299 w 674"/>
                  <a:gd name="T23" fmla="*/ 278 h 406"/>
                  <a:gd name="T24" fmla="*/ 345 w 674"/>
                  <a:gd name="T25" fmla="*/ 279 h 406"/>
                  <a:gd name="T26" fmla="*/ 377 w 674"/>
                  <a:gd name="T27" fmla="*/ 307 h 406"/>
                  <a:gd name="T28" fmla="*/ 439 w 674"/>
                  <a:gd name="T29" fmla="*/ 325 h 406"/>
                  <a:gd name="T30" fmla="*/ 447 w 674"/>
                  <a:gd name="T31" fmla="*/ 350 h 406"/>
                  <a:gd name="T32" fmla="*/ 453 w 674"/>
                  <a:gd name="T33" fmla="*/ 383 h 406"/>
                  <a:gd name="T34" fmla="*/ 484 w 674"/>
                  <a:gd name="T35" fmla="*/ 390 h 406"/>
                  <a:gd name="T36" fmla="*/ 530 w 674"/>
                  <a:gd name="T37" fmla="*/ 396 h 406"/>
                  <a:gd name="T38" fmla="*/ 560 w 674"/>
                  <a:gd name="T39" fmla="*/ 365 h 406"/>
                  <a:gd name="T40" fmla="*/ 589 w 674"/>
                  <a:gd name="T41" fmla="*/ 345 h 406"/>
                  <a:gd name="T42" fmla="*/ 623 w 674"/>
                  <a:gd name="T43" fmla="*/ 296 h 406"/>
                  <a:gd name="T44" fmla="*/ 652 w 674"/>
                  <a:gd name="T45" fmla="*/ 292 h 406"/>
                  <a:gd name="T46" fmla="*/ 667 w 674"/>
                  <a:gd name="T47" fmla="*/ 280 h 406"/>
                  <a:gd name="T48" fmla="*/ 635 w 674"/>
                  <a:gd name="T49" fmla="*/ 242 h 406"/>
                  <a:gd name="T50" fmla="*/ 595 w 674"/>
                  <a:gd name="T51" fmla="*/ 231 h 406"/>
                  <a:gd name="T52" fmla="*/ 563 w 674"/>
                  <a:gd name="T53" fmla="*/ 212 h 406"/>
                  <a:gd name="T54" fmla="*/ 536 w 674"/>
                  <a:gd name="T55" fmla="*/ 203 h 406"/>
                  <a:gd name="T56" fmla="*/ 500 w 674"/>
                  <a:gd name="T57" fmla="*/ 174 h 406"/>
                  <a:gd name="T58" fmla="*/ 455 w 674"/>
                  <a:gd name="T59" fmla="*/ 148 h 406"/>
                  <a:gd name="T60" fmla="*/ 431 w 674"/>
                  <a:gd name="T61" fmla="*/ 111 h 406"/>
                  <a:gd name="T62" fmla="*/ 398 w 674"/>
                  <a:gd name="T63" fmla="*/ 80 h 406"/>
                  <a:gd name="T64" fmla="*/ 362 w 674"/>
                  <a:gd name="T65" fmla="*/ 82 h 406"/>
                  <a:gd name="T66" fmla="*/ 338 w 674"/>
                  <a:gd name="T67" fmla="*/ 52 h 406"/>
                  <a:gd name="T68" fmla="*/ 320 w 674"/>
                  <a:gd name="T69" fmla="*/ 28 h 406"/>
                  <a:gd name="T70" fmla="*/ 288 w 674"/>
                  <a:gd name="T71" fmla="*/ 23 h 406"/>
                  <a:gd name="T72" fmla="*/ 274 w 674"/>
                  <a:gd name="T73" fmla="*/ 16 h 406"/>
                  <a:gd name="T74" fmla="*/ 258 w 674"/>
                  <a:gd name="T75" fmla="*/ 7 h 406"/>
                  <a:gd name="T76" fmla="*/ 258 w 674"/>
                  <a:gd name="T77" fmla="*/ 24 h 406"/>
                  <a:gd name="T78" fmla="*/ 231 w 674"/>
                  <a:gd name="T79" fmla="*/ 30 h 406"/>
                  <a:gd name="T80" fmla="*/ 211 w 674"/>
                  <a:gd name="T81" fmla="*/ 79 h 406"/>
                  <a:gd name="T82" fmla="*/ 156 w 674"/>
                  <a:gd name="T83" fmla="*/ 72 h 406"/>
                  <a:gd name="T84" fmla="*/ 112 w 674"/>
                  <a:gd name="T85" fmla="*/ 51 h 406"/>
                  <a:gd name="T86" fmla="*/ 51 w 674"/>
                  <a:gd name="T87" fmla="*/ 22 h 406"/>
                  <a:gd name="T88" fmla="*/ 60 w 674"/>
                  <a:gd name="T89" fmla="*/ 42 h 406"/>
                  <a:gd name="T90" fmla="*/ 110 w 674"/>
                  <a:gd name="T91" fmla="*/ 90 h 406"/>
                  <a:gd name="T92" fmla="*/ 82 w 674"/>
                  <a:gd name="T93" fmla="*/ 94 h 406"/>
                  <a:gd name="T94" fmla="*/ 52 w 674"/>
                  <a:gd name="T95" fmla="*/ 108 h 406"/>
                  <a:gd name="T96" fmla="*/ 40 w 674"/>
                  <a:gd name="T97" fmla="*/ 100 h 406"/>
                  <a:gd name="T98" fmla="*/ 19 w 674"/>
                  <a:gd name="T99" fmla="*/ 55 h 406"/>
                  <a:gd name="T100" fmla="*/ 14 w 674"/>
                  <a:gd name="T101" fmla="*/ 72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4" h="406">
                    <a:moveTo>
                      <a:pt x="34" y="100"/>
                    </a:moveTo>
                    <a:cubicBezTo>
                      <a:pt x="34" y="104"/>
                      <a:pt x="24" y="115"/>
                      <a:pt x="24" y="120"/>
                    </a:cubicBezTo>
                    <a:cubicBezTo>
                      <a:pt x="24" y="126"/>
                      <a:pt x="40" y="151"/>
                      <a:pt x="40" y="151"/>
                    </a:cubicBezTo>
                    <a:cubicBezTo>
                      <a:pt x="60" y="148"/>
                      <a:pt x="60" y="148"/>
                      <a:pt x="60" y="148"/>
                    </a:cubicBezTo>
                    <a:cubicBezTo>
                      <a:pt x="62" y="166"/>
                      <a:pt x="62" y="166"/>
                      <a:pt x="62" y="166"/>
                    </a:cubicBezTo>
                    <a:cubicBezTo>
                      <a:pt x="75" y="172"/>
                      <a:pt x="75" y="172"/>
                      <a:pt x="75" y="172"/>
                    </a:cubicBezTo>
                    <a:cubicBezTo>
                      <a:pt x="75" y="172"/>
                      <a:pt x="46" y="171"/>
                      <a:pt x="50" y="180"/>
                    </a:cubicBezTo>
                    <a:cubicBezTo>
                      <a:pt x="54" y="190"/>
                      <a:pt x="64" y="184"/>
                      <a:pt x="71" y="187"/>
                    </a:cubicBezTo>
                    <a:cubicBezTo>
                      <a:pt x="78" y="190"/>
                      <a:pt x="90" y="203"/>
                      <a:pt x="90" y="203"/>
                    </a:cubicBezTo>
                    <a:cubicBezTo>
                      <a:pt x="94" y="238"/>
                      <a:pt x="94" y="238"/>
                      <a:pt x="94" y="238"/>
                    </a:cubicBezTo>
                    <a:cubicBezTo>
                      <a:pt x="99" y="240"/>
                      <a:pt x="99" y="240"/>
                      <a:pt x="99" y="240"/>
                    </a:cubicBezTo>
                    <a:cubicBezTo>
                      <a:pt x="99" y="240"/>
                      <a:pt x="96" y="254"/>
                      <a:pt x="96" y="262"/>
                    </a:cubicBezTo>
                    <a:cubicBezTo>
                      <a:pt x="96" y="270"/>
                      <a:pt x="106" y="291"/>
                      <a:pt x="106" y="291"/>
                    </a:cubicBezTo>
                    <a:cubicBezTo>
                      <a:pt x="106" y="291"/>
                      <a:pt x="122" y="292"/>
                      <a:pt x="126" y="291"/>
                    </a:cubicBezTo>
                    <a:cubicBezTo>
                      <a:pt x="130" y="290"/>
                      <a:pt x="141" y="281"/>
                      <a:pt x="141" y="281"/>
                    </a:cubicBezTo>
                    <a:cubicBezTo>
                      <a:pt x="141" y="273"/>
                      <a:pt x="141" y="273"/>
                      <a:pt x="141" y="273"/>
                    </a:cubicBezTo>
                    <a:cubicBezTo>
                      <a:pt x="141" y="273"/>
                      <a:pt x="167" y="250"/>
                      <a:pt x="178" y="248"/>
                    </a:cubicBezTo>
                    <a:cubicBezTo>
                      <a:pt x="189" y="246"/>
                      <a:pt x="205" y="251"/>
                      <a:pt x="205" y="251"/>
                    </a:cubicBezTo>
                    <a:cubicBezTo>
                      <a:pt x="205" y="251"/>
                      <a:pt x="207" y="245"/>
                      <a:pt x="210" y="243"/>
                    </a:cubicBezTo>
                    <a:cubicBezTo>
                      <a:pt x="213" y="241"/>
                      <a:pt x="234" y="244"/>
                      <a:pt x="234" y="244"/>
                    </a:cubicBezTo>
                    <a:cubicBezTo>
                      <a:pt x="234" y="244"/>
                      <a:pt x="243" y="239"/>
                      <a:pt x="249" y="243"/>
                    </a:cubicBezTo>
                    <a:cubicBezTo>
                      <a:pt x="255" y="247"/>
                      <a:pt x="256" y="261"/>
                      <a:pt x="256" y="261"/>
                    </a:cubicBezTo>
                    <a:cubicBezTo>
                      <a:pt x="256" y="261"/>
                      <a:pt x="268" y="261"/>
                      <a:pt x="273" y="261"/>
                    </a:cubicBezTo>
                    <a:cubicBezTo>
                      <a:pt x="278" y="261"/>
                      <a:pt x="299" y="278"/>
                      <a:pt x="299" y="278"/>
                    </a:cubicBezTo>
                    <a:cubicBezTo>
                      <a:pt x="302" y="274"/>
                      <a:pt x="302" y="274"/>
                      <a:pt x="302" y="274"/>
                    </a:cubicBezTo>
                    <a:cubicBezTo>
                      <a:pt x="302" y="274"/>
                      <a:pt x="340" y="275"/>
                      <a:pt x="345" y="279"/>
                    </a:cubicBezTo>
                    <a:cubicBezTo>
                      <a:pt x="350" y="283"/>
                      <a:pt x="358" y="301"/>
                      <a:pt x="358" y="301"/>
                    </a:cubicBezTo>
                    <a:cubicBezTo>
                      <a:pt x="358" y="301"/>
                      <a:pt x="371" y="303"/>
                      <a:pt x="377" y="307"/>
                    </a:cubicBezTo>
                    <a:cubicBezTo>
                      <a:pt x="383" y="311"/>
                      <a:pt x="397" y="327"/>
                      <a:pt x="397" y="327"/>
                    </a:cubicBezTo>
                    <a:cubicBezTo>
                      <a:pt x="439" y="325"/>
                      <a:pt x="439" y="325"/>
                      <a:pt x="439" y="325"/>
                    </a:cubicBezTo>
                    <a:cubicBezTo>
                      <a:pt x="440" y="347"/>
                      <a:pt x="440" y="347"/>
                      <a:pt x="440" y="347"/>
                    </a:cubicBezTo>
                    <a:cubicBezTo>
                      <a:pt x="447" y="350"/>
                      <a:pt x="447" y="350"/>
                      <a:pt x="447" y="350"/>
                    </a:cubicBezTo>
                    <a:cubicBezTo>
                      <a:pt x="446" y="365"/>
                      <a:pt x="446" y="365"/>
                      <a:pt x="446" y="365"/>
                    </a:cubicBezTo>
                    <a:cubicBezTo>
                      <a:pt x="453" y="383"/>
                      <a:pt x="453" y="383"/>
                      <a:pt x="453" y="383"/>
                    </a:cubicBezTo>
                    <a:cubicBezTo>
                      <a:pt x="453" y="383"/>
                      <a:pt x="467" y="393"/>
                      <a:pt x="472" y="393"/>
                    </a:cubicBezTo>
                    <a:cubicBezTo>
                      <a:pt x="477" y="393"/>
                      <a:pt x="484" y="390"/>
                      <a:pt x="484" y="390"/>
                    </a:cubicBezTo>
                    <a:cubicBezTo>
                      <a:pt x="500" y="406"/>
                      <a:pt x="500" y="406"/>
                      <a:pt x="500" y="406"/>
                    </a:cubicBezTo>
                    <a:cubicBezTo>
                      <a:pt x="500" y="406"/>
                      <a:pt x="525" y="405"/>
                      <a:pt x="530" y="396"/>
                    </a:cubicBezTo>
                    <a:cubicBezTo>
                      <a:pt x="535" y="387"/>
                      <a:pt x="535" y="371"/>
                      <a:pt x="535" y="371"/>
                    </a:cubicBezTo>
                    <a:cubicBezTo>
                      <a:pt x="535" y="371"/>
                      <a:pt x="553" y="372"/>
                      <a:pt x="560" y="365"/>
                    </a:cubicBezTo>
                    <a:cubicBezTo>
                      <a:pt x="567" y="358"/>
                      <a:pt x="580" y="349"/>
                      <a:pt x="580" y="349"/>
                    </a:cubicBezTo>
                    <a:cubicBezTo>
                      <a:pt x="580" y="349"/>
                      <a:pt x="589" y="351"/>
                      <a:pt x="589" y="345"/>
                    </a:cubicBezTo>
                    <a:cubicBezTo>
                      <a:pt x="589" y="339"/>
                      <a:pt x="584" y="311"/>
                      <a:pt x="594" y="301"/>
                    </a:cubicBezTo>
                    <a:cubicBezTo>
                      <a:pt x="604" y="291"/>
                      <a:pt x="623" y="296"/>
                      <a:pt x="623" y="296"/>
                    </a:cubicBezTo>
                    <a:cubicBezTo>
                      <a:pt x="623" y="296"/>
                      <a:pt x="622" y="279"/>
                      <a:pt x="630" y="279"/>
                    </a:cubicBezTo>
                    <a:cubicBezTo>
                      <a:pt x="638" y="279"/>
                      <a:pt x="652" y="292"/>
                      <a:pt x="652" y="292"/>
                    </a:cubicBezTo>
                    <a:cubicBezTo>
                      <a:pt x="674" y="292"/>
                      <a:pt x="674" y="292"/>
                      <a:pt x="674" y="292"/>
                    </a:cubicBezTo>
                    <a:cubicBezTo>
                      <a:pt x="674" y="289"/>
                      <a:pt x="673" y="285"/>
                      <a:pt x="667" y="280"/>
                    </a:cubicBezTo>
                    <a:cubicBezTo>
                      <a:pt x="656" y="272"/>
                      <a:pt x="668" y="260"/>
                      <a:pt x="668" y="260"/>
                    </a:cubicBezTo>
                    <a:cubicBezTo>
                      <a:pt x="635" y="242"/>
                      <a:pt x="635" y="242"/>
                      <a:pt x="635" y="242"/>
                    </a:cubicBezTo>
                    <a:cubicBezTo>
                      <a:pt x="620" y="244"/>
                      <a:pt x="620" y="244"/>
                      <a:pt x="620" y="244"/>
                    </a:cubicBezTo>
                    <a:cubicBezTo>
                      <a:pt x="620" y="244"/>
                      <a:pt x="602" y="236"/>
                      <a:pt x="595" y="231"/>
                    </a:cubicBezTo>
                    <a:cubicBezTo>
                      <a:pt x="588" y="226"/>
                      <a:pt x="574" y="215"/>
                      <a:pt x="574" y="215"/>
                    </a:cubicBezTo>
                    <a:cubicBezTo>
                      <a:pt x="563" y="212"/>
                      <a:pt x="563" y="212"/>
                      <a:pt x="563" y="212"/>
                    </a:cubicBezTo>
                    <a:cubicBezTo>
                      <a:pt x="554" y="204"/>
                      <a:pt x="554" y="204"/>
                      <a:pt x="554" y="204"/>
                    </a:cubicBezTo>
                    <a:cubicBezTo>
                      <a:pt x="536" y="203"/>
                      <a:pt x="536" y="203"/>
                      <a:pt x="536" y="203"/>
                    </a:cubicBezTo>
                    <a:cubicBezTo>
                      <a:pt x="516" y="191"/>
                      <a:pt x="516" y="191"/>
                      <a:pt x="516" y="191"/>
                    </a:cubicBezTo>
                    <a:cubicBezTo>
                      <a:pt x="516" y="191"/>
                      <a:pt x="504" y="175"/>
                      <a:pt x="500" y="174"/>
                    </a:cubicBezTo>
                    <a:cubicBezTo>
                      <a:pt x="496" y="172"/>
                      <a:pt x="483" y="170"/>
                      <a:pt x="476" y="167"/>
                    </a:cubicBezTo>
                    <a:cubicBezTo>
                      <a:pt x="470" y="164"/>
                      <a:pt x="458" y="159"/>
                      <a:pt x="455" y="148"/>
                    </a:cubicBezTo>
                    <a:cubicBezTo>
                      <a:pt x="452" y="138"/>
                      <a:pt x="444" y="126"/>
                      <a:pt x="444" y="126"/>
                    </a:cubicBezTo>
                    <a:cubicBezTo>
                      <a:pt x="431" y="111"/>
                      <a:pt x="431" y="111"/>
                      <a:pt x="431" y="111"/>
                    </a:cubicBezTo>
                    <a:cubicBezTo>
                      <a:pt x="422" y="92"/>
                      <a:pt x="422" y="92"/>
                      <a:pt x="422" y="92"/>
                    </a:cubicBezTo>
                    <a:cubicBezTo>
                      <a:pt x="398" y="80"/>
                      <a:pt x="398" y="80"/>
                      <a:pt x="398" y="80"/>
                    </a:cubicBezTo>
                    <a:cubicBezTo>
                      <a:pt x="398" y="86"/>
                      <a:pt x="398" y="86"/>
                      <a:pt x="398" y="86"/>
                    </a:cubicBezTo>
                    <a:cubicBezTo>
                      <a:pt x="362" y="82"/>
                      <a:pt x="362" y="82"/>
                      <a:pt x="362" y="82"/>
                    </a:cubicBezTo>
                    <a:cubicBezTo>
                      <a:pt x="362" y="82"/>
                      <a:pt x="336" y="83"/>
                      <a:pt x="331" y="74"/>
                    </a:cubicBezTo>
                    <a:cubicBezTo>
                      <a:pt x="326" y="64"/>
                      <a:pt x="338" y="52"/>
                      <a:pt x="338" y="52"/>
                    </a:cubicBezTo>
                    <a:cubicBezTo>
                      <a:pt x="328" y="47"/>
                      <a:pt x="328" y="47"/>
                      <a:pt x="328" y="47"/>
                    </a:cubicBezTo>
                    <a:cubicBezTo>
                      <a:pt x="328" y="47"/>
                      <a:pt x="330" y="32"/>
                      <a:pt x="320" y="28"/>
                    </a:cubicBezTo>
                    <a:cubicBezTo>
                      <a:pt x="311" y="24"/>
                      <a:pt x="298" y="27"/>
                      <a:pt x="298" y="27"/>
                    </a:cubicBezTo>
                    <a:cubicBezTo>
                      <a:pt x="288" y="23"/>
                      <a:pt x="288" y="23"/>
                      <a:pt x="288" y="23"/>
                    </a:cubicBezTo>
                    <a:cubicBezTo>
                      <a:pt x="290" y="15"/>
                      <a:pt x="290" y="15"/>
                      <a:pt x="290" y="15"/>
                    </a:cubicBezTo>
                    <a:cubicBezTo>
                      <a:pt x="274" y="16"/>
                      <a:pt x="274" y="16"/>
                      <a:pt x="274" y="16"/>
                    </a:cubicBezTo>
                    <a:cubicBezTo>
                      <a:pt x="262" y="0"/>
                      <a:pt x="262" y="0"/>
                      <a:pt x="262" y="0"/>
                    </a:cubicBezTo>
                    <a:cubicBezTo>
                      <a:pt x="258" y="7"/>
                      <a:pt x="258" y="7"/>
                      <a:pt x="258" y="7"/>
                    </a:cubicBezTo>
                    <a:cubicBezTo>
                      <a:pt x="238" y="6"/>
                      <a:pt x="238" y="6"/>
                      <a:pt x="238" y="6"/>
                    </a:cubicBezTo>
                    <a:cubicBezTo>
                      <a:pt x="258" y="24"/>
                      <a:pt x="258" y="24"/>
                      <a:pt x="258" y="24"/>
                    </a:cubicBezTo>
                    <a:cubicBezTo>
                      <a:pt x="258" y="24"/>
                      <a:pt x="239" y="16"/>
                      <a:pt x="235" y="18"/>
                    </a:cubicBezTo>
                    <a:cubicBezTo>
                      <a:pt x="231" y="19"/>
                      <a:pt x="231" y="30"/>
                      <a:pt x="231" y="30"/>
                    </a:cubicBezTo>
                    <a:cubicBezTo>
                      <a:pt x="231" y="30"/>
                      <a:pt x="199" y="36"/>
                      <a:pt x="198" y="50"/>
                    </a:cubicBezTo>
                    <a:cubicBezTo>
                      <a:pt x="196" y="63"/>
                      <a:pt x="211" y="79"/>
                      <a:pt x="211" y="79"/>
                    </a:cubicBezTo>
                    <a:cubicBezTo>
                      <a:pt x="167" y="79"/>
                      <a:pt x="167" y="79"/>
                      <a:pt x="167" y="79"/>
                    </a:cubicBezTo>
                    <a:cubicBezTo>
                      <a:pt x="167" y="79"/>
                      <a:pt x="163" y="72"/>
                      <a:pt x="156" y="72"/>
                    </a:cubicBezTo>
                    <a:cubicBezTo>
                      <a:pt x="150" y="72"/>
                      <a:pt x="151" y="87"/>
                      <a:pt x="140" y="82"/>
                    </a:cubicBezTo>
                    <a:cubicBezTo>
                      <a:pt x="130" y="76"/>
                      <a:pt x="112" y="51"/>
                      <a:pt x="112" y="51"/>
                    </a:cubicBezTo>
                    <a:cubicBezTo>
                      <a:pt x="112" y="51"/>
                      <a:pt x="102" y="38"/>
                      <a:pt x="94" y="34"/>
                    </a:cubicBezTo>
                    <a:cubicBezTo>
                      <a:pt x="86" y="30"/>
                      <a:pt x="54" y="18"/>
                      <a:pt x="51" y="22"/>
                    </a:cubicBezTo>
                    <a:cubicBezTo>
                      <a:pt x="48" y="26"/>
                      <a:pt x="50" y="32"/>
                      <a:pt x="50" y="32"/>
                    </a:cubicBezTo>
                    <a:cubicBezTo>
                      <a:pt x="50" y="32"/>
                      <a:pt x="60" y="38"/>
                      <a:pt x="60" y="42"/>
                    </a:cubicBezTo>
                    <a:cubicBezTo>
                      <a:pt x="60" y="46"/>
                      <a:pt x="63" y="46"/>
                      <a:pt x="70" y="58"/>
                    </a:cubicBezTo>
                    <a:cubicBezTo>
                      <a:pt x="76" y="70"/>
                      <a:pt x="112" y="79"/>
                      <a:pt x="110" y="90"/>
                    </a:cubicBezTo>
                    <a:cubicBezTo>
                      <a:pt x="107" y="100"/>
                      <a:pt x="107" y="106"/>
                      <a:pt x="100" y="104"/>
                    </a:cubicBezTo>
                    <a:cubicBezTo>
                      <a:pt x="94" y="103"/>
                      <a:pt x="79" y="90"/>
                      <a:pt x="82" y="94"/>
                    </a:cubicBezTo>
                    <a:cubicBezTo>
                      <a:pt x="84" y="98"/>
                      <a:pt x="79" y="107"/>
                      <a:pt x="79" y="107"/>
                    </a:cubicBezTo>
                    <a:cubicBezTo>
                      <a:pt x="52" y="108"/>
                      <a:pt x="52" y="108"/>
                      <a:pt x="52" y="108"/>
                    </a:cubicBezTo>
                    <a:cubicBezTo>
                      <a:pt x="44" y="95"/>
                      <a:pt x="44" y="95"/>
                      <a:pt x="44" y="95"/>
                    </a:cubicBezTo>
                    <a:cubicBezTo>
                      <a:pt x="40" y="100"/>
                      <a:pt x="40" y="100"/>
                      <a:pt x="40" y="100"/>
                    </a:cubicBezTo>
                    <a:cubicBezTo>
                      <a:pt x="40" y="100"/>
                      <a:pt x="30" y="90"/>
                      <a:pt x="24" y="80"/>
                    </a:cubicBezTo>
                    <a:cubicBezTo>
                      <a:pt x="19" y="71"/>
                      <a:pt x="23" y="56"/>
                      <a:pt x="19" y="55"/>
                    </a:cubicBezTo>
                    <a:cubicBezTo>
                      <a:pt x="15" y="54"/>
                      <a:pt x="3" y="47"/>
                      <a:pt x="2" y="52"/>
                    </a:cubicBezTo>
                    <a:cubicBezTo>
                      <a:pt x="0" y="58"/>
                      <a:pt x="14" y="72"/>
                      <a:pt x="14" y="72"/>
                    </a:cubicBezTo>
                    <a:cubicBezTo>
                      <a:pt x="14" y="72"/>
                      <a:pt x="34" y="96"/>
                      <a:pt x="34" y="100"/>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82" name="Freeform 204">
                <a:extLst>
                  <a:ext uri="{FF2B5EF4-FFF2-40B4-BE49-F238E27FC236}">
                    <a16:creationId xmlns:a16="http://schemas.microsoft.com/office/drawing/2014/main" id="{F461D3F5-12CA-4ECA-A0D4-1F5073BAFD92}"/>
                  </a:ext>
                </a:extLst>
              </p:cNvPr>
              <p:cNvSpPr>
                <a:spLocks/>
              </p:cNvSpPr>
              <p:nvPr>
                <p:custDataLst>
                  <p:tags r:id="rId163"/>
                </p:custDataLst>
              </p:nvPr>
            </p:nvSpPr>
            <p:spPr bwMode="gray">
              <a:xfrm>
                <a:off x="6130890" y="3236926"/>
                <a:ext cx="365123" cy="271462"/>
              </a:xfrm>
              <a:custGeom>
                <a:avLst/>
                <a:gdLst>
                  <a:gd name="T0" fmla="*/ 607 w 607"/>
                  <a:gd name="T1" fmla="*/ 64 h 492"/>
                  <a:gd name="T2" fmla="*/ 587 w 607"/>
                  <a:gd name="T3" fmla="*/ 59 h 492"/>
                  <a:gd name="T4" fmla="*/ 561 w 607"/>
                  <a:gd name="T5" fmla="*/ 57 h 492"/>
                  <a:gd name="T6" fmla="*/ 516 w 607"/>
                  <a:gd name="T7" fmla="*/ 81 h 492"/>
                  <a:gd name="T8" fmla="*/ 485 w 607"/>
                  <a:gd name="T9" fmla="*/ 100 h 492"/>
                  <a:gd name="T10" fmla="*/ 455 w 607"/>
                  <a:gd name="T11" fmla="*/ 33 h 492"/>
                  <a:gd name="T12" fmla="*/ 441 w 607"/>
                  <a:gd name="T13" fmla="*/ 14 h 492"/>
                  <a:gd name="T14" fmla="*/ 413 w 607"/>
                  <a:gd name="T15" fmla="*/ 19 h 492"/>
                  <a:gd name="T16" fmla="*/ 407 w 607"/>
                  <a:gd name="T17" fmla="*/ 40 h 492"/>
                  <a:gd name="T18" fmla="*/ 395 w 607"/>
                  <a:gd name="T19" fmla="*/ 48 h 492"/>
                  <a:gd name="T20" fmla="*/ 364 w 607"/>
                  <a:gd name="T21" fmla="*/ 79 h 492"/>
                  <a:gd name="T22" fmla="*/ 315 w 607"/>
                  <a:gd name="T23" fmla="*/ 83 h 492"/>
                  <a:gd name="T24" fmla="*/ 287 w 607"/>
                  <a:gd name="T25" fmla="*/ 66 h 492"/>
                  <a:gd name="T26" fmla="*/ 267 w 607"/>
                  <a:gd name="T27" fmla="*/ 57 h 492"/>
                  <a:gd name="T28" fmla="*/ 229 w 607"/>
                  <a:gd name="T29" fmla="*/ 63 h 492"/>
                  <a:gd name="T30" fmla="*/ 200 w 607"/>
                  <a:gd name="T31" fmla="*/ 67 h 492"/>
                  <a:gd name="T32" fmla="*/ 166 w 607"/>
                  <a:gd name="T33" fmla="*/ 116 h 492"/>
                  <a:gd name="T34" fmla="*/ 137 w 607"/>
                  <a:gd name="T35" fmla="*/ 136 h 492"/>
                  <a:gd name="T36" fmla="*/ 107 w 607"/>
                  <a:gd name="T37" fmla="*/ 167 h 492"/>
                  <a:gd name="T38" fmla="*/ 61 w 607"/>
                  <a:gd name="T39" fmla="*/ 161 h 492"/>
                  <a:gd name="T40" fmla="*/ 30 w 607"/>
                  <a:gd name="T41" fmla="*/ 154 h 492"/>
                  <a:gd name="T42" fmla="*/ 29 w 607"/>
                  <a:gd name="T43" fmla="*/ 205 h 492"/>
                  <a:gd name="T44" fmla="*/ 20 w 607"/>
                  <a:gd name="T45" fmla="*/ 220 h 492"/>
                  <a:gd name="T46" fmla="*/ 11 w 607"/>
                  <a:gd name="T47" fmla="*/ 244 h 492"/>
                  <a:gd name="T48" fmla="*/ 31 w 607"/>
                  <a:gd name="T49" fmla="*/ 266 h 492"/>
                  <a:gd name="T50" fmla="*/ 40 w 607"/>
                  <a:gd name="T51" fmla="*/ 341 h 492"/>
                  <a:gd name="T52" fmla="*/ 70 w 607"/>
                  <a:gd name="T53" fmla="*/ 382 h 492"/>
                  <a:gd name="T54" fmla="*/ 79 w 607"/>
                  <a:gd name="T55" fmla="*/ 434 h 492"/>
                  <a:gd name="T56" fmla="*/ 61 w 607"/>
                  <a:gd name="T57" fmla="*/ 467 h 492"/>
                  <a:gd name="T58" fmla="*/ 142 w 607"/>
                  <a:gd name="T59" fmla="*/ 490 h 492"/>
                  <a:gd name="T60" fmla="*/ 196 w 607"/>
                  <a:gd name="T61" fmla="*/ 484 h 492"/>
                  <a:gd name="T62" fmla="*/ 218 w 607"/>
                  <a:gd name="T63" fmla="*/ 482 h 492"/>
                  <a:gd name="T64" fmla="*/ 307 w 607"/>
                  <a:gd name="T65" fmla="*/ 459 h 492"/>
                  <a:gd name="T66" fmla="*/ 298 w 607"/>
                  <a:gd name="T67" fmla="*/ 403 h 492"/>
                  <a:gd name="T68" fmla="*/ 327 w 607"/>
                  <a:gd name="T69" fmla="*/ 390 h 492"/>
                  <a:gd name="T70" fmla="*/ 348 w 607"/>
                  <a:gd name="T71" fmla="*/ 376 h 492"/>
                  <a:gd name="T72" fmla="*/ 381 w 607"/>
                  <a:gd name="T73" fmla="*/ 361 h 492"/>
                  <a:gd name="T74" fmla="*/ 409 w 607"/>
                  <a:gd name="T75" fmla="*/ 371 h 492"/>
                  <a:gd name="T76" fmla="*/ 417 w 607"/>
                  <a:gd name="T77" fmla="*/ 325 h 492"/>
                  <a:gd name="T78" fmla="*/ 425 w 607"/>
                  <a:gd name="T79" fmla="*/ 291 h 492"/>
                  <a:gd name="T80" fmla="*/ 462 w 607"/>
                  <a:gd name="T81" fmla="*/ 275 h 492"/>
                  <a:gd name="T82" fmla="*/ 447 w 607"/>
                  <a:gd name="T83" fmla="*/ 258 h 492"/>
                  <a:gd name="T84" fmla="*/ 434 w 607"/>
                  <a:gd name="T85" fmla="*/ 238 h 492"/>
                  <a:gd name="T86" fmla="*/ 456 w 607"/>
                  <a:gd name="T87" fmla="*/ 246 h 492"/>
                  <a:gd name="T88" fmla="*/ 467 w 607"/>
                  <a:gd name="T89" fmla="*/ 242 h 492"/>
                  <a:gd name="T90" fmla="*/ 479 w 607"/>
                  <a:gd name="T91" fmla="*/ 222 h 492"/>
                  <a:gd name="T92" fmla="*/ 494 w 607"/>
                  <a:gd name="T93" fmla="*/ 188 h 492"/>
                  <a:gd name="T94" fmla="*/ 479 w 607"/>
                  <a:gd name="T95" fmla="*/ 144 h 492"/>
                  <a:gd name="T96" fmla="*/ 486 w 607"/>
                  <a:gd name="T97" fmla="*/ 109 h 492"/>
                  <a:gd name="T98" fmla="*/ 540 w 607"/>
                  <a:gd name="T99" fmla="*/ 88 h 492"/>
                  <a:gd name="T100" fmla="*/ 584 w 607"/>
                  <a:gd name="T101" fmla="*/ 88 h 492"/>
                  <a:gd name="T102" fmla="*/ 602 w 607"/>
                  <a:gd name="T103" fmla="*/ 78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07" h="492">
                    <a:moveTo>
                      <a:pt x="596" y="71"/>
                    </a:moveTo>
                    <a:cubicBezTo>
                      <a:pt x="594" y="65"/>
                      <a:pt x="600" y="65"/>
                      <a:pt x="607" y="64"/>
                    </a:cubicBezTo>
                    <a:cubicBezTo>
                      <a:pt x="600" y="59"/>
                      <a:pt x="600" y="59"/>
                      <a:pt x="600" y="59"/>
                    </a:cubicBezTo>
                    <a:cubicBezTo>
                      <a:pt x="587" y="59"/>
                      <a:pt x="587" y="59"/>
                      <a:pt x="587" y="59"/>
                    </a:cubicBezTo>
                    <a:cubicBezTo>
                      <a:pt x="563" y="67"/>
                      <a:pt x="563" y="67"/>
                      <a:pt x="563" y="67"/>
                    </a:cubicBezTo>
                    <a:cubicBezTo>
                      <a:pt x="561" y="57"/>
                      <a:pt x="561" y="57"/>
                      <a:pt x="561" y="57"/>
                    </a:cubicBezTo>
                    <a:cubicBezTo>
                      <a:pt x="561" y="57"/>
                      <a:pt x="537" y="54"/>
                      <a:pt x="530" y="62"/>
                    </a:cubicBezTo>
                    <a:cubicBezTo>
                      <a:pt x="523" y="70"/>
                      <a:pt x="516" y="81"/>
                      <a:pt x="516" y="81"/>
                    </a:cubicBezTo>
                    <a:cubicBezTo>
                      <a:pt x="506" y="81"/>
                      <a:pt x="506" y="81"/>
                      <a:pt x="506" y="81"/>
                    </a:cubicBezTo>
                    <a:cubicBezTo>
                      <a:pt x="506" y="81"/>
                      <a:pt x="492" y="97"/>
                      <a:pt x="485" y="100"/>
                    </a:cubicBezTo>
                    <a:cubicBezTo>
                      <a:pt x="478" y="103"/>
                      <a:pt x="462" y="75"/>
                      <a:pt x="462" y="75"/>
                    </a:cubicBezTo>
                    <a:cubicBezTo>
                      <a:pt x="455" y="33"/>
                      <a:pt x="455" y="33"/>
                      <a:pt x="455" y="33"/>
                    </a:cubicBezTo>
                    <a:cubicBezTo>
                      <a:pt x="441" y="33"/>
                      <a:pt x="441" y="33"/>
                      <a:pt x="441" y="33"/>
                    </a:cubicBezTo>
                    <a:cubicBezTo>
                      <a:pt x="441" y="33"/>
                      <a:pt x="441" y="19"/>
                      <a:pt x="441" y="14"/>
                    </a:cubicBezTo>
                    <a:cubicBezTo>
                      <a:pt x="441" y="9"/>
                      <a:pt x="430" y="0"/>
                      <a:pt x="421" y="0"/>
                    </a:cubicBezTo>
                    <a:cubicBezTo>
                      <a:pt x="412" y="0"/>
                      <a:pt x="413" y="15"/>
                      <a:pt x="413" y="19"/>
                    </a:cubicBezTo>
                    <a:cubicBezTo>
                      <a:pt x="413" y="23"/>
                      <a:pt x="399" y="26"/>
                      <a:pt x="399" y="33"/>
                    </a:cubicBezTo>
                    <a:cubicBezTo>
                      <a:pt x="399" y="40"/>
                      <a:pt x="407" y="40"/>
                      <a:pt x="407" y="40"/>
                    </a:cubicBezTo>
                    <a:cubicBezTo>
                      <a:pt x="402" y="54"/>
                      <a:pt x="402" y="54"/>
                      <a:pt x="402" y="54"/>
                    </a:cubicBezTo>
                    <a:cubicBezTo>
                      <a:pt x="395" y="48"/>
                      <a:pt x="395" y="48"/>
                      <a:pt x="395" y="48"/>
                    </a:cubicBezTo>
                    <a:cubicBezTo>
                      <a:pt x="395" y="48"/>
                      <a:pt x="373" y="49"/>
                      <a:pt x="368" y="54"/>
                    </a:cubicBezTo>
                    <a:cubicBezTo>
                      <a:pt x="363" y="59"/>
                      <a:pt x="368" y="77"/>
                      <a:pt x="364" y="79"/>
                    </a:cubicBezTo>
                    <a:cubicBezTo>
                      <a:pt x="360" y="81"/>
                      <a:pt x="349" y="64"/>
                      <a:pt x="346" y="64"/>
                    </a:cubicBezTo>
                    <a:cubicBezTo>
                      <a:pt x="343" y="64"/>
                      <a:pt x="318" y="84"/>
                      <a:pt x="315" y="83"/>
                    </a:cubicBezTo>
                    <a:cubicBezTo>
                      <a:pt x="312" y="82"/>
                      <a:pt x="292" y="66"/>
                      <a:pt x="292" y="66"/>
                    </a:cubicBezTo>
                    <a:cubicBezTo>
                      <a:pt x="287" y="66"/>
                      <a:pt x="287" y="66"/>
                      <a:pt x="287" y="66"/>
                    </a:cubicBezTo>
                    <a:cubicBezTo>
                      <a:pt x="276" y="71"/>
                      <a:pt x="276" y="71"/>
                      <a:pt x="276" y="71"/>
                    </a:cubicBezTo>
                    <a:cubicBezTo>
                      <a:pt x="267" y="57"/>
                      <a:pt x="267" y="57"/>
                      <a:pt x="267" y="57"/>
                    </a:cubicBezTo>
                    <a:cubicBezTo>
                      <a:pt x="259" y="63"/>
                      <a:pt x="259" y="63"/>
                      <a:pt x="259" y="63"/>
                    </a:cubicBezTo>
                    <a:cubicBezTo>
                      <a:pt x="229" y="63"/>
                      <a:pt x="229" y="63"/>
                      <a:pt x="229" y="63"/>
                    </a:cubicBezTo>
                    <a:cubicBezTo>
                      <a:pt x="229" y="63"/>
                      <a:pt x="215" y="50"/>
                      <a:pt x="207" y="50"/>
                    </a:cubicBezTo>
                    <a:cubicBezTo>
                      <a:pt x="199" y="50"/>
                      <a:pt x="200" y="67"/>
                      <a:pt x="200" y="67"/>
                    </a:cubicBezTo>
                    <a:cubicBezTo>
                      <a:pt x="200" y="67"/>
                      <a:pt x="181" y="62"/>
                      <a:pt x="171" y="72"/>
                    </a:cubicBezTo>
                    <a:cubicBezTo>
                      <a:pt x="161" y="82"/>
                      <a:pt x="166" y="110"/>
                      <a:pt x="166" y="116"/>
                    </a:cubicBezTo>
                    <a:cubicBezTo>
                      <a:pt x="166" y="122"/>
                      <a:pt x="157" y="120"/>
                      <a:pt x="157" y="120"/>
                    </a:cubicBezTo>
                    <a:cubicBezTo>
                      <a:pt x="157" y="120"/>
                      <a:pt x="144" y="129"/>
                      <a:pt x="137" y="136"/>
                    </a:cubicBezTo>
                    <a:cubicBezTo>
                      <a:pt x="130" y="143"/>
                      <a:pt x="112" y="142"/>
                      <a:pt x="112" y="142"/>
                    </a:cubicBezTo>
                    <a:cubicBezTo>
                      <a:pt x="112" y="142"/>
                      <a:pt x="112" y="158"/>
                      <a:pt x="107" y="167"/>
                    </a:cubicBezTo>
                    <a:cubicBezTo>
                      <a:pt x="102" y="176"/>
                      <a:pt x="77" y="177"/>
                      <a:pt x="77" y="177"/>
                    </a:cubicBezTo>
                    <a:cubicBezTo>
                      <a:pt x="61" y="161"/>
                      <a:pt x="61" y="161"/>
                      <a:pt x="61" y="161"/>
                    </a:cubicBezTo>
                    <a:cubicBezTo>
                      <a:pt x="61" y="161"/>
                      <a:pt x="54" y="164"/>
                      <a:pt x="49" y="164"/>
                    </a:cubicBezTo>
                    <a:cubicBezTo>
                      <a:pt x="44" y="164"/>
                      <a:pt x="30" y="154"/>
                      <a:pt x="30" y="154"/>
                    </a:cubicBezTo>
                    <a:cubicBezTo>
                      <a:pt x="30" y="154"/>
                      <a:pt x="24" y="161"/>
                      <a:pt x="23" y="168"/>
                    </a:cubicBezTo>
                    <a:cubicBezTo>
                      <a:pt x="22" y="175"/>
                      <a:pt x="29" y="205"/>
                      <a:pt x="29" y="205"/>
                    </a:cubicBezTo>
                    <a:cubicBezTo>
                      <a:pt x="15" y="209"/>
                      <a:pt x="15" y="209"/>
                      <a:pt x="15" y="209"/>
                    </a:cubicBezTo>
                    <a:cubicBezTo>
                      <a:pt x="20" y="220"/>
                      <a:pt x="20" y="220"/>
                      <a:pt x="20" y="220"/>
                    </a:cubicBezTo>
                    <a:cubicBezTo>
                      <a:pt x="20" y="220"/>
                      <a:pt x="6" y="225"/>
                      <a:pt x="3" y="230"/>
                    </a:cubicBezTo>
                    <a:cubicBezTo>
                      <a:pt x="0" y="235"/>
                      <a:pt x="11" y="244"/>
                      <a:pt x="11" y="244"/>
                    </a:cubicBezTo>
                    <a:cubicBezTo>
                      <a:pt x="9" y="263"/>
                      <a:pt x="9" y="263"/>
                      <a:pt x="9" y="263"/>
                    </a:cubicBezTo>
                    <a:cubicBezTo>
                      <a:pt x="9" y="263"/>
                      <a:pt x="30" y="260"/>
                      <a:pt x="31" y="266"/>
                    </a:cubicBezTo>
                    <a:cubicBezTo>
                      <a:pt x="32" y="272"/>
                      <a:pt x="17" y="280"/>
                      <a:pt x="15" y="293"/>
                    </a:cubicBezTo>
                    <a:cubicBezTo>
                      <a:pt x="13" y="306"/>
                      <a:pt x="40" y="330"/>
                      <a:pt x="40" y="341"/>
                    </a:cubicBezTo>
                    <a:cubicBezTo>
                      <a:pt x="40" y="352"/>
                      <a:pt x="40" y="366"/>
                      <a:pt x="40" y="374"/>
                    </a:cubicBezTo>
                    <a:cubicBezTo>
                      <a:pt x="40" y="382"/>
                      <a:pt x="70" y="382"/>
                      <a:pt x="70" y="382"/>
                    </a:cubicBezTo>
                    <a:cubicBezTo>
                      <a:pt x="70" y="382"/>
                      <a:pt x="85" y="377"/>
                      <a:pt x="91" y="394"/>
                    </a:cubicBezTo>
                    <a:cubicBezTo>
                      <a:pt x="97" y="411"/>
                      <a:pt x="86" y="424"/>
                      <a:pt x="79" y="434"/>
                    </a:cubicBezTo>
                    <a:cubicBezTo>
                      <a:pt x="72" y="444"/>
                      <a:pt x="56" y="458"/>
                      <a:pt x="56" y="462"/>
                    </a:cubicBezTo>
                    <a:cubicBezTo>
                      <a:pt x="56" y="466"/>
                      <a:pt x="61" y="467"/>
                      <a:pt x="61" y="467"/>
                    </a:cubicBezTo>
                    <a:cubicBezTo>
                      <a:pt x="61" y="467"/>
                      <a:pt x="73" y="464"/>
                      <a:pt x="82" y="469"/>
                    </a:cubicBezTo>
                    <a:cubicBezTo>
                      <a:pt x="91" y="474"/>
                      <a:pt x="121" y="492"/>
                      <a:pt x="142" y="490"/>
                    </a:cubicBezTo>
                    <a:cubicBezTo>
                      <a:pt x="163" y="488"/>
                      <a:pt x="161" y="483"/>
                      <a:pt x="161" y="483"/>
                    </a:cubicBezTo>
                    <a:cubicBezTo>
                      <a:pt x="196" y="484"/>
                      <a:pt x="196" y="484"/>
                      <a:pt x="196" y="484"/>
                    </a:cubicBezTo>
                    <a:cubicBezTo>
                      <a:pt x="196" y="484"/>
                      <a:pt x="193" y="488"/>
                      <a:pt x="205" y="488"/>
                    </a:cubicBezTo>
                    <a:cubicBezTo>
                      <a:pt x="217" y="488"/>
                      <a:pt x="218" y="482"/>
                      <a:pt x="218" y="482"/>
                    </a:cubicBezTo>
                    <a:cubicBezTo>
                      <a:pt x="218" y="482"/>
                      <a:pt x="260" y="480"/>
                      <a:pt x="263" y="479"/>
                    </a:cubicBezTo>
                    <a:cubicBezTo>
                      <a:pt x="266" y="478"/>
                      <a:pt x="305" y="465"/>
                      <a:pt x="307" y="459"/>
                    </a:cubicBezTo>
                    <a:cubicBezTo>
                      <a:pt x="309" y="453"/>
                      <a:pt x="303" y="433"/>
                      <a:pt x="303" y="433"/>
                    </a:cubicBezTo>
                    <a:cubicBezTo>
                      <a:pt x="303" y="433"/>
                      <a:pt x="296" y="409"/>
                      <a:pt x="298" y="403"/>
                    </a:cubicBezTo>
                    <a:cubicBezTo>
                      <a:pt x="300" y="397"/>
                      <a:pt x="315" y="384"/>
                      <a:pt x="323" y="384"/>
                    </a:cubicBezTo>
                    <a:cubicBezTo>
                      <a:pt x="331" y="384"/>
                      <a:pt x="327" y="390"/>
                      <a:pt x="327" y="390"/>
                    </a:cubicBezTo>
                    <a:cubicBezTo>
                      <a:pt x="327" y="390"/>
                      <a:pt x="357" y="395"/>
                      <a:pt x="359" y="389"/>
                    </a:cubicBezTo>
                    <a:cubicBezTo>
                      <a:pt x="361" y="383"/>
                      <a:pt x="344" y="381"/>
                      <a:pt x="348" y="376"/>
                    </a:cubicBezTo>
                    <a:cubicBezTo>
                      <a:pt x="352" y="371"/>
                      <a:pt x="366" y="367"/>
                      <a:pt x="366" y="367"/>
                    </a:cubicBezTo>
                    <a:cubicBezTo>
                      <a:pt x="366" y="367"/>
                      <a:pt x="373" y="361"/>
                      <a:pt x="381" y="361"/>
                    </a:cubicBezTo>
                    <a:cubicBezTo>
                      <a:pt x="389" y="361"/>
                      <a:pt x="399" y="359"/>
                      <a:pt x="399" y="359"/>
                    </a:cubicBezTo>
                    <a:cubicBezTo>
                      <a:pt x="399" y="359"/>
                      <a:pt x="396" y="378"/>
                      <a:pt x="409" y="371"/>
                    </a:cubicBezTo>
                    <a:cubicBezTo>
                      <a:pt x="422" y="364"/>
                      <a:pt x="425" y="355"/>
                      <a:pt x="425" y="355"/>
                    </a:cubicBezTo>
                    <a:cubicBezTo>
                      <a:pt x="425" y="355"/>
                      <a:pt x="416" y="337"/>
                      <a:pt x="417" y="325"/>
                    </a:cubicBezTo>
                    <a:cubicBezTo>
                      <a:pt x="418" y="313"/>
                      <a:pt x="424" y="316"/>
                      <a:pt x="424" y="316"/>
                    </a:cubicBezTo>
                    <a:cubicBezTo>
                      <a:pt x="424" y="316"/>
                      <a:pt x="421" y="294"/>
                      <a:pt x="425" y="291"/>
                    </a:cubicBezTo>
                    <a:cubicBezTo>
                      <a:pt x="429" y="288"/>
                      <a:pt x="442" y="289"/>
                      <a:pt x="442" y="289"/>
                    </a:cubicBezTo>
                    <a:cubicBezTo>
                      <a:pt x="462" y="275"/>
                      <a:pt x="462" y="275"/>
                      <a:pt x="462" y="275"/>
                    </a:cubicBezTo>
                    <a:cubicBezTo>
                      <a:pt x="462" y="275"/>
                      <a:pt x="451" y="276"/>
                      <a:pt x="449" y="269"/>
                    </a:cubicBezTo>
                    <a:cubicBezTo>
                      <a:pt x="447" y="262"/>
                      <a:pt x="447" y="258"/>
                      <a:pt x="447" y="258"/>
                    </a:cubicBezTo>
                    <a:cubicBezTo>
                      <a:pt x="447" y="258"/>
                      <a:pt x="432" y="254"/>
                      <a:pt x="431" y="249"/>
                    </a:cubicBezTo>
                    <a:cubicBezTo>
                      <a:pt x="430" y="244"/>
                      <a:pt x="430" y="239"/>
                      <a:pt x="434" y="238"/>
                    </a:cubicBezTo>
                    <a:cubicBezTo>
                      <a:pt x="438" y="237"/>
                      <a:pt x="445" y="245"/>
                      <a:pt x="445" y="245"/>
                    </a:cubicBezTo>
                    <a:cubicBezTo>
                      <a:pt x="456" y="246"/>
                      <a:pt x="456" y="246"/>
                      <a:pt x="456" y="246"/>
                    </a:cubicBezTo>
                    <a:cubicBezTo>
                      <a:pt x="463" y="249"/>
                      <a:pt x="463" y="249"/>
                      <a:pt x="463" y="249"/>
                    </a:cubicBezTo>
                    <a:cubicBezTo>
                      <a:pt x="467" y="242"/>
                      <a:pt x="467" y="242"/>
                      <a:pt x="467" y="242"/>
                    </a:cubicBezTo>
                    <a:cubicBezTo>
                      <a:pt x="467" y="242"/>
                      <a:pt x="478" y="245"/>
                      <a:pt x="479" y="238"/>
                    </a:cubicBezTo>
                    <a:cubicBezTo>
                      <a:pt x="480" y="231"/>
                      <a:pt x="479" y="222"/>
                      <a:pt x="479" y="222"/>
                    </a:cubicBezTo>
                    <a:cubicBezTo>
                      <a:pt x="479" y="222"/>
                      <a:pt x="472" y="221"/>
                      <a:pt x="473" y="212"/>
                    </a:cubicBezTo>
                    <a:cubicBezTo>
                      <a:pt x="474" y="203"/>
                      <a:pt x="491" y="195"/>
                      <a:pt x="494" y="188"/>
                    </a:cubicBezTo>
                    <a:cubicBezTo>
                      <a:pt x="497" y="181"/>
                      <a:pt x="487" y="173"/>
                      <a:pt x="487" y="173"/>
                    </a:cubicBezTo>
                    <a:cubicBezTo>
                      <a:pt x="487" y="173"/>
                      <a:pt x="490" y="156"/>
                      <a:pt x="479" y="144"/>
                    </a:cubicBezTo>
                    <a:cubicBezTo>
                      <a:pt x="468" y="132"/>
                      <a:pt x="463" y="136"/>
                      <a:pt x="469" y="124"/>
                    </a:cubicBezTo>
                    <a:cubicBezTo>
                      <a:pt x="475" y="112"/>
                      <a:pt x="486" y="109"/>
                      <a:pt x="486" y="109"/>
                    </a:cubicBezTo>
                    <a:cubicBezTo>
                      <a:pt x="486" y="109"/>
                      <a:pt x="509" y="93"/>
                      <a:pt x="516" y="90"/>
                    </a:cubicBezTo>
                    <a:cubicBezTo>
                      <a:pt x="523" y="87"/>
                      <a:pt x="540" y="88"/>
                      <a:pt x="540" y="88"/>
                    </a:cubicBezTo>
                    <a:cubicBezTo>
                      <a:pt x="540" y="88"/>
                      <a:pt x="563" y="83"/>
                      <a:pt x="566" y="83"/>
                    </a:cubicBezTo>
                    <a:cubicBezTo>
                      <a:pt x="569" y="83"/>
                      <a:pt x="579" y="89"/>
                      <a:pt x="584" y="88"/>
                    </a:cubicBezTo>
                    <a:cubicBezTo>
                      <a:pt x="587" y="87"/>
                      <a:pt x="596" y="82"/>
                      <a:pt x="602" y="78"/>
                    </a:cubicBezTo>
                    <a:cubicBezTo>
                      <a:pt x="602" y="78"/>
                      <a:pt x="602" y="78"/>
                      <a:pt x="602" y="78"/>
                    </a:cubicBezTo>
                    <a:cubicBezTo>
                      <a:pt x="599" y="76"/>
                      <a:pt x="597" y="74"/>
                      <a:pt x="596" y="71"/>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83" name="Freeform 205">
                <a:extLst>
                  <a:ext uri="{FF2B5EF4-FFF2-40B4-BE49-F238E27FC236}">
                    <a16:creationId xmlns:a16="http://schemas.microsoft.com/office/drawing/2014/main" id="{FBC04018-1876-457D-A03D-2B9A76C3B3CE}"/>
                  </a:ext>
                </a:extLst>
              </p:cNvPr>
              <p:cNvSpPr>
                <a:spLocks/>
              </p:cNvSpPr>
              <p:nvPr>
                <p:custDataLst>
                  <p:tags r:id="rId164"/>
                </p:custDataLst>
              </p:nvPr>
            </p:nvSpPr>
            <p:spPr bwMode="gray">
              <a:xfrm>
                <a:off x="5446682" y="3422663"/>
                <a:ext cx="600072" cy="473077"/>
              </a:xfrm>
              <a:custGeom>
                <a:avLst/>
                <a:gdLst>
                  <a:gd name="T0" fmla="*/ 976 w 998"/>
                  <a:gd name="T1" fmla="*/ 516 h 851"/>
                  <a:gd name="T2" fmla="*/ 804 w 998"/>
                  <a:gd name="T3" fmla="*/ 446 h 851"/>
                  <a:gd name="T4" fmla="*/ 794 w 998"/>
                  <a:gd name="T5" fmla="*/ 413 h 851"/>
                  <a:gd name="T6" fmla="*/ 780 w 998"/>
                  <a:gd name="T7" fmla="*/ 407 h 851"/>
                  <a:gd name="T8" fmla="*/ 764 w 998"/>
                  <a:gd name="T9" fmla="*/ 400 h 851"/>
                  <a:gd name="T10" fmla="*/ 719 w 998"/>
                  <a:gd name="T11" fmla="*/ 332 h 851"/>
                  <a:gd name="T12" fmla="*/ 669 w 998"/>
                  <a:gd name="T13" fmla="*/ 265 h 851"/>
                  <a:gd name="T14" fmla="*/ 646 w 998"/>
                  <a:gd name="T15" fmla="*/ 218 h 851"/>
                  <a:gd name="T16" fmla="*/ 637 w 998"/>
                  <a:gd name="T17" fmla="*/ 195 h 851"/>
                  <a:gd name="T18" fmla="*/ 588 w 998"/>
                  <a:gd name="T19" fmla="*/ 170 h 851"/>
                  <a:gd name="T20" fmla="*/ 332 w 998"/>
                  <a:gd name="T21" fmla="*/ 63 h 851"/>
                  <a:gd name="T22" fmla="*/ 250 w 998"/>
                  <a:gd name="T23" fmla="*/ 9 h 851"/>
                  <a:gd name="T24" fmla="*/ 200 w 998"/>
                  <a:gd name="T25" fmla="*/ 0 h 851"/>
                  <a:gd name="T26" fmla="*/ 147 w 998"/>
                  <a:gd name="T27" fmla="*/ 18 h 851"/>
                  <a:gd name="T28" fmla="*/ 111 w 998"/>
                  <a:gd name="T29" fmla="*/ 32 h 851"/>
                  <a:gd name="T30" fmla="*/ 111 w 998"/>
                  <a:gd name="T31" fmla="*/ 46 h 851"/>
                  <a:gd name="T32" fmla="*/ 123 w 998"/>
                  <a:gd name="T33" fmla="*/ 118 h 851"/>
                  <a:gd name="T34" fmla="*/ 70 w 998"/>
                  <a:gd name="T35" fmla="*/ 163 h 851"/>
                  <a:gd name="T36" fmla="*/ 12 w 998"/>
                  <a:gd name="T37" fmla="*/ 161 h 851"/>
                  <a:gd name="T38" fmla="*/ 12 w 998"/>
                  <a:gd name="T39" fmla="*/ 249 h 851"/>
                  <a:gd name="T40" fmla="*/ 85 w 998"/>
                  <a:gd name="T41" fmla="*/ 334 h 851"/>
                  <a:gd name="T42" fmla="*/ 145 w 998"/>
                  <a:gd name="T43" fmla="*/ 433 h 851"/>
                  <a:gd name="T44" fmla="*/ 232 w 998"/>
                  <a:gd name="T45" fmla="*/ 560 h 851"/>
                  <a:gd name="T46" fmla="*/ 300 w 998"/>
                  <a:gd name="T47" fmla="*/ 631 h 851"/>
                  <a:gd name="T48" fmla="*/ 419 w 998"/>
                  <a:gd name="T49" fmla="*/ 826 h 851"/>
                  <a:gd name="T50" fmla="*/ 427 w 998"/>
                  <a:gd name="T51" fmla="*/ 837 h 851"/>
                  <a:gd name="T52" fmla="*/ 437 w 998"/>
                  <a:gd name="T53" fmla="*/ 790 h 851"/>
                  <a:gd name="T54" fmla="*/ 470 w 998"/>
                  <a:gd name="T55" fmla="*/ 798 h 851"/>
                  <a:gd name="T56" fmla="*/ 522 w 998"/>
                  <a:gd name="T57" fmla="*/ 791 h 851"/>
                  <a:gd name="T58" fmla="*/ 593 w 998"/>
                  <a:gd name="T59" fmla="*/ 799 h 851"/>
                  <a:gd name="T60" fmla="*/ 628 w 998"/>
                  <a:gd name="T61" fmla="*/ 804 h 851"/>
                  <a:gd name="T62" fmla="*/ 653 w 998"/>
                  <a:gd name="T63" fmla="*/ 755 h 851"/>
                  <a:gd name="T64" fmla="*/ 839 w 998"/>
                  <a:gd name="T65" fmla="*/ 710 h 851"/>
                  <a:gd name="T66" fmla="*/ 998 w 998"/>
                  <a:gd name="T67" fmla="*/ 546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8" h="851">
                    <a:moveTo>
                      <a:pt x="980" y="527"/>
                    </a:moveTo>
                    <a:cubicBezTo>
                      <a:pt x="980" y="525"/>
                      <a:pt x="978" y="521"/>
                      <a:pt x="976" y="516"/>
                    </a:cubicBezTo>
                    <a:cubicBezTo>
                      <a:pt x="942" y="512"/>
                      <a:pt x="853" y="501"/>
                      <a:pt x="851" y="501"/>
                    </a:cubicBezTo>
                    <a:cubicBezTo>
                      <a:pt x="848" y="501"/>
                      <a:pt x="811" y="453"/>
                      <a:pt x="804" y="446"/>
                    </a:cubicBezTo>
                    <a:cubicBezTo>
                      <a:pt x="799" y="441"/>
                      <a:pt x="799" y="433"/>
                      <a:pt x="800" y="428"/>
                    </a:cubicBezTo>
                    <a:cubicBezTo>
                      <a:pt x="796" y="423"/>
                      <a:pt x="793" y="417"/>
                      <a:pt x="794" y="413"/>
                    </a:cubicBezTo>
                    <a:cubicBezTo>
                      <a:pt x="788" y="415"/>
                      <a:pt x="788" y="415"/>
                      <a:pt x="788" y="415"/>
                    </a:cubicBezTo>
                    <a:cubicBezTo>
                      <a:pt x="780" y="407"/>
                      <a:pt x="780" y="407"/>
                      <a:pt x="780" y="407"/>
                    </a:cubicBezTo>
                    <a:cubicBezTo>
                      <a:pt x="770" y="410"/>
                      <a:pt x="770" y="410"/>
                      <a:pt x="770" y="410"/>
                    </a:cubicBezTo>
                    <a:cubicBezTo>
                      <a:pt x="764" y="400"/>
                      <a:pt x="764" y="400"/>
                      <a:pt x="764" y="400"/>
                    </a:cubicBezTo>
                    <a:cubicBezTo>
                      <a:pt x="757" y="398"/>
                      <a:pt x="750" y="359"/>
                      <a:pt x="744" y="354"/>
                    </a:cubicBezTo>
                    <a:cubicBezTo>
                      <a:pt x="738" y="349"/>
                      <a:pt x="722" y="346"/>
                      <a:pt x="719" y="332"/>
                    </a:cubicBezTo>
                    <a:cubicBezTo>
                      <a:pt x="715" y="318"/>
                      <a:pt x="720" y="296"/>
                      <a:pt x="707" y="286"/>
                    </a:cubicBezTo>
                    <a:cubicBezTo>
                      <a:pt x="693" y="275"/>
                      <a:pt x="675" y="277"/>
                      <a:pt x="669" y="265"/>
                    </a:cubicBezTo>
                    <a:cubicBezTo>
                      <a:pt x="663" y="252"/>
                      <a:pt x="670" y="239"/>
                      <a:pt x="664" y="235"/>
                    </a:cubicBezTo>
                    <a:cubicBezTo>
                      <a:pt x="658" y="231"/>
                      <a:pt x="646" y="218"/>
                      <a:pt x="646" y="218"/>
                    </a:cubicBezTo>
                    <a:cubicBezTo>
                      <a:pt x="645" y="201"/>
                      <a:pt x="645" y="201"/>
                      <a:pt x="645" y="201"/>
                    </a:cubicBezTo>
                    <a:cubicBezTo>
                      <a:pt x="645" y="201"/>
                      <a:pt x="642" y="198"/>
                      <a:pt x="637" y="195"/>
                    </a:cubicBezTo>
                    <a:cubicBezTo>
                      <a:pt x="624" y="196"/>
                      <a:pt x="606" y="196"/>
                      <a:pt x="598" y="196"/>
                    </a:cubicBezTo>
                    <a:cubicBezTo>
                      <a:pt x="584" y="195"/>
                      <a:pt x="594" y="177"/>
                      <a:pt x="588" y="170"/>
                    </a:cubicBezTo>
                    <a:cubicBezTo>
                      <a:pt x="582" y="163"/>
                      <a:pt x="460" y="160"/>
                      <a:pt x="460" y="160"/>
                    </a:cubicBezTo>
                    <a:cubicBezTo>
                      <a:pt x="332" y="63"/>
                      <a:pt x="332" y="63"/>
                      <a:pt x="332" y="63"/>
                    </a:cubicBezTo>
                    <a:cubicBezTo>
                      <a:pt x="332" y="63"/>
                      <a:pt x="311" y="49"/>
                      <a:pt x="299" y="43"/>
                    </a:cubicBezTo>
                    <a:cubicBezTo>
                      <a:pt x="287" y="37"/>
                      <a:pt x="250" y="9"/>
                      <a:pt x="250" y="9"/>
                    </a:cubicBezTo>
                    <a:cubicBezTo>
                      <a:pt x="250" y="9"/>
                      <a:pt x="225" y="8"/>
                      <a:pt x="216" y="9"/>
                    </a:cubicBezTo>
                    <a:cubicBezTo>
                      <a:pt x="207" y="10"/>
                      <a:pt x="200" y="0"/>
                      <a:pt x="200" y="0"/>
                    </a:cubicBezTo>
                    <a:cubicBezTo>
                      <a:pt x="200" y="0"/>
                      <a:pt x="187" y="8"/>
                      <a:pt x="181" y="14"/>
                    </a:cubicBezTo>
                    <a:cubicBezTo>
                      <a:pt x="175" y="20"/>
                      <a:pt x="147" y="18"/>
                      <a:pt x="147" y="18"/>
                    </a:cubicBezTo>
                    <a:cubicBezTo>
                      <a:pt x="139" y="32"/>
                      <a:pt x="139" y="32"/>
                      <a:pt x="139" y="32"/>
                    </a:cubicBezTo>
                    <a:cubicBezTo>
                      <a:pt x="111" y="32"/>
                      <a:pt x="111" y="32"/>
                      <a:pt x="111" y="32"/>
                    </a:cubicBezTo>
                    <a:cubicBezTo>
                      <a:pt x="111" y="32"/>
                      <a:pt x="86" y="31"/>
                      <a:pt x="79" y="38"/>
                    </a:cubicBezTo>
                    <a:cubicBezTo>
                      <a:pt x="72" y="45"/>
                      <a:pt x="104" y="42"/>
                      <a:pt x="111" y="46"/>
                    </a:cubicBezTo>
                    <a:cubicBezTo>
                      <a:pt x="118" y="50"/>
                      <a:pt x="137" y="85"/>
                      <a:pt x="137" y="85"/>
                    </a:cubicBezTo>
                    <a:cubicBezTo>
                      <a:pt x="137" y="85"/>
                      <a:pt x="131" y="111"/>
                      <a:pt x="123" y="118"/>
                    </a:cubicBezTo>
                    <a:cubicBezTo>
                      <a:pt x="115" y="125"/>
                      <a:pt x="98" y="121"/>
                      <a:pt x="92" y="123"/>
                    </a:cubicBezTo>
                    <a:cubicBezTo>
                      <a:pt x="86" y="125"/>
                      <a:pt x="84" y="152"/>
                      <a:pt x="70" y="163"/>
                    </a:cubicBezTo>
                    <a:cubicBezTo>
                      <a:pt x="56" y="174"/>
                      <a:pt x="25" y="154"/>
                      <a:pt x="18" y="155"/>
                    </a:cubicBezTo>
                    <a:cubicBezTo>
                      <a:pt x="12" y="156"/>
                      <a:pt x="12" y="160"/>
                      <a:pt x="12" y="161"/>
                    </a:cubicBezTo>
                    <a:cubicBezTo>
                      <a:pt x="12" y="161"/>
                      <a:pt x="12" y="161"/>
                      <a:pt x="12" y="161"/>
                    </a:cubicBezTo>
                    <a:cubicBezTo>
                      <a:pt x="12" y="170"/>
                      <a:pt x="0" y="237"/>
                      <a:pt x="12" y="249"/>
                    </a:cubicBezTo>
                    <a:cubicBezTo>
                      <a:pt x="24" y="260"/>
                      <a:pt x="49" y="260"/>
                      <a:pt x="54" y="274"/>
                    </a:cubicBezTo>
                    <a:cubicBezTo>
                      <a:pt x="60" y="288"/>
                      <a:pt x="76" y="325"/>
                      <a:pt x="85" y="334"/>
                    </a:cubicBezTo>
                    <a:cubicBezTo>
                      <a:pt x="94" y="343"/>
                      <a:pt x="113" y="358"/>
                      <a:pt x="120" y="370"/>
                    </a:cubicBezTo>
                    <a:cubicBezTo>
                      <a:pt x="128" y="383"/>
                      <a:pt x="132" y="421"/>
                      <a:pt x="145" y="433"/>
                    </a:cubicBezTo>
                    <a:cubicBezTo>
                      <a:pt x="157" y="445"/>
                      <a:pt x="184" y="434"/>
                      <a:pt x="201" y="453"/>
                    </a:cubicBezTo>
                    <a:cubicBezTo>
                      <a:pt x="218" y="472"/>
                      <a:pt x="232" y="531"/>
                      <a:pt x="232" y="560"/>
                    </a:cubicBezTo>
                    <a:cubicBezTo>
                      <a:pt x="232" y="590"/>
                      <a:pt x="267" y="626"/>
                      <a:pt x="267" y="626"/>
                    </a:cubicBezTo>
                    <a:cubicBezTo>
                      <a:pt x="267" y="626"/>
                      <a:pt x="291" y="623"/>
                      <a:pt x="300" y="631"/>
                    </a:cubicBezTo>
                    <a:cubicBezTo>
                      <a:pt x="308" y="639"/>
                      <a:pt x="344" y="704"/>
                      <a:pt x="358" y="728"/>
                    </a:cubicBezTo>
                    <a:cubicBezTo>
                      <a:pt x="372" y="752"/>
                      <a:pt x="420" y="810"/>
                      <a:pt x="419" y="826"/>
                    </a:cubicBezTo>
                    <a:cubicBezTo>
                      <a:pt x="419" y="833"/>
                      <a:pt x="417" y="842"/>
                      <a:pt x="414" y="851"/>
                    </a:cubicBezTo>
                    <a:cubicBezTo>
                      <a:pt x="418" y="848"/>
                      <a:pt x="423" y="844"/>
                      <a:pt x="427" y="837"/>
                    </a:cubicBezTo>
                    <a:cubicBezTo>
                      <a:pt x="434" y="826"/>
                      <a:pt x="428" y="824"/>
                      <a:pt x="428" y="824"/>
                    </a:cubicBezTo>
                    <a:cubicBezTo>
                      <a:pt x="428" y="824"/>
                      <a:pt x="427" y="795"/>
                      <a:pt x="437" y="790"/>
                    </a:cubicBezTo>
                    <a:cubicBezTo>
                      <a:pt x="447" y="785"/>
                      <a:pt x="452" y="799"/>
                      <a:pt x="452" y="799"/>
                    </a:cubicBezTo>
                    <a:cubicBezTo>
                      <a:pt x="470" y="798"/>
                      <a:pt x="470" y="798"/>
                      <a:pt x="470" y="798"/>
                    </a:cubicBezTo>
                    <a:cubicBezTo>
                      <a:pt x="470" y="798"/>
                      <a:pt x="477" y="792"/>
                      <a:pt x="482" y="792"/>
                    </a:cubicBezTo>
                    <a:cubicBezTo>
                      <a:pt x="487" y="792"/>
                      <a:pt x="506" y="791"/>
                      <a:pt x="522" y="791"/>
                    </a:cubicBezTo>
                    <a:cubicBezTo>
                      <a:pt x="538" y="791"/>
                      <a:pt x="549" y="799"/>
                      <a:pt x="549" y="799"/>
                    </a:cubicBezTo>
                    <a:cubicBezTo>
                      <a:pt x="549" y="799"/>
                      <a:pt x="589" y="797"/>
                      <a:pt x="593" y="799"/>
                    </a:cubicBezTo>
                    <a:cubicBezTo>
                      <a:pt x="597" y="801"/>
                      <a:pt x="611" y="816"/>
                      <a:pt x="616" y="816"/>
                    </a:cubicBezTo>
                    <a:cubicBezTo>
                      <a:pt x="621" y="816"/>
                      <a:pt x="628" y="804"/>
                      <a:pt x="628" y="804"/>
                    </a:cubicBezTo>
                    <a:cubicBezTo>
                      <a:pt x="628" y="792"/>
                      <a:pt x="628" y="792"/>
                      <a:pt x="628" y="792"/>
                    </a:cubicBezTo>
                    <a:cubicBezTo>
                      <a:pt x="628" y="792"/>
                      <a:pt x="643" y="768"/>
                      <a:pt x="653" y="755"/>
                    </a:cubicBezTo>
                    <a:cubicBezTo>
                      <a:pt x="663" y="742"/>
                      <a:pt x="705" y="723"/>
                      <a:pt x="717" y="723"/>
                    </a:cubicBezTo>
                    <a:cubicBezTo>
                      <a:pt x="729" y="723"/>
                      <a:pt x="839" y="710"/>
                      <a:pt x="839" y="710"/>
                    </a:cubicBezTo>
                    <a:cubicBezTo>
                      <a:pt x="972" y="661"/>
                      <a:pt x="972" y="661"/>
                      <a:pt x="972" y="661"/>
                    </a:cubicBezTo>
                    <a:cubicBezTo>
                      <a:pt x="998" y="546"/>
                      <a:pt x="998" y="546"/>
                      <a:pt x="998" y="546"/>
                    </a:cubicBezTo>
                    <a:cubicBezTo>
                      <a:pt x="998" y="546"/>
                      <a:pt x="980" y="531"/>
                      <a:pt x="980" y="527"/>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84" name="Freeform 206">
                <a:extLst>
                  <a:ext uri="{FF2B5EF4-FFF2-40B4-BE49-F238E27FC236}">
                    <a16:creationId xmlns:a16="http://schemas.microsoft.com/office/drawing/2014/main" id="{A94762EC-8EAA-4D66-9CB8-90403AE4C94F}"/>
                  </a:ext>
                </a:extLst>
              </p:cNvPr>
              <p:cNvSpPr>
                <a:spLocks/>
              </p:cNvSpPr>
              <p:nvPr>
                <p:custDataLst>
                  <p:tags r:id="rId165"/>
                </p:custDataLst>
              </p:nvPr>
            </p:nvSpPr>
            <p:spPr bwMode="gray">
              <a:xfrm>
                <a:off x="5454620" y="3268675"/>
                <a:ext cx="179387" cy="152400"/>
              </a:xfrm>
              <a:custGeom>
                <a:avLst/>
                <a:gdLst>
                  <a:gd name="T0" fmla="*/ 281 w 297"/>
                  <a:gd name="T1" fmla="*/ 39 h 275"/>
                  <a:gd name="T2" fmla="*/ 297 w 297"/>
                  <a:gd name="T3" fmla="*/ 19 h 275"/>
                  <a:gd name="T4" fmla="*/ 290 w 297"/>
                  <a:gd name="T5" fmla="*/ 2 h 275"/>
                  <a:gd name="T6" fmla="*/ 277 w 297"/>
                  <a:gd name="T7" fmla="*/ 12 h 275"/>
                  <a:gd name="T8" fmla="*/ 264 w 297"/>
                  <a:gd name="T9" fmla="*/ 15 h 275"/>
                  <a:gd name="T10" fmla="*/ 250 w 297"/>
                  <a:gd name="T11" fmla="*/ 22 h 275"/>
                  <a:gd name="T12" fmla="*/ 241 w 297"/>
                  <a:gd name="T13" fmla="*/ 16 h 275"/>
                  <a:gd name="T14" fmla="*/ 217 w 297"/>
                  <a:gd name="T15" fmla="*/ 16 h 275"/>
                  <a:gd name="T16" fmla="*/ 188 w 297"/>
                  <a:gd name="T17" fmla="*/ 32 h 275"/>
                  <a:gd name="T18" fmla="*/ 163 w 297"/>
                  <a:gd name="T19" fmla="*/ 39 h 275"/>
                  <a:gd name="T20" fmla="*/ 140 w 297"/>
                  <a:gd name="T21" fmla="*/ 35 h 275"/>
                  <a:gd name="T22" fmla="*/ 114 w 297"/>
                  <a:gd name="T23" fmla="*/ 22 h 275"/>
                  <a:gd name="T24" fmla="*/ 100 w 297"/>
                  <a:gd name="T25" fmla="*/ 33 h 275"/>
                  <a:gd name="T26" fmla="*/ 64 w 297"/>
                  <a:gd name="T27" fmla="*/ 41 h 275"/>
                  <a:gd name="T28" fmla="*/ 58 w 297"/>
                  <a:gd name="T29" fmla="*/ 31 h 275"/>
                  <a:gd name="T30" fmla="*/ 42 w 297"/>
                  <a:gd name="T31" fmla="*/ 32 h 275"/>
                  <a:gd name="T32" fmla="*/ 43 w 297"/>
                  <a:gd name="T33" fmla="*/ 53 h 275"/>
                  <a:gd name="T34" fmla="*/ 48 w 297"/>
                  <a:gd name="T35" fmla="*/ 64 h 275"/>
                  <a:gd name="T36" fmla="*/ 33 w 297"/>
                  <a:gd name="T37" fmla="*/ 66 h 275"/>
                  <a:gd name="T38" fmla="*/ 33 w 297"/>
                  <a:gd name="T39" fmla="*/ 75 h 275"/>
                  <a:gd name="T40" fmla="*/ 27 w 297"/>
                  <a:gd name="T41" fmla="*/ 84 h 275"/>
                  <a:gd name="T42" fmla="*/ 14 w 297"/>
                  <a:gd name="T43" fmla="*/ 78 h 275"/>
                  <a:gd name="T44" fmla="*/ 5 w 297"/>
                  <a:gd name="T45" fmla="*/ 98 h 275"/>
                  <a:gd name="T46" fmla="*/ 1 w 297"/>
                  <a:gd name="T47" fmla="*/ 99 h 275"/>
                  <a:gd name="T48" fmla="*/ 0 w 297"/>
                  <a:gd name="T49" fmla="*/ 131 h 275"/>
                  <a:gd name="T50" fmla="*/ 17 w 297"/>
                  <a:gd name="T51" fmla="*/ 147 h 275"/>
                  <a:gd name="T52" fmla="*/ 20 w 297"/>
                  <a:gd name="T53" fmla="*/ 147 h 275"/>
                  <a:gd name="T54" fmla="*/ 45 w 297"/>
                  <a:gd name="T55" fmla="*/ 147 h 275"/>
                  <a:gd name="T56" fmla="*/ 44 w 297"/>
                  <a:gd name="T57" fmla="*/ 157 h 275"/>
                  <a:gd name="T58" fmla="*/ 51 w 297"/>
                  <a:gd name="T59" fmla="*/ 181 h 275"/>
                  <a:gd name="T60" fmla="*/ 30 w 297"/>
                  <a:gd name="T61" fmla="*/ 193 h 275"/>
                  <a:gd name="T62" fmla="*/ 26 w 297"/>
                  <a:gd name="T63" fmla="*/ 213 h 275"/>
                  <a:gd name="T64" fmla="*/ 16 w 297"/>
                  <a:gd name="T65" fmla="*/ 224 h 275"/>
                  <a:gd name="T66" fmla="*/ 19 w 297"/>
                  <a:gd name="T67" fmla="*/ 254 h 275"/>
                  <a:gd name="T68" fmla="*/ 23 w 297"/>
                  <a:gd name="T69" fmla="*/ 251 h 275"/>
                  <a:gd name="T70" fmla="*/ 45 w 297"/>
                  <a:gd name="T71" fmla="*/ 263 h 275"/>
                  <a:gd name="T72" fmla="*/ 73 w 297"/>
                  <a:gd name="T73" fmla="*/ 275 h 275"/>
                  <a:gd name="T74" fmla="*/ 157 w 297"/>
                  <a:gd name="T75" fmla="*/ 218 h 275"/>
                  <a:gd name="T76" fmla="*/ 200 w 297"/>
                  <a:gd name="T77" fmla="*/ 183 h 275"/>
                  <a:gd name="T78" fmla="*/ 261 w 297"/>
                  <a:gd name="T79" fmla="*/ 156 h 275"/>
                  <a:gd name="T80" fmla="*/ 255 w 297"/>
                  <a:gd name="T81" fmla="*/ 131 h 275"/>
                  <a:gd name="T82" fmla="*/ 264 w 297"/>
                  <a:gd name="T83" fmla="*/ 112 h 275"/>
                  <a:gd name="T84" fmla="*/ 260 w 297"/>
                  <a:gd name="T85" fmla="*/ 77 h 275"/>
                  <a:gd name="T86" fmla="*/ 249 w 297"/>
                  <a:gd name="T87" fmla="*/ 55 h 275"/>
                  <a:gd name="T88" fmla="*/ 281 w 297"/>
                  <a:gd name="T89" fmla="*/ 3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7" h="275">
                    <a:moveTo>
                      <a:pt x="281" y="39"/>
                    </a:moveTo>
                    <a:cubicBezTo>
                      <a:pt x="290" y="35"/>
                      <a:pt x="295" y="26"/>
                      <a:pt x="297" y="19"/>
                    </a:cubicBezTo>
                    <a:cubicBezTo>
                      <a:pt x="288" y="20"/>
                      <a:pt x="293" y="4"/>
                      <a:pt x="290" y="2"/>
                    </a:cubicBezTo>
                    <a:cubicBezTo>
                      <a:pt x="287" y="0"/>
                      <a:pt x="285" y="11"/>
                      <a:pt x="277" y="12"/>
                    </a:cubicBezTo>
                    <a:cubicBezTo>
                      <a:pt x="269" y="13"/>
                      <a:pt x="264" y="15"/>
                      <a:pt x="264" y="15"/>
                    </a:cubicBezTo>
                    <a:cubicBezTo>
                      <a:pt x="264" y="15"/>
                      <a:pt x="259" y="21"/>
                      <a:pt x="250" y="22"/>
                    </a:cubicBezTo>
                    <a:cubicBezTo>
                      <a:pt x="241" y="23"/>
                      <a:pt x="246" y="18"/>
                      <a:pt x="241" y="16"/>
                    </a:cubicBezTo>
                    <a:cubicBezTo>
                      <a:pt x="236" y="14"/>
                      <a:pt x="230" y="15"/>
                      <a:pt x="217" y="16"/>
                    </a:cubicBezTo>
                    <a:cubicBezTo>
                      <a:pt x="204" y="17"/>
                      <a:pt x="197" y="29"/>
                      <a:pt x="188" y="32"/>
                    </a:cubicBezTo>
                    <a:cubicBezTo>
                      <a:pt x="179" y="35"/>
                      <a:pt x="174" y="38"/>
                      <a:pt x="163" y="39"/>
                    </a:cubicBezTo>
                    <a:cubicBezTo>
                      <a:pt x="152" y="40"/>
                      <a:pt x="140" y="35"/>
                      <a:pt x="140" y="35"/>
                    </a:cubicBezTo>
                    <a:cubicBezTo>
                      <a:pt x="140" y="35"/>
                      <a:pt x="117" y="23"/>
                      <a:pt x="114" y="22"/>
                    </a:cubicBezTo>
                    <a:cubicBezTo>
                      <a:pt x="111" y="21"/>
                      <a:pt x="100" y="33"/>
                      <a:pt x="100" y="33"/>
                    </a:cubicBezTo>
                    <a:cubicBezTo>
                      <a:pt x="100" y="33"/>
                      <a:pt x="85" y="41"/>
                      <a:pt x="64" y="41"/>
                    </a:cubicBezTo>
                    <a:cubicBezTo>
                      <a:pt x="43" y="41"/>
                      <a:pt x="60" y="35"/>
                      <a:pt x="58" y="31"/>
                    </a:cubicBezTo>
                    <a:cubicBezTo>
                      <a:pt x="56" y="27"/>
                      <a:pt x="42" y="32"/>
                      <a:pt x="42" y="32"/>
                    </a:cubicBezTo>
                    <a:cubicBezTo>
                      <a:pt x="43" y="53"/>
                      <a:pt x="43" y="53"/>
                      <a:pt x="43" y="53"/>
                    </a:cubicBezTo>
                    <a:cubicBezTo>
                      <a:pt x="43" y="53"/>
                      <a:pt x="50" y="51"/>
                      <a:pt x="48" y="64"/>
                    </a:cubicBezTo>
                    <a:cubicBezTo>
                      <a:pt x="47" y="72"/>
                      <a:pt x="33" y="66"/>
                      <a:pt x="33" y="66"/>
                    </a:cubicBezTo>
                    <a:cubicBezTo>
                      <a:pt x="33" y="75"/>
                      <a:pt x="33" y="75"/>
                      <a:pt x="33" y="75"/>
                    </a:cubicBezTo>
                    <a:cubicBezTo>
                      <a:pt x="33" y="75"/>
                      <a:pt x="31" y="83"/>
                      <a:pt x="27" y="84"/>
                    </a:cubicBezTo>
                    <a:cubicBezTo>
                      <a:pt x="24" y="85"/>
                      <a:pt x="17" y="80"/>
                      <a:pt x="14" y="78"/>
                    </a:cubicBezTo>
                    <a:cubicBezTo>
                      <a:pt x="12" y="83"/>
                      <a:pt x="2" y="91"/>
                      <a:pt x="5" y="98"/>
                    </a:cubicBezTo>
                    <a:cubicBezTo>
                      <a:pt x="1" y="99"/>
                      <a:pt x="1" y="99"/>
                      <a:pt x="1" y="99"/>
                    </a:cubicBezTo>
                    <a:cubicBezTo>
                      <a:pt x="0" y="131"/>
                      <a:pt x="0" y="131"/>
                      <a:pt x="0" y="131"/>
                    </a:cubicBezTo>
                    <a:cubicBezTo>
                      <a:pt x="0" y="131"/>
                      <a:pt x="14" y="139"/>
                      <a:pt x="17" y="147"/>
                    </a:cubicBezTo>
                    <a:cubicBezTo>
                      <a:pt x="20" y="147"/>
                      <a:pt x="20" y="147"/>
                      <a:pt x="20" y="147"/>
                    </a:cubicBezTo>
                    <a:cubicBezTo>
                      <a:pt x="45" y="147"/>
                      <a:pt x="45" y="147"/>
                      <a:pt x="45" y="147"/>
                    </a:cubicBezTo>
                    <a:cubicBezTo>
                      <a:pt x="44" y="157"/>
                      <a:pt x="44" y="157"/>
                      <a:pt x="44" y="157"/>
                    </a:cubicBezTo>
                    <a:cubicBezTo>
                      <a:pt x="44" y="157"/>
                      <a:pt x="56" y="169"/>
                      <a:pt x="51" y="181"/>
                    </a:cubicBezTo>
                    <a:cubicBezTo>
                      <a:pt x="46" y="193"/>
                      <a:pt x="39" y="190"/>
                      <a:pt x="30" y="193"/>
                    </a:cubicBezTo>
                    <a:cubicBezTo>
                      <a:pt x="21" y="196"/>
                      <a:pt x="26" y="213"/>
                      <a:pt x="26" y="213"/>
                    </a:cubicBezTo>
                    <a:cubicBezTo>
                      <a:pt x="16" y="224"/>
                      <a:pt x="16" y="224"/>
                      <a:pt x="16" y="224"/>
                    </a:cubicBezTo>
                    <a:cubicBezTo>
                      <a:pt x="19" y="254"/>
                      <a:pt x="19" y="254"/>
                      <a:pt x="19" y="254"/>
                    </a:cubicBezTo>
                    <a:cubicBezTo>
                      <a:pt x="23" y="251"/>
                      <a:pt x="23" y="251"/>
                      <a:pt x="23" y="251"/>
                    </a:cubicBezTo>
                    <a:cubicBezTo>
                      <a:pt x="45" y="263"/>
                      <a:pt x="45" y="263"/>
                      <a:pt x="45" y="263"/>
                    </a:cubicBezTo>
                    <a:cubicBezTo>
                      <a:pt x="45" y="263"/>
                      <a:pt x="52" y="275"/>
                      <a:pt x="73" y="275"/>
                    </a:cubicBezTo>
                    <a:cubicBezTo>
                      <a:pt x="94" y="275"/>
                      <a:pt x="157" y="218"/>
                      <a:pt x="157" y="218"/>
                    </a:cubicBezTo>
                    <a:cubicBezTo>
                      <a:pt x="200" y="183"/>
                      <a:pt x="200" y="183"/>
                      <a:pt x="200" y="183"/>
                    </a:cubicBezTo>
                    <a:cubicBezTo>
                      <a:pt x="200" y="183"/>
                      <a:pt x="249" y="165"/>
                      <a:pt x="261" y="156"/>
                    </a:cubicBezTo>
                    <a:cubicBezTo>
                      <a:pt x="273" y="147"/>
                      <a:pt x="256" y="138"/>
                      <a:pt x="255" y="131"/>
                    </a:cubicBezTo>
                    <a:cubicBezTo>
                      <a:pt x="254" y="124"/>
                      <a:pt x="260" y="117"/>
                      <a:pt x="264" y="112"/>
                    </a:cubicBezTo>
                    <a:cubicBezTo>
                      <a:pt x="268" y="107"/>
                      <a:pt x="260" y="77"/>
                      <a:pt x="260" y="77"/>
                    </a:cubicBezTo>
                    <a:cubicBezTo>
                      <a:pt x="260" y="77"/>
                      <a:pt x="245" y="69"/>
                      <a:pt x="249" y="55"/>
                    </a:cubicBezTo>
                    <a:cubicBezTo>
                      <a:pt x="253" y="41"/>
                      <a:pt x="265" y="46"/>
                      <a:pt x="281" y="39"/>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85" name="Freeform 207">
                <a:extLst>
                  <a:ext uri="{FF2B5EF4-FFF2-40B4-BE49-F238E27FC236}">
                    <a16:creationId xmlns:a16="http://schemas.microsoft.com/office/drawing/2014/main" id="{8EB6BC74-C651-4033-9474-16A2B61A53D8}"/>
                  </a:ext>
                </a:extLst>
              </p:cNvPr>
              <p:cNvSpPr>
                <a:spLocks/>
              </p:cNvSpPr>
              <p:nvPr>
                <p:custDataLst>
                  <p:tags r:id="rId166"/>
                </p:custDataLst>
              </p:nvPr>
            </p:nvSpPr>
            <p:spPr bwMode="gray">
              <a:xfrm>
                <a:off x="5643531" y="3151199"/>
                <a:ext cx="92074" cy="77787"/>
              </a:xfrm>
              <a:custGeom>
                <a:avLst/>
                <a:gdLst>
                  <a:gd name="T0" fmla="*/ 147 w 152"/>
                  <a:gd name="T1" fmla="*/ 111 h 140"/>
                  <a:gd name="T2" fmla="*/ 143 w 152"/>
                  <a:gd name="T3" fmla="*/ 104 h 140"/>
                  <a:gd name="T4" fmla="*/ 145 w 152"/>
                  <a:gd name="T5" fmla="*/ 94 h 140"/>
                  <a:gd name="T6" fmla="*/ 125 w 152"/>
                  <a:gd name="T7" fmla="*/ 92 h 140"/>
                  <a:gd name="T8" fmla="*/ 115 w 152"/>
                  <a:gd name="T9" fmla="*/ 78 h 140"/>
                  <a:gd name="T10" fmla="*/ 97 w 152"/>
                  <a:gd name="T11" fmla="*/ 70 h 140"/>
                  <a:gd name="T12" fmla="*/ 118 w 152"/>
                  <a:gd name="T13" fmla="*/ 61 h 140"/>
                  <a:gd name="T14" fmla="*/ 88 w 152"/>
                  <a:gd name="T15" fmla="*/ 39 h 140"/>
                  <a:gd name="T16" fmla="*/ 94 w 152"/>
                  <a:gd name="T17" fmla="*/ 24 h 140"/>
                  <a:gd name="T18" fmla="*/ 75 w 152"/>
                  <a:gd name="T19" fmla="*/ 16 h 140"/>
                  <a:gd name="T20" fmla="*/ 76 w 152"/>
                  <a:gd name="T21" fmla="*/ 7 h 140"/>
                  <a:gd name="T22" fmla="*/ 61 w 152"/>
                  <a:gd name="T23" fmla="*/ 0 h 140"/>
                  <a:gd name="T24" fmla="*/ 55 w 152"/>
                  <a:gd name="T25" fmla="*/ 10 h 140"/>
                  <a:gd name="T26" fmla="*/ 22 w 152"/>
                  <a:gd name="T27" fmla="*/ 6 h 140"/>
                  <a:gd name="T28" fmla="*/ 17 w 152"/>
                  <a:gd name="T29" fmla="*/ 13 h 140"/>
                  <a:gd name="T30" fmla="*/ 0 w 152"/>
                  <a:gd name="T31" fmla="*/ 14 h 140"/>
                  <a:gd name="T32" fmla="*/ 6 w 152"/>
                  <a:gd name="T33" fmla="*/ 29 h 140"/>
                  <a:gd name="T34" fmla="*/ 18 w 152"/>
                  <a:gd name="T35" fmla="*/ 69 h 140"/>
                  <a:gd name="T36" fmla="*/ 47 w 152"/>
                  <a:gd name="T37" fmla="*/ 72 h 140"/>
                  <a:gd name="T38" fmla="*/ 57 w 152"/>
                  <a:gd name="T39" fmla="*/ 93 h 140"/>
                  <a:gd name="T40" fmla="*/ 55 w 152"/>
                  <a:gd name="T41" fmla="*/ 98 h 140"/>
                  <a:gd name="T42" fmla="*/ 62 w 152"/>
                  <a:gd name="T43" fmla="*/ 103 h 140"/>
                  <a:gd name="T44" fmla="*/ 72 w 152"/>
                  <a:gd name="T45" fmla="*/ 89 h 140"/>
                  <a:gd name="T46" fmla="*/ 83 w 152"/>
                  <a:gd name="T47" fmla="*/ 86 h 140"/>
                  <a:gd name="T48" fmla="*/ 100 w 152"/>
                  <a:gd name="T49" fmla="*/ 97 h 140"/>
                  <a:gd name="T50" fmla="*/ 111 w 152"/>
                  <a:gd name="T51" fmla="*/ 95 h 140"/>
                  <a:gd name="T52" fmla="*/ 119 w 152"/>
                  <a:gd name="T53" fmla="*/ 111 h 140"/>
                  <a:gd name="T54" fmla="*/ 130 w 152"/>
                  <a:gd name="T55" fmla="*/ 138 h 140"/>
                  <a:gd name="T56" fmla="*/ 148 w 152"/>
                  <a:gd name="T57" fmla="*/ 140 h 140"/>
                  <a:gd name="T58" fmla="*/ 147 w 152"/>
                  <a:gd name="T59" fmla="*/ 11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2" h="140">
                    <a:moveTo>
                      <a:pt x="147" y="111"/>
                    </a:moveTo>
                    <a:cubicBezTo>
                      <a:pt x="143" y="104"/>
                      <a:pt x="143" y="104"/>
                      <a:pt x="143" y="104"/>
                    </a:cubicBezTo>
                    <a:cubicBezTo>
                      <a:pt x="145" y="94"/>
                      <a:pt x="145" y="94"/>
                      <a:pt x="145" y="94"/>
                    </a:cubicBezTo>
                    <a:cubicBezTo>
                      <a:pt x="125" y="92"/>
                      <a:pt x="125" y="92"/>
                      <a:pt x="125" y="92"/>
                    </a:cubicBezTo>
                    <a:cubicBezTo>
                      <a:pt x="115" y="78"/>
                      <a:pt x="115" y="78"/>
                      <a:pt x="115" y="78"/>
                    </a:cubicBezTo>
                    <a:cubicBezTo>
                      <a:pt x="97" y="70"/>
                      <a:pt x="97" y="70"/>
                      <a:pt x="97" y="70"/>
                    </a:cubicBezTo>
                    <a:cubicBezTo>
                      <a:pt x="97" y="70"/>
                      <a:pt x="117" y="70"/>
                      <a:pt x="118" y="61"/>
                    </a:cubicBezTo>
                    <a:cubicBezTo>
                      <a:pt x="119" y="52"/>
                      <a:pt x="88" y="39"/>
                      <a:pt x="88" y="39"/>
                    </a:cubicBezTo>
                    <a:cubicBezTo>
                      <a:pt x="88" y="39"/>
                      <a:pt x="94" y="31"/>
                      <a:pt x="94" y="24"/>
                    </a:cubicBezTo>
                    <a:cubicBezTo>
                      <a:pt x="94" y="17"/>
                      <a:pt x="75" y="16"/>
                      <a:pt x="75" y="16"/>
                    </a:cubicBezTo>
                    <a:cubicBezTo>
                      <a:pt x="76" y="7"/>
                      <a:pt x="76" y="7"/>
                      <a:pt x="76" y="7"/>
                    </a:cubicBezTo>
                    <a:cubicBezTo>
                      <a:pt x="76" y="7"/>
                      <a:pt x="64" y="0"/>
                      <a:pt x="61" y="0"/>
                    </a:cubicBezTo>
                    <a:cubicBezTo>
                      <a:pt x="58" y="0"/>
                      <a:pt x="55" y="10"/>
                      <a:pt x="55" y="10"/>
                    </a:cubicBezTo>
                    <a:cubicBezTo>
                      <a:pt x="22" y="6"/>
                      <a:pt x="22" y="6"/>
                      <a:pt x="22" y="6"/>
                    </a:cubicBezTo>
                    <a:cubicBezTo>
                      <a:pt x="17" y="13"/>
                      <a:pt x="17" y="13"/>
                      <a:pt x="17" y="13"/>
                    </a:cubicBezTo>
                    <a:cubicBezTo>
                      <a:pt x="0" y="14"/>
                      <a:pt x="0" y="14"/>
                      <a:pt x="0" y="14"/>
                    </a:cubicBezTo>
                    <a:cubicBezTo>
                      <a:pt x="2" y="17"/>
                      <a:pt x="3" y="22"/>
                      <a:pt x="6" y="29"/>
                    </a:cubicBezTo>
                    <a:cubicBezTo>
                      <a:pt x="12" y="44"/>
                      <a:pt x="10" y="58"/>
                      <a:pt x="18" y="69"/>
                    </a:cubicBezTo>
                    <a:cubicBezTo>
                      <a:pt x="26" y="80"/>
                      <a:pt x="42" y="71"/>
                      <a:pt x="47" y="72"/>
                    </a:cubicBezTo>
                    <a:cubicBezTo>
                      <a:pt x="50" y="72"/>
                      <a:pt x="54" y="83"/>
                      <a:pt x="57" y="93"/>
                    </a:cubicBezTo>
                    <a:cubicBezTo>
                      <a:pt x="56" y="95"/>
                      <a:pt x="56" y="96"/>
                      <a:pt x="55" y="98"/>
                    </a:cubicBezTo>
                    <a:cubicBezTo>
                      <a:pt x="62" y="103"/>
                      <a:pt x="62" y="103"/>
                      <a:pt x="62" y="103"/>
                    </a:cubicBezTo>
                    <a:cubicBezTo>
                      <a:pt x="72" y="89"/>
                      <a:pt x="72" y="89"/>
                      <a:pt x="72" y="89"/>
                    </a:cubicBezTo>
                    <a:cubicBezTo>
                      <a:pt x="72" y="89"/>
                      <a:pt x="82" y="86"/>
                      <a:pt x="83" y="86"/>
                    </a:cubicBezTo>
                    <a:cubicBezTo>
                      <a:pt x="90" y="96"/>
                      <a:pt x="100" y="97"/>
                      <a:pt x="100" y="97"/>
                    </a:cubicBezTo>
                    <a:cubicBezTo>
                      <a:pt x="100" y="97"/>
                      <a:pt x="102" y="94"/>
                      <a:pt x="111" y="95"/>
                    </a:cubicBezTo>
                    <a:cubicBezTo>
                      <a:pt x="120" y="96"/>
                      <a:pt x="116" y="107"/>
                      <a:pt x="119" y="111"/>
                    </a:cubicBezTo>
                    <a:cubicBezTo>
                      <a:pt x="122" y="115"/>
                      <a:pt x="130" y="138"/>
                      <a:pt x="130" y="138"/>
                    </a:cubicBezTo>
                    <a:cubicBezTo>
                      <a:pt x="130" y="138"/>
                      <a:pt x="144" y="140"/>
                      <a:pt x="148" y="140"/>
                    </a:cubicBezTo>
                    <a:cubicBezTo>
                      <a:pt x="152" y="140"/>
                      <a:pt x="147" y="111"/>
                      <a:pt x="147" y="111"/>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86" name="Freeform 208">
                <a:extLst>
                  <a:ext uri="{FF2B5EF4-FFF2-40B4-BE49-F238E27FC236}">
                    <a16:creationId xmlns:a16="http://schemas.microsoft.com/office/drawing/2014/main" id="{AD218A51-6F7F-4727-BF6C-C7414D6A8F22}"/>
                  </a:ext>
                </a:extLst>
              </p:cNvPr>
              <p:cNvSpPr>
                <a:spLocks noEditPoints="1"/>
              </p:cNvSpPr>
              <p:nvPr>
                <p:custDataLst>
                  <p:tags r:id="rId167"/>
                </p:custDataLst>
              </p:nvPr>
            </p:nvSpPr>
            <p:spPr bwMode="gray">
              <a:xfrm>
                <a:off x="5165696" y="3125800"/>
                <a:ext cx="534986" cy="188913"/>
              </a:xfrm>
              <a:custGeom>
                <a:avLst/>
                <a:gdLst>
                  <a:gd name="T0" fmla="*/ 20 w 888"/>
                  <a:gd name="T1" fmla="*/ 116 h 340"/>
                  <a:gd name="T2" fmla="*/ 27 w 888"/>
                  <a:gd name="T3" fmla="*/ 107 h 340"/>
                  <a:gd name="T4" fmla="*/ 63 w 888"/>
                  <a:gd name="T5" fmla="*/ 93 h 340"/>
                  <a:gd name="T6" fmla="*/ 52 w 888"/>
                  <a:gd name="T7" fmla="*/ 101 h 340"/>
                  <a:gd name="T8" fmla="*/ 887 w 888"/>
                  <a:gd name="T9" fmla="*/ 259 h 340"/>
                  <a:gd name="T10" fmla="*/ 850 w 888"/>
                  <a:gd name="T11" fmla="*/ 224 h 340"/>
                  <a:gd name="T12" fmla="*/ 845 w 888"/>
                  <a:gd name="T13" fmla="*/ 165 h 340"/>
                  <a:gd name="T14" fmla="*/ 853 w 888"/>
                  <a:gd name="T15" fmla="*/ 137 h 340"/>
                  <a:gd name="T16" fmla="*/ 802 w 888"/>
                  <a:gd name="T17" fmla="*/ 73 h 340"/>
                  <a:gd name="T18" fmla="*/ 761 w 888"/>
                  <a:gd name="T19" fmla="*/ 32 h 340"/>
                  <a:gd name="T20" fmla="*/ 678 w 888"/>
                  <a:gd name="T21" fmla="*/ 63 h 340"/>
                  <a:gd name="T22" fmla="*/ 542 w 888"/>
                  <a:gd name="T23" fmla="*/ 57 h 340"/>
                  <a:gd name="T24" fmla="*/ 491 w 888"/>
                  <a:gd name="T25" fmla="*/ 51 h 340"/>
                  <a:gd name="T26" fmla="*/ 442 w 888"/>
                  <a:gd name="T27" fmla="*/ 30 h 340"/>
                  <a:gd name="T28" fmla="*/ 385 w 888"/>
                  <a:gd name="T29" fmla="*/ 16 h 340"/>
                  <a:gd name="T30" fmla="*/ 272 w 888"/>
                  <a:gd name="T31" fmla="*/ 42 h 340"/>
                  <a:gd name="T32" fmla="*/ 203 w 888"/>
                  <a:gd name="T33" fmla="*/ 53 h 340"/>
                  <a:gd name="T34" fmla="*/ 120 w 888"/>
                  <a:gd name="T35" fmla="*/ 14 h 340"/>
                  <a:gd name="T36" fmla="*/ 79 w 888"/>
                  <a:gd name="T37" fmla="*/ 10 h 340"/>
                  <a:gd name="T38" fmla="*/ 52 w 888"/>
                  <a:gd name="T39" fmla="*/ 28 h 340"/>
                  <a:gd name="T40" fmla="*/ 50 w 888"/>
                  <a:gd name="T41" fmla="*/ 47 h 340"/>
                  <a:gd name="T42" fmla="*/ 50 w 888"/>
                  <a:gd name="T43" fmla="*/ 86 h 340"/>
                  <a:gd name="T44" fmla="*/ 107 w 888"/>
                  <a:gd name="T45" fmla="*/ 65 h 340"/>
                  <a:gd name="T46" fmla="*/ 165 w 888"/>
                  <a:gd name="T47" fmla="*/ 81 h 340"/>
                  <a:gd name="T48" fmla="*/ 92 w 888"/>
                  <a:gd name="T49" fmla="*/ 91 h 340"/>
                  <a:gd name="T50" fmla="*/ 76 w 888"/>
                  <a:gd name="T51" fmla="*/ 142 h 340"/>
                  <a:gd name="T52" fmla="*/ 83 w 888"/>
                  <a:gd name="T53" fmla="*/ 186 h 340"/>
                  <a:gd name="T54" fmla="*/ 108 w 888"/>
                  <a:gd name="T55" fmla="*/ 234 h 340"/>
                  <a:gd name="T56" fmla="*/ 146 w 888"/>
                  <a:gd name="T57" fmla="*/ 297 h 340"/>
                  <a:gd name="T58" fmla="*/ 250 w 888"/>
                  <a:gd name="T59" fmla="*/ 310 h 340"/>
                  <a:gd name="T60" fmla="*/ 359 w 888"/>
                  <a:gd name="T61" fmla="*/ 325 h 340"/>
                  <a:gd name="T62" fmla="*/ 477 w 888"/>
                  <a:gd name="T63" fmla="*/ 298 h 340"/>
                  <a:gd name="T64" fmla="*/ 495 w 888"/>
                  <a:gd name="T65" fmla="*/ 329 h 340"/>
                  <a:gd name="T66" fmla="*/ 515 w 888"/>
                  <a:gd name="T67" fmla="*/ 330 h 340"/>
                  <a:gd name="T68" fmla="*/ 525 w 888"/>
                  <a:gd name="T69" fmla="*/ 308 h 340"/>
                  <a:gd name="T70" fmla="*/ 546 w 888"/>
                  <a:gd name="T71" fmla="*/ 296 h 340"/>
                  <a:gd name="T72" fmla="*/ 622 w 888"/>
                  <a:gd name="T73" fmla="*/ 290 h 340"/>
                  <a:gd name="T74" fmla="*/ 699 w 888"/>
                  <a:gd name="T75" fmla="*/ 271 h 340"/>
                  <a:gd name="T76" fmla="*/ 746 w 888"/>
                  <a:gd name="T77" fmla="*/ 270 h 340"/>
                  <a:gd name="T78" fmla="*/ 781 w 888"/>
                  <a:gd name="T79" fmla="*/ 274 h 340"/>
                  <a:gd name="T80" fmla="*/ 835 w 888"/>
                  <a:gd name="T81" fmla="*/ 267 h 340"/>
                  <a:gd name="T82" fmla="*/ 888 w 888"/>
                  <a:gd name="T83" fmla="*/ 265 h 340"/>
                  <a:gd name="T84" fmla="*/ 81 w 888"/>
                  <a:gd name="T85" fmla="*/ 204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8" h="340">
                    <a:moveTo>
                      <a:pt x="3" y="126"/>
                    </a:moveTo>
                    <a:cubicBezTo>
                      <a:pt x="17" y="125"/>
                      <a:pt x="17" y="125"/>
                      <a:pt x="17" y="125"/>
                    </a:cubicBezTo>
                    <a:cubicBezTo>
                      <a:pt x="20" y="116"/>
                      <a:pt x="20" y="116"/>
                      <a:pt x="20" y="116"/>
                    </a:cubicBezTo>
                    <a:cubicBezTo>
                      <a:pt x="0" y="116"/>
                      <a:pt x="0" y="116"/>
                      <a:pt x="0" y="116"/>
                    </a:cubicBezTo>
                    <a:lnTo>
                      <a:pt x="3" y="126"/>
                    </a:lnTo>
                    <a:close/>
                    <a:moveTo>
                      <a:pt x="27" y="107"/>
                    </a:moveTo>
                    <a:cubicBezTo>
                      <a:pt x="30" y="116"/>
                      <a:pt x="40" y="122"/>
                      <a:pt x="39" y="106"/>
                    </a:cubicBezTo>
                    <a:cubicBezTo>
                      <a:pt x="38" y="90"/>
                      <a:pt x="27" y="107"/>
                      <a:pt x="27" y="107"/>
                    </a:cubicBezTo>
                    <a:close/>
                    <a:moveTo>
                      <a:pt x="63" y="93"/>
                    </a:moveTo>
                    <a:cubicBezTo>
                      <a:pt x="45" y="93"/>
                      <a:pt x="45" y="93"/>
                      <a:pt x="45" y="93"/>
                    </a:cubicBezTo>
                    <a:cubicBezTo>
                      <a:pt x="45" y="114"/>
                      <a:pt x="45" y="114"/>
                      <a:pt x="45" y="114"/>
                    </a:cubicBezTo>
                    <a:cubicBezTo>
                      <a:pt x="52" y="101"/>
                      <a:pt x="52" y="101"/>
                      <a:pt x="52" y="101"/>
                    </a:cubicBezTo>
                    <a:lnTo>
                      <a:pt x="63" y="93"/>
                    </a:lnTo>
                    <a:close/>
                    <a:moveTo>
                      <a:pt x="888" y="265"/>
                    </a:moveTo>
                    <a:cubicBezTo>
                      <a:pt x="887" y="261"/>
                      <a:pt x="887" y="259"/>
                      <a:pt x="887" y="259"/>
                    </a:cubicBezTo>
                    <a:cubicBezTo>
                      <a:pt x="871" y="254"/>
                      <a:pt x="871" y="254"/>
                      <a:pt x="871" y="254"/>
                    </a:cubicBezTo>
                    <a:cubicBezTo>
                      <a:pt x="871" y="236"/>
                      <a:pt x="871" y="236"/>
                      <a:pt x="871" y="236"/>
                    </a:cubicBezTo>
                    <a:cubicBezTo>
                      <a:pt x="850" y="224"/>
                      <a:pt x="850" y="224"/>
                      <a:pt x="850" y="224"/>
                    </a:cubicBezTo>
                    <a:cubicBezTo>
                      <a:pt x="850" y="224"/>
                      <a:pt x="863" y="205"/>
                      <a:pt x="858" y="203"/>
                    </a:cubicBezTo>
                    <a:cubicBezTo>
                      <a:pt x="853" y="201"/>
                      <a:pt x="846" y="180"/>
                      <a:pt x="846" y="180"/>
                    </a:cubicBezTo>
                    <a:cubicBezTo>
                      <a:pt x="845" y="165"/>
                      <a:pt x="845" y="165"/>
                      <a:pt x="845" y="165"/>
                    </a:cubicBezTo>
                    <a:cubicBezTo>
                      <a:pt x="834" y="149"/>
                      <a:pt x="834" y="149"/>
                      <a:pt x="834" y="149"/>
                    </a:cubicBezTo>
                    <a:cubicBezTo>
                      <a:pt x="850" y="147"/>
                      <a:pt x="850" y="147"/>
                      <a:pt x="850" y="147"/>
                    </a:cubicBezTo>
                    <a:cubicBezTo>
                      <a:pt x="850" y="147"/>
                      <a:pt x="851" y="142"/>
                      <a:pt x="853" y="137"/>
                    </a:cubicBezTo>
                    <a:cubicBezTo>
                      <a:pt x="850" y="127"/>
                      <a:pt x="846" y="116"/>
                      <a:pt x="843" y="116"/>
                    </a:cubicBezTo>
                    <a:cubicBezTo>
                      <a:pt x="838" y="115"/>
                      <a:pt x="822" y="124"/>
                      <a:pt x="814" y="113"/>
                    </a:cubicBezTo>
                    <a:cubicBezTo>
                      <a:pt x="806" y="102"/>
                      <a:pt x="808" y="88"/>
                      <a:pt x="802" y="73"/>
                    </a:cubicBezTo>
                    <a:cubicBezTo>
                      <a:pt x="796" y="58"/>
                      <a:pt x="794" y="50"/>
                      <a:pt x="794" y="50"/>
                    </a:cubicBezTo>
                    <a:cubicBezTo>
                      <a:pt x="777" y="50"/>
                      <a:pt x="777" y="50"/>
                      <a:pt x="777" y="50"/>
                    </a:cubicBezTo>
                    <a:cubicBezTo>
                      <a:pt x="777" y="50"/>
                      <a:pt x="775" y="35"/>
                      <a:pt x="761" y="32"/>
                    </a:cubicBezTo>
                    <a:cubicBezTo>
                      <a:pt x="747" y="29"/>
                      <a:pt x="741" y="39"/>
                      <a:pt x="741" y="39"/>
                    </a:cubicBezTo>
                    <a:cubicBezTo>
                      <a:pt x="715" y="34"/>
                      <a:pt x="715" y="34"/>
                      <a:pt x="715" y="34"/>
                    </a:cubicBezTo>
                    <a:cubicBezTo>
                      <a:pt x="706" y="43"/>
                      <a:pt x="688" y="59"/>
                      <a:pt x="678" y="63"/>
                    </a:cubicBezTo>
                    <a:cubicBezTo>
                      <a:pt x="665" y="68"/>
                      <a:pt x="621" y="62"/>
                      <a:pt x="621" y="62"/>
                    </a:cubicBezTo>
                    <a:cubicBezTo>
                      <a:pt x="585" y="72"/>
                      <a:pt x="585" y="72"/>
                      <a:pt x="585" y="72"/>
                    </a:cubicBezTo>
                    <a:cubicBezTo>
                      <a:pt x="542" y="57"/>
                      <a:pt x="542" y="57"/>
                      <a:pt x="542" y="57"/>
                    </a:cubicBezTo>
                    <a:cubicBezTo>
                      <a:pt x="525" y="63"/>
                      <a:pt x="525" y="63"/>
                      <a:pt x="525" y="63"/>
                    </a:cubicBezTo>
                    <a:cubicBezTo>
                      <a:pt x="525" y="63"/>
                      <a:pt x="516" y="40"/>
                      <a:pt x="508" y="42"/>
                    </a:cubicBezTo>
                    <a:cubicBezTo>
                      <a:pt x="500" y="44"/>
                      <a:pt x="491" y="51"/>
                      <a:pt x="491" y="51"/>
                    </a:cubicBezTo>
                    <a:cubicBezTo>
                      <a:pt x="475" y="40"/>
                      <a:pt x="475" y="40"/>
                      <a:pt x="475" y="40"/>
                    </a:cubicBezTo>
                    <a:cubicBezTo>
                      <a:pt x="472" y="25"/>
                      <a:pt x="472" y="25"/>
                      <a:pt x="472" y="25"/>
                    </a:cubicBezTo>
                    <a:cubicBezTo>
                      <a:pt x="442" y="30"/>
                      <a:pt x="442" y="30"/>
                      <a:pt x="442" y="30"/>
                    </a:cubicBezTo>
                    <a:cubicBezTo>
                      <a:pt x="424" y="20"/>
                      <a:pt x="424" y="20"/>
                      <a:pt x="424" y="20"/>
                    </a:cubicBezTo>
                    <a:cubicBezTo>
                      <a:pt x="421" y="6"/>
                      <a:pt x="421" y="6"/>
                      <a:pt x="421" y="6"/>
                    </a:cubicBezTo>
                    <a:cubicBezTo>
                      <a:pt x="421" y="6"/>
                      <a:pt x="398" y="16"/>
                      <a:pt x="385" y="16"/>
                    </a:cubicBezTo>
                    <a:cubicBezTo>
                      <a:pt x="373" y="16"/>
                      <a:pt x="355" y="10"/>
                      <a:pt x="343" y="11"/>
                    </a:cubicBezTo>
                    <a:cubicBezTo>
                      <a:pt x="332" y="12"/>
                      <a:pt x="297" y="26"/>
                      <a:pt x="291" y="32"/>
                    </a:cubicBezTo>
                    <a:cubicBezTo>
                      <a:pt x="286" y="39"/>
                      <a:pt x="272" y="42"/>
                      <a:pt x="272" y="42"/>
                    </a:cubicBezTo>
                    <a:cubicBezTo>
                      <a:pt x="266" y="58"/>
                      <a:pt x="266" y="58"/>
                      <a:pt x="266" y="58"/>
                    </a:cubicBezTo>
                    <a:cubicBezTo>
                      <a:pt x="266" y="58"/>
                      <a:pt x="266" y="62"/>
                      <a:pt x="252" y="59"/>
                    </a:cubicBezTo>
                    <a:cubicBezTo>
                      <a:pt x="239" y="56"/>
                      <a:pt x="216" y="53"/>
                      <a:pt x="203" y="53"/>
                    </a:cubicBezTo>
                    <a:cubicBezTo>
                      <a:pt x="191" y="53"/>
                      <a:pt x="151" y="44"/>
                      <a:pt x="151" y="44"/>
                    </a:cubicBezTo>
                    <a:cubicBezTo>
                      <a:pt x="151" y="44"/>
                      <a:pt x="127" y="47"/>
                      <a:pt x="124" y="33"/>
                    </a:cubicBezTo>
                    <a:cubicBezTo>
                      <a:pt x="122" y="26"/>
                      <a:pt x="121" y="19"/>
                      <a:pt x="120" y="14"/>
                    </a:cubicBezTo>
                    <a:cubicBezTo>
                      <a:pt x="111" y="15"/>
                      <a:pt x="97" y="13"/>
                      <a:pt x="97" y="13"/>
                    </a:cubicBezTo>
                    <a:cubicBezTo>
                      <a:pt x="87" y="0"/>
                      <a:pt x="87" y="0"/>
                      <a:pt x="87" y="0"/>
                    </a:cubicBezTo>
                    <a:cubicBezTo>
                      <a:pt x="79" y="10"/>
                      <a:pt x="79" y="10"/>
                      <a:pt x="79" y="10"/>
                    </a:cubicBezTo>
                    <a:cubicBezTo>
                      <a:pt x="59" y="8"/>
                      <a:pt x="59" y="8"/>
                      <a:pt x="59" y="8"/>
                    </a:cubicBezTo>
                    <a:cubicBezTo>
                      <a:pt x="50" y="23"/>
                      <a:pt x="50" y="23"/>
                      <a:pt x="50" y="23"/>
                    </a:cubicBezTo>
                    <a:cubicBezTo>
                      <a:pt x="52" y="28"/>
                      <a:pt x="52" y="28"/>
                      <a:pt x="52" y="28"/>
                    </a:cubicBezTo>
                    <a:cubicBezTo>
                      <a:pt x="52" y="28"/>
                      <a:pt x="59" y="27"/>
                      <a:pt x="62" y="32"/>
                    </a:cubicBezTo>
                    <a:cubicBezTo>
                      <a:pt x="65" y="37"/>
                      <a:pt x="64" y="45"/>
                      <a:pt x="64" y="45"/>
                    </a:cubicBezTo>
                    <a:cubicBezTo>
                      <a:pt x="64" y="45"/>
                      <a:pt x="51" y="41"/>
                      <a:pt x="50" y="47"/>
                    </a:cubicBezTo>
                    <a:cubicBezTo>
                      <a:pt x="49" y="53"/>
                      <a:pt x="54" y="56"/>
                      <a:pt x="52" y="63"/>
                    </a:cubicBezTo>
                    <a:cubicBezTo>
                      <a:pt x="50" y="70"/>
                      <a:pt x="47" y="75"/>
                      <a:pt x="47" y="75"/>
                    </a:cubicBezTo>
                    <a:cubicBezTo>
                      <a:pt x="47" y="75"/>
                      <a:pt x="35" y="87"/>
                      <a:pt x="50" y="86"/>
                    </a:cubicBezTo>
                    <a:cubicBezTo>
                      <a:pt x="65" y="85"/>
                      <a:pt x="76" y="80"/>
                      <a:pt x="76" y="80"/>
                    </a:cubicBezTo>
                    <a:cubicBezTo>
                      <a:pt x="76" y="80"/>
                      <a:pt x="72" y="90"/>
                      <a:pt x="80" y="87"/>
                    </a:cubicBezTo>
                    <a:cubicBezTo>
                      <a:pt x="88" y="84"/>
                      <a:pt x="107" y="65"/>
                      <a:pt x="107" y="65"/>
                    </a:cubicBezTo>
                    <a:cubicBezTo>
                      <a:pt x="107" y="65"/>
                      <a:pt x="141" y="53"/>
                      <a:pt x="152" y="61"/>
                    </a:cubicBezTo>
                    <a:cubicBezTo>
                      <a:pt x="163" y="69"/>
                      <a:pt x="197" y="74"/>
                      <a:pt x="197" y="74"/>
                    </a:cubicBezTo>
                    <a:cubicBezTo>
                      <a:pt x="197" y="74"/>
                      <a:pt x="166" y="78"/>
                      <a:pt x="165" y="81"/>
                    </a:cubicBezTo>
                    <a:cubicBezTo>
                      <a:pt x="164" y="84"/>
                      <a:pt x="159" y="93"/>
                      <a:pt x="159" y="93"/>
                    </a:cubicBezTo>
                    <a:cubicBezTo>
                      <a:pt x="126" y="94"/>
                      <a:pt x="126" y="94"/>
                      <a:pt x="126" y="94"/>
                    </a:cubicBezTo>
                    <a:cubicBezTo>
                      <a:pt x="92" y="91"/>
                      <a:pt x="92" y="91"/>
                      <a:pt x="92" y="91"/>
                    </a:cubicBezTo>
                    <a:cubicBezTo>
                      <a:pt x="92" y="91"/>
                      <a:pt x="66" y="97"/>
                      <a:pt x="62" y="105"/>
                    </a:cubicBezTo>
                    <a:cubicBezTo>
                      <a:pt x="58" y="113"/>
                      <a:pt x="49" y="143"/>
                      <a:pt x="49" y="143"/>
                    </a:cubicBezTo>
                    <a:cubicBezTo>
                      <a:pt x="76" y="142"/>
                      <a:pt x="76" y="142"/>
                      <a:pt x="76" y="142"/>
                    </a:cubicBezTo>
                    <a:cubicBezTo>
                      <a:pt x="76" y="142"/>
                      <a:pt x="72" y="151"/>
                      <a:pt x="77" y="159"/>
                    </a:cubicBezTo>
                    <a:cubicBezTo>
                      <a:pt x="82" y="167"/>
                      <a:pt x="88" y="175"/>
                      <a:pt x="88" y="175"/>
                    </a:cubicBezTo>
                    <a:cubicBezTo>
                      <a:pt x="83" y="186"/>
                      <a:pt x="83" y="186"/>
                      <a:pt x="83" y="186"/>
                    </a:cubicBezTo>
                    <a:cubicBezTo>
                      <a:pt x="93" y="201"/>
                      <a:pt x="93" y="201"/>
                      <a:pt x="93" y="201"/>
                    </a:cubicBezTo>
                    <a:cubicBezTo>
                      <a:pt x="84" y="212"/>
                      <a:pt x="84" y="212"/>
                      <a:pt x="84" y="212"/>
                    </a:cubicBezTo>
                    <a:cubicBezTo>
                      <a:pt x="108" y="234"/>
                      <a:pt x="108" y="234"/>
                      <a:pt x="108" y="234"/>
                    </a:cubicBezTo>
                    <a:cubicBezTo>
                      <a:pt x="106" y="258"/>
                      <a:pt x="106" y="258"/>
                      <a:pt x="106" y="258"/>
                    </a:cubicBezTo>
                    <a:cubicBezTo>
                      <a:pt x="140" y="275"/>
                      <a:pt x="140" y="275"/>
                      <a:pt x="140" y="275"/>
                    </a:cubicBezTo>
                    <a:cubicBezTo>
                      <a:pt x="146" y="297"/>
                      <a:pt x="146" y="297"/>
                      <a:pt x="146" y="297"/>
                    </a:cubicBezTo>
                    <a:cubicBezTo>
                      <a:pt x="146" y="297"/>
                      <a:pt x="143" y="285"/>
                      <a:pt x="162" y="290"/>
                    </a:cubicBezTo>
                    <a:cubicBezTo>
                      <a:pt x="181" y="295"/>
                      <a:pt x="178" y="312"/>
                      <a:pt x="208" y="315"/>
                    </a:cubicBezTo>
                    <a:cubicBezTo>
                      <a:pt x="238" y="318"/>
                      <a:pt x="250" y="317"/>
                      <a:pt x="250" y="310"/>
                    </a:cubicBezTo>
                    <a:cubicBezTo>
                      <a:pt x="250" y="303"/>
                      <a:pt x="252" y="284"/>
                      <a:pt x="262" y="283"/>
                    </a:cubicBezTo>
                    <a:cubicBezTo>
                      <a:pt x="272" y="282"/>
                      <a:pt x="299" y="289"/>
                      <a:pt x="313" y="294"/>
                    </a:cubicBezTo>
                    <a:cubicBezTo>
                      <a:pt x="327" y="299"/>
                      <a:pt x="313" y="326"/>
                      <a:pt x="359" y="325"/>
                    </a:cubicBezTo>
                    <a:cubicBezTo>
                      <a:pt x="405" y="324"/>
                      <a:pt x="406" y="299"/>
                      <a:pt x="422" y="294"/>
                    </a:cubicBezTo>
                    <a:cubicBezTo>
                      <a:pt x="438" y="289"/>
                      <a:pt x="450" y="285"/>
                      <a:pt x="457" y="291"/>
                    </a:cubicBezTo>
                    <a:cubicBezTo>
                      <a:pt x="464" y="297"/>
                      <a:pt x="466" y="303"/>
                      <a:pt x="477" y="298"/>
                    </a:cubicBezTo>
                    <a:cubicBezTo>
                      <a:pt x="488" y="293"/>
                      <a:pt x="495" y="277"/>
                      <a:pt x="502" y="284"/>
                    </a:cubicBezTo>
                    <a:cubicBezTo>
                      <a:pt x="509" y="291"/>
                      <a:pt x="501" y="300"/>
                      <a:pt x="498" y="306"/>
                    </a:cubicBezTo>
                    <a:cubicBezTo>
                      <a:pt x="495" y="312"/>
                      <a:pt x="488" y="324"/>
                      <a:pt x="495" y="329"/>
                    </a:cubicBezTo>
                    <a:cubicBezTo>
                      <a:pt x="496" y="330"/>
                      <a:pt x="497" y="331"/>
                      <a:pt x="496" y="333"/>
                    </a:cubicBezTo>
                    <a:cubicBezTo>
                      <a:pt x="499" y="335"/>
                      <a:pt x="506" y="340"/>
                      <a:pt x="509" y="339"/>
                    </a:cubicBezTo>
                    <a:cubicBezTo>
                      <a:pt x="513" y="338"/>
                      <a:pt x="515" y="330"/>
                      <a:pt x="515" y="330"/>
                    </a:cubicBezTo>
                    <a:cubicBezTo>
                      <a:pt x="515" y="321"/>
                      <a:pt x="515" y="321"/>
                      <a:pt x="515" y="321"/>
                    </a:cubicBezTo>
                    <a:cubicBezTo>
                      <a:pt x="515" y="321"/>
                      <a:pt x="529" y="327"/>
                      <a:pt x="530" y="319"/>
                    </a:cubicBezTo>
                    <a:cubicBezTo>
                      <a:pt x="532" y="306"/>
                      <a:pt x="525" y="308"/>
                      <a:pt x="525" y="308"/>
                    </a:cubicBezTo>
                    <a:cubicBezTo>
                      <a:pt x="524" y="287"/>
                      <a:pt x="524" y="287"/>
                      <a:pt x="524" y="287"/>
                    </a:cubicBezTo>
                    <a:cubicBezTo>
                      <a:pt x="524" y="287"/>
                      <a:pt x="538" y="282"/>
                      <a:pt x="540" y="286"/>
                    </a:cubicBezTo>
                    <a:cubicBezTo>
                      <a:pt x="542" y="290"/>
                      <a:pt x="525" y="296"/>
                      <a:pt x="546" y="296"/>
                    </a:cubicBezTo>
                    <a:cubicBezTo>
                      <a:pt x="567" y="296"/>
                      <a:pt x="582" y="288"/>
                      <a:pt x="582" y="288"/>
                    </a:cubicBezTo>
                    <a:cubicBezTo>
                      <a:pt x="582" y="288"/>
                      <a:pt x="593" y="276"/>
                      <a:pt x="596" y="277"/>
                    </a:cubicBezTo>
                    <a:cubicBezTo>
                      <a:pt x="599" y="278"/>
                      <a:pt x="622" y="290"/>
                      <a:pt x="622" y="290"/>
                    </a:cubicBezTo>
                    <a:cubicBezTo>
                      <a:pt x="622" y="290"/>
                      <a:pt x="634" y="295"/>
                      <a:pt x="645" y="294"/>
                    </a:cubicBezTo>
                    <a:cubicBezTo>
                      <a:pt x="656" y="293"/>
                      <a:pt x="661" y="290"/>
                      <a:pt x="670" y="287"/>
                    </a:cubicBezTo>
                    <a:cubicBezTo>
                      <a:pt x="679" y="284"/>
                      <a:pt x="686" y="272"/>
                      <a:pt x="699" y="271"/>
                    </a:cubicBezTo>
                    <a:cubicBezTo>
                      <a:pt x="712" y="270"/>
                      <a:pt x="718" y="269"/>
                      <a:pt x="723" y="271"/>
                    </a:cubicBezTo>
                    <a:cubicBezTo>
                      <a:pt x="728" y="273"/>
                      <a:pt x="723" y="278"/>
                      <a:pt x="732" y="277"/>
                    </a:cubicBezTo>
                    <a:cubicBezTo>
                      <a:pt x="741" y="276"/>
                      <a:pt x="746" y="270"/>
                      <a:pt x="746" y="270"/>
                    </a:cubicBezTo>
                    <a:cubicBezTo>
                      <a:pt x="746" y="270"/>
                      <a:pt x="751" y="268"/>
                      <a:pt x="759" y="267"/>
                    </a:cubicBezTo>
                    <a:cubicBezTo>
                      <a:pt x="767" y="266"/>
                      <a:pt x="769" y="255"/>
                      <a:pt x="772" y="257"/>
                    </a:cubicBezTo>
                    <a:cubicBezTo>
                      <a:pt x="775" y="259"/>
                      <a:pt x="769" y="277"/>
                      <a:pt x="781" y="274"/>
                    </a:cubicBezTo>
                    <a:cubicBezTo>
                      <a:pt x="793" y="271"/>
                      <a:pt x="792" y="258"/>
                      <a:pt x="792" y="258"/>
                    </a:cubicBezTo>
                    <a:cubicBezTo>
                      <a:pt x="818" y="258"/>
                      <a:pt x="818" y="258"/>
                      <a:pt x="818" y="258"/>
                    </a:cubicBezTo>
                    <a:cubicBezTo>
                      <a:pt x="818" y="258"/>
                      <a:pt x="827" y="269"/>
                      <a:pt x="835" y="267"/>
                    </a:cubicBezTo>
                    <a:cubicBezTo>
                      <a:pt x="843" y="265"/>
                      <a:pt x="835" y="257"/>
                      <a:pt x="849" y="258"/>
                    </a:cubicBezTo>
                    <a:cubicBezTo>
                      <a:pt x="863" y="259"/>
                      <a:pt x="861" y="276"/>
                      <a:pt x="861" y="276"/>
                    </a:cubicBezTo>
                    <a:lnTo>
                      <a:pt x="888" y="265"/>
                    </a:lnTo>
                    <a:close/>
                    <a:moveTo>
                      <a:pt x="67" y="189"/>
                    </a:moveTo>
                    <a:cubicBezTo>
                      <a:pt x="63" y="185"/>
                      <a:pt x="61" y="207"/>
                      <a:pt x="67" y="217"/>
                    </a:cubicBezTo>
                    <a:cubicBezTo>
                      <a:pt x="72" y="226"/>
                      <a:pt x="79" y="208"/>
                      <a:pt x="81" y="204"/>
                    </a:cubicBezTo>
                    <a:cubicBezTo>
                      <a:pt x="83" y="200"/>
                      <a:pt x="71" y="193"/>
                      <a:pt x="67" y="189"/>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87" name="Freeform 209">
                <a:extLst>
                  <a:ext uri="{FF2B5EF4-FFF2-40B4-BE49-F238E27FC236}">
                    <a16:creationId xmlns:a16="http://schemas.microsoft.com/office/drawing/2014/main" id="{9DDC1C04-4833-47D2-89C7-844A7852653E}"/>
                  </a:ext>
                </a:extLst>
              </p:cNvPr>
              <p:cNvSpPr>
                <a:spLocks/>
              </p:cNvSpPr>
              <p:nvPr>
                <p:custDataLst>
                  <p:tags r:id="rId168"/>
                </p:custDataLst>
              </p:nvPr>
            </p:nvSpPr>
            <p:spPr bwMode="gray">
              <a:xfrm>
                <a:off x="6710325" y="2838460"/>
                <a:ext cx="844546" cy="306389"/>
              </a:xfrm>
              <a:custGeom>
                <a:avLst/>
                <a:gdLst>
                  <a:gd name="T0" fmla="*/ 1353 w 1406"/>
                  <a:gd name="T1" fmla="*/ 245 h 558"/>
                  <a:gd name="T2" fmla="*/ 1312 w 1406"/>
                  <a:gd name="T3" fmla="*/ 214 h 558"/>
                  <a:gd name="T4" fmla="*/ 1247 w 1406"/>
                  <a:gd name="T5" fmla="*/ 225 h 558"/>
                  <a:gd name="T6" fmla="*/ 1182 w 1406"/>
                  <a:gd name="T7" fmla="*/ 215 h 558"/>
                  <a:gd name="T8" fmla="*/ 1179 w 1406"/>
                  <a:gd name="T9" fmla="*/ 178 h 558"/>
                  <a:gd name="T10" fmla="*/ 1162 w 1406"/>
                  <a:gd name="T11" fmla="*/ 114 h 558"/>
                  <a:gd name="T12" fmla="*/ 1091 w 1406"/>
                  <a:gd name="T13" fmla="*/ 102 h 558"/>
                  <a:gd name="T14" fmla="*/ 1025 w 1406"/>
                  <a:gd name="T15" fmla="*/ 136 h 558"/>
                  <a:gd name="T16" fmla="*/ 967 w 1406"/>
                  <a:gd name="T17" fmla="*/ 143 h 558"/>
                  <a:gd name="T18" fmla="*/ 922 w 1406"/>
                  <a:gd name="T19" fmla="*/ 156 h 558"/>
                  <a:gd name="T20" fmla="*/ 855 w 1406"/>
                  <a:gd name="T21" fmla="*/ 148 h 558"/>
                  <a:gd name="T22" fmla="*/ 812 w 1406"/>
                  <a:gd name="T23" fmla="*/ 114 h 558"/>
                  <a:gd name="T24" fmla="*/ 728 w 1406"/>
                  <a:gd name="T25" fmla="*/ 97 h 558"/>
                  <a:gd name="T26" fmla="*/ 607 w 1406"/>
                  <a:gd name="T27" fmla="*/ 95 h 558"/>
                  <a:gd name="T28" fmla="*/ 563 w 1406"/>
                  <a:gd name="T29" fmla="*/ 83 h 558"/>
                  <a:gd name="T30" fmla="*/ 472 w 1406"/>
                  <a:gd name="T31" fmla="*/ 22 h 558"/>
                  <a:gd name="T32" fmla="*/ 384 w 1406"/>
                  <a:gd name="T33" fmla="*/ 0 h 558"/>
                  <a:gd name="T34" fmla="*/ 373 w 1406"/>
                  <a:gd name="T35" fmla="*/ 33 h 558"/>
                  <a:gd name="T36" fmla="*/ 372 w 1406"/>
                  <a:gd name="T37" fmla="*/ 60 h 558"/>
                  <a:gd name="T38" fmla="*/ 391 w 1406"/>
                  <a:gd name="T39" fmla="*/ 110 h 558"/>
                  <a:gd name="T40" fmla="*/ 335 w 1406"/>
                  <a:gd name="T41" fmla="*/ 119 h 558"/>
                  <a:gd name="T42" fmla="*/ 301 w 1406"/>
                  <a:gd name="T43" fmla="*/ 118 h 558"/>
                  <a:gd name="T44" fmla="*/ 278 w 1406"/>
                  <a:gd name="T45" fmla="*/ 107 h 558"/>
                  <a:gd name="T46" fmla="*/ 182 w 1406"/>
                  <a:gd name="T47" fmla="*/ 86 h 558"/>
                  <a:gd name="T48" fmla="*/ 155 w 1406"/>
                  <a:gd name="T49" fmla="*/ 70 h 558"/>
                  <a:gd name="T50" fmla="*/ 119 w 1406"/>
                  <a:gd name="T51" fmla="*/ 88 h 558"/>
                  <a:gd name="T52" fmla="*/ 83 w 1406"/>
                  <a:gd name="T53" fmla="*/ 100 h 558"/>
                  <a:gd name="T54" fmla="*/ 47 w 1406"/>
                  <a:gd name="T55" fmla="*/ 130 h 558"/>
                  <a:gd name="T56" fmla="*/ 9 w 1406"/>
                  <a:gd name="T57" fmla="*/ 151 h 558"/>
                  <a:gd name="T58" fmla="*/ 18 w 1406"/>
                  <a:gd name="T59" fmla="*/ 174 h 558"/>
                  <a:gd name="T60" fmla="*/ 54 w 1406"/>
                  <a:gd name="T61" fmla="*/ 203 h 558"/>
                  <a:gd name="T62" fmla="*/ 107 w 1406"/>
                  <a:gd name="T63" fmla="*/ 221 h 558"/>
                  <a:gd name="T64" fmla="*/ 179 w 1406"/>
                  <a:gd name="T65" fmla="*/ 276 h 558"/>
                  <a:gd name="T66" fmla="*/ 192 w 1406"/>
                  <a:gd name="T67" fmla="*/ 326 h 558"/>
                  <a:gd name="T68" fmla="*/ 274 w 1406"/>
                  <a:gd name="T69" fmla="*/ 374 h 558"/>
                  <a:gd name="T70" fmla="*/ 361 w 1406"/>
                  <a:gd name="T71" fmla="*/ 397 h 558"/>
                  <a:gd name="T72" fmla="*/ 430 w 1406"/>
                  <a:gd name="T73" fmla="*/ 429 h 558"/>
                  <a:gd name="T74" fmla="*/ 502 w 1406"/>
                  <a:gd name="T75" fmla="*/ 498 h 558"/>
                  <a:gd name="T76" fmla="*/ 610 w 1406"/>
                  <a:gd name="T77" fmla="*/ 499 h 558"/>
                  <a:gd name="T78" fmla="*/ 679 w 1406"/>
                  <a:gd name="T79" fmla="*/ 501 h 558"/>
                  <a:gd name="T80" fmla="*/ 795 w 1406"/>
                  <a:gd name="T81" fmla="*/ 531 h 558"/>
                  <a:gd name="T82" fmla="*/ 873 w 1406"/>
                  <a:gd name="T83" fmla="*/ 550 h 558"/>
                  <a:gd name="T84" fmla="*/ 1066 w 1406"/>
                  <a:gd name="T85" fmla="*/ 510 h 558"/>
                  <a:gd name="T86" fmla="*/ 1112 w 1406"/>
                  <a:gd name="T87" fmla="*/ 463 h 558"/>
                  <a:gd name="T88" fmla="*/ 1108 w 1406"/>
                  <a:gd name="T89" fmla="*/ 407 h 558"/>
                  <a:gd name="T90" fmla="*/ 1160 w 1406"/>
                  <a:gd name="T91" fmla="*/ 388 h 558"/>
                  <a:gd name="T92" fmla="*/ 1213 w 1406"/>
                  <a:gd name="T93" fmla="*/ 350 h 558"/>
                  <a:gd name="T94" fmla="*/ 1270 w 1406"/>
                  <a:gd name="T95" fmla="*/ 314 h 558"/>
                  <a:gd name="T96" fmla="*/ 1320 w 1406"/>
                  <a:gd name="T97" fmla="*/ 294 h 558"/>
                  <a:gd name="T98" fmla="*/ 1355 w 1406"/>
                  <a:gd name="T99" fmla="*/ 279 h 558"/>
                  <a:gd name="T100" fmla="*/ 1394 w 1406"/>
                  <a:gd name="T101" fmla="*/ 273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6" h="558">
                    <a:moveTo>
                      <a:pt x="1394" y="273"/>
                    </a:moveTo>
                    <a:cubicBezTo>
                      <a:pt x="1385" y="267"/>
                      <a:pt x="1380" y="256"/>
                      <a:pt x="1380" y="256"/>
                    </a:cubicBezTo>
                    <a:cubicBezTo>
                      <a:pt x="1380" y="256"/>
                      <a:pt x="1362" y="252"/>
                      <a:pt x="1353" y="245"/>
                    </a:cubicBezTo>
                    <a:cubicBezTo>
                      <a:pt x="1344" y="238"/>
                      <a:pt x="1336" y="231"/>
                      <a:pt x="1336" y="231"/>
                    </a:cubicBezTo>
                    <a:cubicBezTo>
                      <a:pt x="1336" y="231"/>
                      <a:pt x="1333" y="231"/>
                      <a:pt x="1324" y="230"/>
                    </a:cubicBezTo>
                    <a:cubicBezTo>
                      <a:pt x="1315" y="229"/>
                      <a:pt x="1312" y="214"/>
                      <a:pt x="1312" y="214"/>
                    </a:cubicBezTo>
                    <a:cubicBezTo>
                      <a:pt x="1271" y="214"/>
                      <a:pt x="1271" y="214"/>
                      <a:pt x="1271" y="214"/>
                    </a:cubicBezTo>
                    <a:cubicBezTo>
                      <a:pt x="1271" y="214"/>
                      <a:pt x="1270" y="232"/>
                      <a:pt x="1264" y="234"/>
                    </a:cubicBezTo>
                    <a:cubicBezTo>
                      <a:pt x="1258" y="236"/>
                      <a:pt x="1247" y="225"/>
                      <a:pt x="1247" y="225"/>
                    </a:cubicBezTo>
                    <a:cubicBezTo>
                      <a:pt x="1247" y="225"/>
                      <a:pt x="1237" y="221"/>
                      <a:pt x="1218" y="222"/>
                    </a:cubicBezTo>
                    <a:cubicBezTo>
                      <a:pt x="1199" y="223"/>
                      <a:pt x="1215" y="230"/>
                      <a:pt x="1206" y="233"/>
                    </a:cubicBezTo>
                    <a:cubicBezTo>
                      <a:pt x="1197" y="236"/>
                      <a:pt x="1185" y="225"/>
                      <a:pt x="1182" y="215"/>
                    </a:cubicBezTo>
                    <a:cubicBezTo>
                      <a:pt x="1179" y="205"/>
                      <a:pt x="1184" y="202"/>
                      <a:pt x="1184" y="202"/>
                    </a:cubicBezTo>
                    <a:cubicBezTo>
                      <a:pt x="1180" y="196"/>
                      <a:pt x="1180" y="196"/>
                      <a:pt x="1180" y="196"/>
                    </a:cubicBezTo>
                    <a:cubicBezTo>
                      <a:pt x="1179" y="178"/>
                      <a:pt x="1179" y="178"/>
                      <a:pt x="1179" y="178"/>
                    </a:cubicBezTo>
                    <a:cubicBezTo>
                      <a:pt x="1174" y="172"/>
                      <a:pt x="1174" y="172"/>
                      <a:pt x="1174" y="172"/>
                    </a:cubicBezTo>
                    <a:cubicBezTo>
                      <a:pt x="1173" y="117"/>
                      <a:pt x="1173" y="117"/>
                      <a:pt x="1173" y="117"/>
                    </a:cubicBezTo>
                    <a:cubicBezTo>
                      <a:pt x="1162" y="114"/>
                      <a:pt x="1162" y="114"/>
                      <a:pt x="1162" y="114"/>
                    </a:cubicBezTo>
                    <a:cubicBezTo>
                      <a:pt x="1144" y="111"/>
                      <a:pt x="1144" y="111"/>
                      <a:pt x="1144" y="111"/>
                    </a:cubicBezTo>
                    <a:cubicBezTo>
                      <a:pt x="1144" y="111"/>
                      <a:pt x="1138" y="118"/>
                      <a:pt x="1124" y="118"/>
                    </a:cubicBezTo>
                    <a:cubicBezTo>
                      <a:pt x="1110" y="118"/>
                      <a:pt x="1100" y="102"/>
                      <a:pt x="1091" y="102"/>
                    </a:cubicBezTo>
                    <a:cubicBezTo>
                      <a:pt x="1082" y="102"/>
                      <a:pt x="1055" y="98"/>
                      <a:pt x="1055" y="98"/>
                    </a:cubicBezTo>
                    <a:cubicBezTo>
                      <a:pt x="1032" y="121"/>
                      <a:pt x="1032" y="121"/>
                      <a:pt x="1032" y="121"/>
                    </a:cubicBezTo>
                    <a:cubicBezTo>
                      <a:pt x="1032" y="121"/>
                      <a:pt x="1035" y="132"/>
                      <a:pt x="1025" y="136"/>
                    </a:cubicBezTo>
                    <a:cubicBezTo>
                      <a:pt x="1015" y="140"/>
                      <a:pt x="1003" y="137"/>
                      <a:pt x="1003" y="137"/>
                    </a:cubicBezTo>
                    <a:cubicBezTo>
                      <a:pt x="993" y="142"/>
                      <a:pt x="993" y="142"/>
                      <a:pt x="993" y="142"/>
                    </a:cubicBezTo>
                    <a:cubicBezTo>
                      <a:pt x="993" y="142"/>
                      <a:pt x="976" y="141"/>
                      <a:pt x="967" y="143"/>
                    </a:cubicBezTo>
                    <a:cubicBezTo>
                      <a:pt x="958" y="145"/>
                      <a:pt x="960" y="150"/>
                      <a:pt x="955" y="156"/>
                    </a:cubicBezTo>
                    <a:cubicBezTo>
                      <a:pt x="950" y="162"/>
                      <a:pt x="942" y="153"/>
                      <a:pt x="938" y="151"/>
                    </a:cubicBezTo>
                    <a:cubicBezTo>
                      <a:pt x="934" y="149"/>
                      <a:pt x="922" y="156"/>
                      <a:pt x="922" y="156"/>
                    </a:cubicBezTo>
                    <a:cubicBezTo>
                      <a:pt x="922" y="156"/>
                      <a:pt x="898" y="156"/>
                      <a:pt x="895" y="153"/>
                    </a:cubicBezTo>
                    <a:cubicBezTo>
                      <a:pt x="892" y="150"/>
                      <a:pt x="885" y="147"/>
                      <a:pt x="885" y="147"/>
                    </a:cubicBezTo>
                    <a:cubicBezTo>
                      <a:pt x="885" y="147"/>
                      <a:pt x="875" y="150"/>
                      <a:pt x="855" y="148"/>
                    </a:cubicBezTo>
                    <a:cubicBezTo>
                      <a:pt x="835" y="146"/>
                      <a:pt x="840" y="135"/>
                      <a:pt x="840" y="135"/>
                    </a:cubicBezTo>
                    <a:cubicBezTo>
                      <a:pt x="840" y="135"/>
                      <a:pt x="829" y="132"/>
                      <a:pt x="826" y="133"/>
                    </a:cubicBezTo>
                    <a:cubicBezTo>
                      <a:pt x="823" y="134"/>
                      <a:pt x="815" y="115"/>
                      <a:pt x="812" y="114"/>
                    </a:cubicBezTo>
                    <a:cubicBezTo>
                      <a:pt x="809" y="113"/>
                      <a:pt x="790" y="113"/>
                      <a:pt x="778" y="113"/>
                    </a:cubicBezTo>
                    <a:cubicBezTo>
                      <a:pt x="766" y="113"/>
                      <a:pt x="755" y="94"/>
                      <a:pt x="755" y="94"/>
                    </a:cubicBezTo>
                    <a:cubicBezTo>
                      <a:pt x="728" y="97"/>
                      <a:pt x="728" y="97"/>
                      <a:pt x="728" y="97"/>
                    </a:cubicBezTo>
                    <a:cubicBezTo>
                      <a:pt x="728" y="97"/>
                      <a:pt x="726" y="89"/>
                      <a:pt x="697" y="87"/>
                    </a:cubicBezTo>
                    <a:cubicBezTo>
                      <a:pt x="668" y="85"/>
                      <a:pt x="650" y="103"/>
                      <a:pt x="637" y="104"/>
                    </a:cubicBezTo>
                    <a:cubicBezTo>
                      <a:pt x="624" y="105"/>
                      <a:pt x="607" y="95"/>
                      <a:pt x="607" y="95"/>
                    </a:cubicBezTo>
                    <a:cubicBezTo>
                      <a:pt x="607" y="95"/>
                      <a:pt x="600" y="96"/>
                      <a:pt x="590" y="96"/>
                    </a:cubicBezTo>
                    <a:cubicBezTo>
                      <a:pt x="580" y="96"/>
                      <a:pt x="578" y="80"/>
                      <a:pt x="578" y="80"/>
                    </a:cubicBezTo>
                    <a:cubicBezTo>
                      <a:pt x="563" y="83"/>
                      <a:pt x="563" y="83"/>
                      <a:pt x="563" y="83"/>
                    </a:cubicBezTo>
                    <a:cubicBezTo>
                      <a:pt x="563" y="83"/>
                      <a:pt x="541" y="49"/>
                      <a:pt x="532" y="38"/>
                    </a:cubicBezTo>
                    <a:cubicBezTo>
                      <a:pt x="523" y="27"/>
                      <a:pt x="511" y="40"/>
                      <a:pt x="501" y="38"/>
                    </a:cubicBezTo>
                    <a:cubicBezTo>
                      <a:pt x="491" y="36"/>
                      <a:pt x="472" y="22"/>
                      <a:pt x="472" y="22"/>
                    </a:cubicBezTo>
                    <a:cubicBezTo>
                      <a:pt x="472" y="22"/>
                      <a:pt x="452" y="23"/>
                      <a:pt x="434" y="21"/>
                    </a:cubicBezTo>
                    <a:cubicBezTo>
                      <a:pt x="416" y="19"/>
                      <a:pt x="393" y="2"/>
                      <a:pt x="393" y="2"/>
                    </a:cubicBezTo>
                    <a:cubicBezTo>
                      <a:pt x="384" y="0"/>
                      <a:pt x="384" y="0"/>
                      <a:pt x="384" y="0"/>
                    </a:cubicBezTo>
                    <a:cubicBezTo>
                      <a:pt x="384" y="0"/>
                      <a:pt x="385" y="12"/>
                      <a:pt x="380" y="18"/>
                    </a:cubicBezTo>
                    <a:cubicBezTo>
                      <a:pt x="375" y="24"/>
                      <a:pt x="371" y="22"/>
                      <a:pt x="371" y="22"/>
                    </a:cubicBezTo>
                    <a:cubicBezTo>
                      <a:pt x="373" y="33"/>
                      <a:pt x="373" y="33"/>
                      <a:pt x="373" y="33"/>
                    </a:cubicBezTo>
                    <a:cubicBezTo>
                      <a:pt x="373" y="33"/>
                      <a:pt x="362" y="31"/>
                      <a:pt x="362" y="37"/>
                    </a:cubicBezTo>
                    <a:cubicBezTo>
                      <a:pt x="362" y="43"/>
                      <a:pt x="368" y="46"/>
                      <a:pt x="368" y="46"/>
                    </a:cubicBezTo>
                    <a:cubicBezTo>
                      <a:pt x="372" y="60"/>
                      <a:pt x="372" y="60"/>
                      <a:pt x="372" y="60"/>
                    </a:cubicBezTo>
                    <a:cubicBezTo>
                      <a:pt x="388" y="84"/>
                      <a:pt x="388" y="84"/>
                      <a:pt x="388" y="84"/>
                    </a:cubicBezTo>
                    <a:cubicBezTo>
                      <a:pt x="388" y="84"/>
                      <a:pt x="403" y="84"/>
                      <a:pt x="403" y="102"/>
                    </a:cubicBezTo>
                    <a:cubicBezTo>
                      <a:pt x="403" y="120"/>
                      <a:pt x="391" y="110"/>
                      <a:pt x="391" y="110"/>
                    </a:cubicBezTo>
                    <a:cubicBezTo>
                      <a:pt x="391" y="110"/>
                      <a:pt x="393" y="117"/>
                      <a:pt x="376" y="125"/>
                    </a:cubicBezTo>
                    <a:cubicBezTo>
                      <a:pt x="359" y="133"/>
                      <a:pt x="365" y="117"/>
                      <a:pt x="365" y="117"/>
                    </a:cubicBezTo>
                    <a:cubicBezTo>
                      <a:pt x="335" y="119"/>
                      <a:pt x="335" y="119"/>
                      <a:pt x="335" y="119"/>
                    </a:cubicBezTo>
                    <a:cubicBezTo>
                      <a:pt x="334" y="111"/>
                      <a:pt x="334" y="111"/>
                      <a:pt x="334" y="111"/>
                    </a:cubicBezTo>
                    <a:cubicBezTo>
                      <a:pt x="334" y="111"/>
                      <a:pt x="325" y="110"/>
                      <a:pt x="314" y="111"/>
                    </a:cubicBezTo>
                    <a:cubicBezTo>
                      <a:pt x="303" y="112"/>
                      <a:pt x="301" y="118"/>
                      <a:pt x="301" y="118"/>
                    </a:cubicBezTo>
                    <a:cubicBezTo>
                      <a:pt x="299" y="113"/>
                      <a:pt x="299" y="113"/>
                      <a:pt x="299" y="113"/>
                    </a:cubicBezTo>
                    <a:cubicBezTo>
                      <a:pt x="280" y="116"/>
                      <a:pt x="280" y="116"/>
                      <a:pt x="280" y="116"/>
                    </a:cubicBezTo>
                    <a:cubicBezTo>
                      <a:pt x="278" y="107"/>
                      <a:pt x="278" y="107"/>
                      <a:pt x="278" y="107"/>
                    </a:cubicBezTo>
                    <a:cubicBezTo>
                      <a:pt x="278" y="107"/>
                      <a:pt x="256" y="109"/>
                      <a:pt x="247" y="102"/>
                    </a:cubicBezTo>
                    <a:cubicBezTo>
                      <a:pt x="238" y="95"/>
                      <a:pt x="240" y="82"/>
                      <a:pt x="233" y="82"/>
                    </a:cubicBezTo>
                    <a:cubicBezTo>
                      <a:pt x="226" y="82"/>
                      <a:pt x="182" y="86"/>
                      <a:pt x="182" y="86"/>
                    </a:cubicBezTo>
                    <a:cubicBezTo>
                      <a:pt x="177" y="75"/>
                      <a:pt x="177" y="75"/>
                      <a:pt x="177" y="75"/>
                    </a:cubicBezTo>
                    <a:cubicBezTo>
                      <a:pt x="177" y="75"/>
                      <a:pt x="161" y="75"/>
                      <a:pt x="158" y="75"/>
                    </a:cubicBezTo>
                    <a:cubicBezTo>
                      <a:pt x="155" y="75"/>
                      <a:pt x="155" y="70"/>
                      <a:pt x="155" y="70"/>
                    </a:cubicBezTo>
                    <a:cubicBezTo>
                      <a:pt x="143" y="77"/>
                      <a:pt x="143" y="77"/>
                      <a:pt x="143" y="77"/>
                    </a:cubicBezTo>
                    <a:cubicBezTo>
                      <a:pt x="143" y="77"/>
                      <a:pt x="134" y="71"/>
                      <a:pt x="127" y="71"/>
                    </a:cubicBezTo>
                    <a:cubicBezTo>
                      <a:pt x="120" y="71"/>
                      <a:pt x="119" y="88"/>
                      <a:pt x="119" y="88"/>
                    </a:cubicBezTo>
                    <a:cubicBezTo>
                      <a:pt x="103" y="88"/>
                      <a:pt x="103" y="88"/>
                      <a:pt x="103" y="88"/>
                    </a:cubicBezTo>
                    <a:cubicBezTo>
                      <a:pt x="92" y="101"/>
                      <a:pt x="92" y="101"/>
                      <a:pt x="92" y="101"/>
                    </a:cubicBezTo>
                    <a:cubicBezTo>
                      <a:pt x="83" y="100"/>
                      <a:pt x="83" y="100"/>
                      <a:pt x="83" y="100"/>
                    </a:cubicBezTo>
                    <a:cubicBezTo>
                      <a:pt x="83" y="100"/>
                      <a:pt x="72" y="108"/>
                      <a:pt x="63" y="118"/>
                    </a:cubicBezTo>
                    <a:cubicBezTo>
                      <a:pt x="54" y="128"/>
                      <a:pt x="63" y="130"/>
                      <a:pt x="63" y="130"/>
                    </a:cubicBezTo>
                    <a:cubicBezTo>
                      <a:pt x="47" y="130"/>
                      <a:pt x="47" y="130"/>
                      <a:pt x="47" y="130"/>
                    </a:cubicBezTo>
                    <a:cubicBezTo>
                      <a:pt x="49" y="139"/>
                      <a:pt x="49" y="139"/>
                      <a:pt x="49" y="139"/>
                    </a:cubicBezTo>
                    <a:cubicBezTo>
                      <a:pt x="8" y="139"/>
                      <a:pt x="8" y="139"/>
                      <a:pt x="8" y="139"/>
                    </a:cubicBezTo>
                    <a:cubicBezTo>
                      <a:pt x="9" y="151"/>
                      <a:pt x="9" y="151"/>
                      <a:pt x="9" y="151"/>
                    </a:cubicBezTo>
                    <a:cubicBezTo>
                      <a:pt x="2" y="158"/>
                      <a:pt x="2" y="158"/>
                      <a:pt x="2" y="158"/>
                    </a:cubicBezTo>
                    <a:cubicBezTo>
                      <a:pt x="10" y="162"/>
                      <a:pt x="0" y="174"/>
                      <a:pt x="0" y="174"/>
                    </a:cubicBezTo>
                    <a:cubicBezTo>
                      <a:pt x="18" y="174"/>
                      <a:pt x="18" y="174"/>
                      <a:pt x="18" y="174"/>
                    </a:cubicBezTo>
                    <a:cubicBezTo>
                      <a:pt x="18" y="174"/>
                      <a:pt x="14" y="182"/>
                      <a:pt x="19" y="187"/>
                    </a:cubicBezTo>
                    <a:cubicBezTo>
                      <a:pt x="24" y="192"/>
                      <a:pt x="48" y="195"/>
                      <a:pt x="48" y="195"/>
                    </a:cubicBezTo>
                    <a:cubicBezTo>
                      <a:pt x="54" y="203"/>
                      <a:pt x="54" y="203"/>
                      <a:pt x="54" y="203"/>
                    </a:cubicBezTo>
                    <a:cubicBezTo>
                      <a:pt x="71" y="219"/>
                      <a:pt x="71" y="219"/>
                      <a:pt x="71" y="219"/>
                    </a:cubicBezTo>
                    <a:cubicBezTo>
                      <a:pt x="92" y="213"/>
                      <a:pt x="92" y="213"/>
                      <a:pt x="92" y="213"/>
                    </a:cubicBezTo>
                    <a:cubicBezTo>
                      <a:pt x="107" y="221"/>
                      <a:pt x="107" y="221"/>
                      <a:pt x="107" y="221"/>
                    </a:cubicBezTo>
                    <a:cubicBezTo>
                      <a:pt x="107" y="221"/>
                      <a:pt x="113" y="223"/>
                      <a:pt x="127" y="227"/>
                    </a:cubicBezTo>
                    <a:cubicBezTo>
                      <a:pt x="141" y="231"/>
                      <a:pt x="148" y="245"/>
                      <a:pt x="153" y="252"/>
                    </a:cubicBezTo>
                    <a:cubicBezTo>
                      <a:pt x="158" y="259"/>
                      <a:pt x="167" y="268"/>
                      <a:pt x="179" y="276"/>
                    </a:cubicBezTo>
                    <a:cubicBezTo>
                      <a:pt x="191" y="284"/>
                      <a:pt x="188" y="300"/>
                      <a:pt x="188" y="300"/>
                    </a:cubicBezTo>
                    <a:cubicBezTo>
                      <a:pt x="188" y="300"/>
                      <a:pt x="198" y="308"/>
                      <a:pt x="200" y="315"/>
                    </a:cubicBezTo>
                    <a:cubicBezTo>
                      <a:pt x="202" y="322"/>
                      <a:pt x="192" y="326"/>
                      <a:pt x="192" y="326"/>
                    </a:cubicBezTo>
                    <a:cubicBezTo>
                      <a:pt x="192" y="326"/>
                      <a:pt x="193" y="336"/>
                      <a:pt x="198" y="349"/>
                    </a:cubicBezTo>
                    <a:cubicBezTo>
                      <a:pt x="203" y="362"/>
                      <a:pt x="224" y="364"/>
                      <a:pt x="235" y="368"/>
                    </a:cubicBezTo>
                    <a:cubicBezTo>
                      <a:pt x="246" y="372"/>
                      <a:pt x="260" y="375"/>
                      <a:pt x="274" y="374"/>
                    </a:cubicBezTo>
                    <a:cubicBezTo>
                      <a:pt x="288" y="373"/>
                      <a:pt x="322" y="375"/>
                      <a:pt x="322" y="375"/>
                    </a:cubicBezTo>
                    <a:cubicBezTo>
                      <a:pt x="322" y="375"/>
                      <a:pt x="333" y="380"/>
                      <a:pt x="342" y="382"/>
                    </a:cubicBezTo>
                    <a:cubicBezTo>
                      <a:pt x="351" y="384"/>
                      <a:pt x="358" y="396"/>
                      <a:pt x="361" y="397"/>
                    </a:cubicBezTo>
                    <a:cubicBezTo>
                      <a:pt x="364" y="398"/>
                      <a:pt x="401" y="410"/>
                      <a:pt x="401" y="410"/>
                    </a:cubicBezTo>
                    <a:cubicBezTo>
                      <a:pt x="423" y="413"/>
                      <a:pt x="423" y="413"/>
                      <a:pt x="423" y="413"/>
                    </a:cubicBezTo>
                    <a:cubicBezTo>
                      <a:pt x="430" y="429"/>
                      <a:pt x="430" y="429"/>
                      <a:pt x="430" y="429"/>
                    </a:cubicBezTo>
                    <a:cubicBezTo>
                      <a:pt x="430" y="429"/>
                      <a:pt x="439" y="434"/>
                      <a:pt x="443" y="438"/>
                    </a:cubicBezTo>
                    <a:cubicBezTo>
                      <a:pt x="447" y="442"/>
                      <a:pt x="461" y="461"/>
                      <a:pt x="465" y="467"/>
                    </a:cubicBezTo>
                    <a:cubicBezTo>
                      <a:pt x="469" y="473"/>
                      <a:pt x="502" y="498"/>
                      <a:pt x="502" y="498"/>
                    </a:cubicBezTo>
                    <a:cubicBezTo>
                      <a:pt x="540" y="494"/>
                      <a:pt x="540" y="494"/>
                      <a:pt x="540" y="494"/>
                    </a:cubicBezTo>
                    <a:cubicBezTo>
                      <a:pt x="579" y="499"/>
                      <a:pt x="579" y="499"/>
                      <a:pt x="579" y="499"/>
                    </a:cubicBezTo>
                    <a:cubicBezTo>
                      <a:pt x="610" y="499"/>
                      <a:pt x="610" y="499"/>
                      <a:pt x="610" y="499"/>
                    </a:cubicBezTo>
                    <a:cubicBezTo>
                      <a:pt x="635" y="504"/>
                      <a:pt x="635" y="504"/>
                      <a:pt x="635" y="504"/>
                    </a:cubicBezTo>
                    <a:cubicBezTo>
                      <a:pt x="635" y="504"/>
                      <a:pt x="649" y="493"/>
                      <a:pt x="654" y="493"/>
                    </a:cubicBezTo>
                    <a:cubicBezTo>
                      <a:pt x="659" y="493"/>
                      <a:pt x="679" y="501"/>
                      <a:pt x="679" y="501"/>
                    </a:cubicBezTo>
                    <a:cubicBezTo>
                      <a:pt x="679" y="501"/>
                      <a:pt x="718" y="501"/>
                      <a:pt x="728" y="504"/>
                    </a:cubicBezTo>
                    <a:cubicBezTo>
                      <a:pt x="738" y="507"/>
                      <a:pt x="740" y="522"/>
                      <a:pt x="755" y="527"/>
                    </a:cubicBezTo>
                    <a:cubicBezTo>
                      <a:pt x="770" y="532"/>
                      <a:pt x="781" y="530"/>
                      <a:pt x="795" y="531"/>
                    </a:cubicBezTo>
                    <a:cubicBezTo>
                      <a:pt x="809" y="532"/>
                      <a:pt x="837" y="547"/>
                      <a:pt x="837" y="547"/>
                    </a:cubicBezTo>
                    <a:cubicBezTo>
                      <a:pt x="837" y="547"/>
                      <a:pt x="858" y="538"/>
                      <a:pt x="864" y="538"/>
                    </a:cubicBezTo>
                    <a:cubicBezTo>
                      <a:pt x="870" y="538"/>
                      <a:pt x="873" y="550"/>
                      <a:pt x="873" y="550"/>
                    </a:cubicBezTo>
                    <a:cubicBezTo>
                      <a:pt x="873" y="550"/>
                      <a:pt x="893" y="558"/>
                      <a:pt x="899" y="553"/>
                    </a:cubicBezTo>
                    <a:cubicBezTo>
                      <a:pt x="905" y="548"/>
                      <a:pt x="948" y="519"/>
                      <a:pt x="962" y="513"/>
                    </a:cubicBezTo>
                    <a:cubicBezTo>
                      <a:pt x="976" y="507"/>
                      <a:pt x="1066" y="510"/>
                      <a:pt x="1066" y="510"/>
                    </a:cubicBezTo>
                    <a:cubicBezTo>
                      <a:pt x="1078" y="497"/>
                      <a:pt x="1078" y="497"/>
                      <a:pt x="1078" y="497"/>
                    </a:cubicBezTo>
                    <a:cubicBezTo>
                      <a:pt x="1078" y="497"/>
                      <a:pt x="1095" y="499"/>
                      <a:pt x="1103" y="492"/>
                    </a:cubicBezTo>
                    <a:cubicBezTo>
                      <a:pt x="1111" y="485"/>
                      <a:pt x="1109" y="470"/>
                      <a:pt x="1112" y="463"/>
                    </a:cubicBezTo>
                    <a:cubicBezTo>
                      <a:pt x="1115" y="456"/>
                      <a:pt x="1125" y="459"/>
                      <a:pt x="1129" y="459"/>
                    </a:cubicBezTo>
                    <a:cubicBezTo>
                      <a:pt x="1133" y="459"/>
                      <a:pt x="1143" y="444"/>
                      <a:pt x="1144" y="439"/>
                    </a:cubicBezTo>
                    <a:cubicBezTo>
                      <a:pt x="1145" y="434"/>
                      <a:pt x="1114" y="411"/>
                      <a:pt x="1108" y="407"/>
                    </a:cubicBezTo>
                    <a:cubicBezTo>
                      <a:pt x="1102" y="403"/>
                      <a:pt x="1100" y="383"/>
                      <a:pt x="1106" y="373"/>
                    </a:cubicBezTo>
                    <a:cubicBezTo>
                      <a:pt x="1112" y="363"/>
                      <a:pt x="1130" y="369"/>
                      <a:pt x="1134" y="370"/>
                    </a:cubicBezTo>
                    <a:cubicBezTo>
                      <a:pt x="1138" y="371"/>
                      <a:pt x="1160" y="388"/>
                      <a:pt x="1160" y="388"/>
                    </a:cubicBezTo>
                    <a:cubicBezTo>
                      <a:pt x="1160" y="388"/>
                      <a:pt x="1187" y="387"/>
                      <a:pt x="1194" y="385"/>
                    </a:cubicBezTo>
                    <a:cubicBezTo>
                      <a:pt x="1201" y="383"/>
                      <a:pt x="1212" y="369"/>
                      <a:pt x="1212" y="369"/>
                    </a:cubicBezTo>
                    <a:cubicBezTo>
                      <a:pt x="1212" y="369"/>
                      <a:pt x="1210" y="353"/>
                      <a:pt x="1213" y="350"/>
                    </a:cubicBezTo>
                    <a:cubicBezTo>
                      <a:pt x="1216" y="347"/>
                      <a:pt x="1262" y="350"/>
                      <a:pt x="1262" y="350"/>
                    </a:cubicBezTo>
                    <a:cubicBezTo>
                      <a:pt x="1278" y="336"/>
                      <a:pt x="1278" y="336"/>
                      <a:pt x="1278" y="336"/>
                    </a:cubicBezTo>
                    <a:cubicBezTo>
                      <a:pt x="1278" y="336"/>
                      <a:pt x="1263" y="325"/>
                      <a:pt x="1270" y="314"/>
                    </a:cubicBezTo>
                    <a:cubicBezTo>
                      <a:pt x="1277" y="303"/>
                      <a:pt x="1302" y="302"/>
                      <a:pt x="1302" y="302"/>
                    </a:cubicBezTo>
                    <a:cubicBezTo>
                      <a:pt x="1302" y="291"/>
                      <a:pt x="1302" y="291"/>
                      <a:pt x="1302" y="291"/>
                    </a:cubicBezTo>
                    <a:cubicBezTo>
                      <a:pt x="1320" y="294"/>
                      <a:pt x="1320" y="294"/>
                      <a:pt x="1320" y="294"/>
                    </a:cubicBezTo>
                    <a:cubicBezTo>
                      <a:pt x="1326" y="291"/>
                      <a:pt x="1326" y="291"/>
                      <a:pt x="1326" y="291"/>
                    </a:cubicBezTo>
                    <a:cubicBezTo>
                      <a:pt x="1335" y="282"/>
                      <a:pt x="1335" y="282"/>
                      <a:pt x="1335" y="282"/>
                    </a:cubicBezTo>
                    <a:cubicBezTo>
                      <a:pt x="1335" y="282"/>
                      <a:pt x="1346" y="279"/>
                      <a:pt x="1355" y="279"/>
                    </a:cubicBezTo>
                    <a:cubicBezTo>
                      <a:pt x="1364" y="279"/>
                      <a:pt x="1372" y="288"/>
                      <a:pt x="1372" y="288"/>
                    </a:cubicBezTo>
                    <a:cubicBezTo>
                      <a:pt x="1372" y="288"/>
                      <a:pt x="1390" y="287"/>
                      <a:pt x="1398" y="286"/>
                    </a:cubicBezTo>
                    <a:cubicBezTo>
                      <a:pt x="1406" y="285"/>
                      <a:pt x="1403" y="279"/>
                      <a:pt x="1394" y="273"/>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88" name="Freeform 210">
                <a:extLst>
                  <a:ext uri="{FF2B5EF4-FFF2-40B4-BE49-F238E27FC236}">
                    <a16:creationId xmlns:a16="http://schemas.microsoft.com/office/drawing/2014/main" id="{55547C2D-7F4B-420B-907B-FD5A4D3A12FB}"/>
                  </a:ext>
                </a:extLst>
              </p:cNvPr>
              <p:cNvSpPr>
                <a:spLocks/>
              </p:cNvSpPr>
              <p:nvPr>
                <p:custDataLst>
                  <p:tags r:id="rId169"/>
                </p:custDataLst>
              </p:nvPr>
            </p:nvSpPr>
            <p:spPr bwMode="gray">
              <a:xfrm>
                <a:off x="5543519" y="3086111"/>
                <a:ext cx="187324" cy="79375"/>
              </a:xfrm>
              <a:custGeom>
                <a:avLst/>
                <a:gdLst>
                  <a:gd name="T0" fmla="*/ 4 w 308"/>
                  <a:gd name="T1" fmla="*/ 12 h 144"/>
                  <a:gd name="T2" fmla="*/ 52 w 308"/>
                  <a:gd name="T3" fmla="*/ 37 h 144"/>
                  <a:gd name="T4" fmla="*/ 75 w 308"/>
                  <a:gd name="T5" fmla="*/ 54 h 144"/>
                  <a:gd name="T6" fmla="*/ 79 w 308"/>
                  <a:gd name="T7" fmla="*/ 85 h 144"/>
                  <a:gd name="T8" fmla="*/ 92 w 308"/>
                  <a:gd name="T9" fmla="*/ 103 h 144"/>
                  <a:gd name="T10" fmla="*/ 85 w 308"/>
                  <a:gd name="T11" fmla="*/ 110 h 144"/>
                  <a:gd name="T12" fmla="*/ 111 w 308"/>
                  <a:gd name="T13" fmla="*/ 115 h 144"/>
                  <a:gd name="T14" fmla="*/ 131 w 308"/>
                  <a:gd name="T15" fmla="*/ 108 h 144"/>
                  <a:gd name="T16" fmla="*/ 147 w 308"/>
                  <a:gd name="T17" fmla="*/ 126 h 144"/>
                  <a:gd name="T18" fmla="*/ 164 w 308"/>
                  <a:gd name="T19" fmla="*/ 126 h 144"/>
                  <a:gd name="T20" fmla="*/ 166 w 308"/>
                  <a:gd name="T21" fmla="*/ 134 h 144"/>
                  <a:gd name="T22" fmla="*/ 183 w 308"/>
                  <a:gd name="T23" fmla="*/ 133 h 144"/>
                  <a:gd name="T24" fmla="*/ 188 w 308"/>
                  <a:gd name="T25" fmla="*/ 126 h 144"/>
                  <a:gd name="T26" fmla="*/ 221 w 308"/>
                  <a:gd name="T27" fmla="*/ 130 h 144"/>
                  <a:gd name="T28" fmla="*/ 227 w 308"/>
                  <a:gd name="T29" fmla="*/ 120 h 144"/>
                  <a:gd name="T30" fmla="*/ 235 w 308"/>
                  <a:gd name="T31" fmla="*/ 123 h 144"/>
                  <a:gd name="T32" fmla="*/ 235 w 308"/>
                  <a:gd name="T33" fmla="*/ 123 h 144"/>
                  <a:gd name="T34" fmla="*/ 250 w 308"/>
                  <a:gd name="T35" fmla="*/ 112 h 144"/>
                  <a:gd name="T36" fmla="*/ 261 w 308"/>
                  <a:gd name="T37" fmla="*/ 120 h 144"/>
                  <a:gd name="T38" fmla="*/ 275 w 308"/>
                  <a:gd name="T39" fmla="*/ 130 h 144"/>
                  <a:gd name="T40" fmla="*/ 289 w 308"/>
                  <a:gd name="T41" fmla="*/ 127 h 144"/>
                  <a:gd name="T42" fmla="*/ 306 w 308"/>
                  <a:gd name="T43" fmla="*/ 134 h 144"/>
                  <a:gd name="T44" fmla="*/ 287 w 308"/>
                  <a:gd name="T45" fmla="*/ 113 h 144"/>
                  <a:gd name="T46" fmla="*/ 278 w 308"/>
                  <a:gd name="T47" fmla="*/ 97 h 144"/>
                  <a:gd name="T48" fmla="*/ 286 w 308"/>
                  <a:gd name="T49" fmla="*/ 93 h 144"/>
                  <a:gd name="T50" fmla="*/ 251 w 308"/>
                  <a:gd name="T51" fmla="*/ 75 h 144"/>
                  <a:gd name="T52" fmla="*/ 256 w 308"/>
                  <a:gd name="T53" fmla="*/ 58 h 144"/>
                  <a:gd name="T54" fmla="*/ 236 w 308"/>
                  <a:gd name="T55" fmla="*/ 55 h 144"/>
                  <a:gd name="T56" fmla="*/ 208 w 308"/>
                  <a:gd name="T57" fmla="*/ 42 h 144"/>
                  <a:gd name="T58" fmla="*/ 179 w 308"/>
                  <a:gd name="T59" fmla="*/ 53 h 144"/>
                  <a:gd name="T60" fmla="*/ 160 w 308"/>
                  <a:gd name="T61" fmla="*/ 42 h 144"/>
                  <a:gd name="T62" fmla="*/ 128 w 308"/>
                  <a:gd name="T63" fmla="*/ 22 h 144"/>
                  <a:gd name="T64" fmla="*/ 95 w 308"/>
                  <a:gd name="T65" fmla="*/ 18 h 144"/>
                  <a:gd name="T66" fmla="*/ 54 w 308"/>
                  <a:gd name="T67" fmla="*/ 10 h 144"/>
                  <a:gd name="T68" fmla="*/ 13 w 308"/>
                  <a:gd name="T69" fmla="*/ 0 h 144"/>
                  <a:gd name="T70" fmla="*/ 0 w 308"/>
                  <a:gd name="T71" fmla="*/ 11 h 144"/>
                  <a:gd name="T72" fmla="*/ 4 w 308"/>
                  <a:gd name="T73"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8" h="144">
                    <a:moveTo>
                      <a:pt x="4" y="12"/>
                    </a:moveTo>
                    <a:cubicBezTo>
                      <a:pt x="4" y="12"/>
                      <a:pt x="44" y="34"/>
                      <a:pt x="52" y="37"/>
                    </a:cubicBezTo>
                    <a:cubicBezTo>
                      <a:pt x="60" y="40"/>
                      <a:pt x="75" y="54"/>
                      <a:pt x="75" y="54"/>
                    </a:cubicBezTo>
                    <a:cubicBezTo>
                      <a:pt x="75" y="54"/>
                      <a:pt x="79" y="82"/>
                      <a:pt x="79" y="85"/>
                    </a:cubicBezTo>
                    <a:cubicBezTo>
                      <a:pt x="79" y="88"/>
                      <a:pt x="92" y="103"/>
                      <a:pt x="92" y="103"/>
                    </a:cubicBezTo>
                    <a:cubicBezTo>
                      <a:pt x="92" y="103"/>
                      <a:pt x="90" y="105"/>
                      <a:pt x="85" y="110"/>
                    </a:cubicBezTo>
                    <a:cubicBezTo>
                      <a:pt x="111" y="115"/>
                      <a:pt x="111" y="115"/>
                      <a:pt x="111" y="115"/>
                    </a:cubicBezTo>
                    <a:cubicBezTo>
                      <a:pt x="111" y="115"/>
                      <a:pt x="117" y="105"/>
                      <a:pt x="131" y="108"/>
                    </a:cubicBezTo>
                    <a:cubicBezTo>
                      <a:pt x="145" y="111"/>
                      <a:pt x="147" y="126"/>
                      <a:pt x="147" y="126"/>
                    </a:cubicBezTo>
                    <a:cubicBezTo>
                      <a:pt x="164" y="126"/>
                      <a:pt x="164" y="126"/>
                      <a:pt x="164" y="126"/>
                    </a:cubicBezTo>
                    <a:cubicBezTo>
                      <a:pt x="164" y="126"/>
                      <a:pt x="165" y="129"/>
                      <a:pt x="166" y="134"/>
                    </a:cubicBezTo>
                    <a:cubicBezTo>
                      <a:pt x="183" y="133"/>
                      <a:pt x="183" y="133"/>
                      <a:pt x="183" y="133"/>
                    </a:cubicBezTo>
                    <a:cubicBezTo>
                      <a:pt x="188" y="126"/>
                      <a:pt x="188" y="126"/>
                      <a:pt x="188" y="126"/>
                    </a:cubicBezTo>
                    <a:cubicBezTo>
                      <a:pt x="221" y="130"/>
                      <a:pt x="221" y="130"/>
                      <a:pt x="221" y="130"/>
                    </a:cubicBezTo>
                    <a:cubicBezTo>
                      <a:pt x="221" y="130"/>
                      <a:pt x="224" y="120"/>
                      <a:pt x="227" y="120"/>
                    </a:cubicBezTo>
                    <a:cubicBezTo>
                      <a:pt x="228" y="120"/>
                      <a:pt x="232" y="121"/>
                      <a:pt x="235" y="123"/>
                    </a:cubicBezTo>
                    <a:cubicBezTo>
                      <a:pt x="235" y="123"/>
                      <a:pt x="235" y="123"/>
                      <a:pt x="235" y="123"/>
                    </a:cubicBezTo>
                    <a:cubicBezTo>
                      <a:pt x="236" y="119"/>
                      <a:pt x="240" y="111"/>
                      <a:pt x="250" y="112"/>
                    </a:cubicBezTo>
                    <a:cubicBezTo>
                      <a:pt x="263" y="113"/>
                      <a:pt x="261" y="120"/>
                      <a:pt x="261" y="120"/>
                    </a:cubicBezTo>
                    <a:cubicBezTo>
                      <a:pt x="275" y="130"/>
                      <a:pt x="275" y="130"/>
                      <a:pt x="275" y="130"/>
                    </a:cubicBezTo>
                    <a:cubicBezTo>
                      <a:pt x="275" y="130"/>
                      <a:pt x="286" y="127"/>
                      <a:pt x="289" y="127"/>
                    </a:cubicBezTo>
                    <a:cubicBezTo>
                      <a:pt x="292" y="127"/>
                      <a:pt x="304" y="144"/>
                      <a:pt x="306" y="134"/>
                    </a:cubicBezTo>
                    <a:cubicBezTo>
                      <a:pt x="308" y="124"/>
                      <a:pt x="287" y="113"/>
                      <a:pt x="287" y="113"/>
                    </a:cubicBezTo>
                    <a:cubicBezTo>
                      <a:pt x="287" y="113"/>
                      <a:pt x="272" y="102"/>
                      <a:pt x="278" y="97"/>
                    </a:cubicBezTo>
                    <a:cubicBezTo>
                      <a:pt x="280" y="95"/>
                      <a:pt x="283" y="94"/>
                      <a:pt x="286" y="93"/>
                    </a:cubicBezTo>
                    <a:cubicBezTo>
                      <a:pt x="279" y="86"/>
                      <a:pt x="268" y="76"/>
                      <a:pt x="251" y="75"/>
                    </a:cubicBezTo>
                    <a:cubicBezTo>
                      <a:pt x="251" y="76"/>
                      <a:pt x="256" y="58"/>
                      <a:pt x="256" y="58"/>
                    </a:cubicBezTo>
                    <a:cubicBezTo>
                      <a:pt x="236" y="55"/>
                      <a:pt x="236" y="55"/>
                      <a:pt x="236" y="55"/>
                    </a:cubicBezTo>
                    <a:cubicBezTo>
                      <a:pt x="236" y="55"/>
                      <a:pt x="226" y="40"/>
                      <a:pt x="208" y="42"/>
                    </a:cubicBezTo>
                    <a:cubicBezTo>
                      <a:pt x="190" y="44"/>
                      <a:pt x="198" y="53"/>
                      <a:pt x="179" y="53"/>
                    </a:cubicBezTo>
                    <a:cubicBezTo>
                      <a:pt x="160" y="53"/>
                      <a:pt x="160" y="42"/>
                      <a:pt x="160" y="42"/>
                    </a:cubicBezTo>
                    <a:cubicBezTo>
                      <a:pt x="128" y="22"/>
                      <a:pt x="128" y="22"/>
                      <a:pt x="128" y="22"/>
                    </a:cubicBezTo>
                    <a:cubicBezTo>
                      <a:pt x="128" y="22"/>
                      <a:pt x="108" y="17"/>
                      <a:pt x="95" y="18"/>
                    </a:cubicBezTo>
                    <a:cubicBezTo>
                      <a:pt x="82" y="19"/>
                      <a:pt x="70" y="17"/>
                      <a:pt x="54" y="10"/>
                    </a:cubicBezTo>
                    <a:cubicBezTo>
                      <a:pt x="38" y="3"/>
                      <a:pt x="13" y="0"/>
                      <a:pt x="13" y="0"/>
                    </a:cubicBezTo>
                    <a:cubicBezTo>
                      <a:pt x="0" y="11"/>
                      <a:pt x="0" y="11"/>
                      <a:pt x="0" y="11"/>
                    </a:cubicBezTo>
                    <a:cubicBezTo>
                      <a:pt x="3" y="12"/>
                      <a:pt x="4" y="12"/>
                      <a:pt x="4" y="12"/>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89" name="Freeform 211">
                <a:extLst>
                  <a:ext uri="{FF2B5EF4-FFF2-40B4-BE49-F238E27FC236}">
                    <a16:creationId xmlns:a16="http://schemas.microsoft.com/office/drawing/2014/main" id="{563AFE16-B926-4739-875D-E43FAD972A48}"/>
                  </a:ext>
                </a:extLst>
              </p:cNvPr>
              <p:cNvSpPr>
                <a:spLocks noEditPoints="1"/>
              </p:cNvSpPr>
              <p:nvPr>
                <p:custDataLst>
                  <p:tags r:id="rId170"/>
                </p:custDataLst>
              </p:nvPr>
            </p:nvSpPr>
            <p:spPr bwMode="gray">
              <a:xfrm>
                <a:off x="5686393" y="3135325"/>
                <a:ext cx="146049" cy="106362"/>
              </a:xfrm>
              <a:custGeom>
                <a:avLst/>
                <a:gdLst>
                  <a:gd name="T0" fmla="*/ 42 w 240"/>
                  <a:gd name="T1" fmla="*/ 125 h 194"/>
                  <a:gd name="T2" fmla="*/ 31 w 240"/>
                  <a:gd name="T3" fmla="*/ 127 h 194"/>
                  <a:gd name="T4" fmla="*/ 14 w 240"/>
                  <a:gd name="T5" fmla="*/ 116 h 194"/>
                  <a:gd name="T6" fmla="*/ 4 w 240"/>
                  <a:gd name="T7" fmla="*/ 119 h 194"/>
                  <a:gd name="T8" fmla="*/ 14 w 240"/>
                  <a:gd name="T9" fmla="*/ 141 h 194"/>
                  <a:gd name="T10" fmla="*/ 56 w 240"/>
                  <a:gd name="T11" fmla="*/ 163 h 194"/>
                  <a:gd name="T12" fmla="*/ 59 w 240"/>
                  <a:gd name="T13" fmla="*/ 163 h 194"/>
                  <a:gd name="T14" fmla="*/ 50 w 240"/>
                  <a:gd name="T15" fmla="*/ 141 h 194"/>
                  <a:gd name="T16" fmla="*/ 42 w 240"/>
                  <a:gd name="T17" fmla="*/ 125 h 194"/>
                  <a:gd name="T18" fmla="*/ 235 w 240"/>
                  <a:gd name="T19" fmla="*/ 75 h 194"/>
                  <a:gd name="T20" fmla="*/ 205 w 240"/>
                  <a:gd name="T21" fmla="*/ 74 h 194"/>
                  <a:gd name="T22" fmla="*/ 193 w 240"/>
                  <a:gd name="T23" fmla="*/ 56 h 194"/>
                  <a:gd name="T24" fmla="*/ 176 w 240"/>
                  <a:gd name="T25" fmla="*/ 38 h 194"/>
                  <a:gd name="T26" fmla="*/ 177 w 240"/>
                  <a:gd name="T27" fmla="*/ 29 h 194"/>
                  <a:gd name="T28" fmla="*/ 145 w 240"/>
                  <a:gd name="T29" fmla="*/ 2 h 194"/>
                  <a:gd name="T30" fmla="*/ 143 w 240"/>
                  <a:gd name="T31" fmla="*/ 20 h 194"/>
                  <a:gd name="T32" fmla="*/ 126 w 240"/>
                  <a:gd name="T33" fmla="*/ 24 h 194"/>
                  <a:gd name="T34" fmla="*/ 116 w 240"/>
                  <a:gd name="T35" fmla="*/ 38 h 194"/>
                  <a:gd name="T36" fmla="*/ 78 w 240"/>
                  <a:gd name="T37" fmla="*/ 9 h 194"/>
                  <a:gd name="T38" fmla="*/ 43 w 240"/>
                  <a:gd name="T39" fmla="*/ 7 h 194"/>
                  <a:gd name="T40" fmla="*/ 52 w 240"/>
                  <a:gd name="T41" fmla="*/ 23 h 194"/>
                  <a:gd name="T42" fmla="*/ 71 w 240"/>
                  <a:gd name="T43" fmla="*/ 44 h 194"/>
                  <a:gd name="T44" fmla="*/ 54 w 240"/>
                  <a:gd name="T45" fmla="*/ 37 h 194"/>
                  <a:gd name="T46" fmla="*/ 40 w 240"/>
                  <a:gd name="T47" fmla="*/ 40 h 194"/>
                  <a:gd name="T48" fmla="*/ 26 w 240"/>
                  <a:gd name="T49" fmla="*/ 30 h 194"/>
                  <a:gd name="T50" fmla="*/ 15 w 240"/>
                  <a:gd name="T51" fmla="*/ 22 h 194"/>
                  <a:gd name="T52" fmla="*/ 0 w 240"/>
                  <a:gd name="T53" fmla="*/ 33 h 194"/>
                  <a:gd name="T54" fmla="*/ 7 w 240"/>
                  <a:gd name="T55" fmla="*/ 37 h 194"/>
                  <a:gd name="T56" fmla="*/ 6 w 240"/>
                  <a:gd name="T57" fmla="*/ 46 h 194"/>
                  <a:gd name="T58" fmla="*/ 25 w 240"/>
                  <a:gd name="T59" fmla="*/ 54 h 194"/>
                  <a:gd name="T60" fmla="*/ 19 w 240"/>
                  <a:gd name="T61" fmla="*/ 69 h 194"/>
                  <a:gd name="T62" fmla="*/ 49 w 240"/>
                  <a:gd name="T63" fmla="*/ 91 h 194"/>
                  <a:gd name="T64" fmla="*/ 28 w 240"/>
                  <a:gd name="T65" fmla="*/ 100 h 194"/>
                  <a:gd name="T66" fmla="*/ 46 w 240"/>
                  <a:gd name="T67" fmla="*/ 108 h 194"/>
                  <a:gd name="T68" fmla="*/ 56 w 240"/>
                  <a:gd name="T69" fmla="*/ 122 h 194"/>
                  <a:gd name="T70" fmla="*/ 76 w 240"/>
                  <a:gd name="T71" fmla="*/ 124 h 194"/>
                  <a:gd name="T72" fmla="*/ 74 w 240"/>
                  <a:gd name="T73" fmla="*/ 134 h 194"/>
                  <a:gd name="T74" fmla="*/ 78 w 240"/>
                  <a:gd name="T75" fmla="*/ 141 h 194"/>
                  <a:gd name="T76" fmla="*/ 81 w 240"/>
                  <a:gd name="T77" fmla="*/ 162 h 194"/>
                  <a:gd name="T78" fmla="*/ 83 w 240"/>
                  <a:gd name="T79" fmla="*/ 162 h 194"/>
                  <a:gd name="T80" fmla="*/ 97 w 240"/>
                  <a:gd name="T81" fmla="*/ 146 h 194"/>
                  <a:gd name="T82" fmla="*/ 142 w 240"/>
                  <a:gd name="T83" fmla="*/ 115 h 194"/>
                  <a:gd name="T84" fmla="*/ 157 w 240"/>
                  <a:gd name="T85" fmla="*/ 133 h 194"/>
                  <a:gd name="T86" fmla="*/ 150 w 240"/>
                  <a:gd name="T87" fmla="*/ 144 h 194"/>
                  <a:gd name="T88" fmla="*/ 159 w 240"/>
                  <a:gd name="T89" fmla="*/ 157 h 194"/>
                  <a:gd name="T90" fmla="*/ 149 w 240"/>
                  <a:gd name="T91" fmla="*/ 164 h 194"/>
                  <a:gd name="T92" fmla="*/ 168 w 240"/>
                  <a:gd name="T93" fmla="*/ 180 h 194"/>
                  <a:gd name="T94" fmla="*/ 177 w 240"/>
                  <a:gd name="T95" fmla="*/ 189 h 194"/>
                  <a:gd name="T96" fmla="*/ 187 w 240"/>
                  <a:gd name="T97" fmla="*/ 191 h 194"/>
                  <a:gd name="T98" fmla="*/ 188 w 240"/>
                  <a:gd name="T99" fmla="*/ 194 h 194"/>
                  <a:gd name="T100" fmla="*/ 191 w 240"/>
                  <a:gd name="T101" fmla="*/ 174 h 194"/>
                  <a:gd name="T102" fmla="*/ 179 w 240"/>
                  <a:gd name="T103" fmla="*/ 165 h 194"/>
                  <a:gd name="T104" fmla="*/ 190 w 240"/>
                  <a:gd name="T105" fmla="*/ 161 h 194"/>
                  <a:gd name="T106" fmla="*/ 190 w 240"/>
                  <a:gd name="T107" fmla="*/ 142 h 194"/>
                  <a:gd name="T108" fmla="*/ 208 w 240"/>
                  <a:gd name="T109" fmla="*/ 147 h 194"/>
                  <a:gd name="T110" fmla="*/ 198 w 240"/>
                  <a:gd name="T111" fmla="*/ 129 h 194"/>
                  <a:gd name="T112" fmla="*/ 201 w 240"/>
                  <a:gd name="T113" fmla="*/ 116 h 194"/>
                  <a:gd name="T114" fmla="*/ 200 w 240"/>
                  <a:gd name="T115" fmla="*/ 93 h 194"/>
                  <a:gd name="T116" fmla="*/ 210 w 240"/>
                  <a:gd name="T117" fmla="*/ 95 h 194"/>
                  <a:gd name="T118" fmla="*/ 218 w 240"/>
                  <a:gd name="T119" fmla="*/ 86 h 194"/>
                  <a:gd name="T120" fmla="*/ 240 w 240"/>
                  <a:gd name="T121" fmla="*/ 88 h 194"/>
                  <a:gd name="T122" fmla="*/ 235 w 240"/>
                  <a:gd name="T12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0" h="194">
                    <a:moveTo>
                      <a:pt x="42" y="125"/>
                    </a:moveTo>
                    <a:cubicBezTo>
                      <a:pt x="33" y="124"/>
                      <a:pt x="31" y="127"/>
                      <a:pt x="31" y="127"/>
                    </a:cubicBezTo>
                    <a:cubicBezTo>
                      <a:pt x="31" y="127"/>
                      <a:pt x="21" y="126"/>
                      <a:pt x="14" y="116"/>
                    </a:cubicBezTo>
                    <a:cubicBezTo>
                      <a:pt x="13" y="116"/>
                      <a:pt x="6" y="118"/>
                      <a:pt x="4" y="119"/>
                    </a:cubicBezTo>
                    <a:cubicBezTo>
                      <a:pt x="6" y="125"/>
                      <a:pt x="7" y="135"/>
                      <a:pt x="14" y="141"/>
                    </a:cubicBezTo>
                    <a:cubicBezTo>
                      <a:pt x="24" y="149"/>
                      <a:pt x="41" y="163"/>
                      <a:pt x="56" y="163"/>
                    </a:cubicBezTo>
                    <a:cubicBezTo>
                      <a:pt x="57" y="163"/>
                      <a:pt x="58" y="163"/>
                      <a:pt x="59" y="163"/>
                    </a:cubicBezTo>
                    <a:cubicBezTo>
                      <a:pt x="57" y="156"/>
                      <a:pt x="52" y="144"/>
                      <a:pt x="50" y="141"/>
                    </a:cubicBezTo>
                    <a:cubicBezTo>
                      <a:pt x="47" y="137"/>
                      <a:pt x="51" y="126"/>
                      <a:pt x="42" y="125"/>
                    </a:cubicBezTo>
                    <a:close/>
                    <a:moveTo>
                      <a:pt x="235" y="75"/>
                    </a:moveTo>
                    <a:cubicBezTo>
                      <a:pt x="231" y="67"/>
                      <a:pt x="215" y="74"/>
                      <a:pt x="205" y="74"/>
                    </a:cubicBezTo>
                    <a:cubicBezTo>
                      <a:pt x="195" y="74"/>
                      <a:pt x="193" y="56"/>
                      <a:pt x="193" y="56"/>
                    </a:cubicBezTo>
                    <a:cubicBezTo>
                      <a:pt x="176" y="38"/>
                      <a:pt x="176" y="38"/>
                      <a:pt x="176" y="38"/>
                    </a:cubicBezTo>
                    <a:cubicBezTo>
                      <a:pt x="177" y="29"/>
                      <a:pt x="177" y="29"/>
                      <a:pt x="177" y="29"/>
                    </a:cubicBezTo>
                    <a:cubicBezTo>
                      <a:pt x="145" y="2"/>
                      <a:pt x="145" y="2"/>
                      <a:pt x="145" y="2"/>
                    </a:cubicBezTo>
                    <a:cubicBezTo>
                      <a:pt x="145" y="2"/>
                      <a:pt x="144" y="13"/>
                      <a:pt x="143" y="20"/>
                    </a:cubicBezTo>
                    <a:cubicBezTo>
                      <a:pt x="142" y="27"/>
                      <a:pt x="126" y="24"/>
                      <a:pt x="126" y="24"/>
                    </a:cubicBezTo>
                    <a:cubicBezTo>
                      <a:pt x="126" y="24"/>
                      <a:pt x="132" y="36"/>
                      <a:pt x="116" y="38"/>
                    </a:cubicBezTo>
                    <a:cubicBezTo>
                      <a:pt x="100" y="40"/>
                      <a:pt x="91" y="18"/>
                      <a:pt x="78" y="9"/>
                    </a:cubicBezTo>
                    <a:cubicBezTo>
                      <a:pt x="65" y="0"/>
                      <a:pt x="49" y="2"/>
                      <a:pt x="43" y="7"/>
                    </a:cubicBezTo>
                    <a:cubicBezTo>
                      <a:pt x="37" y="12"/>
                      <a:pt x="52" y="23"/>
                      <a:pt x="52" y="23"/>
                    </a:cubicBezTo>
                    <a:cubicBezTo>
                      <a:pt x="52" y="23"/>
                      <a:pt x="73" y="34"/>
                      <a:pt x="71" y="44"/>
                    </a:cubicBezTo>
                    <a:cubicBezTo>
                      <a:pt x="69" y="54"/>
                      <a:pt x="57" y="37"/>
                      <a:pt x="54" y="37"/>
                    </a:cubicBezTo>
                    <a:cubicBezTo>
                      <a:pt x="51" y="37"/>
                      <a:pt x="40" y="40"/>
                      <a:pt x="40" y="40"/>
                    </a:cubicBezTo>
                    <a:cubicBezTo>
                      <a:pt x="26" y="30"/>
                      <a:pt x="26" y="30"/>
                      <a:pt x="26" y="30"/>
                    </a:cubicBezTo>
                    <a:cubicBezTo>
                      <a:pt x="26" y="30"/>
                      <a:pt x="28" y="23"/>
                      <a:pt x="15" y="22"/>
                    </a:cubicBezTo>
                    <a:cubicBezTo>
                      <a:pt x="5" y="21"/>
                      <a:pt x="1" y="29"/>
                      <a:pt x="0" y="33"/>
                    </a:cubicBezTo>
                    <a:cubicBezTo>
                      <a:pt x="3" y="35"/>
                      <a:pt x="7" y="37"/>
                      <a:pt x="7" y="37"/>
                    </a:cubicBezTo>
                    <a:cubicBezTo>
                      <a:pt x="6" y="46"/>
                      <a:pt x="6" y="46"/>
                      <a:pt x="6" y="46"/>
                    </a:cubicBezTo>
                    <a:cubicBezTo>
                      <a:pt x="6" y="46"/>
                      <a:pt x="25" y="47"/>
                      <a:pt x="25" y="54"/>
                    </a:cubicBezTo>
                    <a:cubicBezTo>
                      <a:pt x="25" y="61"/>
                      <a:pt x="19" y="69"/>
                      <a:pt x="19" y="69"/>
                    </a:cubicBezTo>
                    <a:cubicBezTo>
                      <a:pt x="19" y="69"/>
                      <a:pt x="50" y="82"/>
                      <a:pt x="49" y="91"/>
                    </a:cubicBezTo>
                    <a:cubicBezTo>
                      <a:pt x="48" y="100"/>
                      <a:pt x="28" y="100"/>
                      <a:pt x="28" y="100"/>
                    </a:cubicBezTo>
                    <a:cubicBezTo>
                      <a:pt x="46" y="108"/>
                      <a:pt x="46" y="108"/>
                      <a:pt x="46" y="108"/>
                    </a:cubicBezTo>
                    <a:cubicBezTo>
                      <a:pt x="56" y="122"/>
                      <a:pt x="56" y="122"/>
                      <a:pt x="56" y="122"/>
                    </a:cubicBezTo>
                    <a:cubicBezTo>
                      <a:pt x="76" y="124"/>
                      <a:pt x="76" y="124"/>
                      <a:pt x="76" y="124"/>
                    </a:cubicBezTo>
                    <a:cubicBezTo>
                      <a:pt x="74" y="134"/>
                      <a:pt x="74" y="134"/>
                      <a:pt x="74" y="134"/>
                    </a:cubicBezTo>
                    <a:cubicBezTo>
                      <a:pt x="78" y="141"/>
                      <a:pt x="78" y="141"/>
                      <a:pt x="78" y="141"/>
                    </a:cubicBezTo>
                    <a:cubicBezTo>
                      <a:pt x="78" y="141"/>
                      <a:pt x="80" y="154"/>
                      <a:pt x="81" y="162"/>
                    </a:cubicBezTo>
                    <a:cubicBezTo>
                      <a:pt x="82" y="162"/>
                      <a:pt x="82" y="162"/>
                      <a:pt x="83" y="162"/>
                    </a:cubicBezTo>
                    <a:cubicBezTo>
                      <a:pt x="86" y="161"/>
                      <a:pt x="94" y="150"/>
                      <a:pt x="97" y="146"/>
                    </a:cubicBezTo>
                    <a:cubicBezTo>
                      <a:pt x="100" y="142"/>
                      <a:pt x="136" y="115"/>
                      <a:pt x="142" y="115"/>
                    </a:cubicBezTo>
                    <a:cubicBezTo>
                      <a:pt x="148" y="115"/>
                      <a:pt x="155" y="127"/>
                      <a:pt x="157" y="133"/>
                    </a:cubicBezTo>
                    <a:cubicBezTo>
                      <a:pt x="159" y="139"/>
                      <a:pt x="150" y="139"/>
                      <a:pt x="150" y="144"/>
                    </a:cubicBezTo>
                    <a:cubicBezTo>
                      <a:pt x="150" y="149"/>
                      <a:pt x="159" y="151"/>
                      <a:pt x="159" y="157"/>
                    </a:cubicBezTo>
                    <a:cubicBezTo>
                      <a:pt x="159" y="163"/>
                      <a:pt x="149" y="159"/>
                      <a:pt x="149" y="164"/>
                    </a:cubicBezTo>
                    <a:cubicBezTo>
                      <a:pt x="149" y="169"/>
                      <a:pt x="162" y="177"/>
                      <a:pt x="168" y="180"/>
                    </a:cubicBezTo>
                    <a:cubicBezTo>
                      <a:pt x="174" y="183"/>
                      <a:pt x="177" y="189"/>
                      <a:pt x="177" y="189"/>
                    </a:cubicBezTo>
                    <a:cubicBezTo>
                      <a:pt x="187" y="191"/>
                      <a:pt x="187" y="191"/>
                      <a:pt x="187" y="191"/>
                    </a:cubicBezTo>
                    <a:cubicBezTo>
                      <a:pt x="187" y="191"/>
                      <a:pt x="187" y="192"/>
                      <a:pt x="188" y="194"/>
                    </a:cubicBezTo>
                    <a:cubicBezTo>
                      <a:pt x="190" y="187"/>
                      <a:pt x="192" y="178"/>
                      <a:pt x="191" y="174"/>
                    </a:cubicBezTo>
                    <a:cubicBezTo>
                      <a:pt x="189" y="168"/>
                      <a:pt x="179" y="165"/>
                      <a:pt x="179" y="165"/>
                    </a:cubicBezTo>
                    <a:cubicBezTo>
                      <a:pt x="190" y="161"/>
                      <a:pt x="190" y="161"/>
                      <a:pt x="190" y="161"/>
                    </a:cubicBezTo>
                    <a:cubicBezTo>
                      <a:pt x="190" y="142"/>
                      <a:pt x="190" y="142"/>
                      <a:pt x="190" y="142"/>
                    </a:cubicBezTo>
                    <a:cubicBezTo>
                      <a:pt x="190" y="142"/>
                      <a:pt x="202" y="155"/>
                      <a:pt x="208" y="147"/>
                    </a:cubicBezTo>
                    <a:cubicBezTo>
                      <a:pt x="214" y="139"/>
                      <a:pt x="198" y="129"/>
                      <a:pt x="198" y="129"/>
                    </a:cubicBezTo>
                    <a:cubicBezTo>
                      <a:pt x="201" y="116"/>
                      <a:pt x="201" y="116"/>
                      <a:pt x="201" y="116"/>
                    </a:cubicBezTo>
                    <a:cubicBezTo>
                      <a:pt x="200" y="93"/>
                      <a:pt x="200" y="93"/>
                      <a:pt x="200" y="93"/>
                    </a:cubicBezTo>
                    <a:cubicBezTo>
                      <a:pt x="210" y="95"/>
                      <a:pt x="210" y="95"/>
                      <a:pt x="210" y="95"/>
                    </a:cubicBezTo>
                    <a:cubicBezTo>
                      <a:pt x="218" y="86"/>
                      <a:pt x="218" y="86"/>
                      <a:pt x="218" y="86"/>
                    </a:cubicBezTo>
                    <a:cubicBezTo>
                      <a:pt x="240" y="88"/>
                      <a:pt x="240" y="88"/>
                      <a:pt x="240" y="88"/>
                    </a:cubicBezTo>
                    <a:cubicBezTo>
                      <a:pt x="240" y="88"/>
                      <a:pt x="239" y="83"/>
                      <a:pt x="235" y="75"/>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90" name="Freeform 212">
                <a:extLst>
                  <a:ext uri="{FF2B5EF4-FFF2-40B4-BE49-F238E27FC236}">
                    <a16:creationId xmlns:a16="http://schemas.microsoft.com/office/drawing/2014/main" id="{04674595-BE8F-4512-B190-B75A26AE8E11}"/>
                  </a:ext>
                </a:extLst>
              </p:cNvPr>
              <p:cNvSpPr>
                <a:spLocks/>
              </p:cNvSpPr>
              <p:nvPr>
                <p:custDataLst>
                  <p:tags r:id="rId171"/>
                </p:custDataLst>
              </p:nvPr>
            </p:nvSpPr>
            <p:spPr bwMode="gray">
              <a:xfrm>
                <a:off x="5073622" y="2832110"/>
                <a:ext cx="452436" cy="230189"/>
              </a:xfrm>
              <a:custGeom>
                <a:avLst/>
                <a:gdLst>
                  <a:gd name="T0" fmla="*/ 51 w 750"/>
                  <a:gd name="T1" fmla="*/ 223 h 415"/>
                  <a:gd name="T2" fmla="*/ 79 w 750"/>
                  <a:gd name="T3" fmla="*/ 232 h 415"/>
                  <a:gd name="T4" fmla="*/ 132 w 750"/>
                  <a:gd name="T5" fmla="*/ 230 h 415"/>
                  <a:gd name="T6" fmla="*/ 166 w 750"/>
                  <a:gd name="T7" fmla="*/ 227 h 415"/>
                  <a:gd name="T8" fmla="*/ 209 w 750"/>
                  <a:gd name="T9" fmla="*/ 209 h 415"/>
                  <a:gd name="T10" fmla="*/ 243 w 750"/>
                  <a:gd name="T11" fmla="*/ 208 h 415"/>
                  <a:gd name="T12" fmla="*/ 274 w 750"/>
                  <a:gd name="T13" fmla="*/ 225 h 415"/>
                  <a:gd name="T14" fmla="*/ 296 w 750"/>
                  <a:gd name="T15" fmla="*/ 259 h 415"/>
                  <a:gd name="T16" fmla="*/ 311 w 750"/>
                  <a:gd name="T17" fmla="*/ 278 h 415"/>
                  <a:gd name="T18" fmla="*/ 317 w 750"/>
                  <a:gd name="T19" fmla="*/ 310 h 415"/>
                  <a:gd name="T20" fmla="*/ 304 w 750"/>
                  <a:gd name="T21" fmla="*/ 321 h 415"/>
                  <a:gd name="T22" fmla="*/ 283 w 750"/>
                  <a:gd name="T23" fmla="*/ 356 h 415"/>
                  <a:gd name="T24" fmla="*/ 281 w 750"/>
                  <a:gd name="T25" fmla="*/ 370 h 415"/>
                  <a:gd name="T26" fmla="*/ 323 w 750"/>
                  <a:gd name="T27" fmla="*/ 353 h 415"/>
                  <a:gd name="T28" fmla="*/ 391 w 750"/>
                  <a:gd name="T29" fmla="*/ 301 h 415"/>
                  <a:gd name="T30" fmla="*/ 436 w 750"/>
                  <a:gd name="T31" fmla="*/ 299 h 415"/>
                  <a:gd name="T32" fmla="*/ 420 w 750"/>
                  <a:gd name="T33" fmla="*/ 310 h 415"/>
                  <a:gd name="T34" fmla="*/ 488 w 750"/>
                  <a:gd name="T35" fmla="*/ 324 h 415"/>
                  <a:gd name="T36" fmla="*/ 499 w 750"/>
                  <a:gd name="T37" fmla="*/ 381 h 415"/>
                  <a:gd name="T38" fmla="*/ 542 w 750"/>
                  <a:gd name="T39" fmla="*/ 396 h 415"/>
                  <a:gd name="T40" fmla="*/ 591 w 750"/>
                  <a:gd name="T41" fmla="*/ 385 h 415"/>
                  <a:gd name="T42" fmla="*/ 622 w 750"/>
                  <a:gd name="T43" fmla="*/ 361 h 415"/>
                  <a:gd name="T44" fmla="*/ 553 w 750"/>
                  <a:gd name="T45" fmla="*/ 352 h 415"/>
                  <a:gd name="T46" fmla="*/ 503 w 750"/>
                  <a:gd name="T47" fmla="*/ 328 h 415"/>
                  <a:gd name="T48" fmla="*/ 537 w 750"/>
                  <a:gd name="T49" fmla="*/ 322 h 415"/>
                  <a:gd name="T50" fmla="*/ 588 w 750"/>
                  <a:gd name="T51" fmla="*/ 297 h 415"/>
                  <a:gd name="T52" fmla="*/ 679 w 750"/>
                  <a:gd name="T53" fmla="*/ 273 h 415"/>
                  <a:gd name="T54" fmla="*/ 703 w 750"/>
                  <a:gd name="T55" fmla="*/ 231 h 415"/>
                  <a:gd name="T56" fmla="*/ 727 w 750"/>
                  <a:gd name="T57" fmla="*/ 189 h 415"/>
                  <a:gd name="T58" fmla="*/ 742 w 750"/>
                  <a:gd name="T59" fmla="*/ 166 h 415"/>
                  <a:gd name="T60" fmla="*/ 709 w 750"/>
                  <a:gd name="T61" fmla="*/ 136 h 415"/>
                  <a:gd name="T62" fmla="*/ 662 w 750"/>
                  <a:gd name="T63" fmla="*/ 119 h 415"/>
                  <a:gd name="T64" fmla="*/ 620 w 750"/>
                  <a:gd name="T65" fmla="*/ 100 h 415"/>
                  <a:gd name="T66" fmla="*/ 578 w 750"/>
                  <a:gd name="T67" fmla="*/ 106 h 415"/>
                  <a:gd name="T68" fmla="*/ 540 w 750"/>
                  <a:gd name="T69" fmla="*/ 99 h 415"/>
                  <a:gd name="T70" fmla="*/ 482 w 750"/>
                  <a:gd name="T71" fmla="*/ 56 h 415"/>
                  <a:gd name="T72" fmla="*/ 486 w 750"/>
                  <a:gd name="T73" fmla="*/ 26 h 415"/>
                  <a:gd name="T74" fmla="*/ 431 w 750"/>
                  <a:gd name="T75" fmla="*/ 1 h 415"/>
                  <a:gd name="T76" fmla="*/ 398 w 750"/>
                  <a:gd name="T77" fmla="*/ 16 h 415"/>
                  <a:gd name="T78" fmla="*/ 327 w 750"/>
                  <a:gd name="T79" fmla="*/ 53 h 415"/>
                  <a:gd name="T80" fmla="*/ 273 w 750"/>
                  <a:gd name="T81" fmla="*/ 39 h 415"/>
                  <a:gd name="T82" fmla="*/ 247 w 750"/>
                  <a:gd name="T83" fmla="*/ 46 h 415"/>
                  <a:gd name="T84" fmla="*/ 224 w 750"/>
                  <a:gd name="T85" fmla="*/ 38 h 415"/>
                  <a:gd name="T86" fmla="*/ 202 w 750"/>
                  <a:gd name="T87" fmla="*/ 40 h 415"/>
                  <a:gd name="T88" fmla="*/ 157 w 750"/>
                  <a:gd name="T89" fmla="*/ 28 h 415"/>
                  <a:gd name="T90" fmla="*/ 103 w 750"/>
                  <a:gd name="T91" fmla="*/ 27 h 415"/>
                  <a:gd name="T92" fmla="*/ 47 w 750"/>
                  <a:gd name="T93" fmla="*/ 40 h 415"/>
                  <a:gd name="T94" fmla="*/ 75 w 750"/>
                  <a:gd name="T95" fmla="*/ 76 h 415"/>
                  <a:gd name="T96" fmla="*/ 58 w 750"/>
                  <a:gd name="T97" fmla="*/ 103 h 415"/>
                  <a:gd name="T98" fmla="*/ 30 w 750"/>
                  <a:gd name="T99" fmla="*/ 174 h 415"/>
                  <a:gd name="T100" fmla="*/ 1 w 750"/>
                  <a:gd name="T101" fmla="*/ 194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50" h="415">
                    <a:moveTo>
                      <a:pt x="16" y="215"/>
                    </a:moveTo>
                    <a:cubicBezTo>
                      <a:pt x="22" y="216"/>
                      <a:pt x="38" y="223"/>
                      <a:pt x="38" y="223"/>
                    </a:cubicBezTo>
                    <a:cubicBezTo>
                      <a:pt x="38" y="223"/>
                      <a:pt x="47" y="223"/>
                      <a:pt x="51" y="223"/>
                    </a:cubicBezTo>
                    <a:cubicBezTo>
                      <a:pt x="55" y="223"/>
                      <a:pt x="57" y="230"/>
                      <a:pt x="57" y="230"/>
                    </a:cubicBezTo>
                    <a:cubicBezTo>
                      <a:pt x="73" y="227"/>
                      <a:pt x="73" y="227"/>
                      <a:pt x="73" y="227"/>
                    </a:cubicBezTo>
                    <a:cubicBezTo>
                      <a:pt x="79" y="232"/>
                      <a:pt x="79" y="232"/>
                      <a:pt x="79" y="232"/>
                    </a:cubicBezTo>
                    <a:cubicBezTo>
                      <a:pt x="79" y="232"/>
                      <a:pt x="94" y="224"/>
                      <a:pt x="100" y="225"/>
                    </a:cubicBezTo>
                    <a:cubicBezTo>
                      <a:pt x="106" y="226"/>
                      <a:pt x="112" y="245"/>
                      <a:pt x="122" y="242"/>
                    </a:cubicBezTo>
                    <a:cubicBezTo>
                      <a:pt x="132" y="239"/>
                      <a:pt x="132" y="230"/>
                      <a:pt x="132" y="230"/>
                    </a:cubicBezTo>
                    <a:cubicBezTo>
                      <a:pt x="149" y="233"/>
                      <a:pt x="149" y="233"/>
                      <a:pt x="149" y="233"/>
                    </a:cubicBezTo>
                    <a:cubicBezTo>
                      <a:pt x="153" y="226"/>
                      <a:pt x="153" y="226"/>
                      <a:pt x="153" y="226"/>
                    </a:cubicBezTo>
                    <a:cubicBezTo>
                      <a:pt x="153" y="226"/>
                      <a:pt x="156" y="227"/>
                      <a:pt x="166" y="227"/>
                    </a:cubicBezTo>
                    <a:cubicBezTo>
                      <a:pt x="176" y="227"/>
                      <a:pt x="174" y="209"/>
                      <a:pt x="191" y="212"/>
                    </a:cubicBezTo>
                    <a:cubicBezTo>
                      <a:pt x="193" y="204"/>
                      <a:pt x="193" y="204"/>
                      <a:pt x="193" y="204"/>
                    </a:cubicBezTo>
                    <a:cubicBezTo>
                      <a:pt x="193" y="204"/>
                      <a:pt x="203" y="210"/>
                      <a:pt x="209" y="209"/>
                    </a:cubicBezTo>
                    <a:cubicBezTo>
                      <a:pt x="215" y="208"/>
                      <a:pt x="215" y="203"/>
                      <a:pt x="224" y="202"/>
                    </a:cubicBezTo>
                    <a:cubicBezTo>
                      <a:pt x="233" y="201"/>
                      <a:pt x="239" y="210"/>
                      <a:pt x="239" y="210"/>
                    </a:cubicBezTo>
                    <a:cubicBezTo>
                      <a:pt x="243" y="208"/>
                      <a:pt x="243" y="208"/>
                      <a:pt x="243" y="208"/>
                    </a:cubicBezTo>
                    <a:cubicBezTo>
                      <a:pt x="243" y="208"/>
                      <a:pt x="239" y="213"/>
                      <a:pt x="248" y="213"/>
                    </a:cubicBezTo>
                    <a:cubicBezTo>
                      <a:pt x="257" y="213"/>
                      <a:pt x="264" y="210"/>
                      <a:pt x="269" y="214"/>
                    </a:cubicBezTo>
                    <a:cubicBezTo>
                      <a:pt x="274" y="218"/>
                      <a:pt x="274" y="225"/>
                      <a:pt x="274" y="225"/>
                    </a:cubicBezTo>
                    <a:cubicBezTo>
                      <a:pt x="274" y="225"/>
                      <a:pt x="283" y="219"/>
                      <a:pt x="294" y="227"/>
                    </a:cubicBezTo>
                    <a:cubicBezTo>
                      <a:pt x="305" y="235"/>
                      <a:pt x="296" y="244"/>
                      <a:pt x="296" y="244"/>
                    </a:cubicBezTo>
                    <a:cubicBezTo>
                      <a:pt x="296" y="244"/>
                      <a:pt x="293" y="259"/>
                      <a:pt x="296" y="259"/>
                    </a:cubicBezTo>
                    <a:cubicBezTo>
                      <a:pt x="299" y="259"/>
                      <a:pt x="308" y="257"/>
                      <a:pt x="308" y="257"/>
                    </a:cubicBezTo>
                    <a:cubicBezTo>
                      <a:pt x="313" y="262"/>
                      <a:pt x="313" y="262"/>
                      <a:pt x="313" y="262"/>
                    </a:cubicBezTo>
                    <a:cubicBezTo>
                      <a:pt x="313" y="262"/>
                      <a:pt x="304" y="276"/>
                      <a:pt x="311" y="278"/>
                    </a:cubicBezTo>
                    <a:cubicBezTo>
                      <a:pt x="318" y="280"/>
                      <a:pt x="331" y="277"/>
                      <a:pt x="332" y="284"/>
                    </a:cubicBezTo>
                    <a:cubicBezTo>
                      <a:pt x="333" y="291"/>
                      <a:pt x="334" y="305"/>
                      <a:pt x="334" y="305"/>
                    </a:cubicBezTo>
                    <a:cubicBezTo>
                      <a:pt x="334" y="305"/>
                      <a:pt x="324" y="309"/>
                      <a:pt x="317" y="310"/>
                    </a:cubicBezTo>
                    <a:cubicBezTo>
                      <a:pt x="310" y="311"/>
                      <a:pt x="304" y="303"/>
                      <a:pt x="304" y="303"/>
                    </a:cubicBezTo>
                    <a:cubicBezTo>
                      <a:pt x="304" y="303"/>
                      <a:pt x="287" y="303"/>
                      <a:pt x="288" y="307"/>
                    </a:cubicBezTo>
                    <a:cubicBezTo>
                      <a:pt x="289" y="311"/>
                      <a:pt x="304" y="321"/>
                      <a:pt x="304" y="321"/>
                    </a:cubicBezTo>
                    <a:cubicBezTo>
                      <a:pt x="295" y="330"/>
                      <a:pt x="295" y="330"/>
                      <a:pt x="295" y="330"/>
                    </a:cubicBezTo>
                    <a:cubicBezTo>
                      <a:pt x="295" y="330"/>
                      <a:pt x="279" y="338"/>
                      <a:pt x="279" y="342"/>
                    </a:cubicBezTo>
                    <a:cubicBezTo>
                      <a:pt x="279" y="346"/>
                      <a:pt x="283" y="356"/>
                      <a:pt x="283" y="356"/>
                    </a:cubicBezTo>
                    <a:cubicBezTo>
                      <a:pt x="266" y="359"/>
                      <a:pt x="266" y="359"/>
                      <a:pt x="266" y="359"/>
                    </a:cubicBezTo>
                    <a:cubicBezTo>
                      <a:pt x="263" y="353"/>
                      <a:pt x="264" y="348"/>
                      <a:pt x="264" y="345"/>
                    </a:cubicBezTo>
                    <a:cubicBezTo>
                      <a:pt x="263" y="350"/>
                      <a:pt x="263" y="367"/>
                      <a:pt x="281" y="370"/>
                    </a:cubicBezTo>
                    <a:cubicBezTo>
                      <a:pt x="302" y="373"/>
                      <a:pt x="298" y="359"/>
                      <a:pt x="310" y="360"/>
                    </a:cubicBezTo>
                    <a:cubicBezTo>
                      <a:pt x="319" y="361"/>
                      <a:pt x="323" y="357"/>
                      <a:pt x="324" y="355"/>
                    </a:cubicBezTo>
                    <a:cubicBezTo>
                      <a:pt x="324" y="353"/>
                      <a:pt x="323" y="353"/>
                      <a:pt x="323" y="353"/>
                    </a:cubicBezTo>
                    <a:cubicBezTo>
                      <a:pt x="323" y="353"/>
                      <a:pt x="340" y="346"/>
                      <a:pt x="348" y="340"/>
                    </a:cubicBezTo>
                    <a:cubicBezTo>
                      <a:pt x="357" y="334"/>
                      <a:pt x="370" y="310"/>
                      <a:pt x="370" y="310"/>
                    </a:cubicBezTo>
                    <a:cubicBezTo>
                      <a:pt x="391" y="301"/>
                      <a:pt x="391" y="301"/>
                      <a:pt x="391" y="301"/>
                    </a:cubicBezTo>
                    <a:cubicBezTo>
                      <a:pt x="400" y="290"/>
                      <a:pt x="400" y="290"/>
                      <a:pt x="400" y="290"/>
                    </a:cubicBezTo>
                    <a:cubicBezTo>
                      <a:pt x="411" y="295"/>
                      <a:pt x="411" y="295"/>
                      <a:pt x="411" y="295"/>
                    </a:cubicBezTo>
                    <a:cubicBezTo>
                      <a:pt x="411" y="295"/>
                      <a:pt x="433" y="299"/>
                      <a:pt x="436" y="299"/>
                    </a:cubicBezTo>
                    <a:cubicBezTo>
                      <a:pt x="439" y="299"/>
                      <a:pt x="447" y="293"/>
                      <a:pt x="447" y="293"/>
                    </a:cubicBezTo>
                    <a:cubicBezTo>
                      <a:pt x="435" y="309"/>
                      <a:pt x="435" y="309"/>
                      <a:pt x="435" y="309"/>
                    </a:cubicBezTo>
                    <a:cubicBezTo>
                      <a:pt x="435" y="309"/>
                      <a:pt x="417" y="303"/>
                      <a:pt x="420" y="310"/>
                    </a:cubicBezTo>
                    <a:cubicBezTo>
                      <a:pt x="423" y="317"/>
                      <a:pt x="443" y="322"/>
                      <a:pt x="443" y="322"/>
                    </a:cubicBezTo>
                    <a:cubicBezTo>
                      <a:pt x="475" y="323"/>
                      <a:pt x="475" y="323"/>
                      <a:pt x="475" y="323"/>
                    </a:cubicBezTo>
                    <a:cubicBezTo>
                      <a:pt x="488" y="324"/>
                      <a:pt x="488" y="324"/>
                      <a:pt x="488" y="324"/>
                    </a:cubicBezTo>
                    <a:cubicBezTo>
                      <a:pt x="495" y="335"/>
                      <a:pt x="495" y="335"/>
                      <a:pt x="495" y="335"/>
                    </a:cubicBezTo>
                    <a:cubicBezTo>
                      <a:pt x="495" y="335"/>
                      <a:pt x="449" y="361"/>
                      <a:pt x="452" y="364"/>
                    </a:cubicBezTo>
                    <a:cubicBezTo>
                      <a:pt x="455" y="367"/>
                      <a:pt x="497" y="368"/>
                      <a:pt x="499" y="381"/>
                    </a:cubicBezTo>
                    <a:cubicBezTo>
                      <a:pt x="501" y="395"/>
                      <a:pt x="489" y="409"/>
                      <a:pt x="494" y="411"/>
                    </a:cubicBezTo>
                    <a:cubicBezTo>
                      <a:pt x="500" y="413"/>
                      <a:pt x="521" y="415"/>
                      <a:pt x="521" y="415"/>
                    </a:cubicBezTo>
                    <a:cubicBezTo>
                      <a:pt x="521" y="415"/>
                      <a:pt x="535" y="396"/>
                      <a:pt x="542" y="396"/>
                    </a:cubicBezTo>
                    <a:cubicBezTo>
                      <a:pt x="550" y="396"/>
                      <a:pt x="553" y="402"/>
                      <a:pt x="563" y="396"/>
                    </a:cubicBezTo>
                    <a:cubicBezTo>
                      <a:pt x="573" y="390"/>
                      <a:pt x="571" y="378"/>
                      <a:pt x="578" y="377"/>
                    </a:cubicBezTo>
                    <a:cubicBezTo>
                      <a:pt x="585" y="376"/>
                      <a:pt x="591" y="385"/>
                      <a:pt x="591" y="385"/>
                    </a:cubicBezTo>
                    <a:cubicBezTo>
                      <a:pt x="614" y="381"/>
                      <a:pt x="614" y="381"/>
                      <a:pt x="614" y="381"/>
                    </a:cubicBezTo>
                    <a:cubicBezTo>
                      <a:pt x="616" y="370"/>
                      <a:pt x="616" y="370"/>
                      <a:pt x="616" y="370"/>
                    </a:cubicBezTo>
                    <a:cubicBezTo>
                      <a:pt x="622" y="361"/>
                      <a:pt x="622" y="361"/>
                      <a:pt x="622" y="361"/>
                    </a:cubicBezTo>
                    <a:cubicBezTo>
                      <a:pt x="622" y="361"/>
                      <a:pt x="608" y="355"/>
                      <a:pt x="602" y="361"/>
                    </a:cubicBezTo>
                    <a:cubicBezTo>
                      <a:pt x="596" y="367"/>
                      <a:pt x="572" y="368"/>
                      <a:pt x="572" y="368"/>
                    </a:cubicBezTo>
                    <a:cubicBezTo>
                      <a:pt x="572" y="368"/>
                      <a:pt x="554" y="362"/>
                      <a:pt x="553" y="352"/>
                    </a:cubicBezTo>
                    <a:cubicBezTo>
                      <a:pt x="552" y="342"/>
                      <a:pt x="540" y="343"/>
                      <a:pt x="540" y="343"/>
                    </a:cubicBezTo>
                    <a:cubicBezTo>
                      <a:pt x="528" y="330"/>
                      <a:pt x="528" y="330"/>
                      <a:pt x="528" y="330"/>
                    </a:cubicBezTo>
                    <a:cubicBezTo>
                      <a:pt x="503" y="328"/>
                      <a:pt x="503" y="328"/>
                      <a:pt x="503" y="328"/>
                    </a:cubicBezTo>
                    <a:cubicBezTo>
                      <a:pt x="496" y="320"/>
                      <a:pt x="496" y="320"/>
                      <a:pt x="496" y="320"/>
                    </a:cubicBezTo>
                    <a:cubicBezTo>
                      <a:pt x="512" y="319"/>
                      <a:pt x="512" y="319"/>
                      <a:pt x="512" y="319"/>
                    </a:cubicBezTo>
                    <a:cubicBezTo>
                      <a:pt x="512" y="319"/>
                      <a:pt x="531" y="323"/>
                      <a:pt x="537" y="322"/>
                    </a:cubicBezTo>
                    <a:cubicBezTo>
                      <a:pt x="544" y="320"/>
                      <a:pt x="559" y="308"/>
                      <a:pt x="559" y="308"/>
                    </a:cubicBezTo>
                    <a:cubicBezTo>
                      <a:pt x="565" y="313"/>
                      <a:pt x="565" y="313"/>
                      <a:pt x="565" y="313"/>
                    </a:cubicBezTo>
                    <a:cubicBezTo>
                      <a:pt x="565" y="313"/>
                      <a:pt x="579" y="300"/>
                      <a:pt x="588" y="297"/>
                    </a:cubicBezTo>
                    <a:cubicBezTo>
                      <a:pt x="598" y="294"/>
                      <a:pt x="624" y="293"/>
                      <a:pt x="624" y="293"/>
                    </a:cubicBezTo>
                    <a:cubicBezTo>
                      <a:pt x="652" y="271"/>
                      <a:pt x="652" y="271"/>
                      <a:pt x="652" y="271"/>
                    </a:cubicBezTo>
                    <a:cubicBezTo>
                      <a:pt x="652" y="271"/>
                      <a:pt x="667" y="278"/>
                      <a:pt x="679" y="273"/>
                    </a:cubicBezTo>
                    <a:cubicBezTo>
                      <a:pt x="676" y="248"/>
                      <a:pt x="676" y="248"/>
                      <a:pt x="676" y="248"/>
                    </a:cubicBezTo>
                    <a:cubicBezTo>
                      <a:pt x="676" y="248"/>
                      <a:pt x="689" y="248"/>
                      <a:pt x="692" y="244"/>
                    </a:cubicBezTo>
                    <a:cubicBezTo>
                      <a:pt x="695" y="240"/>
                      <a:pt x="703" y="231"/>
                      <a:pt x="703" y="231"/>
                    </a:cubicBezTo>
                    <a:cubicBezTo>
                      <a:pt x="703" y="231"/>
                      <a:pt x="726" y="233"/>
                      <a:pt x="738" y="229"/>
                    </a:cubicBezTo>
                    <a:cubicBezTo>
                      <a:pt x="750" y="225"/>
                      <a:pt x="742" y="212"/>
                      <a:pt x="741" y="206"/>
                    </a:cubicBezTo>
                    <a:cubicBezTo>
                      <a:pt x="740" y="200"/>
                      <a:pt x="728" y="192"/>
                      <a:pt x="727" y="189"/>
                    </a:cubicBezTo>
                    <a:cubicBezTo>
                      <a:pt x="726" y="186"/>
                      <a:pt x="743" y="188"/>
                      <a:pt x="744" y="182"/>
                    </a:cubicBezTo>
                    <a:cubicBezTo>
                      <a:pt x="745" y="176"/>
                      <a:pt x="728" y="173"/>
                      <a:pt x="728" y="173"/>
                    </a:cubicBezTo>
                    <a:cubicBezTo>
                      <a:pt x="742" y="166"/>
                      <a:pt x="742" y="166"/>
                      <a:pt x="742" y="166"/>
                    </a:cubicBezTo>
                    <a:cubicBezTo>
                      <a:pt x="742" y="166"/>
                      <a:pt x="741" y="159"/>
                      <a:pt x="740" y="149"/>
                    </a:cubicBezTo>
                    <a:cubicBezTo>
                      <a:pt x="739" y="139"/>
                      <a:pt x="722" y="145"/>
                      <a:pt x="722" y="145"/>
                    </a:cubicBezTo>
                    <a:cubicBezTo>
                      <a:pt x="709" y="136"/>
                      <a:pt x="709" y="136"/>
                      <a:pt x="709" y="136"/>
                    </a:cubicBezTo>
                    <a:cubicBezTo>
                      <a:pt x="709" y="136"/>
                      <a:pt x="707" y="130"/>
                      <a:pt x="700" y="128"/>
                    </a:cubicBezTo>
                    <a:cubicBezTo>
                      <a:pt x="693" y="126"/>
                      <a:pt x="679" y="128"/>
                      <a:pt x="679" y="128"/>
                    </a:cubicBezTo>
                    <a:cubicBezTo>
                      <a:pt x="679" y="128"/>
                      <a:pt x="666" y="119"/>
                      <a:pt x="662" y="119"/>
                    </a:cubicBezTo>
                    <a:cubicBezTo>
                      <a:pt x="658" y="119"/>
                      <a:pt x="646" y="125"/>
                      <a:pt x="646" y="125"/>
                    </a:cubicBezTo>
                    <a:cubicBezTo>
                      <a:pt x="646" y="125"/>
                      <a:pt x="643" y="120"/>
                      <a:pt x="637" y="116"/>
                    </a:cubicBezTo>
                    <a:cubicBezTo>
                      <a:pt x="631" y="112"/>
                      <a:pt x="629" y="101"/>
                      <a:pt x="620" y="100"/>
                    </a:cubicBezTo>
                    <a:cubicBezTo>
                      <a:pt x="611" y="99"/>
                      <a:pt x="615" y="109"/>
                      <a:pt x="615" y="109"/>
                    </a:cubicBezTo>
                    <a:cubicBezTo>
                      <a:pt x="615" y="109"/>
                      <a:pt x="606" y="103"/>
                      <a:pt x="595" y="104"/>
                    </a:cubicBezTo>
                    <a:cubicBezTo>
                      <a:pt x="584" y="105"/>
                      <a:pt x="586" y="110"/>
                      <a:pt x="578" y="106"/>
                    </a:cubicBezTo>
                    <a:cubicBezTo>
                      <a:pt x="570" y="102"/>
                      <a:pt x="562" y="98"/>
                      <a:pt x="562" y="98"/>
                    </a:cubicBezTo>
                    <a:cubicBezTo>
                      <a:pt x="544" y="102"/>
                      <a:pt x="544" y="102"/>
                      <a:pt x="544" y="102"/>
                    </a:cubicBezTo>
                    <a:cubicBezTo>
                      <a:pt x="540" y="99"/>
                      <a:pt x="540" y="99"/>
                      <a:pt x="540" y="99"/>
                    </a:cubicBezTo>
                    <a:cubicBezTo>
                      <a:pt x="533" y="70"/>
                      <a:pt x="533" y="70"/>
                      <a:pt x="533" y="70"/>
                    </a:cubicBezTo>
                    <a:cubicBezTo>
                      <a:pt x="505" y="58"/>
                      <a:pt x="505" y="58"/>
                      <a:pt x="505" y="58"/>
                    </a:cubicBezTo>
                    <a:cubicBezTo>
                      <a:pt x="482" y="56"/>
                      <a:pt x="482" y="56"/>
                      <a:pt x="482" y="56"/>
                    </a:cubicBezTo>
                    <a:cubicBezTo>
                      <a:pt x="481" y="45"/>
                      <a:pt x="481" y="45"/>
                      <a:pt x="481" y="45"/>
                    </a:cubicBezTo>
                    <a:cubicBezTo>
                      <a:pt x="476" y="33"/>
                      <a:pt x="476" y="33"/>
                      <a:pt x="476" y="33"/>
                    </a:cubicBezTo>
                    <a:cubicBezTo>
                      <a:pt x="476" y="33"/>
                      <a:pt x="484" y="32"/>
                      <a:pt x="486" y="26"/>
                    </a:cubicBezTo>
                    <a:cubicBezTo>
                      <a:pt x="488" y="20"/>
                      <a:pt x="467" y="14"/>
                      <a:pt x="467" y="14"/>
                    </a:cubicBezTo>
                    <a:cubicBezTo>
                      <a:pt x="461" y="0"/>
                      <a:pt x="461" y="0"/>
                      <a:pt x="461" y="0"/>
                    </a:cubicBezTo>
                    <a:cubicBezTo>
                      <a:pt x="431" y="1"/>
                      <a:pt x="431" y="1"/>
                      <a:pt x="431" y="1"/>
                    </a:cubicBezTo>
                    <a:cubicBezTo>
                      <a:pt x="420" y="6"/>
                      <a:pt x="420" y="6"/>
                      <a:pt x="420" y="6"/>
                    </a:cubicBezTo>
                    <a:cubicBezTo>
                      <a:pt x="402" y="3"/>
                      <a:pt x="402" y="3"/>
                      <a:pt x="402" y="3"/>
                    </a:cubicBezTo>
                    <a:cubicBezTo>
                      <a:pt x="402" y="3"/>
                      <a:pt x="406" y="12"/>
                      <a:pt x="398" y="16"/>
                    </a:cubicBezTo>
                    <a:cubicBezTo>
                      <a:pt x="390" y="20"/>
                      <a:pt x="356" y="12"/>
                      <a:pt x="349" y="12"/>
                    </a:cubicBezTo>
                    <a:cubicBezTo>
                      <a:pt x="342" y="12"/>
                      <a:pt x="326" y="37"/>
                      <a:pt x="326" y="37"/>
                    </a:cubicBezTo>
                    <a:cubicBezTo>
                      <a:pt x="326" y="37"/>
                      <a:pt x="336" y="50"/>
                      <a:pt x="327" y="53"/>
                    </a:cubicBezTo>
                    <a:cubicBezTo>
                      <a:pt x="318" y="56"/>
                      <a:pt x="304" y="47"/>
                      <a:pt x="304" y="47"/>
                    </a:cubicBezTo>
                    <a:cubicBezTo>
                      <a:pt x="304" y="47"/>
                      <a:pt x="293" y="50"/>
                      <a:pt x="285" y="51"/>
                    </a:cubicBezTo>
                    <a:cubicBezTo>
                      <a:pt x="277" y="52"/>
                      <a:pt x="285" y="40"/>
                      <a:pt x="273" y="39"/>
                    </a:cubicBezTo>
                    <a:cubicBezTo>
                      <a:pt x="261" y="38"/>
                      <a:pt x="262" y="48"/>
                      <a:pt x="262" y="48"/>
                    </a:cubicBezTo>
                    <a:cubicBezTo>
                      <a:pt x="252" y="40"/>
                      <a:pt x="252" y="40"/>
                      <a:pt x="252" y="40"/>
                    </a:cubicBezTo>
                    <a:cubicBezTo>
                      <a:pt x="247" y="46"/>
                      <a:pt x="247" y="46"/>
                      <a:pt x="247" y="46"/>
                    </a:cubicBezTo>
                    <a:cubicBezTo>
                      <a:pt x="241" y="41"/>
                      <a:pt x="241" y="41"/>
                      <a:pt x="241" y="41"/>
                    </a:cubicBezTo>
                    <a:cubicBezTo>
                      <a:pt x="231" y="43"/>
                      <a:pt x="231" y="43"/>
                      <a:pt x="231" y="43"/>
                    </a:cubicBezTo>
                    <a:cubicBezTo>
                      <a:pt x="224" y="38"/>
                      <a:pt x="224" y="38"/>
                      <a:pt x="224" y="38"/>
                    </a:cubicBezTo>
                    <a:cubicBezTo>
                      <a:pt x="219" y="45"/>
                      <a:pt x="219" y="45"/>
                      <a:pt x="219" y="45"/>
                    </a:cubicBezTo>
                    <a:cubicBezTo>
                      <a:pt x="207" y="37"/>
                      <a:pt x="207" y="37"/>
                      <a:pt x="207" y="37"/>
                    </a:cubicBezTo>
                    <a:cubicBezTo>
                      <a:pt x="202" y="40"/>
                      <a:pt x="202" y="40"/>
                      <a:pt x="202" y="40"/>
                    </a:cubicBezTo>
                    <a:cubicBezTo>
                      <a:pt x="191" y="31"/>
                      <a:pt x="191" y="31"/>
                      <a:pt x="191" y="31"/>
                    </a:cubicBezTo>
                    <a:cubicBezTo>
                      <a:pt x="172" y="28"/>
                      <a:pt x="172" y="28"/>
                      <a:pt x="172" y="28"/>
                    </a:cubicBezTo>
                    <a:cubicBezTo>
                      <a:pt x="172" y="28"/>
                      <a:pt x="167" y="28"/>
                      <a:pt x="157" y="28"/>
                    </a:cubicBezTo>
                    <a:cubicBezTo>
                      <a:pt x="147" y="28"/>
                      <a:pt x="147" y="20"/>
                      <a:pt x="147" y="20"/>
                    </a:cubicBezTo>
                    <a:cubicBezTo>
                      <a:pt x="147" y="20"/>
                      <a:pt x="120" y="19"/>
                      <a:pt x="117" y="20"/>
                    </a:cubicBezTo>
                    <a:cubicBezTo>
                      <a:pt x="114" y="21"/>
                      <a:pt x="103" y="27"/>
                      <a:pt x="103" y="27"/>
                    </a:cubicBezTo>
                    <a:cubicBezTo>
                      <a:pt x="77" y="27"/>
                      <a:pt x="77" y="27"/>
                      <a:pt x="77" y="27"/>
                    </a:cubicBezTo>
                    <a:cubicBezTo>
                      <a:pt x="77" y="27"/>
                      <a:pt x="76" y="37"/>
                      <a:pt x="68" y="42"/>
                    </a:cubicBezTo>
                    <a:cubicBezTo>
                      <a:pt x="60" y="47"/>
                      <a:pt x="47" y="40"/>
                      <a:pt x="47" y="40"/>
                    </a:cubicBezTo>
                    <a:cubicBezTo>
                      <a:pt x="49" y="53"/>
                      <a:pt x="49" y="53"/>
                      <a:pt x="49" y="53"/>
                    </a:cubicBezTo>
                    <a:cubicBezTo>
                      <a:pt x="49" y="53"/>
                      <a:pt x="57" y="55"/>
                      <a:pt x="60" y="64"/>
                    </a:cubicBezTo>
                    <a:cubicBezTo>
                      <a:pt x="63" y="73"/>
                      <a:pt x="75" y="76"/>
                      <a:pt x="75" y="76"/>
                    </a:cubicBezTo>
                    <a:cubicBezTo>
                      <a:pt x="68" y="84"/>
                      <a:pt x="68" y="84"/>
                      <a:pt x="68" y="84"/>
                    </a:cubicBezTo>
                    <a:cubicBezTo>
                      <a:pt x="68" y="84"/>
                      <a:pt x="74" y="92"/>
                      <a:pt x="76" y="97"/>
                    </a:cubicBezTo>
                    <a:cubicBezTo>
                      <a:pt x="78" y="102"/>
                      <a:pt x="58" y="103"/>
                      <a:pt x="58" y="103"/>
                    </a:cubicBezTo>
                    <a:cubicBezTo>
                      <a:pt x="23" y="138"/>
                      <a:pt x="23" y="138"/>
                      <a:pt x="23" y="138"/>
                    </a:cubicBezTo>
                    <a:cubicBezTo>
                      <a:pt x="23" y="138"/>
                      <a:pt x="23" y="148"/>
                      <a:pt x="22" y="158"/>
                    </a:cubicBezTo>
                    <a:cubicBezTo>
                      <a:pt x="21" y="168"/>
                      <a:pt x="30" y="174"/>
                      <a:pt x="30" y="174"/>
                    </a:cubicBezTo>
                    <a:cubicBezTo>
                      <a:pt x="14" y="173"/>
                      <a:pt x="14" y="173"/>
                      <a:pt x="14" y="173"/>
                    </a:cubicBezTo>
                    <a:cubicBezTo>
                      <a:pt x="14" y="173"/>
                      <a:pt x="13" y="180"/>
                      <a:pt x="11" y="186"/>
                    </a:cubicBezTo>
                    <a:cubicBezTo>
                      <a:pt x="9" y="192"/>
                      <a:pt x="1" y="194"/>
                      <a:pt x="1" y="194"/>
                    </a:cubicBezTo>
                    <a:cubicBezTo>
                      <a:pt x="0" y="202"/>
                      <a:pt x="0" y="202"/>
                      <a:pt x="0" y="202"/>
                    </a:cubicBezTo>
                    <a:cubicBezTo>
                      <a:pt x="8" y="204"/>
                      <a:pt x="10" y="214"/>
                      <a:pt x="16" y="215"/>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91" name="Freeform 213">
                <a:extLst>
                  <a:ext uri="{FF2B5EF4-FFF2-40B4-BE49-F238E27FC236}">
                    <a16:creationId xmlns:a16="http://schemas.microsoft.com/office/drawing/2014/main" id="{BC73B25F-D31B-4B5D-9286-523DB6236CEB}"/>
                  </a:ext>
                </a:extLst>
              </p:cNvPr>
              <p:cNvSpPr>
                <a:spLocks noEditPoints="1"/>
              </p:cNvSpPr>
              <p:nvPr>
                <p:custDataLst>
                  <p:tags r:id="rId172"/>
                </p:custDataLst>
              </p:nvPr>
            </p:nvSpPr>
            <p:spPr bwMode="gray">
              <a:xfrm>
                <a:off x="8259717" y="2640023"/>
                <a:ext cx="122237" cy="439738"/>
              </a:xfrm>
              <a:custGeom>
                <a:avLst/>
                <a:gdLst>
                  <a:gd name="T0" fmla="*/ 0 w 199"/>
                  <a:gd name="T1" fmla="*/ 794 h 794"/>
                  <a:gd name="T2" fmla="*/ 9 w 199"/>
                  <a:gd name="T3" fmla="*/ 791 h 794"/>
                  <a:gd name="T4" fmla="*/ 25 w 199"/>
                  <a:gd name="T5" fmla="*/ 764 h 794"/>
                  <a:gd name="T6" fmla="*/ 12 w 199"/>
                  <a:gd name="T7" fmla="*/ 755 h 794"/>
                  <a:gd name="T8" fmla="*/ 0 w 199"/>
                  <a:gd name="T9" fmla="*/ 794 h 794"/>
                  <a:gd name="T10" fmla="*/ 76 w 199"/>
                  <a:gd name="T11" fmla="*/ 712 h 794"/>
                  <a:gd name="T12" fmla="*/ 49 w 199"/>
                  <a:gd name="T13" fmla="*/ 708 h 794"/>
                  <a:gd name="T14" fmla="*/ 36 w 199"/>
                  <a:gd name="T15" fmla="*/ 755 h 794"/>
                  <a:gd name="T16" fmla="*/ 43 w 199"/>
                  <a:gd name="T17" fmla="*/ 757 h 794"/>
                  <a:gd name="T18" fmla="*/ 55 w 199"/>
                  <a:gd name="T19" fmla="*/ 733 h 794"/>
                  <a:gd name="T20" fmla="*/ 88 w 199"/>
                  <a:gd name="T21" fmla="*/ 715 h 794"/>
                  <a:gd name="T22" fmla="*/ 79 w 199"/>
                  <a:gd name="T23" fmla="*/ 699 h 794"/>
                  <a:gd name="T24" fmla="*/ 76 w 199"/>
                  <a:gd name="T25" fmla="*/ 712 h 794"/>
                  <a:gd name="T26" fmla="*/ 128 w 199"/>
                  <a:gd name="T27" fmla="*/ 672 h 794"/>
                  <a:gd name="T28" fmla="*/ 117 w 199"/>
                  <a:gd name="T29" fmla="*/ 697 h 794"/>
                  <a:gd name="T30" fmla="*/ 128 w 199"/>
                  <a:gd name="T31" fmla="*/ 672 h 794"/>
                  <a:gd name="T32" fmla="*/ 189 w 199"/>
                  <a:gd name="T33" fmla="*/ 423 h 794"/>
                  <a:gd name="T34" fmla="*/ 177 w 199"/>
                  <a:gd name="T35" fmla="*/ 434 h 794"/>
                  <a:gd name="T36" fmla="*/ 185 w 199"/>
                  <a:gd name="T37" fmla="*/ 449 h 794"/>
                  <a:gd name="T38" fmla="*/ 173 w 199"/>
                  <a:gd name="T39" fmla="*/ 449 h 794"/>
                  <a:gd name="T40" fmla="*/ 173 w 199"/>
                  <a:gd name="T41" fmla="*/ 469 h 794"/>
                  <a:gd name="T42" fmla="*/ 189 w 199"/>
                  <a:gd name="T43" fmla="*/ 467 h 794"/>
                  <a:gd name="T44" fmla="*/ 198 w 199"/>
                  <a:gd name="T45" fmla="*/ 456 h 794"/>
                  <a:gd name="T46" fmla="*/ 189 w 199"/>
                  <a:gd name="T47" fmla="*/ 437 h 794"/>
                  <a:gd name="T48" fmla="*/ 199 w 199"/>
                  <a:gd name="T49" fmla="*/ 435 h 794"/>
                  <a:gd name="T50" fmla="*/ 189 w 199"/>
                  <a:gd name="T51" fmla="*/ 423 h 794"/>
                  <a:gd name="T52" fmla="*/ 184 w 199"/>
                  <a:gd name="T53" fmla="*/ 513 h 794"/>
                  <a:gd name="T54" fmla="*/ 195 w 199"/>
                  <a:gd name="T55" fmla="*/ 499 h 794"/>
                  <a:gd name="T56" fmla="*/ 178 w 199"/>
                  <a:gd name="T57" fmla="*/ 485 h 794"/>
                  <a:gd name="T58" fmla="*/ 184 w 199"/>
                  <a:gd name="T59" fmla="*/ 513 h 794"/>
                  <a:gd name="T60" fmla="*/ 170 w 199"/>
                  <a:gd name="T61" fmla="*/ 636 h 794"/>
                  <a:gd name="T62" fmla="*/ 171 w 199"/>
                  <a:gd name="T63" fmla="*/ 615 h 794"/>
                  <a:gd name="T64" fmla="*/ 162 w 199"/>
                  <a:gd name="T65" fmla="*/ 632 h 794"/>
                  <a:gd name="T66" fmla="*/ 170 w 199"/>
                  <a:gd name="T67" fmla="*/ 636 h 794"/>
                  <a:gd name="T68" fmla="*/ 169 w 199"/>
                  <a:gd name="T69" fmla="*/ 573 h 794"/>
                  <a:gd name="T70" fmla="*/ 181 w 199"/>
                  <a:gd name="T71" fmla="*/ 571 h 794"/>
                  <a:gd name="T72" fmla="*/ 169 w 199"/>
                  <a:gd name="T73" fmla="*/ 559 h 794"/>
                  <a:gd name="T74" fmla="*/ 169 w 199"/>
                  <a:gd name="T75" fmla="*/ 573 h 794"/>
                  <a:gd name="T76" fmla="*/ 82 w 199"/>
                  <a:gd name="T77" fmla="*/ 14 h 794"/>
                  <a:gd name="T78" fmla="*/ 94 w 199"/>
                  <a:gd name="T79" fmla="*/ 38 h 794"/>
                  <a:gd name="T80" fmla="*/ 114 w 199"/>
                  <a:gd name="T81" fmla="*/ 14 h 794"/>
                  <a:gd name="T82" fmla="*/ 106 w 199"/>
                  <a:gd name="T83" fmla="*/ 0 h 794"/>
                  <a:gd name="T84" fmla="*/ 82 w 199"/>
                  <a:gd name="T85" fmla="*/ 14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9" h="794">
                    <a:moveTo>
                      <a:pt x="0" y="794"/>
                    </a:moveTo>
                    <a:cubicBezTo>
                      <a:pt x="9" y="791"/>
                      <a:pt x="9" y="791"/>
                      <a:pt x="9" y="791"/>
                    </a:cubicBezTo>
                    <a:cubicBezTo>
                      <a:pt x="25" y="764"/>
                      <a:pt x="25" y="764"/>
                      <a:pt x="25" y="764"/>
                    </a:cubicBezTo>
                    <a:cubicBezTo>
                      <a:pt x="12" y="755"/>
                      <a:pt x="12" y="755"/>
                      <a:pt x="12" y="755"/>
                    </a:cubicBezTo>
                    <a:lnTo>
                      <a:pt x="0" y="794"/>
                    </a:lnTo>
                    <a:close/>
                    <a:moveTo>
                      <a:pt x="76" y="712"/>
                    </a:moveTo>
                    <a:cubicBezTo>
                      <a:pt x="49" y="708"/>
                      <a:pt x="49" y="708"/>
                      <a:pt x="49" y="708"/>
                    </a:cubicBezTo>
                    <a:cubicBezTo>
                      <a:pt x="36" y="755"/>
                      <a:pt x="36" y="755"/>
                      <a:pt x="36" y="755"/>
                    </a:cubicBezTo>
                    <a:cubicBezTo>
                      <a:pt x="43" y="757"/>
                      <a:pt x="43" y="757"/>
                      <a:pt x="43" y="757"/>
                    </a:cubicBezTo>
                    <a:cubicBezTo>
                      <a:pt x="55" y="733"/>
                      <a:pt x="55" y="733"/>
                      <a:pt x="55" y="733"/>
                    </a:cubicBezTo>
                    <a:cubicBezTo>
                      <a:pt x="88" y="715"/>
                      <a:pt x="88" y="715"/>
                      <a:pt x="88" y="715"/>
                    </a:cubicBezTo>
                    <a:cubicBezTo>
                      <a:pt x="79" y="699"/>
                      <a:pt x="79" y="699"/>
                      <a:pt x="79" y="699"/>
                    </a:cubicBezTo>
                    <a:lnTo>
                      <a:pt x="76" y="712"/>
                    </a:lnTo>
                    <a:close/>
                    <a:moveTo>
                      <a:pt x="128" y="672"/>
                    </a:moveTo>
                    <a:cubicBezTo>
                      <a:pt x="119" y="670"/>
                      <a:pt x="109" y="694"/>
                      <a:pt x="117" y="697"/>
                    </a:cubicBezTo>
                    <a:cubicBezTo>
                      <a:pt x="128" y="701"/>
                      <a:pt x="138" y="675"/>
                      <a:pt x="128" y="672"/>
                    </a:cubicBezTo>
                    <a:close/>
                    <a:moveTo>
                      <a:pt x="189" y="423"/>
                    </a:moveTo>
                    <a:cubicBezTo>
                      <a:pt x="177" y="434"/>
                      <a:pt x="177" y="434"/>
                      <a:pt x="177" y="434"/>
                    </a:cubicBezTo>
                    <a:cubicBezTo>
                      <a:pt x="185" y="449"/>
                      <a:pt x="185" y="449"/>
                      <a:pt x="185" y="449"/>
                    </a:cubicBezTo>
                    <a:cubicBezTo>
                      <a:pt x="173" y="449"/>
                      <a:pt x="173" y="449"/>
                      <a:pt x="173" y="449"/>
                    </a:cubicBezTo>
                    <a:cubicBezTo>
                      <a:pt x="173" y="469"/>
                      <a:pt x="173" y="469"/>
                      <a:pt x="173" y="469"/>
                    </a:cubicBezTo>
                    <a:cubicBezTo>
                      <a:pt x="189" y="467"/>
                      <a:pt x="189" y="467"/>
                      <a:pt x="189" y="467"/>
                    </a:cubicBezTo>
                    <a:cubicBezTo>
                      <a:pt x="198" y="456"/>
                      <a:pt x="198" y="456"/>
                      <a:pt x="198" y="456"/>
                    </a:cubicBezTo>
                    <a:cubicBezTo>
                      <a:pt x="189" y="437"/>
                      <a:pt x="189" y="437"/>
                      <a:pt x="189" y="437"/>
                    </a:cubicBezTo>
                    <a:cubicBezTo>
                      <a:pt x="199" y="435"/>
                      <a:pt x="199" y="435"/>
                      <a:pt x="199" y="435"/>
                    </a:cubicBezTo>
                    <a:lnTo>
                      <a:pt x="189" y="423"/>
                    </a:lnTo>
                    <a:close/>
                    <a:moveTo>
                      <a:pt x="184" y="513"/>
                    </a:moveTo>
                    <a:cubicBezTo>
                      <a:pt x="195" y="499"/>
                      <a:pt x="195" y="499"/>
                      <a:pt x="195" y="499"/>
                    </a:cubicBezTo>
                    <a:cubicBezTo>
                      <a:pt x="178" y="485"/>
                      <a:pt x="178" y="485"/>
                      <a:pt x="178" y="485"/>
                    </a:cubicBezTo>
                    <a:lnTo>
                      <a:pt x="184" y="513"/>
                    </a:lnTo>
                    <a:close/>
                    <a:moveTo>
                      <a:pt x="170" y="636"/>
                    </a:moveTo>
                    <a:cubicBezTo>
                      <a:pt x="171" y="615"/>
                      <a:pt x="171" y="615"/>
                      <a:pt x="171" y="615"/>
                    </a:cubicBezTo>
                    <a:cubicBezTo>
                      <a:pt x="162" y="632"/>
                      <a:pt x="162" y="632"/>
                      <a:pt x="162" y="632"/>
                    </a:cubicBezTo>
                    <a:lnTo>
                      <a:pt x="170" y="636"/>
                    </a:lnTo>
                    <a:close/>
                    <a:moveTo>
                      <a:pt x="169" y="573"/>
                    </a:moveTo>
                    <a:cubicBezTo>
                      <a:pt x="181" y="571"/>
                      <a:pt x="181" y="571"/>
                      <a:pt x="181" y="571"/>
                    </a:cubicBezTo>
                    <a:cubicBezTo>
                      <a:pt x="169" y="559"/>
                      <a:pt x="169" y="559"/>
                      <a:pt x="169" y="559"/>
                    </a:cubicBezTo>
                    <a:lnTo>
                      <a:pt x="169" y="573"/>
                    </a:lnTo>
                    <a:close/>
                    <a:moveTo>
                      <a:pt x="82" y="14"/>
                    </a:moveTo>
                    <a:cubicBezTo>
                      <a:pt x="94" y="38"/>
                      <a:pt x="94" y="38"/>
                      <a:pt x="94" y="38"/>
                    </a:cubicBezTo>
                    <a:cubicBezTo>
                      <a:pt x="114" y="14"/>
                      <a:pt x="114" y="14"/>
                      <a:pt x="114" y="14"/>
                    </a:cubicBezTo>
                    <a:cubicBezTo>
                      <a:pt x="106" y="0"/>
                      <a:pt x="106" y="0"/>
                      <a:pt x="106" y="0"/>
                    </a:cubicBezTo>
                    <a:lnTo>
                      <a:pt x="82" y="14"/>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92" name="Freeform 214">
                <a:extLst>
                  <a:ext uri="{FF2B5EF4-FFF2-40B4-BE49-F238E27FC236}">
                    <a16:creationId xmlns:a16="http://schemas.microsoft.com/office/drawing/2014/main" id="{E423B70F-29A8-4A07-982B-67760AA68727}"/>
                  </a:ext>
                </a:extLst>
              </p:cNvPr>
              <p:cNvSpPr>
                <a:spLocks noEditPoints="1"/>
              </p:cNvSpPr>
              <p:nvPr>
                <p:custDataLst>
                  <p:tags r:id="rId173"/>
                </p:custDataLst>
              </p:nvPr>
            </p:nvSpPr>
            <p:spPr bwMode="gray">
              <a:xfrm>
                <a:off x="7618370" y="3863990"/>
                <a:ext cx="47625" cy="28575"/>
              </a:xfrm>
              <a:custGeom>
                <a:avLst/>
                <a:gdLst>
                  <a:gd name="T0" fmla="*/ 16 w 76"/>
                  <a:gd name="T1" fmla="*/ 34 h 52"/>
                  <a:gd name="T2" fmla="*/ 11 w 76"/>
                  <a:gd name="T3" fmla="*/ 52 h 52"/>
                  <a:gd name="T4" fmla="*/ 16 w 76"/>
                  <a:gd name="T5" fmla="*/ 34 h 52"/>
                  <a:gd name="T6" fmla="*/ 35 w 76"/>
                  <a:gd name="T7" fmla="*/ 8 h 52"/>
                  <a:gd name="T8" fmla="*/ 47 w 76"/>
                  <a:gd name="T9" fmla="*/ 26 h 52"/>
                  <a:gd name="T10" fmla="*/ 58 w 76"/>
                  <a:gd name="T11" fmla="*/ 21 h 52"/>
                  <a:gd name="T12" fmla="*/ 35 w 76"/>
                  <a:gd name="T13" fmla="*/ 8 h 52"/>
                  <a:gd name="T14" fmla="*/ 71 w 76"/>
                  <a:gd name="T15" fmla="*/ 32 h 52"/>
                  <a:gd name="T16" fmla="*/ 58 w 76"/>
                  <a:gd name="T17" fmla="*/ 42 h 52"/>
                  <a:gd name="T18" fmla="*/ 71 w 76"/>
                  <a:gd name="T19"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52">
                    <a:moveTo>
                      <a:pt x="16" y="34"/>
                    </a:moveTo>
                    <a:cubicBezTo>
                      <a:pt x="0" y="34"/>
                      <a:pt x="11" y="52"/>
                      <a:pt x="11" y="52"/>
                    </a:cubicBezTo>
                    <a:cubicBezTo>
                      <a:pt x="23" y="52"/>
                      <a:pt x="32" y="34"/>
                      <a:pt x="16" y="34"/>
                    </a:cubicBezTo>
                    <a:close/>
                    <a:moveTo>
                      <a:pt x="35" y="8"/>
                    </a:moveTo>
                    <a:cubicBezTo>
                      <a:pt x="28" y="16"/>
                      <a:pt x="47" y="26"/>
                      <a:pt x="47" y="26"/>
                    </a:cubicBezTo>
                    <a:cubicBezTo>
                      <a:pt x="58" y="21"/>
                      <a:pt x="58" y="21"/>
                      <a:pt x="58" y="21"/>
                    </a:cubicBezTo>
                    <a:cubicBezTo>
                      <a:pt x="58" y="21"/>
                      <a:pt x="41" y="0"/>
                      <a:pt x="35" y="8"/>
                    </a:cubicBezTo>
                    <a:close/>
                    <a:moveTo>
                      <a:pt x="71" y="32"/>
                    </a:moveTo>
                    <a:cubicBezTo>
                      <a:pt x="66" y="26"/>
                      <a:pt x="51" y="38"/>
                      <a:pt x="58" y="42"/>
                    </a:cubicBezTo>
                    <a:cubicBezTo>
                      <a:pt x="68" y="48"/>
                      <a:pt x="76" y="37"/>
                      <a:pt x="71" y="32"/>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93" name="Freeform 215">
                <a:extLst>
                  <a:ext uri="{FF2B5EF4-FFF2-40B4-BE49-F238E27FC236}">
                    <a16:creationId xmlns:a16="http://schemas.microsoft.com/office/drawing/2014/main" id="{2DF7259F-DE0B-41D5-AFC3-DAFA85CE2E62}"/>
                  </a:ext>
                </a:extLst>
              </p:cNvPr>
              <p:cNvSpPr>
                <a:spLocks noEditPoints="1"/>
              </p:cNvSpPr>
              <p:nvPr>
                <p:custDataLst>
                  <p:tags r:id="rId174"/>
                </p:custDataLst>
              </p:nvPr>
            </p:nvSpPr>
            <p:spPr bwMode="gray">
              <a:xfrm>
                <a:off x="7926343" y="3024199"/>
                <a:ext cx="357185" cy="639764"/>
              </a:xfrm>
              <a:custGeom>
                <a:avLst/>
                <a:gdLst>
                  <a:gd name="T0" fmla="*/ 529 w 591"/>
                  <a:gd name="T1" fmla="*/ 401 h 1153"/>
                  <a:gd name="T2" fmla="*/ 547 w 591"/>
                  <a:gd name="T3" fmla="*/ 349 h 1153"/>
                  <a:gd name="T4" fmla="*/ 492 w 591"/>
                  <a:gd name="T5" fmla="*/ 276 h 1153"/>
                  <a:gd name="T6" fmla="*/ 448 w 591"/>
                  <a:gd name="T7" fmla="*/ 241 h 1153"/>
                  <a:gd name="T8" fmla="*/ 441 w 591"/>
                  <a:gd name="T9" fmla="*/ 258 h 1153"/>
                  <a:gd name="T10" fmla="*/ 418 w 591"/>
                  <a:gd name="T11" fmla="*/ 264 h 1153"/>
                  <a:gd name="T12" fmla="*/ 456 w 591"/>
                  <a:gd name="T13" fmla="*/ 373 h 1153"/>
                  <a:gd name="T14" fmla="*/ 443 w 591"/>
                  <a:gd name="T15" fmla="*/ 450 h 1153"/>
                  <a:gd name="T16" fmla="*/ 383 w 591"/>
                  <a:gd name="T17" fmla="*/ 448 h 1153"/>
                  <a:gd name="T18" fmla="*/ 367 w 591"/>
                  <a:gd name="T19" fmla="*/ 514 h 1153"/>
                  <a:gd name="T20" fmla="*/ 259 w 591"/>
                  <a:gd name="T21" fmla="*/ 546 h 1153"/>
                  <a:gd name="T22" fmla="*/ 179 w 591"/>
                  <a:gd name="T23" fmla="*/ 601 h 1153"/>
                  <a:gd name="T24" fmla="*/ 241 w 591"/>
                  <a:gd name="T25" fmla="*/ 607 h 1153"/>
                  <a:gd name="T26" fmla="*/ 331 w 591"/>
                  <a:gd name="T27" fmla="*/ 584 h 1153"/>
                  <a:gd name="T28" fmla="*/ 407 w 591"/>
                  <a:gd name="T29" fmla="*/ 654 h 1153"/>
                  <a:gd name="T30" fmla="*/ 415 w 591"/>
                  <a:gd name="T31" fmla="*/ 583 h 1153"/>
                  <a:gd name="T32" fmla="*/ 464 w 591"/>
                  <a:gd name="T33" fmla="*/ 585 h 1153"/>
                  <a:gd name="T34" fmla="*/ 528 w 591"/>
                  <a:gd name="T35" fmla="*/ 556 h 1153"/>
                  <a:gd name="T36" fmla="*/ 578 w 591"/>
                  <a:gd name="T37" fmla="*/ 538 h 1153"/>
                  <a:gd name="T38" fmla="*/ 299 w 591"/>
                  <a:gd name="T39" fmla="*/ 628 h 1153"/>
                  <a:gd name="T40" fmla="*/ 276 w 591"/>
                  <a:gd name="T41" fmla="*/ 674 h 1153"/>
                  <a:gd name="T42" fmla="*/ 358 w 591"/>
                  <a:gd name="T43" fmla="*/ 638 h 1153"/>
                  <a:gd name="T44" fmla="*/ 256 w 591"/>
                  <a:gd name="T45" fmla="*/ 689 h 1153"/>
                  <a:gd name="T46" fmla="*/ 184 w 591"/>
                  <a:gd name="T47" fmla="*/ 634 h 1153"/>
                  <a:gd name="T48" fmla="*/ 174 w 591"/>
                  <a:gd name="T49" fmla="*/ 687 h 1153"/>
                  <a:gd name="T50" fmla="*/ 182 w 591"/>
                  <a:gd name="T51" fmla="*/ 727 h 1153"/>
                  <a:gd name="T52" fmla="*/ 233 w 591"/>
                  <a:gd name="T53" fmla="*/ 780 h 1153"/>
                  <a:gd name="T54" fmla="*/ 172 w 591"/>
                  <a:gd name="T55" fmla="*/ 718 h 1153"/>
                  <a:gd name="T56" fmla="*/ 432 w 591"/>
                  <a:gd name="T57" fmla="*/ 423 h 1153"/>
                  <a:gd name="T58" fmla="*/ 411 w 591"/>
                  <a:gd name="T59" fmla="*/ 400 h 1153"/>
                  <a:gd name="T60" fmla="*/ 374 w 591"/>
                  <a:gd name="T61" fmla="*/ 72 h 1153"/>
                  <a:gd name="T62" fmla="*/ 354 w 591"/>
                  <a:gd name="T63" fmla="*/ 123 h 1153"/>
                  <a:gd name="T64" fmla="*/ 390 w 591"/>
                  <a:gd name="T65" fmla="*/ 198 h 1153"/>
                  <a:gd name="T66" fmla="*/ 437 w 591"/>
                  <a:gd name="T67" fmla="*/ 205 h 1153"/>
                  <a:gd name="T68" fmla="*/ 409 w 591"/>
                  <a:gd name="T69" fmla="*/ 179 h 1153"/>
                  <a:gd name="T70" fmla="*/ 557 w 591"/>
                  <a:gd name="T71" fmla="*/ 147 h 1153"/>
                  <a:gd name="T72" fmla="*/ 523 w 591"/>
                  <a:gd name="T73" fmla="*/ 96 h 1153"/>
                  <a:gd name="T74" fmla="*/ 194 w 591"/>
                  <a:gd name="T75" fmla="*/ 984 h 1153"/>
                  <a:gd name="T76" fmla="*/ 208 w 591"/>
                  <a:gd name="T77" fmla="*/ 933 h 1153"/>
                  <a:gd name="T78" fmla="*/ 208 w 591"/>
                  <a:gd name="T79" fmla="*/ 933 h 1153"/>
                  <a:gd name="T80" fmla="*/ 230 w 591"/>
                  <a:gd name="T81" fmla="*/ 810 h 1153"/>
                  <a:gd name="T82" fmla="*/ 252 w 591"/>
                  <a:gd name="T83" fmla="*/ 792 h 1153"/>
                  <a:gd name="T84" fmla="*/ 252 w 591"/>
                  <a:gd name="T85" fmla="*/ 792 h 1153"/>
                  <a:gd name="T86" fmla="*/ 32 w 591"/>
                  <a:gd name="T87" fmla="*/ 1144 h 1153"/>
                  <a:gd name="T88" fmla="*/ 90 w 591"/>
                  <a:gd name="T89" fmla="*/ 1125 h 1153"/>
                  <a:gd name="T90" fmla="*/ 16 w 591"/>
                  <a:gd name="T91" fmla="*/ 1134 h 1153"/>
                  <a:gd name="T92" fmla="*/ 184 w 591"/>
                  <a:gd name="T93" fmla="*/ 1008 h 1153"/>
                  <a:gd name="T94" fmla="*/ 198 w 591"/>
                  <a:gd name="T95" fmla="*/ 1014 h 1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1" h="1153">
                    <a:moveTo>
                      <a:pt x="591" y="531"/>
                    </a:moveTo>
                    <a:cubicBezTo>
                      <a:pt x="591" y="531"/>
                      <a:pt x="559" y="513"/>
                      <a:pt x="560" y="499"/>
                    </a:cubicBezTo>
                    <a:cubicBezTo>
                      <a:pt x="561" y="485"/>
                      <a:pt x="562" y="459"/>
                      <a:pt x="556" y="447"/>
                    </a:cubicBezTo>
                    <a:cubicBezTo>
                      <a:pt x="550" y="435"/>
                      <a:pt x="526" y="418"/>
                      <a:pt x="529" y="401"/>
                    </a:cubicBezTo>
                    <a:cubicBezTo>
                      <a:pt x="532" y="384"/>
                      <a:pt x="548" y="389"/>
                      <a:pt x="548" y="389"/>
                    </a:cubicBezTo>
                    <a:cubicBezTo>
                      <a:pt x="545" y="362"/>
                      <a:pt x="545" y="362"/>
                      <a:pt x="545" y="362"/>
                    </a:cubicBezTo>
                    <a:cubicBezTo>
                      <a:pt x="537" y="356"/>
                      <a:pt x="537" y="356"/>
                      <a:pt x="537" y="356"/>
                    </a:cubicBezTo>
                    <a:cubicBezTo>
                      <a:pt x="547" y="349"/>
                      <a:pt x="547" y="349"/>
                      <a:pt x="547" y="349"/>
                    </a:cubicBezTo>
                    <a:cubicBezTo>
                      <a:pt x="547" y="349"/>
                      <a:pt x="542" y="331"/>
                      <a:pt x="538" y="321"/>
                    </a:cubicBezTo>
                    <a:cubicBezTo>
                      <a:pt x="534" y="311"/>
                      <a:pt x="520" y="303"/>
                      <a:pt x="520" y="303"/>
                    </a:cubicBezTo>
                    <a:cubicBezTo>
                      <a:pt x="516" y="290"/>
                      <a:pt x="516" y="290"/>
                      <a:pt x="516" y="290"/>
                    </a:cubicBezTo>
                    <a:cubicBezTo>
                      <a:pt x="516" y="290"/>
                      <a:pt x="501" y="283"/>
                      <a:pt x="492" y="276"/>
                    </a:cubicBezTo>
                    <a:cubicBezTo>
                      <a:pt x="483" y="269"/>
                      <a:pt x="468" y="253"/>
                      <a:pt x="468" y="244"/>
                    </a:cubicBezTo>
                    <a:cubicBezTo>
                      <a:pt x="468" y="235"/>
                      <a:pt x="465" y="231"/>
                      <a:pt x="465" y="231"/>
                    </a:cubicBezTo>
                    <a:cubicBezTo>
                      <a:pt x="465" y="231"/>
                      <a:pt x="442" y="214"/>
                      <a:pt x="439" y="226"/>
                    </a:cubicBezTo>
                    <a:cubicBezTo>
                      <a:pt x="436" y="238"/>
                      <a:pt x="448" y="241"/>
                      <a:pt x="448" y="241"/>
                    </a:cubicBezTo>
                    <a:cubicBezTo>
                      <a:pt x="455" y="237"/>
                      <a:pt x="455" y="237"/>
                      <a:pt x="455" y="237"/>
                    </a:cubicBezTo>
                    <a:cubicBezTo>
                      <a:pt x="455" y="237"/>
                      <a:pt x="463" y="256"/>
                      <a:pt x="459" y="256"/>
                    </a:cubicBezTo>
                    <a:cubicBezTo>
                      <a:pt x="455" y="256"/>
                      <a:pt x="450" y="249"/>
                      <a:pt x="450" y="249"/>
                    </a:cubicBezTo>
                    <a:cubicBezTo>
                      <a:pt x="441" y="258"/>
                      <a:pt x="441" y="258"/>
                      <a:pt x="441" y="258"/>
                    </a:cubicBezTo>
                    <a:cubicBezTo>
                      <a:pt x="428" y="237"/>
                      <a:pt x="428" y="237"/>
                      <a:pt x="428" y="237"/>
                    </a:cubicBezTo>
                    <a:cubicBezTo>
                      <a:pt x="416" y="237"/>
                      <a:pt x="416" y="237"/>
                      <a:pt x="416" y="237"/>
                    </a:cubicBezTo>
                    <a:cubicBezTo>
                      <a:pt x="430" y="261"/>
                      <a:pt x="430" y="261"/>
                      <a:pt x="430" y="261"/>
                    </a:cubicBezTo>
                    <a:cubicBezTo>
                      <a:pt x="418" y="264"/>
                      <a:pt x="418" y="264"/>
                      <a:pt x="418" y="264"/>
                    </a:cubicBezTo>
                    <a:cubicBezTo>
                      <a:pt x="437" y="296"/>
                      <a:pt x="437" y="296"/>
                      <a:pt x="437" y="296"/>
                    </a:cubicBezTo>
                    <a:cubicBezTo>
                      <a:pt x="430" y="304"/>
                      <a:pt x="430" y="304"/>
                      <a:pt x="430" y="304"/>
                    </a:cubicBezTo>
                    <a:cubicBezTo>
                      <a:pt x="430" y="304"/>
                      <a:pt x="466" y="322"/>
                      <a:pt x="464" y="337"/>
                    </a:cubicBezTo>
                    <a:cubicBezTo>
                      <a:pt x="462" y="352"/>
                      <a:pt x="456" y="373"/>
                      <a:pt x="456" y="373"/>
                    </a:cubicBezTo>
                    <a:cubicBezTo>
                      <a:pt x="454" y="391"/>
                      <a:pt x="454" y="391"/>
                      <a:pt x="454" y="391"/>
                    </a:cubicBezTo>
                    <a:cubicBezTo>
                      <a:pt x="454" y="391"/>
                      <a:pt x="475" y="404"/>
                      <a:pt x="465" y="411"/>
                    </a:cubicBezTo>
                    <a:cubicBezTo>
                      <a:pt x="455" y="418"/>
                      <a:pt x="447" y="414"/>
                      <a:pt x="447" y="414"/>
                    </a:cubicBezTo>
                    <a:cubicBezTo>
                      <a:pt x="447" y="414"/>
                      <a:pt x="454" y="444"/>
                      <a:pt x="443" y="450"/>
                    </a:cubicBezTo>
                    <a:cubicBezTo>
                      <a:pt x="432" y="456"/>
                      <a:pt x="409" y="464"/>
                      <a:pt x="409" y="464"/>
                    </a:cubicBezTo>
                    <a:cubicBezTo>
                      <a:pt x="409" y="473"/>
                      <a:pt x="409" y="473"/>
                      <a:pt x="409" y="473"/>
                    </a:cubicBezTo>
                    <a:cubicBezTo>
                      <a:pt x="409" y="473"/>
                      <a:pt x="398" y="477"/>
                      <a:pt x="389" y="467"/>
                    </a:cubicBezTo>
                    <a:cubicBezTo>
                      <a:pt x="380" y="457"/>
                      <a:pt x="383" y="448"/>
                      <a:pt x="383" y="448"/>
                    </a:cubicBezTo>
                    <a:cubicBezTo>
                      <a:pt x="386" y="435"/>
                      <a:pt x="386" y="435"/>
                      <a:pt x="386" y="435"/>
                    </a:cubicBezTo>
                    <a:cubicBezTo>
                      <a:pt x="386" y="435"/>
                      <a:pt x="360" y="440"/>
                      <a:pt x="364" y="450"/>
                    </a:cubicBezTo>
                    <a:cubicBezTo>
                      <a:pt x="368" y="460"/>
                      <a:pt x="381" y="474"/>
                      <a:pt x="379" y="481"/>
                    </a:cubicBezTo>
                    <a:cubicBezTo>
                      <a:pt x="377" y="488"/>
                      <a:pt x="363" y="504"/>
                      <a:pt x="367" y="514"/>
                    </a:cubicBezTo>
                    <a:cubicBezTo>
                      <a:pt x="371" y="524"/>
                      <a:pt x="384" y="539"/>
                      <a:pt x="374" y="540"/>
                    </a:cubicBezTo>
                    <a:cubicBezTo>
                      <a:pt x="364" y="541"/>
                      <a:pt x="338" y="529"/>
                      <a:pt x="329" y="530"/>
                    </a:cubicBezTo>
                    <a:cubicBezTo>
                      <a:pt x="320" y="531"/>
                      <a:pt x="281" y="546"/>
                      <a:pt x="278" y="546"/>
                    </a:cubicBezTo>
                    <a:cubicBezTo>
                      <a:pt x="275" y="546"/>
                      <a:pt x="259" y="546"/>
                      <a:pt x="259" y="546"/>
                    </a:cubicBezTo>
                    <a:cubicBezTo>
                      <a:pt x="251" y="538"/>
                      <a:pt x="251" y="538"/>
                      <a:pt x="251" y="538"/>
                    </a:cubicBezTo>
                    <a:cubicBezTo>
                      <a:pt x="229" y="555"/>
                      <a:pt x="229" y="555"/>
                      <a:pt x="229" y="555"/>
                    </a:cubicBezTo>
                    <a:cubicBezTo>
                      <a:pt x="229" y="555"/>
                      <a:pt x="202" y="600"/>
                      <a:pt x="198" y="600"/>
                    </a:cubicBezTo>
                    <a:cubicBezTo>
                      <a:pt x="194" y="600"/>
                      <a:pt x="179" y="601"/>
                      <a:pt x="179" y="601"/>
                    </a:cubicBezTo>
                    <a:cubicBezTo>
                      <a:pt x="179" y="601"/>
                      <a:pt x="184" y="625"/>
                      <a:pt x="191" y="625"/>
                    </a:cubicBezTo>
                    <a:cubicBezTo>
                      <a:pt x="198" y="625"/>
                      <a:pt x="210" y="621"/>
                      <a:pt x="210" y="621"/>
                    </a:cubicBezTo>
                    <a:cubicBezTo>
                      <a:pt x="210" y="621"/>
                      <a:pt x="229" y="632"/>
                      <a:pt x="234" y="630"/>
                    </a:cubicBezTo>
                    <a:cubicBezTo>
                      <a:pt x="239" y="628"/>
                      <a:pt x="241" y="607"/>
                      <a:pt x="241" y="607"/>
                    </a:cubicBezTo>
                    <a:cubicBezTo>
                      <a:pt x="256" y="615"/>
                      <a:pt x="256" y="615"/>
                      <a:pt x="256" y="615"/>
                    </a:cubicBezTo>
                    <a:cubicBezTo>
                      <a:pt x="256" y="615"/>
                      <a:pt x="290" y="598"/>
                      <a:pt x="295" y="595"/>
                    </a:cubicBezTo>
                    <a:cubicBezTo>
                      <a:pt x="300" y="592"/>
                      <a:pt x="313" y="601"/>
                      <a:pt x="321" y="600"/>
                    </a:cubicBezTo>
                    <a:cubicBezTo>
                      <a:pt x="329" y="599"/>
                      <a:pt x="314" y="584"/>
                      <a:pt x="331" y="584"/>
                    </a:cubicBezTo>
                    <a:cubicBezTo>
                      <a:pt x="348" y="584"/>
                      <a:pt x="352" y="593"/>
                      <a:pt x="352" y="593"/>
                    </a:cubicBezTo>
                    <a:cubicBezTo>
                      <a:pt x="352" y="593"/>
                      <a:pt x="372" y="580"/>
                      <a:pt x="376" y="588"/>
                    </a:cubicBezTo>
                    <a:cubicBezTo>
                      <a:pt x="380" y="596"/>
                      <a:pt x="367" y="615"/>
                      <a:pt x="367" y="615"/>
                    </a:cubicBezTo>
                    <a:cubicBezTo>
                      <a:pt x="367" y="615"/>
                      <a:pt x="387" y="654"/>
                      <a:pt x="407" y="654"/>
                    </a:cubicBezTo>
                    <a:cubicBezTo>
                      <a:pt x="427" y="654"/>
                      <a:pt x="425" y="616"/>
                      <a:pt x="425" y="616"/>
                    </a:cubicBezTo>
                    <a:cubicBezTo>
                      <a:pt x="447" y="612"/>
                      <a:pt x="447" y="612"/>
                      <a:pt x="447" y="612"/>
                    </a:cubicBezTo>
                    <a:cubicBezTo>
                      <a:pt x="447" y="612"/>
                      <a:pt x="430" y="592"/>
                      <a:pt x="427" y="591"/>
                    </a:cubicBezTo>
                    <a:cubicBezTo>
                      <a:pt x="424" y="590"/>
                      <a:pt x="415" y="583"/>
                      <a:pt x="415" y="583"/>
                    </a:cubicBezTo>
                    <a:cubicBezTo>
                      <a:pt x="426" y="568"/>
                      <a:pt x="426" y="568"/>
                      <a:pt x="426" y="568"/>
                    </a:cubicBezTo>
                    <a:cubicBezTo>
                      <a:pt x="435" y="567"/>
                      <a:pt x="429" y="581"/>
                      <a:pt x="439" y="581"/>
                    </a:cubicBezTo>
                    <a:cubicBezTo>
                      <a:pt x="449" y="581"/>
                      <a:pt x="452" y="594"/>
                      <a:pt x="452" y="594"/>
                    </a:cubicBezTo>
                    <a:cubicBezTo>
                      <a:pt x="464" y="585"/>
                      <a:pt x="464" y="585"/>
                      <a:pt x="464" y="585"/>
                    </a:cubicBezTo>
                    <a:cubicBezTo>
                      <a:pt x="464" y="585"/>
                      <a:pt x="479" y="593"/>
                      <a:pt x="494" y="589"/>
                    </a:cubicBezTo>
                    <a:cubicBezTo>
                      <a:pt x="509" y="585"/>
                      <a:pt x="491" y="564"/>
                      <a:pt x="508" y="566"/>
                    </a:cubicBezTo>
                    <a:cubicBezTo>
                      <a:pt x="525" y="568"/>
                      <a:pt x="516" y="596"/>
                      <a:pt x="527" y="590"/>
                    </a:cubicBezTo>
                    <a:cubicBezTo>
                      <a:pt x="538" y="584"/>
                      <a:pt x="520" y="561"/>
                      <a:pt x="528" y="556"/>
                    </a:cubicBezTo>
                    <a:cubicBezTo>
                      <a:pt x="536" y="551"/>
                      <a:pt x="541" y="553"/>
                      <a:pt x="541" y="553"/>
                    </a:cubicBezTo>
                    <a:cubicBezTo>
                      <a:pt x="541" y="553"/>
                      <a:pt x="543" y="522"/>
                      <a:pt x="555" y="534"/>
                    </a:cubicBezTo>
                    <a:cubicBezTo>
                      <a:pt x="567" y="546"/>
                      <a:pt x="548" y="571"/>
                      <a:pt x="568" y="570"/>
                    </a:cubicBezTo>
                    <a:cubicBezTo>
                      <a:pt x="588" y="569"/>
                      <a:pt x="578" y="538"/>
                      <a:pt x="578" y="538"/>
                    </a:cubicBezTo>
                    <a:lnTo>
                      <a:pt x="591" y="531"/>
                    </a:lnTo>
                    <a:close/>
                    <a:moveTo>
                      <a:pt x="338" y="618"/>
                    </a:moveTo>
                    <a:cubicBezTo>
                      <a:pt x="338" y="618"/>
                      <a:pt x="321" y="605"/>
                      <a:pt x="312" y="606"/>
                    </a:cubicBezTo>
                    <a:cubicBezTo>
                      <a:pt x="292" y="608"/>
                      <a:pt x="299" y="628"/>
                      <a:pt x="299" y="628"/>
                    </a:cubicBezTo>
                    <a:cubicBezTo>
                      <a:pt x="299" y="628"/>
                      <a:pt x="282" y="622"/>
                      <a:pt x="272" y="624"/>
                    </a:cubicBezTo>
                    <a:cubicBezTo>
                      <a:pt x="262" y="626"/>
                      <a:pt x="269" y="648"/>
                      <a:pt x="269" y="648"/>
                    </a:cubicBezTo>
                    <a:cubicBezTo>
                      <a:pt x="257" y="659"/>
                      <a:pt x="257" y="659"/>
                      <a:pt x="257" y="659"/>
                    </a:cubicBezTo>
                    <a:cubicBezTo>
                      <a:pt x="257" y="659"/>
                      <a:pt x="270" y="667"/>
                      <a:pt x="276" y="674"/>
                    </a:cubicBezTo>
                    <a:cubicBezTo>
                      <a:pt x="282" y="681"/>
                      <a:pt x="305" y="695"/>
                      <a:pt x="305" y="695"/>
                    </a:cubicBezTo>
                    <a:cubicBezTo>
                      <a:pt x="305" y="695"/>
                      <a:pt x="299" y="664"/>
                      <a:pt x="314" y="654"/>
                    </a:cubicBezTo>
                    <a:cubicBezTo>
                      <a:pt x="329" y="644"/>
                      <a:pt x="351" y="672"/>
                      <a:pt x="351" y="672"/>
                    </a:cubicBezTo>
                    <a:cubicBezTo>
                      <a:pt x="351" y="672"/>
                      <a:pt x="356" y="650"/>
                      <a:pt x="358" y="638"/>
                    </a:cubicBezTo>
                    <a:cubicBezTo>
                      <a:pt x="360" y="626"/>
                      <a:pt x="351" y="615"/>
                      <a:pt x="351" y="615"/>
                    </a:cubicBezTo>
                    <a:lnTo>
                      <a:pt x="338" y="618"/>
                    </a:lnTo>
                    <a:close/>
                    <a:moveTo>
                      <a:pt x="241" y="709"/>
                    </a:moveTo>
                    <a:cubicBezTo>
                      <a:pt x="241" y="698"/>
                      <a:pt x="256" y="689"/>
                      <a:pt x="256" y="689"/>
                    </a:cubicBezTo>
                    <a:cubicBezTo>
                      <a:pt x="255" y="677"/>
                      <a:pt x="232" y="662"/>
                      <a:pt x="232" y="662"/>
                    </a:cubicBezTo>
                    <a:cubicBezTo>
                      <a:pt x="232" y="662"/>
                      <a:pt x="231" y="652"/>
                      <a:pt x="224" y="649"/>
                    </a:cubicBezTo>
                    <a:cubicBezTo>
                      <a:pt x="217" y="646"/>
                      <a:pt x="212" y="648"/>
                      <a:pt x="212" y="648"/>
                    </a:cubicBezTo>
                    <a:cubicBezTo>
                      <a:pt x="212" y="648"/>
                      <a:pt x="191" y="634"/>
                      <a:pt x="184" y="634"/>
                    </a:cubicBezTo>
                    <a:cubicBezTo>
                      <a:pt x="177" y="634"/>
                      <a:pt x="168" y="646"/>
                      <a:pt x="168" y="646"/>
                    </a:cubicBezTo>
                    <a:cubicBezTo>
                      <a:pt x="143" y="660"/>
                      <a:pt x="143" y="660"/>
                      <a:pt x="143" y="660"/>
                    </a:cubicBezTo>
                    <a:cubicBezTo>
                      <a:pt x="162" y="693"/>
                      <a:pt x="162" y="693"/>
                      <a:pt x="162" y="693"/>
                    </a:cubicBezTo>
                    <a:cubicBezTo>
                      <a:pt x="174" y="687"/>
                      <a:pt x="174" y="687"/>
                      <a:pt x="174" y="687"/>
                    </a:cubicBezTo>
                    <a:cubicBezTo>
                      <a:pt x="174" y="687"/>
                      <a:pt x="167" y="668"/>
                      <a:pt x="175" y="672"/>
                    </a:cubicBezTo>
                    <a:cubicBezTo>
                      <a:pt x="183" y="676"/>
                      <a:pt x="195" y="697"/>
                      <a:pt x="195" y="697"/>
                    </a:cubicBezTo>
                    <a:cubicBezTo>
                      <a:pt x="194" y="722"/>
                      <a:pt x="194" y="722"/>
                      <a:pt x="194" y="722"/>
                    </a:cubicBezTo>
                    <a:cubicBezTo>
                      <a:pt x="182" y="727"/>
                      <a:pt x="182" y="727"/>
                      <a:pt x="182" y="727"/>
                    </a:cubicBezTo>
                    <a:cubicBezTo>
                      <a:pt x="182" y="727"/>
                      <a:pt x="193" y="774"/>
                      <a:pt x="203" y="776"/>
                    </a:cubicBezTo>
                    <a:cubicBezTo>
                      <a:pt x="213" y="778"/>
                      <a:pt x="211" y="746"/>
                      <a:pt x="211" y="746"/>
                    </a:cubicBezTo>
                    <a:cubicBezTo>
                      <a:pt x="232" y="753"/>
                      <a:pt x="232" y="753"/>
                      <a:pt x="232" y="753"/>
                    </a:cubicBezTo>
                    <a:cubicBezTo>
                      <a:pt x="232" y="753"/>
                      <a:pt x="229" y="780"/>
                      <a:pt x="233" y="780"/>
                    </a:cubicBezTo>
                    <a:cubicBezTo>
                      <a:pt x="237" y="780"/>
                      <a:pt x="251" y="756"/>
                      <a:pt x="251" y="756"/>
                    </a:cubicBezTo>
                    <a:cubicBezTo>
                      <a:pt x="251" y="756"/>
                      <a:pt x="241" y="720"/>
                      <a:pt x="241" y="709"/>
                    </a:cubicBezTo>
                    <a:close/>
                    <a:moveTo>
                      <a:pt x="183" y="693"/>
                    </a:moveTo>
                    <a:cubicBezTo>
                      <a:pt x="172" y="718"/>
                      <a:pt x="172" y="718"/>
                      <a:pt x="172" y="718"/>
                    </a:cubicBezTo>
                    <a:cubicBezTo>
                      <a:pt x="184" y="715"/>
                      <a:pt x="184" y="715"/>
                      <a:pt x="184" y="715"/>
                    </a:cubicBezTo>
                    <a:lnTo>
                      <a:pt x="183" y="693"/>
                    </a:lnTo>
                    <a:close/>
                    <a:moveTo>
                      <a:pt x="424" y="424"/>
                    </a:moveTo>
                    <a:cubicBezTo>
                      <a:pt x="432" y="423"/>
                      <a:pt x="432" y="423"/>
                      <a:pt x="432" y="423"/>
                    </a:cubicBezTo>
                    <a:cubicBezTo>
                      <a:pt x="431" y="407"/>
                      <a:pt x="431" y="407"/>
                      <a:pt x="431" y="407"/>
                    </a:cubicBezTo>
                    <a:cubicBezTo>
                      <a:pt x="425" y="405"/>
                      <a:pt x="425" y="405"/>
                      <a:pt x="425" y="405"/>
                    </a:cubicBezTo>
                    <a:cubicBezTo>
                      <a:pt x="415" y="392"/>
                      <a:pt x="415" y="392"/>
                      <a:pt x="415" y="392"/>
                    </a:cubicBezTo>
                    <a:cubicBezTo>
                      <a:pt x="411" y="400"/>
                      <a:pt x="411" y="400"/>
                      <a:pt x="411" y="400"/>
                    </a:cubicBezTo>
                    <a:cubicBezTo>
                      <a:pt x="419" y="409"/>
                      <a:pt x="419" y="409"/>
                      <a:pt x="419" y="409"/>
                    </a:cubicBezTo>
                    <a:lnTo>
                      <a:pt x="424" y="424"/>
                    </a:lnTo>
                    <a:close/>
                    <a:moveTo>
                      <a:pt x="372" y="57"/>
                    </a:moveTo>
                    <a:cubicBezTo>
                      <a:pt x="374" y="72"/>
                      <a:pt x="374" y="72"/>
                      <a:pt x="374" y="72"/>
                    </a:cubicBezTo>
                    <a:cubicBezTo>
                      <a:pt x="374" y="72"/>
                      <a:pt x="391" y="83"/>
                      <a:pt x="391" y="90"/>
                    </a:cubicBezTo>
                    <a:cubicBezTo>
                      <a:pt x="391" y="97"/>
                      <a:pt x="384" y="110"/>
                      <a:pt x="384" y="110"/>
                    </a:cubicBezTo>
                    <a:cubicBezTo>
                      <a:pt x="384" y="110"/>
                      <a:pt x="402" y="132"/>
                      <a:pt x="397" y="133"/>
                    </a:cubicBezTo>
                    <a:cubicBezTo>
                      <a:pt x="391" y="134"/>
                      <a:pt x="359" y="125"/>
                      <a:pt x="354" y="123"/>
                    </a:cubicBezTo>
                    <a:cubicBezTo>
                      <a:pt x="348" y="122"/>
                      <a:pt x="369" y="143"/>
                      <a:pt x="369" y="143"/>
                    </a:cubicBezTo>
                    <a:cubicBezTo>
                      <a:pt x="352" y="161"/>
                      <a:pt x="352" y="161"/>
                      <a:pt x="352" y="161"/>
                    </a:cubicBezTo>
                    <a:cubicBezTo>
                      <a:pt x="352" y="161"/>
                      <a:pt x="358" y="173"/>
                      <a:pt x="361" y="179"/>
                    </a:cubicBezTo>
                    <a:cubicBezTo>
                      <a:pt x="363" y="184"/>
                      <a:pt x="390" y="198"/>
                      <a:pt x="390" y="198"/>
                    </a:cubicBezTo>
                    <a:cubicBezTo>
                      <a:pt x="390" y="198"/>
                      <a:pt x="381" y="231"/>
                      <a:pt x="404" y="230"/>
                    </a:cubicBezTo>
                    <a:cubicBezTo>
                      <a:pt x="414" y="229"/>
                      <a:pt x="398" y="211"/>
                      <a:pt x="410" y="211"/>
                    </a:cubicBezTo>
                    <a:cubicBezTo>
                      <a:pt x="423" y="211"/>
                      <a:pt x="433" y="211"/>
                      <a:pt x="433" y="211"/>
                    </a:cubicBezTo>
                    <a:cubicBezTo>
                      <a:pt x="437" y="205"/>
                      <a:pt x="437" y="205"/>
                      <a:pt x="437" y="205"/>
                    </a:cubicBezTo>
                    <a:cubicBezTo>
                      <a:pt x="412" y="189"/>
                      <a:pt x="412" y="189"/>
                      <a:pt x="412" y="189"/>
                    </a:cubicBezTo>
                    <a:cubicBezTo>
                      <a:pt x="399" y="189"/>
                      <a:pt x="399" y="189"/>
                      <a:pt x="399" y="189"/>
                    </a:cubicBezTo>
                    <a:cubicBezTo>
                      <a:pt x="399" y="189"/>
                      <a:pt x="365" y="176"/>
                      <a:pt x="381" y="169"/>
                    </a:cubicBezTo>
                    <a:cubicBezTo>
                      <a:pt x="398" y="162"/>
                      <a:pt x="409" y="179"/>
                      <a:pt x="409" y="179"/>
                    </a:cubicBezTo>
                    <a:cubicBezTo>
                      <a:pt x="409" y="179"/>
                      <a:pt x="423" y="168"/>
                      <a:pt x="433" y="166"/>
                    </a:cubicBezTo>
                    <a:cubicBezTo>
                      <a:pt x="442" y="165"/>
                      <a:pt x="513" y="202"/>
                      <a:pt x="519" y="198"/>
                    </a:cubicBezTo>
                    <a:cubicBezTo>
                      <a:pt x="524" y="194"/>
                      <a:pt x="505" y="155"/>
                      <a:pt x="523" y="148"/>
                    </a:cubicBezTo>
                    <a:cubicBezTo>
                      <a:pt x="541" y="141"/>
                      <a:pt x="539" y="157"/>
                      <a:pt x="557" y="147"/>
                    </a:cubicBezTo>
                    <a:cubicBezTo>
                      <a:pt x="575" y="137"/>
                      <a:pt x="578" y="130"/>
                      <a:pt x="578" y="130"/>
                    </a:cubicBezTo>
                    <a:cubicBezTo>
                      <a:pt x="542" y="107"/>
                      <a:pt x="542" y="107"/>
                      <a:pt x="542" y="107"/>
                    </a:cubicBezTo>
                    <a:cubicBezTo>
                      <a:pt x="542" y="107"/>
                      <a:pt x="542" y="83"/>
                      <a:pt x="535" y="78"/>
                    </a:cubicBezTo>
                    <a:cubicBezTo>
                      <a:pt x="528" y="72"/>
                      <a:pt x="523" y="96"/>
                      <a:pt x="523" y="96"/>
                    </a:cubicBezTo>
                    <a:cubicBezTo>
                      <a:pt x="523" y="96"/>
                      <a:pt x="455" y="80"/>
                      <a:pt x="440" y="69"/>
                    </a:cubicBezTo>
                    <a:cubicBezTo>
                      <a:pt x="424" y="58"/>
                      <a:pt x="350" y="0"/>
                      <a:pt x="340" y="11"/>
                    </a:cubicBezTo>
                    <a:cubicBezTo>
                      <a:pt x="330" y="22"/>
                      <a:pt x="372" y="57"/>
                      <a:pt x="372" y="57"/>
                    </a:cubicBezTo>
                    <a:close/>
                    <a:moveTo>
                      <a:pt x="194" y="984"/>
                    </a:moveTo>
                    <a:cubicBezTo>
                      <a:pt x="209" y="984"/>
                      <a:pt x="209" y="984"/>
                      <a:pt x="209" y="984"/>
                    </a:cubicBezTo>
                    <a:cubicBezTo>
                      <a:pt x="192" y="972"/>
                      <a:pt x="192" y="972"/>
                      <a:pt x="192" y="972"/>
                    </a:cubicBezTo>
                    <a:lnTo>
                      <a:pt x="194" y="984"/>
                    </a:lnTo>
                    <a:close/>
                    <a:moveTo>
                      <a:pt x="208" y="933"/>
                    </a:moveTo>
                    <a:cubicBezTo>
                      <a:pt x="210" y="942"/>
                      <a:pt x="214" y="942"/>
                      <a:pt x="214" y="942"/>
                    </a:cubicBezTo>
                    <a:cubicBezTo>
                      <a:pt x="224" y="944"/>
                      <a:pt x="225" y="934"/>
                      <a:pt x="225" y="934"/>
                    </a:cubicBezTo>
                    <a:cubicBezTo>
                      <a:pt x="225" y="934"/>
                      <a:pt x="240" y="933"/>
                      <a:pt x="233" y="922"/>
                    </a:cubicBezTo>
                    <a:cubicBezTo>
                      <a:pt x="226" y="912"/>
                      <a:pt x="205" y="924"/>
                      <a:pt x="208" y="933"/>
                    </a:cubicBezTo>
                    <a:close/>
                    <a:moveTo>
                      <a:pt x="214" y="956"/>
                    </a:moveTo>
                    <a:cubicBezTo>
                      <a:pt x="204" y="952"/>
                      <a:pt x="205" y="961"/>
                      <a:pt x="205" y="961"/>
                    </a:cubicBezTo>
                    <a:cubicBezTo>
                      <a:pt x="220" y="968"/>
                      <a:pt x="225" y="960"/>
                      <a:pt x="214" y="956"/>
                    </a:cubicBezTo>
                    <a:close/>
                    <a:moveTo>
                      <a:pt x="230" y="810"/>
                    </a:moveTo>
                    <a:cubicBezTo>
                      <a:pt x="230" y="814"/>
                      <a:pt x="217" y="820"/>
                      <a:pt x="217" y="820"/>
                    </a:cubicBezTo>
                    <a:cubicBezTo>
                      <a:pt x="234" y="829"/>
                      <a:pt x="234" y="829"/>
                      <a:pt x="234" y="829"/>
                    </a:cubicBezTo>
                    <a:cubicBezTo>
                      <a:pt x="234" y="829"/>
                      <a:pt x="230" y="806"/>
                      <a:pt x="230" y="810"/>
                    </a:cubicBezTo>
                    <a:close/>
                    <a:moveTo>
                      <a:pt x="252" y="792"/>
                    </a:moveTo>
                    <a:cubicBezTo>
                      <a:pt x="252" y="796"/>
                      <a:pt x="248" y="805"/>
                      <a:pt x="248" y="805"/>
                    </a:cubicBezTo>
                    <a:cubicBezTo>
                      <a:pt x="257" y="825"/>
                      <a:pt x="257" y="825"/>
                      <a:pt x="257" y="825"/>
                    </a:cubicBezTo>
                    <a:cubicBezTo>
                      <a:pt x="258" y="814"/>
                      <a:pt x="258" y="814"/>
                      <a:pt x="258" y="814"/>
                    </a:cubicBezTo>
                    <a:cubicBezTo>
                      <a:pt x="258" y="814"/>
                      <a:pt x="252" y="788"/>
                      <a:pt x="252" y="792"/>
                    </a:cubicBezTo>
                    <a:close/>
                    <a:moveTo>
                      <a:pt x="32" y="1144"/>
                    </a:moveTo>
                    <a:cubicBezTo>
                      <a:pt x="36" y="1144"/>
                      <a:pt x="54" y="1138"/>
                      <a:pt x="54" y="1138"/>
                    </a:cubicBezTo>
                    <a:cubicBezTo>
                      <a:pt x="36" y="1129"/>
                      <a:pt x="36" y="1129"/>
                      <a:pt x="36" y="1129"/>
                    </a:cubicBezTo>
                    <a:cubicBezTo>
                      <a:pt x="36" y="1129"/>
                      <a:pt x="28" y="1144"/>
                      <a:pt x="32" y="1144"/>
                    </a:cubicBezTo>
                    <a:close/>
                    <a:moveTo>
                      <a:pt x="81" y="1117"/>
                    </a:moveTo>
                    <a:cubicBezTo>
                      <a:pt x="72" y="1100"/>
                      <a:pt x="72" y="1100"/>
                      <a:pt x="72" y="1100"/>
                    </a:cubicBezTo>
                    <a:cubicBezTo>
                      <a:pt x="72" y="1110"/>
                      <a:pt x="72" y="1110"/>
                      <a:pt x="72" y="1110"/>
                    </a:cubicBezTo>
                    <a:cubicBezTo>
                      <a:pt x="70" y="1126"/>
                      <a:pt x="85" y="1133"/>
                      <a:pt x="90" y="1125"/>
                    </a:cubicBezTo>
                    <a:cubicBezTo>
                      <a:pt x="96" y="1117"/>
                      <a:pt x="81" y="1117"/>
                      <a:pt x="81" y="1117"/>
                    </a:cubicBezTo>
                    <a:close/>
                    <a:moveTo>
                      <a:pt x="16" y="1134"/>
                    </a:moveTo>
                    <a:cubicBezTo>
                      <a:pt x="0" y="1133"/>
                      <a:pt x="9" y="1150"/>
                      <a:pt x="9" y="1150"/>
                    </a:cubicBezTo>
                    <a:cubicBezTo>
                      <a:pt x="21" y="1153"/>
                      <a:pt x="32" y="1136"/>
                      <a:pt x="16" y="1134"/>
                    </a:cubicBezTo>
                    <a:close/>
                    <a:moveTo>
                      <a:pt x="118" y="1033"/>
                    </a:moveTo>
                    <a:cubicBezTo>
                      <a:pt x="118" y="1041"/>
                      <a:pt x="129" y="1041"/>
                      <a:pt x="129" y="1041"/>
                    </a:cubicBezTo>
                    <a:cubicBezTo>
                      <a:pt x="136" y="1029"/>
                      <a:pt x="118" y="1025"/>
                      <a:pt x="118" y="1033"/>
                    </a:cubicBezTo>
                    <a:close/>
                    <a:moveTo>
                      <a:pt x="184" y="1008"/>
                    </a:moveTo>
                    <a:cubicBezTo>
                      <a:pt x="174" y="1018"/>
                      <a:pt x="165" y="1050"/>
                      <a:pt x="165" y="1050"/>
                    </a:cubicBezTo>
                    <a:cubicBezTo>
                      <a:pt x="178" y="1053"/>
                      <a:pt x="178" y="1053"/>
                      <a:pt x="178" y="1053"/>
                    </a:cubicBezTo>
                    <a:cubicBezTo>
                      <a:pt x="178" y="1053"/>
                      <a:pt x="190" y="1032"/>
                      <a:pt x="186" y="1032"/>
                    </a:cubicBezTo>
                    <a:cubicBezTo>
                      <a:pt x="182" y="1032"/>
                      <a:pt x="198" y="1014"/>
                      <a:pt x="198" y="1014"/>
                    </a:cubicBezTo>
                    <a:cubicBezTo>
                      <a:pt x="198" y="1014"/>
                      <a:pt x="193" y="997"/>
                      <a:pt x="184" y="1008"/>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94" name="Freeform 216">
                <a:extLst>
                  <a:ext uri="{FF2B5EF4-FFF2-40B4-BE49-F238E27FC236}">
                    <a16:creationId xmlns:a16="http://schemas.microsoft.com/office/drawing/2014/main" id="{6C20C292-6AF8-4B55-9FB6-B4C759907170}"/>
                  </a:ext>
                </a:extLst>
              </p:cNvPr>
              <p:cNvSpPr>
                <a:spLocks noEditPoints="1"/>
              </p:cNvSpPr>
              <p:nvPr>
                <p:custDataLst>
                  <p:tags r:id="rId175"/>
                </p:custDataLst>
              </p:nvPr>
            </p:nvSpPr>
            <p:spPr bwMode="gray">
              <a:xfrm>
                <a:off x="5003772" y="2090747"/>
                <a:ext cx="3635355" cy="1066804"/>
              </a:xfrm>
              <a:custGeom>
                <a:avLst/>
                <a:gdLst>
                  <a:gd name="T0" fmla="*/ 1604 w 6045"/>
                  <a:gd name="T1" fmla="*/ 319 h 1923"/>
                  <a:gd name="T2" fmla="*/ 1125 w 6045"/>
                  <a:gd name="T3" fmla="*/ 38 h 1923"/>
                  <a:gd name="T4" fmla="*/ 1119 w 6045"/>
                  <a:gd name="T5" fmla="*/ 335 h 1923"/>
                  <a:gd name="T6" fmla="*/ 1136 w 6045"/>
                  <a:gd name="T7" fmla="*/ 227 h 1923"/>
                  <a:gd name="T8" fmla="*/ 1032 w 6045"/>
                  <a:gd name="T9" fmla="*/ 349 h 1923"/>
                  <a:gd name="T10" fmla="*/ 4026 w 6045"/>
                  <a:gd name="T11" fmla="*/ 259 h 1923"/>
                  <a:gd name="T12" fmla="*/ 2394 w 6045"/>
                  <a:gd name="T13" fmla="*/ 103 h 1923"/>
                  <a:gd name="T14" fmla="*/ 3618 w 6045"/>
                  <a:gd name="T15" fmla="*/ 235 h 1923"/>
                  <a:gd name="T16" fmla="*/ 113 w 6045"/>
                  <a:gd name="T17" fmla="*/ 1236 h 1923"/>
                  <a:gd name="T18" fmla="*/ 755 w 6045"/>
                  <a:gd name="T19" fmla="*/ 45 h 1923"/>
                  <a:gd name="T20" fmla="*/ 5033 w 6045"/>
                  <a:gd name="T21" fmla="*/ 1361 h 1923"/>
                  <a:gd name="T22" fmla="*/ 5193 w 6045"/>
                  <a:gd name="T23" fmla="*/ 1629 h 1923"/>
                  <a:gd name="T24" fmla="*/ 5935 w 6045"/>
                  <a:gd name="T25" fmla="*/ 632 h 1923"/>
                  <a:gd name="T26" fmla="*/ 5061 w 6045"/>
                  <a:gd name="T27" fmla="*/ 515 h 1923"/>
                  <a:gd name="T28" fmla="*/ 4321 w 6045"/>
                  <a:gd name="T29" fmla="*/ 409 h 1923"/>
                  <a:gd name="T30" fmla="*/ 3936 w 6045"/>
                  <a:gd name="T31" fmla="*/ 365 h 1923"/>
                  <a:gd name="T32" fmla="*/ 3577 w 6045"/>
                  <a:gd name="T33" fmla="*/ 386 h 1923"/>
                  <a:gd name="T34" fmla="*/ 3251 w 6045"/>
                  <a:gd name="T35" fmla="*/ 351 h 1923"/>
                  <a:gd name="T36" fmla="*/ 2915 w 6045"/>
                  <a:gd name="T37" fmla="*/ 313 h 1923"/>
                  <a:gd name="T38" fmla="*/ 2906 w 6045"/>
                  <a:gd name="T39" fmla="*/ 254 h 1923"/>
                  <a:gd name="T40" fmla="*/ 2423 w 6045"/>
                  <a:gd name="T41" fmla="*/ 210 h 1923"/>
                  <a:gd name="T42" fmla="*/ 2038 w 6045"/>
                  <a:gd name="T43" fmla="*/ 402 h 1923"/>
                  <a:gd name="T44" fmla="*/ 1740 w 6045"/>
                  <a:gd name="T45" fmla="*/ 389 h 1923"/>
                  <a:gd name="T46" fmla="*/ 1845 w 6045"/>
                  <a:gd name="T47" fmla="*/ 542 h 1923"/>
                  <a:gd name="T48" fmla="*/ 1684 w 6045"/>
                  <a:gd name="T49" fmla="*/ 417 h 1923"/>
                  <a:gd name="T50" fmla="*/ 1499 w 6045"/>
                  <a:gd name="T51" fmla="*/ 522 h 1923"/>
                  <a:gd name="T52" fmla="*/ 1060 w 6045"/>
                  <a:gd name="T53" fmla="*/ 545 h 1923"/>
                  <a:gd name="T54" fmla="*/ 795 w 6045"/>
                  <a:gd name="T55" fmla="*/ 644 h 1923"/>
                  <a:gd name="T56" fmla="*/ 508 w 6045"/>
                  <a:gd name="T57" fmla="*/ 670 h 1923"/>
                  <a:gd name="T58" fmla="*/ 357 w 6045"/>
                  <a:gd name="T59" fmla="*/ 475 h 1923"/>
                  <a:gd name="T60" fmla="*/ 323 w 6045"/>
                  <a:gd name="T61" fmla="*/ 703 h 1923"/>
                  <a:gd name="T62" fmla="*/ 303 w 6045"/>
                  <a:gd name="T63" fmla="*/ 980 h 1923"/>
                  <a:gd name="T64" fmla="*/ 382 w 6045"/>
                  <a:gd name="T65" fmla="*/ 1163 h 1923"/>
                  <a:gd name="T66" fmla="*/ 538 w 6045"/>
                  <a:gd name="T67" fmla="*/ 1342 h 1923"/>
                  <a:gd name="T68" fmla="*/ 827 w 6045"/>
                  <a:gd name="T69" fmla="*/ 1472 h 1923"/>
                  <a:gd name="T70" fmla="*/ 752 w 6045"/>
                  <a:gd name="T71" fmla="*/ 1694 h 1923"/>
                  <a:gd name="T72" fmla="*/ 1214 w 6045"/>
                  <a:gd name="T73" fmla="*/ 1892 h 1923"/>
                  <a:gd name="T74" fmla="*/ 1231 w 6045"/>
                  <a:gd name="T75" fmla="*/ 1631 h 1923"/>
                  <a:gd name="T76" fmla="*/ 1419 w 6045"/>
                  <a:gd name="T77" fmla="*/ 1396 h 1923"/>
                  <a:gd name="T78" fmla="*/ 1765 w 6045"/>
                  <a:gd name="T79" fmla="*/ 1244 h 1923"/>
                  <a:gd name="T80" fmla="*/ 2222 w 6045"/>
                  <a:gd name="T81" fmla="*/ 1256 h 1923"/>
                  <a:gd name="T82" fmla="*/ 2847 w 6045"/>
                  <a:gd name="T83" fmla="*/ 1496 h 1923"/>
                  <a:gd name="T84" fmla="*/ 3152 w 6045"/>
                  <a:gd name="T85" fmla="*/ 1456 h 1923"/>
                  <a:gd name="T86" fmla="*/ 3428 w 6045"/>
                  <a:gd name="T87" fmla="*/ 1441 h 1923"/>
                  <a:gd name="T88" fmla="*/ 3929 w 6045"/>
                  <a:gd name="T89" fmla="*/ 1447 h 1923"/>
                  <a:gd name="T90" fmla="*/ 4174 w 6045"/>
                  <a:gd name="T91" fmla="*/ 1268 h 1923"/>
                  <a:gd name="T92" fmla="*/ 4630 w 6045"/>
                  <a:gd name="T93" fmla="*/ 1533 h 1923"/>
                  <a:gd name="T94" fmla="*/ 4843 w 6045"/>
                  <a:gd name="T95" fmla="*/ 1667 h 1923"/>
                  <a:gd name="T96" fmla="*/ 4985 w 6045"/>
                  <a:gd name="T97" fmla="*/ 1754 h 1923"/>
                  <a:gd name="T98" fmla="*/ 4903 w 6045"/>
                  <a:gd name="T99" fmla="*/ 1298 h 1923"/>
                  <a:gd name="T100" fmla="*/ 4580 w 6045"/>
                  <a:gd name="T101" fmla="*/ 1205 h 1923"/>
                  <a:gd name="T102" fmla="*/ 4885 w 6045"/>
                  <a:gd name="T103" fmla="*/ 977 h 1923"/>
                  <a:gd name="T104" fmla="*/ 5110 w 6045"/>
                  <a:gd name="T105" fmla="*/ 890 h 1923"/>
                  <a:gd name="T106" fmla="*/ 5374 w 6045"/>
                  <a:gd name="T107" fmla="*/ 897 h 1923"/>
                  <a:gd name="T108" fmla="*/ 5630 w 6045"/>
                  <a:gd name="T109" fmla="*/ 1386 h 1923"/>
                  <a:gd name="T110" fmla="*/ 5463 w 6045"/>
                  <a:gd name="T111" fmla="*/ 992 h 1923"/>
                  <a:gd name="T112" fmla="*/ 5791 w 6045"/>
                  <a:gd name="T113" fmla="*/ 813 h 1923"/>
                  <a:gd name="T114" fmla="*/ 5719 w 6045"/>
                  <a:gd name="T115" fmla="*/ 660 h 1923"/>
                  <a:gd name="T116" fmla="*/ 3494 w 6045"/>
                  <a:gd name="T117" fmla="*/ 1368 h 1923"/>
                  <a:gd name="T118" fmla="*/ 3579 w 6045"/>
                  <a:gd name="T119" fmla="*/ 1259 h 1923"/>
                  <a:gd name="T120" fmla="*/ 943 w 6045"/>
                  <a:gd name="T121" fmla="*/ 537 h 1923"/>
                  <a:gd name="T122" fmla="*/ 924 w 6045"/>
                  <a:gd name="T123" fmla="*/ 25 h 19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45" h="1923">
                    <a:moveTo>
                      <a:pt x="1866" y="364"/>
                    </a:moveTo>
                    <a:cubicBezTo>
                      <a:pt x="1845" y="359"/>
                      <a:pt x="1845" y="359"/>
                      <a:pt x="1845" y="359"/>
                    </a:cubicBezTo>
                    <a:cubicBezTo>
                      <a:pt x="1828" y="373"/>
                      <a:pt x="1828" y="373"/>
                      <a:pt x="1828" y="373"/>
                    </a:cubicBezTo>
                    <a:cubicBezTo>
                      <a:pt x="1854" y="380"/>
                      <a:pt x="1854" y="380"/>
                      <a:pt x="1854" y="380"/>
                    </a:cubicBezTo>
                    <a:lnTo>
                      <a:pt x="1866" y="364"/>
                    </a:lnTo>
                    <a:close/>
                    <a:moveTo>
                      <a:pt x="1894" y="346"/>
                    </a:moveTo>
                    <a:cubicBezTo>
                      <a:pt x="1869" y="329"/>
                      <a:pt x="1876" y="352"/>
                      <a:pt x="1876" y="352"/>
                    </a:cubicBezTo>
                    <a:cubicBezTo>
                      <a:pt x="1901" y="362"/>
                      <a:pt x="1919" y="363"/>
                      <a:pt x="1894" y="346"/>
                    </a:cubicBezTo>
                    <a:close/>
                    <a:moveTo>
                      <a:pt x="1138" y="13"/>
                    </a:moveTo>
                    <a:cubicBezTo>
                      <a:pt x="1148" y="11"/>
                      <a:pt x="1162" y="1"/>
                      <a:pt x="1155" y="1"/>
                    </a:cubicBezTo>
                    <a:cubicBezTo>
                      <a:pt x="1148" y="1"/>
                      <a:pt x="1100" y="1"/>
                      <a:pt x="1100" y="1"/>
                    </a:cubicBezTo>
                    <a:cubicBezTo>
                      <a:pt x="1097" y="10"/>
                      <a:pt x="1097" y="10"/>
                      <a:pt x="1097" y="10"/>
                    </a:cubicBezTo>
                    <a:cubicBezTo>
                      <a:pt x="1124" y="7"/>
                      <a:pt x="1124" y="7"/>
                      <a:pt x="1124" y="7"/>
                    </a:cubicBezTo>
                    <a:cubicBezTo>
                      <a:pt x="1124" y="7"/>
                      <a:pt x="1128" y="14"/>
                      <a:pt x="1138" y="13"/>
                    </a:cubicBezTo>
                    <a:close/>
                    <a:moveTo>
                      <a:pt x="1163" y="39"/>
                    </a:moveTo>
                    <a:cubicBezTo>
                      <a:pt x="1168" y="39"/>
                      <a:pt x="1176" y="34"/>
                      <a:pt x="1176" y="34"/>
                    </a:cubicBezTo>
                    <a:cubicBezTo>
                      <a:pt x="1176" y="34"/>
                      <a:pt x="1203" y="42"/>
                      <a:pt x="1210" y="35"/>
                    </a:cubicBezTo>
                    <a:cubicBezTo>
                      <a:pt x="1217" y="28"/>
                      <a:pt x="1211" y="17"/>
                      <a:pt x="1189" y="17"/>
                    </a:cubicBezTo>
                    <a:cubicBezTo>
                      <a:pt x="1166" y="17"/>
                      <a:pt x="1145" y="34"/>
                      <a:pt x="1145" y="34"/>
                    </a:cubicBezTo>
                    <a:cubicBezTo>
                      <a:pt x="1149" y="39"/>
                      <a:pt x="1159" y="39"/>
                      <a:pt x="1163" y="39"/>
                    </a:cubicBezTo>
                    <a:close/>
                    <a:moveTo>
                      <a:pt x="1590" y="341"/>
                    </a:moveTo>
                    <a:cubicBezTo>
                      <a:pt x="1623" y="333"/>
                      <a:pt x="1612" y="323"/>
                      <a:pt x="1604" y="319"/>
                    </a:cubicBezTo>
                    <a:cubicBezTo>
                      <a:pt x="1596" y="315"/>
                      <a:pt x="1566" y="319"/>
                      <a:pt x="1566" y="319"/>
                    </a:cubicBezTo>
                    <a:cubicBezTo>
                      <a:pt x="1566" y="319"/>
                      <a:pt x="1572" y="345"/>
                      <a:pt x="1590" y="341"/>
                    </a:cubicBezTo>
                    <a:close/>
                    <a:moveTo>
                      <a:pt x="1062" y="20"/>
                    </a:moveTo>
                    <a:cubicBezTo>
                      <a:pt x="1034" y="17"/>
                      <a:pt x="1034" y="17"/>
                      <a:pt x="1034" y="17"/>
                    </a:cubicBezTo>
                    <a:cubicBezTo>
                      <a:pt x="1041" y="25"/>
                      <a:pt x="1041" y="25"/>
                      <a:pt x="1041" y="25"/>
                    </a:cubicBezTo>
                    <a:lnTo>
                      <a:pt x="1062" y="20"/>
                    </a:lnTo>
                    <a:close/>
                    <a:moveTo>
                      <a:pt x="1264" y="465"/>
                    </a:moveTo>
                    <a:cubicBezTo>
                      <a:pt x="1259" y="473"/>
                      <a:pt x="1324" y="507"/>
                      <a:pt x="1330" y="491"/>
                    </a:cubicBezTo>
                    <a:cubicBezTo>
                      <a:pt x="1336" y="475"/>
                      <a:pt x="1270" y="455"/>
                      <a:pt x="1264" y="465"/>
                    </a:cubicBezTo>
                    <a:close/>
                    <a:moveTo>
                      <a:pt x="2074" y="83"/>
                    </a:moveTo>
                    <a:cubicBezTo>
                      <a:pt x="2084" y="73"/>
                      <a:pt x="2084" y="73"/>
                      <a:pt x="2084" y="73"/>
                    </a:cubicBezTo>
                    <a:cubicBezTo>
                      <a:pt x="2024" y="73"/>
                      <a:pt x="2024" y="73"/>
                      <a:pt x="2024" y="73"/>
                    </a:cubicBezTo>
                    <a:lnTo>
                      <a:pt x="2074" y="83"/>
                    </a:lnTo>
                    <a:close/>
                    <a:moveTo>
                      <a:pt x="1044" y="68"/>
                    </a:moveTo>
                    <a:cubicBezTo>
                      <a:pt x="1090" y="66"/>
                      <a:pt x="1090" y="66"/>
                      <a:pt x="1090" y="66"/>
                    </a:cubicBezTo>
                    <a:cubicBezTo>
                      <a:pt x="1075" y="56"/>
                      <a:pt x="1075" y="56"/>
                      <a:pt x="1075" y="56"/>
                    </a:cubicBezTo>
                    <a:lnTo>
                      <a:pt x="1044" y="68"/>
                    </a:lnTo>
                    <a:close/>
                    <a:moveTo>
                      <a:pt x="1051" y="39"/>
                    </a:moveTo>
                    <a:cubicBezTo>
                      <a:pt x="1064" y="48"/>
                      <a:pt x="1066" y="52"/>
                      <a:pt x="1066" y="52"/>
                    </a:cubicBezTo>
                    <a:cubicBezTo>
                      <a:pt x="1083" y="44"/>
                      <a:pt x="1083" y="44"/>
                      <a:pt x="1083" y="44"/>
                    </a:cubicBezTo>
                    <a:cubicBezTo>
                      <a:pt x="1083" y="44"/>
                      <a:pt x="1076" y="49"/>
                      <a:pt x="1090" y="49"/>
                    </a:cubicBezTo>
                    <a:cubicBezTo>
                      <a:pt x="1104" y="49"/>
                      <a:pt x="1125" y="38"/>
                      <a:pt x="1125" y="38"/>
                    </a:cubicBezTo>
                    <a:cubicBezTo>
                      <a:pt x="1089" y="32"/>
                      <a:pt x="1089" y="32"/>
                      <a:pt x="1089" y="32"/>
                    </a:cubicBezTo>
                    <a:cubicBezTo>
                      <a:pt x="1079" y="38"/>
                      <a:pt x="1079" y="38"/>
                      <a:pt x="1079" y="38"/>
                    </a:cubicBezTo>
                    <a:cubicBezTo>
                      <a:pt x="1079" y="38"/>
                      <a:pt x="1065" y="32"/>
                      <a:pt x="1061" y="34"/>
                    </a:cubicBezTo>
                    <a:cubicBezTo>
                      <a:pt x="1057" y="35"/>
                      <a:pt x="1051" y="39"/>
                      <a:pt x="1051" y="39"/>
                    </a:cubicBezTo>
                    <a:close/>
                    <a:moveTo>
                      <a:pt x="1113" y="23"/>
                    </a:moveTo>
                    <a:cubicBezTo>
                      <a:pt x="1071" y="23"/>
                      <a:pt x="1071" y="23"/>
                      <a:pt x="1071" y="23"/>
                    </a:cubicBezTo>
                    <a:cubicBezTo>
                      <a:pt x="1106" y="31"/>
                      <a:pt x="1106" y="31"/>
                      <a:pt x="1106" y="31"/>
                    </a:cubicBezTo>
                    <a:lnTo>
                      <a:pt x="1113" y="23"/>
                    </a:lnTo>
                    <a:close/>
                    <a:moveTo>
                      <a:pt x="1032" y="349"/>
                    </a:moveTo>
                    <a:cubicBezTo>
                      <a:pt x="1002" y="354"/>
                      <a:pt x="1002" y="354"/>
                      <a:pt x="1002" y="354"/>
                    </a:cubicBezTo>
                    <a:cubicBezTo>
                      <a:pt x="1011" y="366"/>
                      <a:pt x="1011" y="366"/>
                      <a:pt x="1011" y="366"/>
                    </a:cubicBezTo>
                    <a:cubicBezTo>
                      <a:pt x="1030" y="357"/>
                      <a:pt x="1030" y="357"/>
                      <a:pt x="1030" y="357"/>
                    </a:cubicBezTo>
                    <a:cubicBezTo>
                      <a:pt x="1020" y="373"/>
                      <a:pt x="1020" y="373"/>
                      <a:pt x="1020" y="373"/>
                    </a:cubicBezTo>
                    <a:cubicBezTo>
                      <a:pt x="1020" y="373"/>
                      <a:pt x="992" y="379"/>
                      <a:pt x="994" y="390"/>
                    </a:cubicBezTo>
                    <a:cubicBezTo>
                      <a:pt x="996" y="401"/>
                      <a:pt x="1023" y="405"/>
                      <a:pt x="1035" y="405"/>
                    </a:cubicBezTo>
                    <a:cubicBezTo>
                      <a:pt x="1048" y="405"/>
                      <a:pt x="1065" y="408"/>
                      <a:pt x="1076" y="414"/>
                    </a:cubicBezTo>
                    <a:cubicBezTo>
                      <a:pt x="1086" y="420"/>
                      <a:pt x="1085" y="437"/>
                      <a:pt x="1088" y="438"/>
                    </a:cubicBezTo>
                    <a:cubicBezTo>
                      <a:pt x="1091" y="440"/>
                      <a:pt x="1140" y="447"/>
                      <a:pt x="1140" y="447"/>
                    </a:cubicBezTo>
                    <a:cubicBezTo>
                      <a:pt x="1214" y="443"/>
                      <a:pt x="1214" y="443"/>
                      <a:pt x="1214" y="443"/>
                    </a:cubicBezTo>
                    <a:cubicBezTo>
                      <a:pt x="1214" y="443"/>
                      <a:pt x="1154" y="437"/>
                      <a:pt x="1138" y="411"/>
                    </a:cubicBezTo>
                    <a:cubicBezTo>
                      <a:pt x="1122" y="385"/>
                      <a:pt x="1106" y="385"/>
                      <a:pt x="1122" y="361"/>
                    </a:cubicBezTo>
                    <a:cubicBezTo>
                      <a:pt x="1138" y="337"/>
                      <a:pt x="1119" y="335"/>
                      <a:pt x="1119" y="335"/>
                    </a:cubicBezTo>
                    <a:cubicBezTo>
                      <a:pt x="1146" y="331"/>
                      <a:pt x="1146" y="331"/>
                      <a:pt x="1146" y="331"/>
                    </a:cubicBezTo>
                    <a:cubicBezTo>
                      <a:pt x="1135" y="319"/>
                      <a:pt x="1135" y="319"/>
                      <a:pt x="1135" y="319"/>
                    </a:cubicBezTo>
                    <a:cubicBezTo>
                      <a:pt x="1158" y="322"/>
                      <a:pt x="1158" y="322"/>
                      <a:pt x="1158" y="322"/>
                    </a:cubicBezTo>
                    <a:cubicBezTo>
                      <a:pt x="1145" y="314"/>
                      <a:pt x="1145" y="314"/>
                      <a:pt x="1145" y="314"/>
                    </a:cubicBezTo>
                    <a:cubicBezTo>
                      <a:pt x="1161" y="316"/>
                      <a:pt x="1161" y="316"/>
                      <a:pt x="1161" y="316"/>
                    </a:cubicBezTo>
                    <a:cubicBezTo>
                      <a:pt x="1165" y="306"/>
                      <a:pt x="1165" y="306"/>
                      <a:pt x="1165" y="306"/>
                    </a:cubicBezTo>
                    <a:cubicBezTo>
                      <a:pt x="1151" y="299"/>
                      <a:pt x="1151" y="299"/>
                      <a:pt x="1151" y="299"/>
                    </a:cubicBezTo>
                    <a:cubicBezTo>
                      <a:pt x="1151" y="299"/>
                      <a:pt x="1178" y="303"/>
                      <a:pt x="1182" y="299"/>
                    </a:cubicBezTo>
                    <a:cubicBezTo>
                      <a:pt x="1186" y="295"/>
                      <a:pt x="1171" y="285"/>
                      <a:pt x="1171" y="285"/>
                    </a:cubicBezTo>
                    <a:cubicBezTo>
                      <a:pt x="1193" y="287"/>
                      <a:pt x="1193" y="287"/>
                      <a:pt x="1193" y="287"/>
                    </a:cubicBezTo>
                    <a:cubicBezTo>
                      <a:pt x="1191" y="268"/>
                      <a:pt x="1191" y="268"/>
                      <a:pt x="1191" y="268"/>
                    </a:cubicBezTo>
                    <a:cubicBezTo>
                      <a:pt x="1191" y="268"/>
                      <a:pt x="1205" y="279"/>
                      <a:pt x="1223" y="271"/>
                    </a:cubicBezTo>
                    <a:cubicBezTo>
                      <a:pt x="1242" y="264"/>
                      <a:pt x="1254" y="250"/>
                      <a:pt x="1254" y="250"/>
                    </a:cubicBezTo>
                    <a:cubicBezTo>
                      <a:pt x="1254" y="250"/>
                      <a:pt x="1399" y="229"/>
                      <a:pt x="1420" y="220"/>
                    </a:cubicBezTo>
                    <a:cubicBezTo>
                      <a:pt x="1442" y="210"/>
                      <a:pt x="1463" y="195"/>
                      <a:pt x="1430" y="184"/>
                    </a:cubicBezTo>
                    <a:cubicBezTo>
                      <a:pt x="1397" y="172"/>
                      <a:pt x="1363" y="188"/>
                      <a:pt x="1348" y="194"/>
                    </a:cubicBezTo>
                    <a:cubicBezTo>
                      <a:pt x="1334" y="200"/>
                      <a:pt x="1290" y="215"/>
                      <a:pt x="1270" y="212"/>
                    </a:cubicBezTo>
                    <a:cubicBezTo>
                      <a:pt x="1249" y="210"/>
                      <a:pt x="1218" y="206"/>
                      <a:pt x="1218" y="206"/>
                    </a:cubicBezTo>
                    <a:cubicBezTo>
                      <a:pt x="1207" y="223"/>
                      <a:pt x="1207" y="223"/>
                      <a:pt x="1207" y="223"/>
                    </a:cubicBezTo>
                    <a:cubicBezTo>
                      <a:pt x="1190" y="214"/>
                      <a:pt x="1190" y="214"/>
                      <a:pt x="1190" y="214"/>
                    </a:cubicBezTo>
                    <a:cubicBezTo>
                      <a:pt x="1155" y="228"/>
                      <a:pt x="1155" y="228"/>
                      <a:pt x="1155" y="228"/>
                    </a:cubicBezTo>
                    <a:cubicBezTo>
                      <a:pt x="1136" y="227"/>
                      <a:pt x="1136" y="227"/>
                      <a:pt x="1136" y="227"/>
                    </a:cubicBezTo>
                    <a:cubicBezTo>
                      <a:pt x="1117" y="242"/>
                      <a:pt x="1117" y="242"/>
                      <a:pt x="1117" y="242"/>
                    </a:cubicBezTo>
                    <a:cubicBezTo>
                      <a:pt x="1131" y="247"/>
                      <a:pt x="1131" y="247"/>
                      <a:pt x="1131" y="247"/>
                    </a:cubicBezTo>
                    <a:cubicBezTo>
                      <a:pt x="1098" y="248"/>
                      <a:pt x="1098" y="248"/>
                      <a:pt x="1098" y="248"/>
                    </a:cubicBezTo>
                    <a:cubicBezTo>
                      <a:pt x="1079" y="254"/>
                      <a:pt x="1079" y="254"/>
                      <a:pt x="1079" y="254"/>
                    </a:cubicBezTo>
                    <a:cubicBezTo>
                      <a:pt x="1080" y="263"/>
                      <a:pt x="1080" y="263"/>
                      <a:pt x="1080" y="263"/>
                    </a:cubicBezTo>
                    <a:cubicBezTo>
                      <a:pt x="1097" y="254"/>
                      <a:pt x="1097" y="254"/>
                      <a:pt x="1097" y="254"/>
                    </a:cubicBezTo>
                    <a:cubicBezTo>
                      <a:pt x="1098" y="263"/>
                      <a:pt x="1098" y="263"/>
                      <a:pt x="1098" y="263"/>
                    </a:cubicBezTo>
                    <a:cubicBezTo>
                      <a:pt x="1117" y="265"/>
                      <a:pt x="1117" y="265"/>
                      <a:pt x="1117" y="265"/>
                    </a:cubicBezTo>
                    <a:cubicBezTo>
                      <a:pt x="1111" y="273"/>
                      <a:pt x="1111" y="273"/>
                      <a:pt x="1111" y="273"/>
                    </a:cubicBezTo>
                    <a:cubicBezTo>
                      <a:pt x="1085" y="273"/>
                      <a:pt x="1085" y="273"/>
                      <a:pt x="1085" y="273"/>
                    </a:cubicBezTo>
                    <a:cubicBezTo>
                      <a:pt x="1081" y="282"/>
                      <a:pt x="1081" y="282"/>
                      <a:pt x="1081" y="282"/>
                    </a:cubicBezTo>
                    <a:cubicBezTo>
                      <a:pt x="1099" y="285"/>
                      <a:pt x="1099" y="285"/>
                      <a:pt x="1099" y="285"/>
                    </a:cubicBezTo>
                    <a:cubicBezTo>
                      <a:pt x="1068" y="287"/>
                      <a:pt x="1068" y="287"/>
                      <a:pt x="1068" y="287"/>
                    </a:cubicBezTo>
                    <a:cubicBezTo>
                      <a:pt x="1090" y="293"/>
                      <a:pt x="1090" y="293"/>
                      <a:pt x="1090" y="293"/>
                    </a:cubicBezTo>
                    <a:cubicBezTo>
                      <a:pt x="1061" y="295"/>
                      <a:pt x="1061" y="295"/>
                      <a:pt x="1061" y="295"/>
                    </a:cubicBezTo>
                    <a:cubicBezTo>
                      <a:pt x="1059" y="309"/>
                      <a:pt x="1059" y="309"/>
                      <a:pt x="1059" y="309"/>
                    </a:cubicBezTo>
                    <a:cubicBezTo>
                      <a:pt x="1039" y="316"/>
                      <a:pt x="1039" y="316"/>
                      <a:pt x="1039" y="316"/>
                    </a:cubicBezTo>
                    <a:cubicBezTo>
                      <a:pt x="1046" y="326"/>
                      <a:pt x="1046" y="326"/>
                      <a:pt x="1046" y="326"/>
                    </a:cubicBezTo>
                    <a:cubicBezTo>
                      <a:pt x="1073" y="314"/>
                      <a:pt x="1073" y="314"/>
                      <a:pt x="1073" y="314"/>
                    </a:cubicBezTo>
                    <a:cubicBezTo>
                      <a:pt x="1062" y="332"/>
                      <a:pt x="1062" y="332"/>
                      <a:pt x="1062" y="332"/>
                    </a:cubicBezTo>
                    <a:cubicBezTo>
                      <a:pt x="1062" y="332"/>
                      <a:pt x="1041" y="327"/>
                      <a:pt x="1033" y="334"/>
                    </a:cubicBezTo>
                    <a:cubicBezTo>
                      <a:pt x="1026" y="341"/>
                      <a:pt x="1032" y="349"/>
                      <a:pt x="1032" y="349"/>
                    </a:cubicBezTo>
                    <a:close/>
                    <a:moveTo>
                      <a:pt x="3856" y="331"/>
                    </a:moveTo>
                    <a:cubicBezTo>
                      <a:pt x="3904" y="325"/>
                      <a:pt x="3904" y="325"/>
                      <a:pt x="3904" y="325"/>
                    </a:cubicBezTo>
                    <a:cubicBezTo>
                      <a:pt x="3976" y="335"/>
                      <a:pt x="3976" y="335"/>
                      <a:pt x="3976" y="335"/>
                    </a:cubicBezTo>
                    <a:cubicBezTo>
                      <a:pt x="3976" y="335"/>
                      <a:pt x="3954" y="311"/>
                      <a:pt x="3938" y="307"/>
                    </a:cubicBezTo>
                    <a:cubicBezTo>
                      <a:pt x="3922" y="303"/>
                      <a:pt x="3866" y="311"/>
                      <a:pt x="3866" y="311"/>
                    </a:cubicBezTo>
                    <a:lnTo>
                      <a:pt x="3856" y="331"/>
                    </a:lnTo>
                    <a:close/>
                    <a:moveTo>
                      <a:pt x="3858" y="253"/>
                    </a:moveTo>
                    <a:cubicBezTo>
                      <a:pt x="3896" y="257"/>
                      <a:pt x="3896" y="257"/>
                      <a:pt x="3896" y="257"/>
                    </a:cubicBezTo>
                    <a:cubicBezTo>
                      <a:pt x="3906" y="247"/>
                      <a:pt x="3904" y="235"/>
                      <a:pt x="3886" y="235"/>
                    </a:cubicBezTo>
                    <a:cubicBezTo>
                      <a:pt x="3868" y="235"/>
                      <a:pt x="3808" y="221"/>
                      <a:pt x="3816" y="233"/>
                    </a:cubicBezTo>
                    <a:cubicBezTo>
                      <a:pt x="3824" y="245"/>
                      <a:pt x="3858" y="253"/>
                      <a:pt x="3858" y="253"/>
                    </a:cubicBezTo>
                    <a:close/>
                    <a:moveTo>
                      <a:pt x="3818" y="289"/>
                    </a:moveTo>
                    <a:cubicBezTo>
                      <a:pt x="3792" y="315"/>
                      <a:pt x="3848" y="313"/>
                      <a:pt x="3856" y="303"/>
                    </a:cubicBezTo>
                    <a:cubicBezTo>
                      <a:pt x="3864" y="293"/>
                      <a:pt x="3825" y="282"/>
                      <a:pt x="3818" y="289"/>
                    </a:cubicBezTo>
                    <a:close/>
                    <a:moveTo>
                      <a:pt x="2050" y="65"/>
                    </a:moveTo>
                    <a:cubicBezTo>
                      <a:pt x="2050" y="65"/>
                      <a:pt x="2106" y="69"/>
                      <a:pt x="2118" y="65"/>
                    </a:cubicBezTo>
                    <a:cubicBezTo>
                      <a:pt x="2130" y="61"/>
                      <a:pt x="2172" y="65"/>
                      <a:pt x="2164" y="49"/>
                    </a:cubicBezTo>
                    <a:cubicBezTo>
                      <a:pt x="2156" y="33"/>
                      <a:pt x="2082" y="11"/>
                      <a:pt x="2082" y="11"/>
                    </a:cubicBezTo>
                    <a:cubicBezTo>
                      <a:pt x="2082" y="11"/>
                      <a:pt x="2026" y="1"/>
                      <a:pt x="2024" y="21"/>
                    </a:cubicBezTo>
                    <a:cubicBezTo>
                      <a:pt x="2022" y="41"/>
                      <a:pt x="2050" y="65"/>
                      <a:pt x="2050" y="65"/>
                    </a:cubicBezTo>
                    <a:close/>
                    <a:moveTo>
                      <a:pt x="4094" y="273"/>
                    </a:moveTo>
                    <a:cubicBezTo>
                      <a:pt x="4122" y="259"/>
                      <a:pt x="4026" y="259"/>
                      <a:pt x="4026" y="259"/>
                    </a:cubicBezTo>
                    <a:cubicBezTo>
                      <a:pt x="4026" y="259"/>
                      <a:pt x="4006" y="241"/>
                      <a:pt x="3998" y="241"/>
                    </a:cubicBezTo>
                    <a:cubicBezTo>
                      <a:pt x="3990" y="241"/>
                      <a:pt x="3966" y="245"/>
                      <a:pt x="3966" y="245"/>
                    </a:cubicBezTo>
                    <a:cubicBezTo>
                      <a:pt x="3942" y="243"/>
                      <a:pt x="3942" y="243"/>
                      <a:pt x="3942" y="243"/>
                    </a:cubicBezTo>
                    <a:cubicBezTo>
                      <a:pt x="3966" y="259"/>
                      <a:pt x="3966" y="259"/>
                      <a:pt x="3966" y="259"/>
                    </a:cubicBezTo>
                    <a:cubicBezTo>
                      <a:pt x="3966" y="259"/>
                      <a:pt x="4066" y="287"/>
                      <a:pt x="4094" y="273"/>
                    </a:cubicBezTo>
                    <a:close/>
                    <a:moveTo>
                      <a:pt x="5070" y="495"/>
                    </a:moveTo>
                    <a:cubicBezTo>
                      <a:pt x="5078" y="485"/>
                      <a:pt x="5004" y="475"/>
                      <a:pt x="5004" y="475"/>
                    </a:cubicBezTo>
                    <a:cubicBezTo>
                      <a:pt x="5004" y="483"/>
                      <a:pt x="5062" y="505"/>
                      <a:pt x="5070" y="495"/>
                    </a:cubicBezTo>
                    <a:close/>
                    <a:moveTo>
                      <a:pt x="2112" y="81"/>
                    </a:moveTo>
                    <a:cubicBezTo>
                      <a:pt x="2112" y="89"/>
                      <a:pt x="2178" y="95"/>
                      <a:pt x="2178" y="95"/>
                    </a:cubicBezTo>
                    <a:cubicBezTo>
                      <a:pt x="2212" y="91"/>
                      <a:pt x="2212" y="91"/>
                      <a:pt x="2212" y="91"/>
                    </a:cubicBezTo>
                    <a:cubicBezTo>
                      <a:pt x="2250" y="105"/>
                      <a:pt x="2250" y="105"/>
                      <a:pt x="2250" y="105"/>
                    </a:cubicBezTo>
                    <a:cubicBezTo>
                      <a:pt x="2292" y="103"/>
                      <a:pt x="2292" y="103"/>
                      <a:pt x="2292" y="103"/>
                    </a:cubicBezTo>
                    <a:cubicBezTo>
                      <a:pt x="2286" y="85"/>
                      <a:pt x="2268" y="59"/>
                      <a:pt x="2250" y="61"/>
                    </a:cubicBezTo>
                    <a:cubicBezTo>
                      <a:pt x="2232" y="63"/>
                      <a:pt x="2214" y="75"/>
                      <a:pt x="2214" y="75"/>
                    </a:cubicBezTo>
                    <a:cubicBezTo>
                      <a:pt x="2200" y="59"/>
                      <a:pt x="2200" y="59"/>
                      <a:pt x="2200" y="59"/>
                    </a:cubicBezTo>
                    <a:cubicBezTo>
                      <a:pt x="2200" y="59"/>
                      <a:pt x="2112" y="73"/>
                      <a:pt x="2112" y="81"/>
                    </a:cubicBezTo>
                    <a:close/>
                    <a:moveTo>
                      <a:pt x="2392" y="133"/>
                    </a:moveTo>
                    <a:cubicBezTo>
                      <a:pt x="2498" y="127"/>
                      <a:pt x="2498" y="127"/>
                      <a:pt x="2498" y="127"/>
                    </a:cubicBezTo>
                    <a:cubicBezTo>
                      <a:pt x="2470" y="111"/>
                      <a:pt x="2470" y="111"/>
                      <a:pt x="2470" y="111"/>
                    </a:cubicBezTo>
                    <a:cubicBezTo>
                      <a:pt x="2470" y="111"/>
                      <a:pt x="2432" y="91"/>
                      <a:pt x="2422" y="91"/>
                    </a:cubicBezTo>
                    <a:cubicBezTo>
                      <a:pt x="2412" y="91"/>
                      <a:pt x="2394" y="103"/>
                      <a:pt x="2394" y="103"/>
                    </a:cubicBezTo>
                    <a:cubicBezTo>
                      <a:pt x="2394" y="103"/>
                      <a:pt x="2388" y="75"/>
                      <a:pt x="2366" y="75"/>
                    </a:cubicBezTo>
                    <a:cubicBezTo>
                      <a:pt x="2344" y="75"/>
                      <a:pt x="2332" y="141"/>
                      <a:pt x="2332" y="141"/>
                    </a:cubicBezTo>
                    <a:cubicBezTo>
                      <a:pt x="2348" y="149"/>
                      <a:pt x="2348" y="149"/>
                      <a:pt x="2348" y="149"/>
                    </a:cubicBezTo>
                    <a:cubicBezTo>
                      <a:pt x="2366" y="145"/>
                      <a:pt x="2392" y="133"/>
                      <a:pt x="2392" y="133"/>
                    </a:cubicBezTo>
                    <a:close/>
                    <a:moveTo>
                      <a:pt x="3752" y="279"/>
                    </a:moveTo>
                    <a:cubicBezTo>
                      <a:pt x="3762" y="261"/>
                      <a:pt x="3762" y="261"/>
                      <a:pt x="3762" y="261"/>
                    </a:cubicBezTo>
                    <a:cubicBezTo>
                      <a:pt x="3762" y="261"/>
                      <a:pt x="3788" y="261"/>
                      <a:pt x="3798" y="261"/>
                    </a:cubicBezTo>
                    <a:cubicBezTo>
                      <a:pt x="3808" y="261"/>
                      <a:pt x="3838" y="259"/>
                      <a:pt x="3838" y="259"/>
                    </a:cubicBezTo>
                    <a:cubicBezTo>
                      <a:pt x="3796" y="239"/>
                      <a:pt x="3796" y="239"/>
                      <a:pt x="3796" y="239"/>
                    </a:cubicBezTo>
                    <a:cubicBezTo>
                      <a:pt x="3804" y="225"/>
                      <a:pt x="3804" y="225"/>
                      <a:pt x="3804" y="225"/>
                    </a:cubicBezTo>
                    <a:cubicBezTo>
                      <a:pt x="3744" y="213"/>
                      <a:pt x="3744" y="213"/>
                      <a:pt x="3744" y="213"/>
                    </a:cubicBezTo>
                    <a:cubicBezTo>
                      <a:pt x="3754" y="231"/>
                      <a:pt x="3754" y="231"/>
                      <a:pt x="3754" y="231"/>
                    </a:cubicBezTo>
                    <a:cubicBezTo>
                      <a:pt x="3754" y="231"/>
                      <a:pt x="3632" y="191"/>
                      <a:pt x="3634" y="221"/>
                    </a:cubicBezTo>
                    <a:cubicBezTo>
                      <a:pt x="3636" y="251"/>
                      <a:pt x="3752" y="279"/>
                      <a:pt x="3752" y="279"/>
                    </a:cubicBezTo>
                    <a:close/>
                    <a:moveTo>
                      <a:pt x="2882" y="289"/>
                    </a:moveTo>
                    <a:cubicBezTo>
                      <a:pt x="2914" y="295"/>
                      <a:pt x="2914" y="295"/>
                      <a:pt x="2914" y="295"/>
                    </a:cubicBezTo>
                    <a:cubicBezTo>
                      <a:pt x="2934" y="297"/>
                      <a:pt x="2954" y="285"/>
                      <a:pt x="2924" y="279"/>
                    </a:cubicBezTo>
                    <a:cubicBezTo>
                      <a:pt x="2894" y="273"/>
                      <a:pt x="2882" y="289"/>
                      <a:pt x="2882" y="289"/>
                    </a:cubicBezTo>
                    <a:close/>
                    <a:moveTo>
                      <a:pt x="3618" y="235"/>
                    </a:moveTo>
                    <a:cubicBezTo>
                      <a:pt x="3582" y="223"/>
                      <a:pt x="3582" y="223"/>
                      <a:pt x="3582" y="223"/>
                    </a:cubicBezTo>
                    <a:cubicBezTo>
                      <a:pt x="3598" y="245"/>
                      <a:pt x="3598" y="245"/>
                      <a:pt x="3598" y="245"/>
                    </a:cubicBezTo>
                    <a:lnTo>
                      <a:pt x="3618" y="235"/>
                    </a:lnTo>
                    <a:close/>
                    <a:moveTo>
                      <a:pt x="5328" y="443"/>
                    </a:moveTo>
                    <a:cubicBezTo>
                      <a:pt x="5340" y="439"/>
                      <a:pt x="5358" y="437"/>
                      <a:pt x="5384" y="437"/>
                    </a:cubicBezTo>
                    <a:cubicBezTo>
                      <a:pt x="5410" y="437"/>
                      <a:pt x="5414" y="421"/>
                      <a:pt x="5396" y="419"/>
                    </a:cubicBezTo>
                    <a:cubicBezTo>
                      <a:pt x="5378" y="417"/>
                      <a:pt x="5346" y="405"/>
                      <a:pt x="5334" y="405"/>
                    </a:cubicBezTo>
                    <a:cubicBezTo>
                      <a:pt x="5322" y="405"/>
                      <a:pt x="5294" y="405"/>
                      <a:pt x="5294" y="427"/>
                    </a:cubicBezTo>
                    <a:cubicBezTo>
                      <a:pt x="5294" y="451"/>
                      <a:pt x="5316" y="447"/>
                      <a:pt x="5328" y="443"/>
                    </a:cubicBezTo>
                    <a:close/>
                    <a:moveTo>
                      <a:pt x="111" y="1194"/>
                    </a:moveTo>
                    <a:cubicBezTo>
                      <a:pt x="103" y="1195"/>
                      <a:pt x="79" y="1198"/>
                      <a:pt x="79" y="1198"/>
                    </a:cubicBezTo>
                    <a:cubicBezTo>
                      <a:pt x="77" y="1192"/>
                      <a:pt x="77" y="1192"/>
                      <a:pt x="77" y="1192"/>
                    </a:cubicBezTo>
                    <a:cubicBezTo>
                      <a:pt x="69" y="1193"/>
                      <a:pt x="69" y="1193"/>
                      <a:pt x="69" y="1193"/>
                    </a:cubicBezTo>
                    <a:cubicBezTo>
                      <a:pt x="66" y="1187"/>
                      <a:pt x="66" y="1187"/>
                      <a:pt x="66" y="1187"/>
                    </a:cubicBezTo>
                    <a:cubicBezTo>
                      <a:pt x="61" y="1187"/>
                      <a:pt x="61" y="1187"/>
                      <a:pt x="61" y="1187"/>
                    </a:cubicBezTo>
                    <a:cubicBezTo>
                      <a:pt x="61" y="1192"/>
                      <a:pt x="53" y="1201"/>
                      <a:pt x="53" y="1201"/>
                    </a:cubicBezTo>
                    <a:cubicBezTo>
                      <a:pt x="53" y="1201"/>
                      <a:pt x="12" y="1196"/>
                      <a:pt x="6" y="1203"/>
                    </a:cubicBezTo>
                    <a:cubicBezTo>
                      <a:pt x="0" y="1210"/>
                      <a:pt x="13" y="1219"/>
                      <a:pt x="13" y="1219"/>
                    </a:cubicBezTo>
                    <a:cubicBezTo>
                      <a:pt x="8" y="1228"/>
                      <a:pt x="8" y="1228"/>
                      <a:pt x="8" y="1228"/>
                    </a:cubicBezTo>
                    <a:cubicBezTo>
                      <a:pt x="8" y="1227"/>
                      <a:pt x="8" y="1227"/>
                      <a:pt x="8" y="1227"/>
                    </a:cubicBezTo>
                    <a:cubicBezTo>
                      <a:pt x="13" y="1232"/>
                      <a:pt x="13" y="1232"/>
                      <a:pt x="13" y="1232"/>
                    </a:cubicBezTo>
                    <a:cubicBezTo>
                      <a:pt x="13" y="1232"/>
                      <a:pt x="25" y="1227"/>
                      <a:pt x="34" y="1229"/>
                    </a:cubicBezTo>
                    <a:cubicBezTo>
                      <a:pt x="43" y="1231"/>
                      <a:pt x="51" y="1236"/>
                      <a:pt x="51" y="1236"/>
                    </a:cubicBezTo>
                    <a:cubicBezTo>
                      <a:pt x="51" y="1236"/>
                      <a:pt x="82" y="1234"/>
                      <a:pt x="90" y="1235"/>
                    </a:cubicBezTo>
                    <a:cubicBezTo>
                      <a:pt x="98" y="1236"/>
                      <a:pt x="113" y="1236"/>
                      <a:pt x="113" y="1236"/>
                    </a:cubicBezTo>
                    <a:cubicBezTo>
                      <a:pt x="113" y="1236"/>
                      <a:pt x="109" y="1230"/>
                      <a:pt x="117" y="1231"/>
                    </a:cubicBezTo>
                    <a:cubicBezTo>
                      <a:pt x="112" y="1221"/>
                      <a:pt x="112" y="1221"/>
                      <a:pt x="112" y="1221"/>
                    </a:cubicBezTo>
                    <a:cubicBezTo>
                      <a:pt x="112" y="1221"/>
                      <a:pt x="120" y="1214"/>
                      <a:pt x="121" y="1209"/>
                    </a:cubicBezTo>
                    <a:cubicBezTo>
                      <a:pt x="122" y="1204"/>
                      <a:pt x="119" y="1193"/>
                      <a:pt x="111" y="1194"/>
                    </a:cubicBezTo>
                    <a:close/>
                    <a:moveTo>
                      <a:pt x="698" y="59"/>
                    </a:moveTo>
                    <a:cubicBezTo>
                      <a:pt x="712" y="49"/>
                      <a:pt x="712" y="49"/>
                      <a:pt x="712" y="49"/>
                    </a:cubicBezTo>
                    <a:cubicBezTo>
                      <a:pt x="712" y="49"/>
                      <a:pt x="677" y="42"/>
                      <a:pt x="698" y="59"/>
                    </a:cubicBezTo>
                    <a:close/>
                    <a:moveTo>
                      <a:pt x="664" y="48"/>
                    </a:moveTo>
                    <a:cubicBezTo>
                      <a:pt x="720" y="35"/>
                      <a:pt x="720" y="35"/>
                      <a:pt x="720" y="35"/>
                    </a:cubicBezTo>
                    <a:cubicBezTo>
                      <a:pt x="702" y="30"/>
                      <a:pt x="702" y="30"/>
                      <a:pt x="702" y="30"/>
                    </a:cubicBezTo>
                    <a:cubicBezTo>
                      <a:pt x="668" y="38"/>
                      <a:pt x="668" y="38"/>
                      <a:pt x="668" y="38"/>
                    </a:cubicBezTo>
                    <a:cubicBezTo>
                      <a:pt x="634" y="37"/>
                      <a:pt x="634" y="37"/>
                      <a:pt x="634" y="37"/>
                    </a:cubicBezTo>
                    <a:cubicBezTo>
                      <a:pt x="650" y="44"/>
                      <a:pt x="650" y="44"/>
                      <a:pt x="650" y="44"/>
                    </a:cubicBezTo>
                    <a:lnTo>
                      <a:pt x="664" y="48"/>
                    </a:lnTo>
                    <a:close/>
                    <a:moveTo>
                      <a:pt x="754" y="61"/>
                    </a:moveTo>
                    <a:cubicBezTo>
                      <a:pt x="757" y="51"/>
                      <a:pt x="757" y="51"/>
                      <a:pt x="757" y="51"/>
                    </a:cubicBezTo>
                    <a:cubicBezTo>
                      <a:pt x="774" y="51"/>
                      <a:pt x="774" y="51"/>
                      <a:pt x="774" y="51"/>
                    </a:cubicBezTo>
                    <a:cubicBezTo>
                      <a:pt x="779" y="45"/>
                      <a:pt x="779" y="45"/>
                      <a:pt x="779" y="45"/>
                    </a:cubicBezTo>
                    <a:cubicBezTo>
                      <a:pt x="779" y="45"/>
                      <a:pt x="806" y="48"/>
                      <a:pt x="816" y="42"/>
                    </a:cubicBezTo>
                    <a:cubicBezTo>
                      <a:pt x="826" y="37"/>
                      <a:pt x="791" y="37"/>
                      <a:pt x="791" y="37"/>
                    </a:cubicBezTo>
                    <a:cubicBezTo>
                      <a:pt x="791" y="37"/>
                      <a:pt x="791" y="27"/>
                      <a:pt x="774" y="27"/>
                    </a:cubicBezTo>
                    <a:cubicBezTo>
                      <a:pt x="757" y="27"/>
                      <a:pt x="755" y="45"/>
                      <a:pt x="755" y="45"/>
                    </a:cubicBezTo>
                    <a:cubicBezTo>
                      <a:pt x="755" y="45"/>
                      <a:pt x="719" y="51"/>
                      <a:pt x="722" y="56"/>
                    </a:cubicBezTo>
                    <a:cubicBezTo>
                      <a:pt x="724" y="62"/>
                      <a:pt x="754" y="61"/>
                      <a:pt x="754" y="61"/>
                    </a:cubicBezTo>
                    <a:close/>
                    <a:moveTo>
                      <a:pt x="786" y="53"/>
                    </a:moveTo>
                    <a:cubicBezTo>
                      <a:pt x="776" y="59"/>
                      <a:pt x="776" y="59"/>
                      <a:pt x="776" y="59"/>
                    </a:cubicBezTo>
                    <a:cubicBezTo>
                      <a:pt x="789" y="66"/>
                      <a:pt x="789" y="66"/>
                      <a:pt x="789" y="66"/>
                    </a:cubicBezTo>
                    <a:cubicBezTo>
                      <a:pt x="802" y="72"/>
                      <a:pt x="802" y="72"/>
                      <a:pt x="802" y="72"/>
                    </a:cubicBezTo>
                    <a:cubicBezTo>
                      <a:pt x="834" y="69"/>
                      <a:pt x="834" y="69"/>
                      <a:pt x="834" y="69"/>
                    </a:cubicBezTo>
                    <a:cubicBezTo>
                      <a:pt x="833" y="61"/>
                      <a:pt x="833" y="61"/>
                      <a:pt x="833" y="61"/>
                    </a:cubicBezTo>
                    <a:cubicBezTo>
                      <a:pt x="810" y="61"/>
                      <a:pt x="810" y="61"/>
                      <a:pt x="810" y="61"/>
                    </a:cubicBezTo>
                    <a:lnTo>
                      <a:pt x="786" y="53"/>
                    </a:lnTo>
                    <a:close/>
                    <a:moveTo>
                      <a:pt x="5213" y="1622"/>
                    </a:moveTo>
                    <a:cubicBezTo>
                      <a:pt x="5191" y="1599"/>
                      <a:pt x="5191" y="1599"/>
                      <a:pt x="5191" y="1599"/>
                    </a:cubicBezTo>
                    <a:cubicBezTo>
                      <a:pt x="5191" y="1599"/>
                      <a:pt x="5169" y="1593"/>
                      <a:pt x="5156" y="1575"/>
                    </a:cubicBezTo>
                    <a:cubicBezTo>
                      <a:pt x="5144" y="1557"/>
                      <a:pt x="5136" y="1516"/>
                      <a:pt x="5136" y="1516"/>
                    </a:cubicBezTo>
                    <a:cubicBezTo>
                      <a:pt x="5136" y="1516"/>
                      <a:pt x="5112" y="1502"/>
                      <a:pt x="5125" y="1495"/>
                    </a:cubicBezTo>
                    <a:cubicBezTo>
                      <a:pt x="5137" y="1488"/>
                      <a:pt x="5213" y="1526"/>
                      <a:pt x="5213" y="1526"/>
                    </a:cubicBezTo>
                    <a:cubicBezTo>
                      <a:pt x="5163" y="1489"/>
                      <a:pt x="5163" y="1489"/>
                      <a:pt x="5163" y="1489"/>
                    </a:cubicBezTo>
                    <a:cubicBezTo>
                      <a:pt x="5163" y="1489"/>
                      <a:pt x="5144" y="1459"/>
                      <a:pt x="5134" y="1452"/>
                    </a:cubicBezTo>
                    <a:cubicBezTo>
                      <a:pt x="5125" y="1445"/>
                      <a:pt x="5109" y="1435"/>
                      <a:pt x="5109" y="1435"/>
                    </a:cubicBezTo>
                    <a:cubicBezTo>
                      <a:pt x="5057" y="1379"/>
                      <a:pt x="5057" y="1379"/>
                      <a:pt x="5057" y="1379"/>
                    </a:cubicBezTo>
                    <a:cubicBezTo>
                      <a:pt x="5040" y="1380"/>
                      <a:pt x="5040" y="1380"/>
                      <a:pt x="5040" y="1380"/>
                    </a:cubicBezTo>
                    <a:cubicBezTo>
                      <a:pt x="5033" y="1361"/>
                      <a:pt x="5033" y="1361"/>
                      <a:pt x="5033" y="1361"/>
                    </a:cubicBezTo>
                    <a:cubicBezTo>
                      <a:pt x="5033" y="1361"/>
                      <a:pt x="5023" y="1363"/>
                      <a:pt x="5011" y="1351"/>
                    </a:cubicBezTo>
                    <a:cubicBezTo>
                      <a:pt x="4999" y="1338"/>
                      <a:pt x="5003" y="1322"/>
                      <a:pt x="5003" y="1322"/>
                    </a:cubicBezTo>
                    <a:cubicBezTo>
                      <a:pt x="4983" y="1297"/>
                      <a:pt x="4983" y="1297"/>
                      <a:pt x="4983" y="1297"/>
                    </a:cubicBezTo>
                    <a:cubicBezTo>
                      <a:pt x="4969" y="1298"/>
                      <a:pt x="4969" y="1298"/>
                      <a:pt x="4969" y="1298"/>
                    </a:cubicBezTo>
                    <a:cubicBezTo>
                      <a:pt x="4960" y="1279"/>
                      <a:pt x="4960" y="1279"/>
                      <a:pt x="4960" y="1279"/>
                    </a:cubicBezTo>
                    <a:cubicBezTo>
                      <a:pt x="4933" y="1259"/>
                      <a:pt x="4933" y="1259"/>
                      <a:pt x="4933" y="1259"/>
                    </a:cubicBezTo>
                    <a:cubicBezTo>
                      <a:pt x="4925" y="1243"/>
                      <a:pt x="4925" y="1243"/>
                      <a:pt x="4925" y="1243"/>
                    </a:cubicBezTo>
                    <a:cubicBezTo>
                      <a:pt x="4925" y="1243"/>
                      <a:pt x="4907" y="1230"/>
                      <a:pt x="4900" y="1235"/>
                    </a:cubicBezTo>
                    <a:cubicBezTo>
                      <a:pt x="4893" y="1239"/>
                      <a:pt x="4939" y="1272"/>
                      <a:pt x="4933" y="1275"/>
                    </a:cubicBezTo>
                    <a:cubicBezTo>
                      <a:pt x="4928" y="1277"/>
                      <a:pt x="4915" y="1262"/>
                      <a:pt x="4913" y="1277"/>
                    </a:cubicBezTo>
                    <a:cubicBezTo>
                      <a:pt x="4910" y="1293"/>
                      <a:pt x="4939" y="1322"/>
                      <a:pt x="4939" y="1322"/>
                    </a:cubicBezTo>
                    <a:cubicBezTo>
                      <a:pt x="4939" y="1322"/>
                      <a:pt x="4946" y="1340"/>
                      <a:pt x="4953" y="1347"/>
                    </a:cubicBezTo>
                    <a:cubicBezTo>
                      <a:pt x="4960" y="1354"/>
                      <a:pt x="5007" y="1384"/>
                      <a:pt x="5018" y="1398"/>
                    </a:cubicBezTo>
                    <a:cubicBezTo>
                      <a:pt x="5029" y="1412"/>
                      <a:pt x="5028" y="1434"/>
                      <a:pt x="5041" y="1445"/>
                    </a:cubicBezTo>
                    <a:cubicBezTo>
                      <a:pt x="5055" y="1456"/>
                      <a:pt x="5087" y="1512"/>
                      <a:pt x="5087" y="1512"/>
                    </a:cubicBezTo>
                    <a:cubicBezTo>
                      <a:pt x="5087" y="1512"/>
                      <a:pt x="5093" y="1535"/>
                      <a:pt x="5100" y="1535"/>
                    </a:cubicBezTo>
                    <a:cubicBezTo>
                      <a:pt x="5107" y="1535"/>
                      <a:pt x="5120" y="1545"/>
                      <a:pt x="5127" y="1555"/>
                    </a:cubicBezTo>
                    <a:cubicBezTo>
                      <a:pt x="5134" y="1564"/>
                      <a:pt x="5134" y="1584"/>
                      <a:pt x="5134" y="1584"/>
                    </a:cubicBezTo>
                    <a:cubicBezTo>
                      <a:pt x="5162" y="1607"/>
                      <a:pt x="5162" y="1607"/>
                      <a:pt x="5162" y="1607"/>
                    </a:cubicBezTo>
                    <a:cubicBezTo>
                      <a:pt x="5172" y="1643"/>
                      <a:pt x="5172" y="1643"/>
                      <a:pt x="5172" y="1643"/>
                    </a:cubicBezTo>
                    <a:cubicBezTo>
                      <a:pt x="5198" y="1671"/>
                      <a:pt x="5198" y="1671"/>
                      <a:pt x="5198" y="1671"/>
                    </a:cubicBezTo>
                    <a:cubicBezTo>
                      <a:pt x="5198" y="1671"/>
                      <a:pt x="5184" y="1632"/>
                      <a:pt x="5193" y="1629"/>
                    </a:cubicBezTo>
                    <a:cubicBezTo>
                      <a:pt x="5201" y="1627"/>
                      <a:pt x="5205" y="1636"/>
                      <a:pt x="5205" y="1636"/>
                    </a:cubicBezTo>
                    <a:cubicBezTo>
                      <a:pt x="5226" y="1636"/>
                      <a:pt x="5226" y="1636"/>
                      <a:pt x="5226" y="1636"/>
                    </a:cubicBezTo>
                    <a:cubicBezTo>
                      <a:pt x="5248" y="1663"/>
                      <a:pt x="5248" y="1663"/>
                      <a:pt x="5248" y="1663"/>
                    </a:cubicBezTo>
                    <a:cubicBezTo>
                      <a:pt x="5249" y="1646"/>
                      <a:pt x="5249" y="1646"/>
                      <a:pt x="5249" y="1646"/>
                    </a:cubicBezTo>
                    <a:cubicBezTo>
                      <a:pt x="5229" y="1621"/>
                      <a:pt x="5229" y="1621"/>
                      <a:pt x="5229" y="1621"/>
                    </a:cubicBezTo>
                    <a:lnTo>
                      <a:pt x="5213" y="1622"/>
                    </a:lnTo>
                    <a:close/>
                    <a:moveTo>
                      <a:pt x="899" y="58"/>
                    </a:moveTo>
                    <a:cubicBezTo>
                      <a:pt x="905" y="46"/>
                      <a:pt x="905" y="46"/>
                      <a:pt x="905" y="46"/>
                    </a:cubicBezTo>
                    <a:cubicBezTo>
                      <a:pt x="876" y="42"/>
                      <a:pt x="876" y="42"/>
                      <a:pt x="876" y="42"/>
                    </a:cubicBezTo>
                    <a:cubicBezTo>
                      <a:pt x="861" y="52"/>
                      <a:pt x="861" y="52"/>
                      <a:pt x="861" y="52"/>
                    </a:cubicBezTo>
                    <a:cubicBezTo>
                      <a:pt x="864" y="61"/>
                      <a:pt x="864" y="61"/>
                      <a:pt x="864" y="61"/>
                    </a:cubicBezTo>
                    <a:lnTo>
                      <a:pt x="899" y="58"/>
                    </a:lnTo>
                    <a:close/>
                    <a:moveTo>
                      <a:pt x="771" y="1607"/>
                    </a:moveTo>
                    <a:cubicBezTo>
                      <a:pt x="771" y="1607"/>
                      <a:pt x="773" y="1608"/>
                      <a:pt x="774" y="1608"/>
                    </a:cubicBezTo>
                    <a:cubicBezTo>
                      <a:pt x="773" y="1608"/>
                      <a:pt x="771" y="1607"/>
                      <a:pt x="771" y="1607"/>
                    </a:cubicBezTo>
                    <a:close/>
                    <a:moveTo>
                      <a:pt x="771" y="1607"/>
                    </a:moveTo>
                    <a:cubicBezTo>
                      <a:pt x="770" y="1607"/>
                      <a:pt x="770" y="1607"/>
                      <a:pt x="770" y="1607"/>
                    </a:cubicBezTo>
                    <a:cubicBezTo>
                      <a:pt x="770" y="1607"/>
                      <a:pt x="770" y="1607"/>
                      <a:pt x="771" y="1607"/>
                    </a:cubicBezTo>
                    <a:close/>
                    <a:moveTo>
                      <a:pt x="6034" y="664"/>
                    </a:moveTo>
                    <a:cubicBezTo>
                      <a:pt x="6023" y="650"/>
                      <a:pt x="5993" y="645"/>
                      <a:pt x="5993" y="645"/>
                    </a:cubicBezTo>
                    <a:cubicBezTo>
                      <a:pt x="5962" y="631"/>
                      <a:pt x="5962" y="631"/>
                      <a:pt x="5962" y="631"/>
                    </a:cubicBezTo>
                    <a:cubicBezTo>
                      <a:pt x="5935" y="632"/>
                      <a:pt x="5935" y="632"/>
                      <a:pt x="5935" y="632"/>
                    </a:cubicBezTo>
                    <a:cubicBezTo>
                      <a:pt x="5915" y="619"/>
                      <a:pt x="5915" y="619"/>
                      <a:pt x="5915" y="619"/>
                    </a:cubicBezTo>
                    <a:cubicBezTo>
                      <a:pt x="5854" y="615"/>
                      <a:pt x="5854" y="615"/>
                      <a:pt x="5854" y="615"/>
                    </a:cubicBezTo>
                    <a:cubicBezTo>
                      <a:pt x="5829" y="603"/>
                      <a:pt x="5829" y="603"/>
                      <a:pt x="5829" y="603"/>
                    </a:cubicBezTo>
                    <a:cubicBezTo>
                      <a:pt x="5805" y="605"/>
                      <a:pt x="5805" y="605"/>
                      <a:pt x="5805" y="605"/>
                    </a:cubicBezTo>
                    <a:cubicBezTo>
                      <a:pt x="5838" y="630"/>
                      <a:pt x="5838" y="630"/>
                      <a:pt x="5838" y="630"/>
                    </a:cubicBezTo>
                    <a:cubicBezTo>
                      <a:pt x="5874" y="646"/>
                      <a:pt x="5874" y="646"/>
                      <a:pt x="5874" y="646"/>
                    </a:cubicBezTo>
                    <a:cubicBezTo>
                      <a:pt x="5874" y="646"/>
                      <a:pt x="5834" y="652"/>
                      <a:pt x="5822" y="642"/>
                    </a:cubicBezTo>
                    <a:cubicBezTo>
                      <a:pt x="5810" y="632"/>
                      <a:pt x="5809" y="610"/>
                      <a:pt x="5756" y="592"/>
                    </a:cubicBezTo>
                    <a:cubicBezTo>
                      <a:pt x="5703" y="574"/>
                      <a:pt x="5687" y="567"/>
                      <a:pt x="5633" y="558"/>
                    </a:cubicBezTo>
                    <a:cubicBezTo>
                      <a:pt x="5579" y="549"/>
                      <a:pt x="5466" y="523"/>
                      <a:pt x="5412" y="510"/>
                    </a:cubicBezTo>
                    <a:cubicBezTo>
                      <a:pt x="5358" y="497"/>
                      <a:pt x="5297" y="488"/>
                      <a:pt x="5297" y="488"/>
                    </a:cubicBezTo>
                    <a:cubicBezTo>
                      <a:pt x="5175" y="490"/>
                      <a:pt x="5175" y="490"/>
                      <a:pt x="5175" y="490"/>
                    </a:cubicBezTo>
                    <a:cubicBezTo>
                      <a:pt x="5166" y="478"/>
                      <a:pt x="5166" y="478"/>
                      <a:pt x="5166" y="478"/>
                    </a:cubicBezTo>
                    <a:cubicBezTo>
                      <a:pt x="5135" y="480"/>
                      <a:pt x="5135" y="480"/>
                      <a:pt x="5135" y="480"/>
                    </a:cubicBezTo>
                    <a:cubicBezTo>
                      <a:pt x="5124" y="472"/>
                      <a:pt x="5124" y="472"/>
                      <a:pt x="5124" y="472"/>
                    </a:cubicBezTo>
                    <a:cubicBezTo>
                      <a:pt x="5088" y="471"/>
                      <a:pt x="5088" y="471"/>
                      <a:pt x="5088" y="471"/>
                    </a:cubicBezTo>
                    <a:cubicBezTo>
                      <a:pt x="5105" y="483"/>
                      <a:pt x="5105" y="483"/>
                      <a:pt x="5105" y="483"/>
                    </a:cubicBezTo>
                    <a:cubicBezTo>
                      <a:pt x="5100" y="497"/>
                      <a:pt x="5100" y="497"/>
                      <a:pt x="5100" y="497"/>
                    </a:cubicBezTo>
                    <a:cubicBezTo>
                      <a:pt x="5100" y="497"/>
                      <a:pt x="5199" y="520"/>
                      <a:pt x="5170" y="533"/>
                    </a:cubicBezTo>
                    <a:cubicBezTo>
                      <a:pt x="5141" y="546"/>
                      <a:pt x="5123" y="529"/>
                      <a:pt x="5123" y="529"/>
                    </a:cubicBezTo>
                    <a:cubicBezTo>
                      <a:pt x="5106" y="515"/>
                      <a:pt x="5106" y="515"/>
                      <a:pt x="5106" y="515"/>
                    </a:cubicBezTo>
                    <a:cubicBezTo>
                      <a:pt x="5061" y="515"/>
                      <a:pt x="5061" y="515"/>
                      <a:pt x="5061" y="515"/>
                    </a:cubicBezTo>
                    <a:cubicBezTo>
                      <a:pt x="5024" y="492"/>
                      <a:pt x="5024" y="492"/>
                      <a:pt x="5024" y="492"/>
                    </a:cubicBezTo>
                    <a:cubicBezTo>
                      <a:pt x="5024" y="492"/>
                      <a:pt x="5006" y="496"/>
                      <a:pt x="5002" y="499"/>
                    </a:cubicBezTo>
                    <a:cubicBezTo>
                      <a:pt x="4998" y="502"/>
                      <a:pt x="4966" y="501"/>
                      <a:pt x="4966" y="501"/>
                    </a:cubicBezTo>
                    <a:cubicBezTo>
                      <a:pt x="4962" y="493"/>
                      <a:pt x="4962" y="493"/>
                      <a:pt x="4962" y="493"/>
                    </a:cubicBezTo>
                    <a:cubicBezTo>
                      <a:pt x="4900" y="496"/>
                      <a:pt x="4900" y="496"/>
                      <a:pt x="4900" y="496"/>
                    </a:cubicBezTo>
                    <a:cubicBezTo>
                      <a:pt x="4884" y="484"/>
                      <a:pt x="4884" y="484"/>
                      <a:pt x="4884" y="484"/>
                    </a:cubicBezTo>
                    <a:cubicBezTo>
                      <a:pt x="4879" y="490"/>
                      <a:pt x="4879" y="490"/>
                      <a:pt x="4879" y="490"/>
                    </a:cubicBezTo>
                    <a:cubicBezTo>
                      <a:pt x="4879" y="490"/>
                      <a:pt x="4801" y="483"/>
                      <a:pt x="4806" y="493"/>
                    </a:cubicBezTo>
                    <a:cubicBezTo>
                      <a:pt x="4811" y="503"/>
                      <a:pt x="4840" y="527"/>
                      <a:pt x="4840" y="527"/>
                    </a:cubicBezTo>
                    <a:cubicBezTo>
                      <a:pt x="4840" y="527"/>
                      <a:pt x="4804" y="506"/>
                      <a:pt x="4799" y="501"/>
                    </a:cubicBezTo>
                    <a:cubicBezTo>
                      <a:pt x="4794" y="496"/>
                      <a:pt x="4728" y="488"/>
                      <a:pt x="4728" y="488"/>
                    </a:cubicBezTo>
                    <a:cubicBezTo>
                      <a:pt x="4728" y="488"/>
                      <a:pt x="4718" y="470"/>
                      <a:pt x="4693" y="457"/>
                    </a:cubicBezTo>
                    <a:cubicBezTo>
                      <a:pt x="4668" y="444"/>
                      <a:pt x="4630" y="438"/>
                      <a:pt x="4613" y="437"/>
                    </a:cubicBezTo>
                    <a:cubicBezTo>
                      <a:pt x="4596" y="436"/>
                      <a:pt x="4561" y="432"/>
                      <a:pt x="4561" y="432"/>
                    </a:cubicBezTo>
                    <a:cubicBezTo>
                      <a:pt x="4527" y="425"/>
                      <a:pt x="4527" y="425"/>
                      <a:pt x="4527" y="425"/>
                    </a:cubicBezTo>
                    <a:cubicBezTo>
                      <a:pt x="4518" y="429"/>
                      <a:pt x="4518" y="429"/>
                      <a:pt x="4518" y="429"/>
                    </a:cubicBezTo>
                    <a:cubicBezTo>
                      <a:pt x="4478" y="427"/>
                      <a:pt x="4478" y="427"/>
                      <a:pt x="4478" y="427"/>
                    </a:cubicBezTo>
                    <a:cubicBezTo>
                      <a:pt x="4478" y="427"/>
                      <a:pt x="4473" y="447"/>
                      <a:pt x="4451" y="444"/>
                    </a:cubicBezTo>
                    <a:cubicBezTo>
                      <a:pt x="4429" y="441"/>
                      <a:pt x="4400" y="439"/>
                      <a:pt x="4400" y="439"/>
                    </a:cubicBezTo>
                    <a:cubicBezTo>
                      <a:pt x="4400" y="439"/>
                      <a:pt x="4370" y="419"/>
                      <a:pt x="4353" y="418"/>
                    </a:cubicBezTo>
                    <a:cubicBezTo>
                      <a:pt x="4336" y="417"/>
                      <a:pt x="4327" y="420"/>
                      <a:pt x="4327" y="420"/>
                    </a:cubicBezTo>
                    <a:cubicBezTo>
                      <a:pt x="4321" y="409"/>
                      <a:pt x="4321" y="409"/>
                      <a:pt x="4321" y="409"/>
                    </a:cubicBezTo>
                    <a:cubicBezTo>
                      <a:pt x="4296" y="407"/>
                      <a:pt x="4296" y="407"/>
                      <a:pt x="4296" y="407"/>
                    </a:cubicBezTo>
                    <a:cubicBezTo>
                      <a:pt x="4253" y="403"/>
                      <a:pt x="4253" y="403"/>
                      <a:pt x="4253" y="403"/>
                    </a:cubicBezTo>
                    <a:cubicBezTo>
                      <a:pt x="4277" y="395"/>
                      <a:pt x="4277" y="395"/>
                      <a:pt x="4277" y="395"/>
                    </a:cubicBezTo>
                    <a:cubicBezTo>
                      <a:pt x="4251" y="382"/>
                      <a:pt x="4251" y="382"/>
                      <a:pt x="4251" y="382"/>
                    </a:cubicBezTo>
                    <a:cubicBezTo>
                      <a:pt x="4251" y="382"/>
                      <a:pt x="4158" y="369"/>
                      <a:pt x="4155" y="375"/>
                    </a:cubicBezTo>
                    <a:cubicBezTo>
                      <a:pt x="4152" y="381"/>
                      <a:pt x="4164" y="400"/>
                      <a:pt x="4149" y="401"/>
                    </a:cubicBezTo>
                    <a:cubicBezTo>
                      <a:pt x="4134" y="402"/>
                      <a:pt x="4114" y="398"/>
                      <a:pt x="4114" y="398"/>
                    </a:cubicBezTo>
                    <a:cubicBezTo>
                      <a:pt x="4126" y="390"/>
                      <a:pt x="4126" y="390"/>
                      <a:pt x="4126" y="390"/>
                    </a:cubicBezTo>
                    <a:cubicBezTo>
                      <a:pt x="4116" y="380"/>
                      <a:pt x="4116" y="380"/>
                      <a:pt x="4116" y="380"/>
                    </a:cubicBezTo>
                    <a:cubicBezTo>
                      <a:pt x="4116" y="380"/>
                      <a:pt x="4110" y="380"/>
                      <a:pt x="4096" y="382"/>
                    </a:cubicBezTo>
                    <a:cubicBezTo>
                      <a:pt x="4082" y="384"/>
                      <a:pt x="4068" y="379"/>
                      <a:pt x="4068" y="379"/>
                    </a:cubicBezTo>
                    <a:cubicBezTo>
                      <a:pt x="4079" y="374"/>
                      <a:pt x="4079" y="374"/>
                      <a:pt x="4079" y="374"/>
                    </a:cubicBezTo>
                    <a:cubicBezTo>
                      <a:pt x="4109" y="371"/>
                      <a:pt x="4109" y="371"/>
                      <a:pt x="4109" y="371"/>
                    </a:cubicBezTo>
                    <a:cubicBezTo>
                      <a:pt x="4147" y="394"/>
                      <a:pt x="4147" y="394"/>
                      <a:pt x="4147" y="394"/>
                    </a:cubicBezTo>
                    <a:cubicBezTo>
                      <a:pt x="4149" y="375"/>
                      <a:pt x="4149" y="375"/>
                      <a:pt x="4149" y="375"/>
                    </a:cubicBezTo>
                    <a:cubicBezTo>
                      <a:pt x="4110" y="362"/>
                      <a:pt x="4110" y="362"/>
                      <a:pt x="4110" y="362"/>
                    </a:cubicBezTo>
                    <a:cubicBezTo>
                      <a:pt x="4037" y="366"/>
                      <a:pt x="4037" y="366"/>
                      <a:pt x="4037" y="366"/>
                    </a:cubicBezTo>
                    <a:cubicBezTo>
                      <a:pt x="4036" y="357"/>
                      <a:pt x="4036" y="357"/>
                      <a:pt x="4036" y="357"/>
                    </a:cubicBezTo>
                    <a:cubicBezTo>
                      <a:pt x="3955" y="362"/>
                      <a:pt x="3955" y="362"/>
                      <a:pt x="3955" y="362"/>
                    </a:cubicBezTo>
                    <a:cubicBezTo>
                      <a:pt x="3924" y="349"/>
                      <a:pt x="3924" y="349"/>
                      <a:pt x="3924" y="349"/>
                    </a:cubicBezTo>
                    <a:cubicBezTo>
                      <a:pt x="3911" y="349"/>
                      <a:pt x="3911" y="349"/>
                      <a:pt x="3911" y="349"/>
                    </a:cubicBezTo>
                    <a:cubicBezTo>
                      <a:pt x="3936" y="365"/>
                      <a:pt x="3936" y="365"/>
                      <a:pt x="3936" y="365"/>
                    </a:cubicBezTo>
                    <a:cubicBezTo>
                      <a:pt x="3936" y="365"/>
                      <a:pt x="3884" y="364"/>
                      <a:pt x="3892" y="372"/>
                    </a:cubicBezTo>
                    <a:cubicBezTo>
                      <a:pt x="3900" y="380"/>
                      <a:pt x="3910" y="385"/>
                      <a:pt x="3910" y="385"/>
                    </a:cubicBezTo>
                    <a:cubicBezTo>
                      <a:pt x="3931" y="383"/>
                      <a:pt x="3931" y="383"/>
                      <a:pt x="3931" y="383"/>
                    </a:cubicBezTo>
                    <a:cubicBezTo>
                      <a:pt x="3931" y="388"/>
                      <a:pt x="3931" y="388"/>
                      <a:pt x="3931" y="388"/>
                    </a:cubicBezTo>
                    <a:cubicBezTo>
                      <a:pt x="3970" y="414"/>
                      <a:pt x="3970" y="414"/>
                      <a:pt x="3970" y="414"/>
                    </a:cubicBezTo>
                    <a:cubicBezTo>
                      <a:pt x="3970" y="414"/>
                      <a:pt x="3964" y="415"/>
                      <a:pt x="3949" y="414"/>
                    </a:cubicBezTo>
                    <a:cubicBezTo>
                      <a:pt x="3934" y="413"/>
                      <a:pt x="3914" y="398"/>
                      <a:pt x="3909" y="403"/>
                    </a:cubicBezTo>
                    <a:cubicBezTo>
                      <a:pt x="3904" y="408"/>
                      <a:pt x="3900" y="411"/>
                      <a:pt x="3900" y="411"/>
                    </a:cubicBezTo>
                    <a:cubicBezTo>
                      <a:pt x="3917" y="425"/>
                      <a:pt x="3917" y="425"/>
                      <a:pt x="3917" y="425"/>
                    </a:cubicBezTo>
                    <a:cubicBezTo>
                      <a:pt x="3881" y="420"/>
                      <a:pt x="3881" y="420"/>
                      <a:pt x="3881" y="420"/>
                    </a:cubicBezTo>
                    <a:cubicBezTo>
                      <a:pt x="3881" y="420"/>
                      <a:pt x="3832" y="404"/>
                      <a:pt x="3824" y="405"/>
                    </a:cubicBezTo>
                    <a:cubicBezTo>
                      <a:pt x="3816" y="406"/>
                      <a:pt x="3788" y="418"/>
                      <a:pt x="3788" y="418"/>
                    </a:cubicBezTo>
                    <a:cubicBezTo>
                      <a:pt x="3743" y="414"/>
                      <a:pt x="3743" y="414"/>
                      <a:pt x="3743" y="414"/>
                    </a:cubicBezTo>
                    <a:cubicBezTo>
                      <a:pt x="3743" y="414"/>
                      <a:pt x="3705" y="396"/>
                      <a:pt x="3702" y="392"/>
                    </a:cubicBezTo>
                    <a:cubicBezTo>
                      <a:pt x="3699" y="388"/>
                      <a:pt x="3692" y="398"/>
                      <a:pt x="3695" y="406"/>
                    </a:cubicBezTo>
                    <a:cubicBezTo>
                      <a:pt x="3698" y="414"/>
                      <a:pt x="3725" y="442"/>
                      <a:pt x="3709" y="443"/>
                    </a:cubicBezTo>
                    <a:cubicBezTo>
                      <a:pt x="3693" y="444"/>
                      <a:pt x="3614" y="415"/>
                      <a:pt x="3611" y="413"/>
                    </a:cubicBezTo>
                    <a:cubicBezTo>
                      <a:pt x="3608" y="411"/>
                      <a:pt x="3589" y="394"/>
                      <a:pt x="3589" y="394"/>
                    </a:cubicBezTo>
                    <a:cubicBezTo>
                      <a:pt x="3587" y="404"/>
                      <a:pt x="3587" y="404"/>
                      <a:pt x="3587" y="404"/>
                    </a:cubicBezTo>
                    <a:cubicBezTo>
                      <a:pt x="3550" y="393"/>
                      <a:pt x="3550" y="393"/>
                      <a:pt x="3550" y="393"/>
                    </a:cubicBezTo>
                    <a:cubicBezTo>
                      <a:pt x="3533" y="381"/>
                      <a:pt x="3533" y="381"/>
                      <a:pt x="3533" y="381"/>
                    </a:cubicBezTo>
                    <a:cubicBezTo>
                      <a:pt x="3533" y="381"/>
                      <a:pt x="3571" y="391"/>
                      <a:pt x="3577" y="386"/>
                    </a:cubicBezTo>
                    <a:cubicBezTo>
                      <a:pt x="3583" y="381"/>
                      <a:pt x="3554" y="367"/>
                      <a:pt x="3554" y="367"/>
                    </a:cubicBezTo>
                    <a:cubicBezTo>
                      <a:pt x="3531" y="367"/>
                      <a:pt x="3531" y="367"/>
                      <a:pt x="3531" y="367"/>
                    </a:cubicBezTo>
                    <a:cubicBezTo>
                      <a:pt x="3531" y="367"/>
                      <a:pt x="3542" y="361"/>
                      <a:pt x="3535" y="356"/>
                    </a:cubicBezTo>
                    <a:cubicBezTo>
                      <a:pt x="3528" y="351"/>
                      <a:pt x="3508" y="351"/>
                      <a:pt x="3508" y="351"/>
                    </a:cubicBezTo>
                    <a:cubicBezTo>
                      <a:pt x="3516" y="342"/>
                      <a:pt x="3516" y="342"/>
                      <a:pt x="3516" y="342"/>
                    </a:cubicBezTo>
                    <a:cubicBezTo>
                      <a:pt x="3516" y="342"/>
                      <a:pt x="3484" y="333"/>
                      <a:pt x="3480" y="333"/>
                    </a:cubicBezTo>
                    <a:cubicBezTo>
                      <a:pt x="3476" y="333"/>
                      <a:pt x="3461" y="323"/>
                      <a:pt x="3461" y="323"/>
                    </a:cubicBezTo>
                    <a:cubicBezTo>
                      <a:pt x="3430" y="323"/>
                      <a:pt x="3430" y="323"/>
                      <a:pt x="3430" y="323"/>
                    </a:cubicBezTo>
                    <a:cubicBezTo>
                      <a:pt x="3430" y="323"/>
                      <a:pt x="3439" y="326"/>
                      <a:pt x="3416" y="327"/>
                    </a:cubicBezTo>
                    <a:cubicBezTo>
                      <a:pt x="3393" y="328"/>
                      <a:pt x="3378" y="320"/>
                      <a:pt x="3378" y="320"/>
                    </a:cubicBezTo>
                    <a:cubicBezTo>
                      <a:pt x="3364" y="326"/>
                      <a:pt x="3364" y="326"/>
                      <a:pt x="3364" y="326"/>
                    </a:cubicBezTo>
                    <a:cubicBezTo>
                      <a:pt x="3362" y="317"/>
                      <a:pt x="3362" y="317"/>
                      <a:pt x="3362" y="317"/>
                    </a:cubicBezTo>
                    <a:cubicBezTo>
                      <a:pt x="3330" y="311"/>
                      <a:pt x="3330" y="311"/>
                      <a:pt x="3330" y="311"/>
                    </a:cubicBezTo>
                    <a:cubicBezTo>
                      <a:pt x="3323" y="305"/>
                      <a:pt x="3323" y="305"/>
                      <a:pt x="3323" y="305"/>
                    </a:cubicBezTo>
                    <a:cubicBezTo>
                      <a:pt x="3318" y="318"/>
                      <a:pt x="3318" y="318"/>
                      <a:pt x="3318" y="318"/>
                    </a:cubicBezTo>
                    <a:cubicBezTo>
                      <a:pt x="3309" y="319"/>
                      <a:pt x="3309" y="319"/>
                      <a:pt x="3309" y="319"/>
                    </a:cubicBezTo>
                    <a:cubicBezTo>
                      <a:pt x="3327" y="334"/>
                      <a:pt x="3327" y="334"/>
                      <a:pt x="3327" y="334"/>
                    </a:cubicBezTo>
                    <a:cubicBezTo>
                      <a:pt x="3344" y="354"/>
                      <a:pt x="3344" y="354"/>
                      <a:pt x="3344" y="354"/>
                    </a:cubicBezTo>
                    <a:cubicBezTo>
                      <a:pt x="3310" y="350"/>
                      <a:pt x="3310" y="350"/>
                      <a:pt x="3310" y="350"/>
                    </a:cubicBezTo>
                    <a:cubicBezTo>
                      <a:pt x="3306" y="344"/>
                      <a:pt x="3306" y="344"/>
                      <a:pt x="3306" y="344"/>
                    </a:cubicBezTo>
                    <a:cubicBezTo>
                      <a:pt x="3262" y="347"/>
                      <a:pt x="3262" y="347"/>
                      <a:pt x="3262" y="347"/>
                    </a:cubicBezTo>
                    <a:cubicBezTo>
                      <a:pt x="3251" y="351"/>
                      <a:pt x="3251" y="351"/>
                      <a:pt x="3251" y="351"/>
                    </a:cubicBezTo>
                    <a:cubicBezTo>
                      <a:pt x="3250" y="343"/>
                      <a:pt x="3250" y="343"/>
                      <a:pt x="3250" y="343"/>
                    </a:cubicBezTo>
                    <a:cubicBezTo>
                      <a:pt x="3221" y="349"/>
                      <a:pt x="3221" y="349"/>
                      <a:pt x="3221" y="349"/>
                    </a:cubicBezTo>
                    <a:cubicBezTo>
                      <a:pt x="3216" y="341"/>
                      <a:pt x="3216" y="341"/>
                      <a:pt x="3216" y="341"/>
                    </a:cubicBezTo>
                    <a:cubicBezTo>
                      <a:pt x="3178" y="342"/>
                      <a:pt x="3178" y="342"/>
                      <a:pt x="3178" y="342"/>
                    </a:cubicBezTo>
                    <a:cubicBezTo>
                      <a:pt x="3156" y="335"/>
                      <a:pt x="3156" y="335"/>
                      <a:pt x="3156" y="335"/>
                    </a:cubicBezTo>
                    <a:cubicBezTo>
                      <a:pt x="3167" y="321"/>
                      <a:pt x="3167" y="321"/>
                      <a:pt x="3167" y="321"/>
                    </a:cubicBezTo>
                    <a:cubicBezTo>
                      <a:pt x="3082" y="320"/>
                      <a:pt x="3082" y="320"/>
                      <a:pt x="3082" y="320"/>
                    </a:cubicBezTo>
                    <a:cubicBezTo>
                      <a:pt x="3077" y="314"/>
                      <a:pt x="3077" y="314"/>
                      <a:pt x="3077" y="314"/>
                    </a:cubicBezTo>
                    <a:cubicBezTo>
                      <a:pt x="3071" y="317"/>
                      <a:pt x="3071" y="317"/>
                      <a:pt x="3071" y="317"/>
                    </a:cubicBezTo>
                    <a:cubicBezTo>
                      <a:pt x="3065" y="313"/>
                      <a:pt x="3065" y="313"/>
                      <a:pt x="3065" y="313"/>
                    </a:cubicBezTo>
                    <a:cubicBezTo>
                      <a:pt x="3030" y="315"/>
                      <a:pt x="3030" y="315"/>
                      <a:pt x="3030" y="315"/>
                    </a:cubicBezTo>
                    <a:cubicBezTo>
                      <a:pt x="3034" y="323"/>
                      <a:pt x="3034" y="323"/>
                      <a:pt x="3034" y="323"/>
                    </a:cubicBezTo>
                    <a:cubicBezTo>
                      <a:pt x="2997" y="319"/>
                      <a:pt x="2997" y="319"/>
                      <a:pt x="2997" y="319"/>
                    </a:cubicBezTo>
                    <a:cubicBezTo>
                      <a:pt x="2987" y="324"/>
                      <a:pt x="2987" y="324"/>
                      <a:pt x="2987" y="324"/>
                    </a:cubicBezTo>
                    <a:cubicBezTo>
                      <a:pt x="3008" y="331"/>
                      <a:pt x="3008" y="331"/>
                      <a:pt x="3008" y="331"/>
                    </a:cubicBezTo>
                    <a:cubicBezTo>
                      <a:pt x="2981" y="330"/>
                      <a:pt x="2981" y="330"/>
                      <a:pt x="2981" y="330"/>
                    </a:cubicBezTo>
                    <a:cubicBezTo>
                      <a:pt x="2978" y="318"/>
                      <a:pt x="2978" y="318"/>
                      <a:pt x="2978" y="318"/>
                    </a:cubicBezTo>
                    <a:cubicBezTo>
                      <a:pt x="2961" y="303"/>
                      <a:pt x="2961" y="303"/>
                      <a:pt x="2961" y="303"/>
                    </a:cubicBezTo>
                    <a:cubicBezTo>
                      <a:pt x="2947" y="303"/>
                      <a:pt x="2947" y="303"/>
                      <a:pt x="2947" y="303"/>
                    </a:cubicBezTo>
                    <a:cubicBezTo>
                      <a:pt x="2954" y="318"/>
                      <a:pt x="2954" y="318"/>
                      <a:pt x="2954" y="318"/>
                    </a:cubicBezTo>
                    <a:cubicBezTo>
                      <a:pt x="2919" y="318"/>
                      <a:pt x="2919" y="318"/>
                      <a:pt x="2919" y="318"/>
                    </a:cubicBezTo>
                    <a:cubicBezTo>
                      <a:pt x="2915" y="313"/>
                      <a:pt x="2915" y="313"/>
                      <a:pt x="2915" y="313"/>
                    </a:cubicBezTo>
                    <a:cubicBezTo>
                      <a:pt x="2906" y="313"/>
                      <a:pt x="2906" y="313"/>
                      <a:pt x="2906" y="313"/>
                    </a:cubicBezTo>
                    <a:cubicBezTo>
                      <a:pt x="2902" y="303"/>
                      <a:pt x="2902" y="303"/>
                      <a:pt x="2902" y="303"/>
                    </a:cubicBezTo>
                    <a:cubicBezTo>
                      <a:pt x="2893" y="303"/>
                      <a:pt x="2893" y="303"/>
                      <a:pt x="2893" y="303"/>
                    </a:cubicBezTo>
                    <a:cubicBezTo>
                      <a:pt x="2882" y="306"/>
                      <a:pt x="2882" y="306"/>
                      <a:pt x="2882" y="306"/>
                    </a:cubicBezTo>
                    <a:cubicBezTo>
                      <a:pt x="2866" y="298"/>
                      <a:pt x="2866" y="298"/>
                      <a:pt x="2866" y="298"/>
                    </a:cubicBezTo>
                    <a:cubicBezTo>
                      <a:pt x="2846" y="312"/>
                      <a:pt x="2846" y="312"/>
                      <a:pt x="2846" y="312"/>
                    </a:cubicBezTo>
                    <a:cubicBezTo>
                      <a:pt x="2882" y="316"/>
                      <a:pt x="2882" y="316"/>
                      <a:pt x="2882" y="316"/>
                    </a:cubicBezTo>
                    <a:cubicBezTo>
                      <a:pt x="2890" y="317"/>
                      <a:pt x="2890" y="317"/>
                      <a:pt x="2890" y="317"/>
                    </a:cubicBezTo>
                    <a:cubicBezTo>
                      <a:pt x="2890" y="317"/>
                      <a:pt x="2877" y="328"/>
                      <a:pt x="2870" y="328"/>
                    </a:cubicBezTo>
                    <a:cubicBezTo>
                      <a:pt x="2863" y="328"/>
                      <a:pt x="2858" y="327"/>
                      <a:pt x="2852" y="329"/>
                    </a:cubicBezTo>
                    <a:cubicBezTo>
                      <a:pt x="2846" y="331"/>
                      <a:pt x="2844" y="337"/>
                      <a:pt x="2839" y="337"/>
                    </a:cubicBezTo>
                    <a:cubicBezTo>
                      <a:pt x="2834" y="337"/>
                      <a:pt x="2790" y="338"/>
                      <a:pt x="2790" y="338"/>
                    </a:cubicBezTo>
                    <a:cubicBezTo>
                      <a:pt x="2768" y="341"/>
                      <a:pt x="2768" y="341"/>
                      <a:pt x="2768" y="341"/>
                    </a:cubicBezTo>
                    <a:cubicBezTo>
                      <a:pt x="2758" y="358"/>
                      <a:pt x="2758" y="358"/>
                      <a:pt x="2758" y="358"/>
                    </a:cubicBezTo>
                    <a:cubicBezTo>
                      <a:pt x="2742" y="354"/>
                      <a:pt x="2742" y="354"/>
                      <a:pt x="2742" y="354"/>
                    </a:cubicBezTo>
                    <a:cubicBezTo>
                      <a:pt x="2742" y="354"/>
                      <a:pt x="2745" y="338"/>
                      <a:pt x="2753" y="334"/>
                    </a:cubicBezTo>
                    <a:cubicBezTo>
                      <a:pt x="2761" y="330"/>
                      <a:pt x="2773" y="330"/>
                      <a:pt x="2773" y="330"/>
                    </a:cubicBezTo>
                    <a:cubicBezTo>
                      <a:pt x="2778" y="319"/>
                      <a:pt x="2778" y="319"/>
                      <a:pt x="2778" y="319"/>
                    </a:cubicBezTo>
                    <a:cubicBezTo>
                      <a:pt x="2806" y="316"/>
                      <a:pt x="2806" y="316"/>
                      <a:pt x="2806" y="316"/>
                    </a:cubicBezTo>
                    <a:cubicBezTo>
                      <a:pt x="2836" y="294"/>
                      <a:pt x="2836" y="294"/>
                      <a:pt x="2836" y="294"/>
                    </a:cubicBezTo>
                    <a:cubicBezTo>
                      <a:pt x="2836" y="294"/>
                      <a:pt x="2835" y="281"/>
                      <a:pt x="2847" y="276"/>
                    </a:cubicBezTo>
                    <a:cubicBezTo>
                      <a:pt x="2859" y="271"/>
                      <a:pt x="2908" y="272"/>
                      <a:pt x="2906" y="254"/>
                    </a:cubicBezTo>
                    <a:cubicBezTo>
                      <a:pt x="2904" y="236"/>
                      <a:pt x="2889" y="232"/>
                      <a:pt x="2889" y="232"/>
                    </a:cubicBezTo>
                    <a:cubicBezTo>
                      <a:pt x="2862" y="234"/>
                      <a:pt x="2862" y="234"/>
                      <a:pt x="2862" y="234"/>
                    </a:cubicBezTo>
                    <a:cubicBezTo>
                      <a:pt x="2885" y="224"/>
                      <a:pt x="2885" y="224"/>
                      <a:pt x="2885" y="224"/>
                    </a:cubicBezTo>
                    <a:cubicBezTo>
                      <a:pt x="2885" y="224"/>
                      <a:pt x="2865" y="209"/>
                      <a:pt x="2860" y="210"/>
                    </a:cubicBezTo>
                    <a:cubicBezTo>
                      <a:pt x="2855" y="211"/>
                      <a:pt x="2838" y="212"/>
                      <a:pt x="2838" y="212"/>
                    </a:cubicBezTo>
                    <a:cubicBezTo>
                      <a:pt x="2838" y="212"/>
                      <a:pt x="2832" y="196"/>
                      <a:pt x="2819" y="196"/>
                    </a:cubicBezTo>
                    <a:cubicBezTo>
                      <a:pt x="2806" y="196"/>
                      <a:pt x="2792" y="201"/>
                      <a:pt x="2792" y="201"/>
                    </a:cubicBezTo>
                    <a:cubicBezTo>
                      <a:pt x="2756" y="192"/>
                      <a:pt x="2756" y="192"/>
                      <a:pt x="2756" y="192"/>
                    </a:cubicBezTo>
                    <a:cubicBezTo>
                      <a:pt x="2662" y="189"/>
                      <a:pt x="2662" y="189"/>
                      <a:pt x="2662" y="189"/>
                    </a:cubicBezTo>
                    <a:cubicBezTo>
                      <a:pt x="2665" y="201"/>
                      <a:pt x="2665" y="201"/>
                      <a:pt x="2665" y="201"/>
                    </a:cubicBezTo>
                    <a:cubicBezTo>
                      <a:pt x="2620" y="201"/>
                      <a:pt x="2620" y="201"/>
                      <a:pt x="2620" y="201"/>
                    </a:cubicBezTo>
                    <a:cubicBezTo>
                      <a:pt x="2620" y="201"/>
                      <a:pt x="2639" y="184"/>
                      <a:pt x="2627" y="179"/>
                    </a:cubicBezTo>
                    <a:cubicBezTo>
                      <a:pt x="2615" y="174"/>
                      <a:pt x="2564" y="180"/>
                      <a:pt x="2564" y="180"/>
                    </a:cubicBezTo>
                    <a:cubicBezTo>
                      <a:pt x="2523" y="176"/>
                      <a:pt x="2523" y="176"/>
                      <a:pt x="2523" y="176"/>
                    </a:cubicBezTo>
                    <a:cubicBezTo>
                      <a:pt x="2523" y="176"/>
                      <a:pt x="2570" y="174"/>
                      <a:pt x="2564" y="165"/>
                    </a:cubicBezTo>
                    <a:cubicBezTo>
                      <a:pt x="2558" y="156"/>
                      <a:pt x="2511" y="155"/>
                      <a:pt x="2511" y="155"/>
                    </a:cubicBezTo>
                    <a:cubicBezTo>
                      <a:pt x="2483" y="151"/>
                      <a:pt x="2483" y="151"/>
                      <a:pt x="2483" y="151"/>
                    </a:cubicBezTo>
                    <a:cubicBezTo>
                      <a:pt x="2480" y="161"/>
                      <a:pt x="2480" y="161"/>
                      <a:pt x="2480" y="161"/>
                    </a:cubicBezTo>
                    <a:cubicBezTo>
                      <a:pt x="2480" y="161"/>
                      <a:pt x="2431" y="159"/>
                      <a:pt x="2435" y="173"/>
                    </a:cubicBezTo>
                    <a:cubicBezTo>
                      <a:pt x="2439" y="187"/>
                      <a:pt x="2485" y="202"/>
                      <a:pt x="2485" y="202"/>
                    </a:cubicBezTo>
                    <a:cubicBezTo>
                      <a:pt x="2389" y="196"/>
                      <a:pt x="2389" y="196"/>
                      <a:pt x="2389" y="196"/>
                    </a:cubicBezTo>
                    <a:cubicBezTo>
                      <a:pt x="2423" y="210"/>
                      <a:pt x="2423" y="210"/>
                      <a:pt x="2423" y="210"/>
                    </a:cubicBezTo>
                    <a:cubicBezTo>
                      <a:pt x="2388" y="215"/>
                      <a:pt x="2388" y="215"/>
                      <a:pt x="2388" y="215"/>
                    </a:cubicBezTo>
                    <a:cubicBezTo>
                      <a:pt x="2388" y="215"/>
                      <a:pt x="2331" y="233"/>
                      <a:pt x="2321" y="227"/>
                    </a:cubicBezTo>
                    <a:cubicBezTo>
                      <a:pt x="2311" y="221"/>
                      <a:pt x="2326" y="209"/>
                      <a:pt x="2326" y="209"/>
                    </a:cubicBezTo>
                    <a:cubicBezTo>
                      <a:pt x="2326" y="209"/>
                      <a:pt x="2278" y="209"/>
                      <a:pt x="2269" y="211"/>
                    </a:cubicBezTo>
                    <a:cubicBezTo>
                      <a:pt x="2260" y="213"/>
                      <a:pt x="2246" y="225"/>
                      <a:pt x="2246" y="225"/>
                    </a:cubicBezTo>
                    <a:cubicBezTo>
                      <a:pt x="2246" y="225"/>
                      <a:pt x="2183" y="230"/>
                      <a:pt x="2168" y="233"/>
                    </a:cubicBezTo>
                    <a:cubicBezTo>
                      <a:pt x="2153" y="236"/>
                      <a:pt x="2120" y="243"/>
                      <a:pt x="2120" y="243"/>
                    </a:cubicBezTo>
                    <a:cubicBezTo>
                      <a:pt x="2091" y="266"/>
                      <a:pt x="2091" y="266"/>
                      <a:pt x="2091" y="266"/>
                    </a:cubicBezTo>
                    <a:cubicBezTo>
                      <a:pt x="2091" y="266"/>
                      <a:pt x="2059" y="264"/>
                      <a:pt x="2073" y="278"/>
                    </a:cubicBezTo>
                    <a:cubicBezTo>
                      <a:pt x="2087" y="292"/>
                      <a:pt x="2112" y="302"/>
                      <a:pt x="2112" y="302"/>
                    </a:cubicBezTo>
                    <a:cubicBezTo>
                      <a:pt x="2082" y="308"/>
                      <a:pt x="2082" y="308"/>
                      <a:pt x="2082" y="308"/>
                    </a:cubicBezTo>
                    <a:cubicBezTo>
                      <a:pt x="2068" y="317"/>
                      <a:pt x="2068" y="317"/>
                      <a:pt x="2068" y="317"/>
                    </a:cubicBezTo>
                    <a:cubicBezTo>
                      <a:pt x="2001" y="315"/>
                      <a:pt x="2001" y="315"/>
                      <a:pt x="2001" y="315"/>
                    </a:cubicBezTo>
                    <a:cubicBezTo>
                      <a:pt x="1996" y="320"/>
                      <a:pt x="1996" y="320"/>
                      <a:pt x="1996" y="320"/>
                    </a:cubicBezTo>
                    <a:cubicBezTo>
                      <a:pt x="1971" y="311"/>
                      <a:pt x="1971" y="311"/>
                      <a:pt x="1971" y="311"/>
                    </a:cubicBezTo>
                    <a:cubicBezTo>
                      <a:pt x="1960" y="318"/>
                      <a:pt x="1960" y="318"/>
                      <a:pt x="1960" y="318"/>
                    </a:cubicBezTo>
                    <a:cubicBezTo>
                      <a:pt x="1960" y="318"/>
                      <a:pt x="1922" y="314"/>
                      <a:pt x="1920" y="322"/>
                    </a:cubicBezTo>
                    <a:cubicBezTo>
                      <a:pt x="1918" y="330"/>
                      <a:pt x="1919" y="345"/>
                      <a:pt x="1930" y="347"/>
                    </a:cubicBezTo>
                    <a:cubicBezTo>
                      <a:pt x="1941" y="349"/>
                      <a:pt x="1947" y="365"/>
                      <a:pt x="1947" y="365"/>
                    </a:cubicBezTo>
                    <a:cubicBezTo>
                      <a:pt x="1947" y="365"/>
                      <a:pt x="1982" y="375"/>
                      <a:pt x="1991" y="375"/>
                    </a:cubicBezTo>
                    <a:cubicBezTo>
                      <a:pt x="2000" y="375"/>
                      <a:pt x="2019" y="380"/>
                      <a:pt x="2026" y="383"/>
                    </a:cubicBezTo>
                    <a:cubicBezTo>
                      <a:pt x="2033" y="386"/>
                      <a:pt x="2049" y="402"/>
                      <a:pt x="2038" y="402"/>
                    </a:cubicBezTo>
                    <a:cubicBezTo>
                      <a:pt x="2027" y="402"/>
                      <a:pt x="2003" y="404"/>
                      <a:pt x="2003" y="404"/>
                    </a:cubicBezTo>
                    <a:cubicBezTo>
                      <a:pt x="2003" y="404"/>
                      <a:pt x="1957" y="384"/>
                      <a:pt x="1941" y="380"/>
                    </a:cubicBezTo>
                    <a:cubicBezTo>
                      <a:pt x="1925" y="376"/>
                      <a:pt x="1901" y="373"/>
                      <a:pt x="1893" y="373"/>
                    </a:cubicBezTo>
                    <a:cubicBezTo>
                      <a:pt x="1885" y="373"/>
                      <a:pt x="1864" y="371"/>
                      <a:pt x="1866" y="379"/>
                    </a:cubicBezTo>
                    <a:cubicBezTo>
                      <a:pt x="1868" y="387"/>
                      <a:pt x="1894" y="397"/>
                      <a:pt x="1877" y="398"/>
                    </a:cubicBezTo>
                    <a:cubicBezTo>
                      <a:pt x="1860" y="399"/>
                      <a:pt x="1854" y="387"/>
                      <a:pt x="1844" y="387"/>
                    </a:cubicBezTo>
                    <a:cubicBezTo>
                      <a:pt x="1834" y="387"/>
                      <a:pt x="1820" y="377"/>
                      <a:pt x="1819" y="390"/>
                    </a:cubicBezTo>
                    <a:cubicBezTo>
                      <a:pt x="1818" y="403"/>
                      <a:pt x="1832" y="416"/>
                      <a:pt x="1847" y="415"/>
                    </a:cubicBezTo>
                    <a:cubicBezTo>
                      <a:pt x="1862" y="414"/>
                      <a:pt x="1885" y="421"/>
                      <a:pt x="1895" y="421"/>
                    </a:cubicBezTo>
                    <a:cubicBezTo>
                      <a:pt x="1905" y="421"/>
                      <a:pt x="1921" y="437"/>
                      <a:pt x="1921" y="437"/>
                    </a:cubicBezTo>
                    <a:cubicBezTo>
                      <a:pt x="1900" y="437"/>
                      <a:pt x="1900" y="437"/>
                      <a:pt x="1900" y="437"/>
                    </a:cubicBezTo>
                    <a:cubicBezTo>
                      <a:pt x="1900" y="437"/>
                      <a:pt x="1894" y="427"/>
                      <a:pt x="1880" y="427"/>
                    </a:cubicBezTo>
                    <a:cubicBezTo>
                      <a:pt x="1866" y="427"/>
                      <a:pt x="1823" y="425"/>
                      <a:pt x="1823" y="425"/>
                    </a:cubicBezTo>
                    <a:cubicBezTo>
                      <a:pt x="1820" y="417"/>
                      <a:pt x="1820" y="417"/>
                      <a:pt x="1820" y="417"/>
                    </a:cubicBezTo>
                    <a:cubicBezTo>
                      <a:pt x="1803" y="417"/>
                      <a:pt x="1803" y="417"/>
                      <a:pt x="1803" y="417"/>
                    </a:cubicBezTo>
                    <a:cubicBezTo>
                      <a:pt x="1800" y="406"/>
                      <a:pt x="1800" y="406"/>
                      <a:pt x="1800" y="406"/>
                    </a:cubicBezTo>
                    <a:cubicBezTo>
                      <a:pt x="1778" y="395"/>
                      <a:pt x="1778" y="395"/>
                      <a:pt x="1778" y="395"/>
                    </a:cubicBezTo>
                    <a:cubicBezTo>
                      <a:pt x="1778" y="395"/>
                      <a:pt x="1803" y="383"/>
                      <a:pt x="1793" y="374"/>
                    </a:cubicBezTo>
                    <a:cubicBezTo>
                      <a:pt x="1783" y="365"/>
                      <a:pt x="1769" y="354"/>
                      <a:pt x="1769" y="354"/>
                    </a:cubicBezTo>
                    <a:cubicBezTo>
                      <a:pt x="1748" y="353"/>
                      <a:pt x="1748" y="353"/>
                      <a:pt x="1748" y="353"/>
                    </a:cubicBezTo>
                    <a:cubicBezTo>
                      <a:pt x="1748" y="353"/>
                      <a:pt x="1778" y="370"/>
                      <a:pt x="1769" y="378"/>
                    </a:cubicBezTo>
                    <a:cubicBezTo>
                      <a:pt x="1760" y="386"/>
                      <a:pt x="1740" y="389"/>
                      <a:pt x="1740" y="389"/>
                    </a:cubicBezTo>
                    <a:cubicBezTo>
                      <a:pt x="1727" y="416"/>
                      <a:pt x="1727" y="416"/>
                      <a:pt x="1727" y="416"/>
                    </a:cubicBezTo>
                    <a:cubicBezTo>
                      <a:pt x="1776" y="441"/>
                      <a:pt x="1776" y="441"/>
                      <a:pt x="1776" y="441"/>
                    </a:cubicBezTo>
                    <a:cubicBezTo>
                      <a:pt x="1776" y="441"/>
                      <a:pt x="1789" y="436"/>
                      <a:pt x="1789" y="442"/>
                    </a:cubicBezTo>
                    <a:cubicBezTo>
                      <a:pt x="1789" y="448"/>
                      <a:pt x="1782" y="479"/>
                      <a:pt x="1782" y="479"/>
                    </a:cubicBezTo>
                    <a:cubicBezTo>
                      <a:pt x="1789" y="492"/>
                      <a:pt x="1789" y="492"/>
                      <a:pt x="1789" y="492"/>
                    </a:cubicBezTo>
                    <a:cubicBezTo>
                      <a:pt x="1813" y="496"/>
                      <a:pt x="1813" y="496"/>
                      <a:pt x="1813" y="496"/>
                    </a:cubicBezTo>
                    <a:cubicBezTo>
                      <a:pt x="1812" y="514"/>
                      <a:pt x="1812" y="514"/>
                      <a:pt x="1812" y="514"/>
                    </a:cubicBezTo>
                    <a:cubicBezTo>
                      <a:pt x="1852" y="522"/>
                      <a:pt x="1852" y="522"/>
                      <a:pt x="1852" y="522"/>
                    </a:cubicBezTo>
                    <a:cubicBezTo>
                      <a:pt x="1852" y="522"/>
                      <a:pt x="1882" y="510"/>
                      <a:pt x="1896" y="511"/>
                    </a:cubicBezTo>
                    <a:cubicBezTo>
                      <a:pt x="1910" y="512"/>
                      <a:pt x="1928" y="524"/>
                      <a:pt x="1928" y="524"/>
                    </a:cubicBezTo>
                    <a:cubicBezTo>
                      <a:pt x="1928" y="524"/>
                      <a:pt x="1957" y="528"/>
                      <a:pt x="1970" y="537"/>
                    </a:cubicBezTo>
                    <a:cubicBezTo>
                      <a:pt x="1983" y="546"/>
                      <a:pt x="1986" y="557"/>
                      <a:pt x="1986" y="557"/>
                    </a:cubicBezTo>
                    <a:cubicBezTo>
                      <a:pt x="1986" y="557"/>
                      <a:pt x="1953" y="561"/>
                      <a:pt x="1966" y="569"/>
                    </a:cubicBezTo>
                    <a:cubicBezTo>
                      <a:pt x="1979" y="577"/>
                      <a:pt x="1993" y="584"/>
                      <a:pt x="1993" y="584"/>
                    </a:cubicBezTo>
                    <a:cubicBezTo>
                      <a:pt x="2021" y="583"/>
                      <a:pt x="2021" y="583"/>
                      <a:pt x="2021" y="583"/>
                    </a:cubicBezTo>
                    <a:cubicBezTo>
                      <a:pt x="2021" y="583"/>
                      <a:pt x="2005" y="591"/>
                      <a:pt x="1992" y="591"/>
                    </a:cubicBezTo>
                    <a:cubicBezTo>
                      <a:pt x="1979" y="591"/>
                      <a:pt x="1963" y="582"/>
                      <a:pt x="1963" y="582"/>
                    </a:cubicBezTo>
                    <a:cubicBezTo>
                      <a:pt x="1963" y="582"/>
                      <a:pt x="1964" y="559"/>
                      <a:pt x="1949" y="550"/>
                    </a:cubicBezTo>
                    <a:cubicBezTo>
                      <a:pt x="1934" y="541"/>
                      <a:pt x="1922" y="536"/>
                      <a:pt x="1922" y="536"/>
                    </a:cubicBezTo>
                    <a:cubicBezTo>
                      <a:pt x="1922" y="536"/>
                      <a:pt x="1918" y="521"/>
                      <a:pt x="1906" y="522"/>
                    </a:cubicBezTo>
                    <a:cubicBezTo>
                      <a:pt x="1894" y="523"/>
                      <a:pt x="1862" y="529"/>
                      <a:pt x="1862" y="529"/>
                    </a:cubicBezTo>
                    <a:cubicBezTo>
                      <a:pt x="1862" y="529"/>
                      <a:pt x="1844" y="531"/>
                      <a:pt x="1845" y="542"/>
                    </a:cubicBezTo>
                    <a:cubicBezTo>
                      <a:pt x="1846" y="553"/>
                      <a:pt x="1878" y="571"/>
                      <a:pt x="1878" y="575"/>
                    </a:cubicBezTo>
                    <a:cubicBezTo>
                      <a:pt x="1878" y="579"/>
                      <a:pt x="1859" y="591"/>
                      <a:pt x="1859" y="591"/>
                    </a:cubicBezTo>
                    <a:cubicBezTo>
                      <a:pt x="1857" y="620"/>
                      <a:pt x="1857" y="620"/>
                      <a:pt x="1857" y="620"/>
                    </a:cubicBezTo>
                    <a:cubicBezTo>
                      <a:pt x="1829" y="634"/>
                      <a:pt x="1829" y="634"/>
                      <a:pt x="1829" y="634"/>
                    </a:cubicBezTo>
                    <a:cubicBezTo>
                      <a:pt x="1829" y="634"/>
                      <a:pt x="1823" y="655"/>
                      <a:pt x="1810" y="649"/>
                    </a:cubicBezTo>
                    <a:cubicBezTo>
                      <a:pt x="1797" y="643"/>
                      <a:pt x="1771" y="645"/>
                      <a:pt x="1771" y="645"/>
                    </a:cubicBezTo>
                    <a:cubicBezTo>
                      <a:pt x="1733" y="641"/>
                      <a:pt x="1733" y="641"/>
                      <a:pt x="1733" y="641"/>
                    </a:cubicBezTo>
                    <a:cubicBezTo>
                      <a:pt x="1733" y="641"/>
                      <a:pt x="1690" y="626"/>
                      <a:pt x="1701" y="625"/>
                    </a:cubicBezTo>
                    <a:cubicBezTo>
                      <a:pt x="1712" y="624"/>
                      <a:pt x="1735" y="623"/>
                      <a:pt x="1735" y="623"/>
                    </a:cubicBezTo>
                    <a:cubicBezTo>
                      <a:pt x="1748" y="627"/>
                      <a:pt x="1748" y="627"/>
                      <a:pt x="1748" y="627"/>
                    </a:cubicBezTo>
                    <a:cubicBezTo>
                      <a:pt x="1763" y="616"/>
                      <a:pt x="1763" y="616"/>
                      <a:pt x="1763" y="616"/>
                    </a:cubicBezTo>
                    <a:cubicBezTo>
                      <a:pt x="1763" y="616"/>
                      <a:pt x="1801" y="625"/>
                      <a:pt x="1801" y="614"/>
                    </a:cubicBezTo>
                    <a:cubicBezTo>
                      <a:pt x="1801" y="603"/>
                      <a:pt x="1803" y="588"/>
                      <a:pt x="1803" y="588"/>
                    </a:cubicBezTo>
                    <a:cubicBezTo>
                      <a:pt x="1819" y="583"/>
                      <a:pt x="1819" y="583"/>
                      <a:pt x="1819" y="583"/>
                    </a:cubicBezTo>
                    <a:cubicBezTo>
                      <a:pt x="1821" y="569"/>
                      <a:pt x="1821" y="569"/>
                      <a:pt x="1821" y="569"/>
                    </a:cubicBezTo>
                    <a:cubicBezTo>
                      <a:pt x="1810" y="567"/>
                      <a:pt x="1810" y="567"/>
                      <a:pt x="1810" y="567"/>
                    </a:cubicBezTo>
                    <a:cubicBezTo>
                      <a:pt x="1810" y="567"/>
                      <a:pt x="1826" y="547"/>
                      <a:pt x="1816" y="543"/>
                    </a:cubicBezTo>
                    <a:cubicBezTo>
                      <a:pt x="1806" y="539"/>
                      <a:pt x="1763" y="541"/>
                      <a:pt x="1761" y="525"/>
                    </a:cubicBezTo>
                    <a:cubicBezTo>
                      <a:pt x="1759" y="509"/>
                      <a:pt x="1761" y="490"/>
                      <a:pt x="1752" y="485"/>
                    </a:cubicBezTo>
                    <a:cubicBezTo>
                      <a:pt x="1743" y="480"/>
                      <a:pt x="1730" y="464"/>
                      <a:pt x="1730" y="464"/>
                    </a:cubicBezTo>
                    <a:cubicBezTo>
                      <a:pt x="1726" y="440"/>
                      <a:pt x="1726" y="440"/>
                      <a:pt x="1726" y="440"/>
                    </a:cubicBezTo>
                    <a:cubicBezTo>
                      <a:pt x="1684" y="417"/>
                      <a:pt x="1684" y="417"/>
                      <a:pt x="1684" y="417"/>
                    </a:cubicBezTo>
                    <a:cubicBezTo>
                      <a:pt x="1684" y="417"/>
                      <a:pt x="1711" y="396"/>
                      <a:pt x="1697" y="376"/>
                    </a:cubicBezTo>
                    <a:cubicBezTo>
                      <a:pt x="1683" y="356"/>
                      <a:pt x="1651" y="356"/>
                      <a:pt x="1651" y="356"/>
                    </a:cubicBezTo>
                    <a:cubicBezTo>
                      <a:pt x="1562" y="348"/>
                      <a:pt x="1562" y="348"/>
                      <a:pt x="1562" y="348"/>
                    </a:cubicBezTo>
                    <a:cubicBezTo>
                      <a:pt x="1555" y="368"/>
                      <a:pt x="1555" y="368"/>
                      <a:pt x="1555" y="368"/>
                    </a:cubicBezTo>
                    <a:cubicBezTo>
                      <a:pt x="1566" y="379"/>
                      <a:pt x="1566" y="379"/>
                      <a:pt x="1566" y="379"/>
                    </a:cubicBezTo>
                    <a:cubicBezTo>
                      <a:pt x="1561" y="402"/>
                      <a:pt x="1561" y="402"/>
                      <a:pt x="1561" y="402"/>
                    </a:cubicBezTo>
                    <a:cubicBezTo>
                      <a:pt x="1523" y="418"/>
                      <a:pt x="1523" y="418"/>
                      <a:pt x="1523" y="418"/>
                    </a:cubicBezTo>
                    <a:cubicBezTo>
                      <a:pt x="1517" y="437"/>
                      <a:pt x="1517" y="437"/>
                      <a:pt x="1517" y="437"/>
                    </a:cubicBezTo>
                    <a:cubicBezTo>
                      <a:pt x="1538" y="439"/>
                      <a:pt x="1538" y="439"/>
                      <a:pt x="1538" y="439"/>
                    </a:cubicBezTo>
                    <a:cubicBezTo>
                      <a:pt x="1561" y="474"/>
                      <a:pt x="1561" y="474"/>
                      <a:pt x="1561" y="474"/>
                    </a:cubicBezTo>
                    <a:cubicBezTo>
                      <a:pt x="1552" y="486"/>
                      <a:pt x="1552" y="486"/>
                      <a:pt x="1552" y="486"/>
                    </a:cubicBezTo>
                    <a:cubicBezTo>
                      <a:pt x="1571" y="501"/>
                      <a:pt x="1571" y="501"/>
                      <a:pt x="1571" y="501"/>
                    </a:cubicBezTo>
                    <a:cubicBezTo>
                      <a:pt x="1594" y="495"/>
                      <a:pt x="1594" y="495"/>
                      <a:pt x="1594" y="495"/>
                    </a:cubicBezTo>
                    <a:cubicBezTo>
                      <a:pt x="1594" y="495"/>
                      <a:pt x="1612" y="516"/>
                      <a:pt x="1625" y="519"/>
                    </a:cubicBezTo>
                    <a:cubicBezTo>
                      <a:pt x="1638" y="522"/>
                      <a:pt x="1651" y="522"/>
                      <a:pt x="1651" y="522"/>
                    </a:cubicBezTo>
                    <a:cubicBezTo>
                      <a:pt x="1648" y="559"/>
                      <a:pt x="1648" y="559"/>
                      <a:pt x="1648" y="559"/>
                    </a:cubicBezTo>
                    <a:cubicBezTo>
                      <a:pt x="1635" y="545"/>
                      <a:pt x="1635" y="545"/>
                      <a:pt x="1635" y="545"/>
                    </a:cubicBezTo>
                    <a:cubicBezTo>
                      <a:pt x="1625" y="551"/>
                      <a:pt x="1625" y="551"/>
                      <a:pt x="1625" y="551"/>
                    </a:cubicBezTo>
                    <a:cubicBezTo>
                      <a:pt x="1625" y="551"/>
                      <a:pt x="1572" y="524"/>
                      <a:pt x="1556" y="521"/>
                    </a:cubicBezTo>
                    <a:cubicBezTo>
                      <a:pt x="1540" y="518"/>
                      <a:pt x="1516" y="520"/>
                      <a:pt x="1516" y="520"/>
                    </a:cubicBezTo>
                    <a:cubicBezTo>
                      <a:pt x="1505" y="508"/>
                      <a:pt x="1505" y="508"/>
                      <a:pt x="1505" y="508"/>
                    </a:cubicBezTo>
                    <a:cubicBezTo>
                      <a:pt x="1499" y="522"/>
                      <a:pt x="1499" y="522"/>
                      <a:pt x="1499" y="522"/>
                    </a:cubicBezTo>
                    <a:cubicBezTo>
                      <a:pt x="1483" y="504"/>
                      <a:pt x="1483" y="504"/>
                      <a:pt x="1483" y="504"/>
                    </a:cubicBezTo>
                    <a:cubicBezTo>
                      <a:pt x="1483" y="504"/>
                      <a:pt x="1441" y="490"/>
                      <a:pt x="1434" y="490"/>
                    </a:cubicBezTo>
                    <a:cubicBezTo>
                      <a:pt x="1427" y="490"/>
                      <a:pt x="1406" y="491"/>
                      <a:pt x="1406" y="491"/>
                    </a:cubicBezTo>
                    <a:cubicBezTo>
                      <a:pt x="1406" y="491"/>
                      <a:pt x="1357" y="485"/>
                      <a:pt x="1353" y="488"/>
                    </a:cubicBezTo>
                    <a:cubicBezTo>
                      <a:pt x="1349" y="491"/>
                      <a:pt x="1340" y="491"/>
                      <a:pt x="1340" y="499"/>
                    </a:cubicBezTo>
                    <a:cubicBezTo>
                      <a:pt x="1340" y="507"/>
                      <a:pt x="1366" y="521"/>
                      <a:pt x="1366" y="521"/>
                    </a:cubicBezTo>
                    <a:cubicBezTo>
                      <a:pt x="1353" y="541"/>
                      <a:pt x="1353" y="541"/>
                      <a:pt x="1353" y="541"/>
                    </a:cubicBezTo>
                    <a:cubicBezTo>
                      <a:pt x="1344" y="534"/>
                      <a:pt x="1344" y="534"/>
                      <a:pt x="1344" y="534"/>
                    </a:cubicBezTo>
                    <a:cubicBezTo>
                      <a:pt x="1344" y="551"/>
                      <a:pt x="1344" y="551"/>
                      <a:pt x="1344" y="551"/>
                    </a:cubicBezTo>
                    <a:cubicBezTo>
                      <a:pt x="1344" y="551"/>
                      <a:pt x="1320" y="550"/>
                      <a:pt x="1320" y="545"/>
                    </a:cubicBezTo>
                    <a:cubicBezTo>
                      <a:pt x="1320" y="540"/>
                      <a:pt x="1325" y="518"/>
                      <a:pt x="1311" y="519"/>
                    </a:cubicBezTo>
                    <a:cubicBezTo>
                      <a:pt x="1297" y="520"/>
                      <a:pt x="1261" y="543"/>
                      <a:pt x="1256" y="546"/>
                    </a:cubicBezTo>
                    <a:cubicBezTo>
                      <a:pt x="1251" y="549"/>
                      <a:pt x="1240" y="535"/>
                      <a:pt x="1219" y="537"/>
                    </a:cubicBezTo>
                    <a:cubicBezTo>
                      <a:pt x="1198" y="539"/>
                      <a:pt x="1174" y="550"/>
                      <a:pt x="1172" y="558"/>
                    </a:cubicBezTo>
                    <a:cubicBezTo>
                      <a:pt x="1170" y="566"/>
                      <a:pt x="1123" y="562"/>
                      <a:pt x="1123" y="562"/>
                    </a:cubicBezTo>
                    <a:cubicBezTo>
                      <a:pt x="1131" y="545"/>
                      <a:pt x="1131" y="545"/>
                      <a:pt x="1131" y="545"/>
                    </a:cubicBezTo>
                    <a:cubicBezTo>
                      <a:pt x="1130" y="521"/>
                      <a:pt x="1130" y="521"/>
                      <a:pt x="1130" y="521"/>
                    </a:cubicBezTo>
                    <a:cubicBezTo>
                      <a:pt x="1130" y="521"/>
                      <a:pt x="1086" y="529"/>
                      <a:pt x="1086" y="538"/>
                    </a:cubicBezTo>
                    <a:cubicBezTo>
                      <a:pt x="1086" y="547"/>
                      <a:pt x="1092" y="554"/>
                      <a:pt x="1092" y="554"/>
                    </a:cubicBezTo>
                    <a:cubicBezTo>
                      <a:pt x="1074" y="555"/>
                      <a:pt x="1074" y="555"/>
                      <a:pt x="1074" y="555"/>
                    </a:cubicBezTo>
                    <a:cubicBezTo>
                      <a:pt x="1074" y="540"/>
                      <a:pt x="1074" y="540"/>
                      <a:pt x="1074" y="540"/>
                    </a:cubicBezTo>
                    <a:cubicBezTo>
                      <a:pt x="1060" y="545"/>
                      <a:pt x="1060" y="545"/>
                      <a:pt x="1060" y="545"/>
                    </a:cubicBezTo>
                    <a:cubicBezTo>
                      <a:pt x="1025" y="548"/>
                      <a:pt x="1025" y="548"/>
                      <a:pt x="1025" y="548"/>
                    </a:cubicBezTo>
                    <a:cubicBezTo>
                      <a:pt x="996" y="568"/>
                      <a:pt x="996" y="568"/>
                      <a:pt x="996" y="568"/>
                    </a:cubicBezTo>
                    <a:cubicBezTo>
                      <a:pt x="963" y="571"/>
                      <a:pt x="963" y="571"/>
                      <a:pt x="963" y="571"/>
                    </a:cubicBezTo>
                    <a:cubicBezTo>
                      <a:pt x="970" y="584"/>
                      <a:pt x="970" y="584"/>
                      <a:pt x="970" y="584"/>
                    </a:cubicBezTo>
                    <a:cubicBezTo>
                      <a:pt x="970" y="584"/>
                      <a:pt x="944" y="578"/>
                      <a:pt x="941" y="589"/>
                    </a:cubicBezTo>
                    <a:cubicBezTo>
                      <a:pt x="938" y="600"/>
                      <a:pt x="941" y="615"/>
                      <a:pt x="941" y="615"/>
                    </a:cubicBezTo>
                    <a:cubicBezTo>
                      <a:pt x="890" y="621"/>
                      <a:pt x="890" y="621"/>
                      <a:pt x="890" y="621"/>
                    </a:cubicBezTo>
                    <a:cubicBezTo>
                      <a:pt x="890" y="621"/>
                      <a:pt x="875" y="610"/>
                      <a:pt x="870" y="609"/>
                    </a:cubicBezTo>
                    <a:cubicBezTo>
                      <a:pt x="865" y="608"/>
                      <a:pt x="843" y="614"/>
                      <a:pt x="843" y="600"/>
                    </a:cubicBezTo>
                    <a:cubicBezTo>
                      <a:pt x="843" y="586"/>
                      <a:pt x="843" y="569"/>
                      <a:pt x="860" y="575"/>
                    </a:cubicBezTo>
                    <a:cubicBezTo>
                      <a:pt x="877" y="581"/>
                      <a:pt x="898" y="575"/>
                      <a:pt x="898" y="575"/>
                    </a:cubicBezTo>
                    <a:cubicBezTo>
                      <a:pt x="898" y="575"/>
                      <a:pt x="860" y="544"/>
                      <a:pt x="854" y="541"/>
                    </a:cubicBezTo>
                    <a:cubicBezTo>
                      <a:pt x="848" y="538"/>
                      <a:pt x="773" y="539"/>
                      <a:pt x="773" y="539"/>
                    </a:cubicBezTo>
                    <a:cubicBezTo>
                      <a:pt x="779" y="548"/>
                      <a:pt x="779" y="548"/>
                      <a:pt x="779" y="548"/>
                    </a:cubicBezTo>
                    <a:cubicBezTo>
                      <a:pt x="779" y="548"/>
                      <a:pt x="810" y="543"/>
                      <a:pt x="805" y="563"/>
                    </a:cubicBezTo>
                    <a:cubicBezTo>
                      <a:pt x="800" y="583"/>
                      <a:pt x="790" y="612"/>
                      <a:pt x="797" y="612"/>
                    </a:cubicBezTo>
                    <a:cubicBezTo>
                      <a:pt x="804" y="612"/>
                      <a:pt x="830" y="620"/>
                      <a:pt x="830" y="620"/>
                    </a:cubicBezTo>
                    <a:cubicBezTo>
                      <a:pt x="828" y="645"/>
                      <a:pt x="828" y="645"/>
                      <a:pt x="828" y="645"/>
                    </a:cubicBezTo>
                    <a:cubicBezTo>
                      <a:pt x="834" y="664"/>
                      <a:pt x="834" y="664"/>
                      <a:pt x="834" y="664"/>
                    </a:cubicBezTo>
                    <a:cubicBezTo>
                      <a:pt x="813" y="650"/>
                      <a:pt x="813" y="650"/>
                      <a:pt x="813" y="650"/>
                    </a:cubicBezTo>
                    <a:cubicBezTo>
                      <a:pt x="798" y="666"/>
                      <a:pt x="798" y="666"/>
                      <a:pt x="798" y="666"/>
                    </a:cubicBezTo>
                    <a:cubicBezTo>
                      <a:pt x="795" y="644"/>
                      <a:pt x="795" y="644"/>
                      <a:pt x="795" y="644"/>
                    </a:cubicBezTo>
                    <a:cubicBezTo>
                      <a:pt x="749" y="632"/>
                      <a:pt x="749" y="632"/>
                      <a:pt x="749" y="632"/>
                    </a:cubicBezTo>
                    <a:cubicBezTo>
                      <a:pt x="729" y="657"/>
                      <a:pt x="729" y="657"/>
                      <a:pt x="729" y="657"/>
                    </a:cubicBezTo>
                    <a:cubicBezTo>
                      <a:pt x="711" y="658"/>
                      <a:pt x="711" y="658"/>
                      <a:pt x="711" y="658"/>
                    </a:cubicBezTo>
                    <a:cubicBezTo>
                      <a:pt x="711" y="658"/>
                      <a:pt x="705" y="669"/>
                      <a:pt x="695" y="673"/>
                    </a:cubicBezTo>
                    <a:cubicBezTo>
                      <a:pt x="685" y="677"/>
                      <a:pt x="665" y="681"/>
                      <a:pt x="673" y="688"/>
                    </a:cubicBezTo>
                    <a:cubicBezTo>
                      <a:pt x="681" y="695"/>
                      <a:pt x="713" y="718"/>
                      <a:pt x="713" y="718"/>
                    </a:cubicBezTo>
                    <a:cubicBezTo>
                      <a:pt x="725" y="735"/>
                      <a:pt x="725" y="735"/>
                      <a:pt x="725" y="735"/>
                    </a:cubicBezTo>
                    <a:cubicBezTo>
                      <a:pt x="705" y="726"/>
                      <a:pt x="705" y="726"/>
                      <a:pt x="705" y="726"/>
                    </a:cubicBezTo>
                    <a:cubicBezTo>
                      <a:pt x="705" y="726"/>
                      <a:pt x="687" y="736"/>
                      <a:pt x="674" y="730"/>
                    </a:cubicBezTo>
                    <a:cubicBezTo>
                      <a:pt x="661" y="724"/>
                      <a:pt x="618" y="717"/>
                      <a:pt x="618" y="717"/>
                    </a:cubicBezTo>
                    <a:cubicBezTo>
                      <a:pt x="618" y="717"/>
                      <a:pt x="612" y="693"/>
                      <a:pt x="597" y="699"/>
                    </a:cubicBezTo>
                    <a:cubicBezTo>
                      <a:pt x="582" y="705"/>
                      <a:pt x="574" y="711"/>
                      <a:pt x="574" y="711"/>
                    </a:cubicBezTo>
                    <a:cubicBezTo>
                      <a:pt x="562" y="712"/>
                      <a:pt x="562" y="712"/>
                      <a:pt x="562" y="712"/>
                    </a:cubicBezTo>
                    <a:cubicBezTo>
                      <a:pt x="592" y="738"/>
                      <a:pt x="592" y="738"/>
                      <a:pt x="592" y="738"/>
                    </a:cubicBezTo>
                    <a:cubicBezTo>
                      <a:pt x="592" y="738"/>
                      <a:pt x="632" y="739"/>
                      <a:pt x="632" y="746"/>
                    </a:cubicBezTo>
                    <a:cubicBezTo>
                      <a:pt x="632" y="753"/>
                      <a:pt x="614" y="764"/>
                      <a:pt x="614" y="764"/>
                    </a:cubicBezTo>
                    <a:cubicBezTo>
                      <a:pt x="572" y="754"/>
                      <a:pt x="572" y="754"/>
                      <a:pt x="572" y="754"/>
                    </a:cubicBezTo>
                    <a:cubicBezTo>
                      <a:pt x="572" y="754"/>
                      <a:pt x="557" y="740"/>
                      <a:pt x="547" y="739"/>
                    </a:cubicBezTo>
                    <a:cubicBezTo>
                      <a:pt x="537" y="738"/>
                      <a:pt x="511" y="749"/>
                      <a:pt x="509" y="735"/>
                    </a:cubicBezTo>
                    <a:cubicBezTo>
                      <a:pt x="507" y="721"/>
                      <a:pt x="508" y="705"/>
                      <a:pt x="508" y="705"/>
                    </a:cubicBezTo>
                    <a:cubicBezTo>
                      <a:pt x="495" y="697"/>
                      <a:pt x="495" y="697"/>
                      <a:pt x="495" y="697"/>
                    </a:cubicBezTo>
                    <a:cubicBezTo>
                      <a:pt x="495" y="697"/>
                      <a:pt x="516" y="679"/>
                      <a:pt x="508" y="670"/>
                    </a:cubicBezTo>
                    <a:cubicBezTo>
                      <a:pt x="500" y="661"/>
                      <a:pt x="444" y="646"/>
                      <a:pt x="444" y="646"/>
                    </a:cubicBezTo>
                    <a:cubicBezTo>
                      <a:pt x="424" y="631"/>
                      <a:pt x="424" y="631"/>
                      <a:pt x="424" y="631"/>
                    </a:cubicBezTo>
                    <a:cubicBezTo>
                      <a:pt x="408" y="620"/>
                      <a:pt x="408" y="620"/>
                      <a:pt x="408" y="620"/>
                    </a:cubicBezTo>
                    <a:cubicBezTo>
                      <a:pt x="398" y="610"/>
                      <a:pt x="398" y="610"/>
                      <a:pt x="398" y="610"/>
                    </a:cubicBezTo>
                    <a:cubicBezTo>
                      <a:pt x="424" y="609"/>
                      <a:pt x="424" y="609"/>
                      <a:pt x="424" y="609"/>
                    </a:cubicBezTo>
                    <a:cubicBezTo>
                      <a:pt x="424" y="609"/>
                      <a:pt x="419" y="618"/>
                      <a:pt x="438" y="622"/>
                    </a:cubicBezTo>
                    <a:cubicBezTo>
                      <a:pt x="457" y="626"/>
                      <a:pt x="482" y="623"/>
                      <a:pt x="482" y="623"/>
                    </a:cubicBezTo>
                    <a:cubicBezTo>
                      <a:pt x="482" y="623"/>
                      <a:pt x="498" y="641"/>
                      <a:pt x="510" y="643"/>
                    </a:cubicBezTo>
                    <a:cubicBezTo>
                      <a:pt x="522" y="645"/>
                      <a:pt x="576" y="650"/>
                      <a:pt x="576" y="650"/>
                    </a:cubicBezTo>
                    <a:cubicBezTo>
                      <a:pt x="576" y="650"/>
                      <a:pt x="613" y="666"/>
                      <a:pt x="656" y="655"/>
                    </a:cubicBezTo>
                    <a:cubicBezTo>
                      <a:pt x="699" y="644"/>
                      <a:pt x="741" y="629"/>
                      <a:pt x="719" y="609"/>
                    </a:cubicBezTo>
                    <a:cubicBezTo>
                      <a:pt x="697" y="589"/>
                      <a:pt x="696" y="576"/>
                      <a:pt x="667" y="570"/>
                    </a:cubicBezTo>
                    <a:cubicBezTo>
                      <a:pt x="638" y="564"/>
                      <a:pt x="598" y="549"/>
                      <a:pt x="579" y="542"/>
                    </a:cubicBezTo>
                    <a:cubicBezTo>
                      <a:pt x="560" y="535"/>
                      <a:pt x="526" y="518"/>
                      <a:pt x="506" y="517"/>
                    </a:cubicBezTo>
                    <a:cubicBezTo>
                      <a:pt x="486" y="516"/>
                      <a:pt x="467" y="516"/>
                      <a:pt x="455" y="516"/>
                    </a:cubicBezTo>
                    <a:cubicBezTo>
                      <a:pt x="443" y="516"/>
                      <a:pt x="421" y="516"/>
                      <a:pt x="421" y="516"/>
                    </a:cubicBezTo>
                    <a:cubicBezTo>
                      <a:pt x="413" y="506"/>
                      <a:pt x="413" y="506"/>
                      <a:pt x="413" y="506"/>
                    </a:cubicBezTo>
                    <a:cubicBezTo>
                      <a:pt x="394" y="507"/>
                      <a:pt x="394" y="507"/>
                      <a:pt x="394" y="507"/>
                    </a:cubicBezTo>
                    <a:cubicBezTo>
                      <a:pt x="373" y="498"/>
                      <a:pt x="373" y="498"/>
                      <a:pt x="373" y="498"/>
                    </a:cubicBezTo>
                    <a:cubicBezTo>
                      <a:pt x="394" y="493"/>
                      <a:pt x="394" y="493"/>
                      <a:pt x="394" y="493"/>
                    </a:cubicBezTo>
                    <a:cubicBezTo>
                      <a:pt x="406" y="485"/>
                      <a:pt x="406" y="485"/>
                      <a:pt x="406" y="485"/>
                    </a:cubicBezTo>
                    <a:cubicBezTo>
                      <a:pt x="406" y="485"/>
                      <a:pt x="363" y="469"/>
                      <a:pt x="357" y="475"/>
                    </a:cubicBezTo>
                    <a:cubicBezTo>
                      <a:pt x="351" y="481"/>
                      <a:pt x="348" y="490"/>
                      <a:pt x="348" y="490"/>
                    </a:cubicBezTo>
                    <a:cubicBezTo>
                      <a:pt x="335" y="490"/>
                      <a:pt x="335" y="490"/>
                      <a:pt x="335" y="490"/>
                    </a:cubicBezTo>
                    <a:cubicBezTo>
                      <a:pt x="333" y="493"/>
                      <a:pt x="329" y="497"/>
                      <a:pt x="321" y="498"/>
                    </a:cubicBezTo>
                    <a:cubicBezTo>
                      <a:pt x="303" y="501"/>
                      <a:pt x="304" y="498"/>
                      <a:pt x="304" y="498"/>
                    </a:cubicBezTo>
                    <a:cubicBezTo>
                      <a:pt x="300" y="506"/>
                      <a:pt x="300" y="506"/>
                      <a:pt x="300" y="506"/>
                    </a:cubicBezTo>
                    <a:cubicBezTo>
                      <a:pt x="285" y="507"/>
                      <a:pt x="285" y="507"/>
                      <a:pt x="285" y="507"/>
                    </a:cubicBezTo>
                    <a:cubicBezTo>
                      <a:pt x="285" y="507"/>
                      <a:pt x="284" y="521"/>
                      <a:pt x="275" y="522"/>
                    </a:cubicBezTo>
                    <a:cubicBezTo>
                      <a:pt x="270" y="522"/>
                      <a:pt x="266" y="521"/>
                      <a:pt x="262" y="519"/>
                    </a:cubicBezTo>
                    <a:cubicBezTo>
                      <a:pt x="261" y="528"/>
                      <a:pt x="261" y="528"/>
                      <a:pt x="261" y="528"/>
                    </a:cubicBezTo>
                    <a:cubicBezTo>
                      <a:pt x="261" y="528"/>
                      <a:pt x="265" y="534"/>
                      <a:pt x="266" y="537"/>
                    </a:cubicBezTo>
                    <a:cubicBezTo>
                      <a:pt x="267" y="540"/>
                      <a:pt x="254" y="542"/>
                      <a:pt x="254" y="542"/>
                    </a:cubicBezTo>
                    <a:cubicBezTo>
                      <a:pt x="254" y="542"/>
                      <a:pt x="257" y="545"/>
                      <a:pt x="259" y="557"/>
                    </a:cubicBezTo>
                    <a:cubicBezTo>
                      <a:pt x="261" y="569"/>
                      <a:pt x="275" y="561"/>
                      <a:pt x="281" y="561"/>
                    </a:cubicBezTo>
                    <a:cubicBezTo>
                      <a:pt x="287" y="561"/>
                      <a:pt x="292" y="568"/>
                      <a:pt x="296" y="573"/>
                    </a:cubicBezTo>
                    <a:cubicBezTo>
                      <a:pt x="300" y="578"/>
                      <a:pt x="306" y="581"/>
                      <a:pt x="315" y="591"/>
                    </a:cubicBezTo>
                    <a:cubicBezTo>
                      <a:pt x="324" y="601"/>
                      <a:pt x="300" y="603"/>
                      <a:pt x="300" y="608"/>
                    </a:cubicBezTo>
                    <a:cubicBezTo>
                      <a:pt x="300" y="613"/>
                      <a:pt x="283" y="620"/>
                      <a:pt x="283" y="620"/>
                    </a:cubicBezTo>
                    <a:cubicBezTo>
                      <a:pt x="296" y="631"/>
                      <a:pt x="296" y="631"/>
                      <a:pt x="296" y="631"/>
                    </a:cubicBezTo>
                    <a:cubicBezTo>
                      <a:pt x="296" y="631"/>
                      <a:pt x="337" y="663"/>
                      <a:pt x="343" y="673"/>
                    </a:cubicBezTo>
                    <a:cubicBezTo>
                      <a:pt x="349" y="683"/>
                      <a:pt x="321" y="677"/>
                      <a:pt x="321" y="677"/>
                    </a:cubicBezTo>
                    <a:cubicBezTo>
                      <a:pt x="316" y="697"/>
                      <a:pt x="316" y="697"/>
                      <a:pt x="316" y="697"/>
                    </a:cubicBezTo>
                    <a:cubicBezTo>
                      <a:pt x="323" y="703"/>
                      <a:pt x="323" y="703"/>
                      <a:pt x="323" y="703"/>
                    </a:cubicBezTo>
                    <a:cubicBezTo>
                      <a:pt x="323" y="713"/>
                      <a:pt x="323" y="713"/>
                      <a:pt x="323" y="713"/>
                    </a:cubicBezTo>
                    <a:cubicBezTo>
                      <a:pt x="323" y="713"/>
                      <a:pt x="342" y="718"/>
                      <a:pt x="343" y="722"/>
                    </a:cubicBezTo>
                    <a:cubicBezTo>
                      <a:pt x="344" y="726"/>
                      <a:pt x="337" y="737"/>
                      <a:pt x="337" y="737"/>
                    </a:cubicBezTo>
                    <a:cubicBezTo>
                      <a:pt x="352" y="740"/>
                      <a:pt x="352" y="740"/>
                      <a:pt x="352" y="740"/>
                    </a:cubicBezTo>
                    <a:cubicBezTo>
                      <a:pt x="352" y="740"/>
                      <a:pt x="363" y="748"/>
                      <a:pt x="364" y="752"/>
                    </a:cubicBezTo>
                    <a:cubicBezTo>
                      <a:pt x="365" y="756"/>
                      <a:pt x="344" y="770"/>
                      <a:pt x="344" y="770"/>
                    </a:cubicBezTo>
                    <a:cubicBezTo>
                      <a:pt x="383" y="788"/>
                      <a:pt x="383" y="788"/>
                      <a:pt x="383" y="788"/>
                    </a:cubicBezTo>
                    <a:cubicBezTo>
                      <a:pt x="383" y="788"/>
                      <a:pt x="406" y="807"/>
                      <a:pt x="405" y="815"/>
                    </a:cubicBezTo>
                    <a:cubicBezTo>
                      <a:pt x="404" y="823"/>
                      <a:pt x="395" y="830"/>
                      <a:pt x="391" y="837"/>
                    </a:cubicBezTo>
                    <a:cubicBezTo>
                      <a:pt x="387" y="844"/>
                      <a:pt x="366" y="856"/>
                      <a:pt x="366" y="856"/>
                    </a:cubicBezTo>
                    <a:cubicBezTo>
                      <a:pt x="366" y="856"/>
                      <a:pt x="338" y="882"/>
                      <a:pt x="334" y="887"/>
                    </a:cubicBezTo>
                    <a:cubicBezTo>
                      <a:pt x="330" y="892"/>
                      <a:pt x="289" y="916"/>
                      <a:pt x="289" y="916"/>
                    </a:cubicBezTo>
                    <a:cubicBezTo>
                      <a:pt x="293" y="923"/>
                      <a:pt x="293" y="923"/>
                      <a:pt x="293" y="923"/>
                    </a:cubicBezTo>
                    <a:cubicBezTo>
                      <a:pt x="313" y="912"/>
                      <a:pt x="313" y="912"/>
                      <a:pt x="313" y="912"/>
                    </a:cubicBezTo>
                    <a:cubicBezTo>
                      <a:pt x="315" y="923"/>
                      <a:pt x="315" y="923"/>
                      <a:pt x="315" y="923"/>
                    </a:cubicBezTo>
                    <a:cubicBezTo>
                      <a:pt x="315" y="923"/>
                      <a:pt x="328" y="936"/>
                      <a:pt x="334" y="939"/>
                    </a:cubicBezTo>
                    <a:cubicBezTo>
                      <a:pt x="340" y="942"/>
                      <a:pt x="367" y="942"/>
                      <a:pt x="367" y="942"/>
                    </a:cubicBezTo>
                    <a:cubicBezTo>
                      <a:pt x="376" y="954"/>
                      <a:pt x="376" y="954"/>
                      <a:pt x="376" y="954"/>
                    </a:cubicBezTo>
                    <a:cubicBezTo>
                      <a:pt x="376" y="954"/>
                      <a:pt x="337" y="945"/>
                      <a:pt x="335" y="951"/>
                    </a:cubicBezTo>
                    <a:cubicBezTo>
                      <a:pt x="333" y="957"/>
                      <a:pt x="333" y="961"/>
                      <a:pt x="333" y="961"/>
                    </a:cubicBezTo>
                    <a:cubicBezTo>
                      <a:pt x="307" y="962"/>
                      <a:pt x="307" y="962"/>
                      <a:pt x="307" y="962"/>
                    </a:cubicBezTo>
                    <a:cubicBezTo>
                      <a:pt x="303" y="980"/>
                      <a:pt x="303" y="980"/>
                      <a:pt x="303" y="980"/>
                    </a:cubicBezTo>
                    <a:cubicBezTo>
                      <a:pt x="303" y="980"/>
                      <a:pt x="300" y="979"/>
                      <a:pt x="295" y="978"/>
                    </a:cubicBezTo>
                    <a:cubicBezTo>
                      <a:pt x="292" y="988"/>
                      <a:pt x="292" y="988"/>
                      <a:pt x="292" y="988"/>
                    </a:cubicBezTo>
                    <a:cubicBezTo>
                      <a:pt x="295" y="997"/>
                      <a:pt x="295" y="997"/>
                      <a:pt x="295" y="997"/>
                    </a:cubicBezTo>
                    <a:cubicBezTo>
                      <a:pt x="295" y="997"/>
                      <a:pt x="288" y="1001"/>
                      <a:pt x="284" y="1003"/>
                    </a:cubicBezTo>
                    <a:cubicBezTo>
                      <a:pt x="280" y="1005"/>
                      <a:pt x="281" y="1019"/>
                      <a:pt x="281" y="1019"/>
                    </a:cubicBezTo>
                    <a:cubicBezTo>
                      <a:pt x="290" y="1023"/>
                      <a:pt x="290" y="1023"/>
                      <a:pt x="290" y="1023"/>
                    </a:cubicBezTo>
                    <a:cubicBezTo>
                      <a:pt x="285" y="1041"/>
                      <a:pt x="285" y="1041"/>
                      <a:pt x="285" y="1041"/>
                    </a:cubicBezTo>
                    <a:cubicBezTo>
                      <a:pt x="292" y="1043"/>
                      <a:pt x="292" y="1043"/>
                      <a:pt x="292" y="1043"/>
                    </a:cubicBezTo>
                    <a:cubicBezTo>
                      <a:pt x="301" y="1055"/>
                      <a:pt x="301" y="1055"/>
                      <a:pt x="301" y="1055"/>
                    </a:cubicBezTo>
                    <a:cubicBezTo>
                      <a:pt x="288" y="1064"/>
                      <a:pt x="288" y="1064"/>
                      <a:pt x="288" y="1064"/>
                    </a:cubicBezTo>
                    <a:cubicBezTo>
                      <a:pt x="288" y="1072"/>
                      <a:pt x="288" y="1072"/>
                      <a:pt x="288" y="1072"/>
                    </a:cubicBezTo>
                    <a:cubicBezTo>
                      <a:pt x="288" y="1072"/>
                      <a:pt x="309" y="1082"/>
                      <a:pt x="310" y="1087"/>
                    </a:cubicBezTo>
                    <a:cubicBezTo>
                      <a:pt x="311" y="1092"/>
                      <a:pt x="298" y="1094"/>
                      <a:pt x="298" y="1094"/>
                    </a:cubicBezTo>
                    <a:cubicBezTo>
                      <a:pt x="297" y="1103"/>
                      <a:pt x="297" y="1103"/>
                      <a:pt x="297" y="1103"/>
                    </a:cubicBezTo>
                    <a:cubicBezTo>
                      <a:pt x="310" y="1107"/>
                      <a:pt x="310" y="1107"/>
                      <a:pt x="310" y="1107"/>
                    </a:cubicBezTo>
                    <a:cubicBezTo>
                      <a:pt x="310" y="1107"/>
                      <a:pt x="315" y="1118"/>
                      <a:pt x="322" y="1124"/>
                    </a:cubicBezTo>
                    <a:cubicBezTo>
                      <a:pt x="328" y="1129"/>
                      <a:pt x="328" y="1139"/>
                      <a:pt x="328" y="1143"/>
                    </a:cubicBezTo>
                    <a:cubicBezTo>
                      <a:pt x="332" y="1144"/>
                      <a:pt x="336" y="1144"/>
                      <a:pt x="339" y="1145"/>
                    </a:cubicBezTo>
                    <a:cubicBezTo>
                      <a:pt x="347" y="1146"/>
                      <a:pt x="348" y="1153"/>
                      <a:pt x="348" y="1153"/>
                    </a:cubicBezTo>
                    <a:cubicBezTo>
                      <a:pt x="354" y="1147"/>
                      <a:pt x="354" y="1147"/>
                      <a:pt x="354" y="1147"/>
                    </a:cubicBezTo>
                    <a:cubicBezTo>
                      <a:pt x="380" y="1153"/>
                      <a:pt x="380" y="1153"/>
                      <a:pt x="380" y="1153"/>
                    </a:cubicBezTo>
                    <a:cubicBezTo>
                      <a:pt x="382" y="1163"/>
                      <a:pt x="382" y="1163"/>
                      <a:pt x="382" y="1163"/>
                    </a:cubicBezTo>
                    <a:cubicBezTo>
                      <a:pt x="404" y="1151"/>
                      <a:pt x="404" y="1151"/>
                      <a:pt x="404" y="1151"/>
                    </a:cubicBezTo>
                    <a:cubicBezTo>
                      <a:pt x="404" y="1151"/>
                      <a:pt x="426" y="1162"/>
                      <a:pt x="437" y="1167"/>
                    </a:cubicBezTo>
                    <a:cubicBezTo>
                      <a:pt x="448" y="1172"/>
                      <a:pt x="434" y="1186"/>
                      <a:pt x="434" y="1186"/>
                    </a:cubicBezTo>
                    <a:cubicBezTo>
                      <a:pt x="442" y="1196"/>
                      <a:pt x="442" y="1196"/>
                      <a:pt x="442" y="1196"/>
                    </a:cubicBezTo>
                    <a:cubicBezTo>
                      <a:pt x="438" y="1208"/>
                      <a:pt x="438" y="1208"/>
                      <a:pt x="438" y="1208"/>
                    </a:cubicBezTo>
                    <a:cubicBezTo>
                      <a:pt x="438" y="1208"/>
                      <a:pt x="443" y="1213"/>
                      <a:pt x="451" y="1215"/>
                    </a:cubicBezTo>
                    <a:cubicBezTo>
                      <a:pt x="459" y="1217"/>
                      <a:pt x="462" y="1238"/>
                      <a:pt x="462" y="1238"/>
                    </a:cubicBezTo>
                    <a:cubicBezTo>
                      <a:pt x="482" y="1245"/>
                      <a:pt x="482" y="1245"/>
                      <a:pt x="482" y="1245"/>
                    </a:cubicBezTo>
                    <a:cubicBezTo>
                      <a:pt x="484" y="1260"/>
                      <a:pt x="484" y="1260"/>
                      <a:pt x="484" y="1260"/>
                    </a:cubicBezTo>
                    <a:cubicBezTo>
                      <a:pt x="484" y="1260"/>
                      <a:pt x="494" y="1258"/>
                      <a:pt x="507" y="1261"/>
                    </a:cubicBezTo>
                    <a:cubicBezTo>
                      <a:pt x="520" y="1264"/>
                      <a:pt x="512" y="1273"/>
                      <a:pt x="512" y="1273"/>
                    </a:cubicBezTo>
                    <a:cubicBezTo>
                      <a:pt x="526" y="1281"/>
                      <a:pt x="526" y="1281"/>
                      <a:pt x="526" y="1281"/>
                    </a:cubicBezTo>
                    <a:cubicBezTo>
                      <a:pt x="526" y="1281"/>
                      <a:pt x="517" y="1290"/>
                      <a:pt x="509" y="1297"/>
                    </a:cubicBezTo>
                    <a:cubicBezTo>
                      <a:pt x="501" y="1304"/>
                      <a:pt x="488" y="1296"/>
                      <a:pt x="488" y="1296"/>
                    </a:cubicBezTo>
                    <a:cubicBezTo>
                      <a:pt x="488" y="1296"/>
                      <a:pt x="486" y="1290"/>
                      <a:pt x="472" y="1293"/>
                    </a:cubicBezTo>
                    <a:cubicBezTo>
                      <a:pt x="458" y="1296"/>
                      <a:pt x="485" y="1318"/>
                      <a:pt x="485" y="1318"/>
                    </a:cubicBezTo>
                    <a:cubicBezTo>
                      <a:pt x="485" y="1318"/>
                      <a:pt x="485" y="1332"/>
                      <a:pt x="488" y="1333"/>
                    </a:cubicBezTo>
                    <a:cubicBezTo>
                      <a:pt x="490" y="1333"/>
                      <a:pt x="490" y="1343"/>
                      <a:pt x="491" y="1351"/>
                    </a:cubicBezTo>
                    <a:cubicBezTo>
                      <a:pt x="486" y="1351"/>
                      <a:pt x="481" y="1350"/>
                      <a:pt x="477" y="1349"/>
                    </a:cubicBezTo>
                    <a:cubicBezTo>
                      <a:pt x="490" y="1351"/>
                      <a:pt x="510" y="1355"/>
                      <a:pt x="516" y="1352"/>
                    </a:cubicBezTo>
                    <a:cubicBezTo>
                      <a:pt x="524" y="1348"/>
                      <a:pt x="520" y="1339"/>
                      <a:pt x="520" y="1339"/>
                    </a:cubicBezTo>
                    <a:cubicBezTo>
                      <a:pt x="538" y="1342"/>
                      <a:pt x="538" y="1342"/>
                      <a:pt x="538" y="1342"/>
                    </a:cubicBezTo>
                    <a:cubicBezTo>
                      <a:pt x="549" y="1337"/>
                      <a:pt x="549" y="1337"/>
                      <a:pt x="549" y="1337"/>
                    </a:cubicBezTo>
                    <a:cubicBezTo>
                      <a:pt x="579" y="1336"/>
                      <a:pt x="579" y="1336"/>
                      <a:pt x="579" y="1336"/>
                    </a:cubicBezTo>
                    <a:cubicBezTo>
                      <a:pt x="585" y="1350"/>
                      <a:pt x="585" y="1350"/>
                      <a:pt x="585" y="1350"/>
                    </a:cubicBezTo>
                    <a:cubicBezTo>
                      <a:pt x="585" y="1350"/>
                      <a:pt x="606" y="1356"/>
                      <a:pt x="604" y="1362"/>
                    </a:cubicBezTo>
                    <a:cubicBezTo>
                      <a:pt x="602" y="1368"/>
                      <a:pt x="594" y="1369"/>
                      <a:pt x="594" y="1369"/>
                    </a:cubicBezTo>
                    <a:cubicBezTo>
                      <a:pt x="599" y="1381"/>
                      <a:pt x="599" y="1381"/>
                      <a:pt x="599" y="1381"/>
                    </a:cubicBezTo>
                    <a:cubicBezTo>
                      <a:pt x="600" y="1392"/>
                      <a:pt x="600" y="1392"/>
                      <a:pt x="600" y="1392"/>
                    </a:cubicBezTo>
                    <a:cubicBezTo>
                      <a:pt x="623" y="1394"/>
                      <a:pt x="623" y="1394"/>
                      <a:pt x="623" y="1394"/>
                    </a:cubicBezTo>
                    <a:cubicBezTo>
                      <a:pt x="651" y="1406"/>
                      <a:pt x="651" y="1406"/>
                      <a:pt x="651" y="1406"/>
                    </a:cubicBezTo>
                    <a:cubicBezTo>
                      <a:pt x="658" y="1435"/>
                      <a:pt x="658" y="1435"/>
                      <a:pt x="658" y="1435"/>
                    </a:cubicBezTo>
                    <a:cubicBezTo>
                      <a:pt x="662" y="1438"/>
                      <a:pt x="662" y="1438"/>
                      <a:pt x="662" y="1438"/>
                    </a:cubicBezTo>
                    <a:cubicBezTo>
                      <a:pt x="680" y="1434"/>
                      <a:pt x="680" y="1434"/>
                      <a:pt x="680" y="1434"/>
                    </a:cubicBezTo>
                    <a:cubicBezTo>
                      <a:pt x="680" y="1434"/>
                      <a:pt x="688" y="1438"/>
                      <a:pt x="696" y="1442"/>
                    </a:cubicBezTo>
                    <a:cubicBezTo>
                      <a:pt x="704" y="1446"/>
                      <a:pt x="702" y="1441"/>
                      <a:pt x="713" y="1440"/>
                    </a:cubicBezTo>
                    <a:cubicBezTo>
                      <a:pt x="724" y="1439"/>
                      <a:pt x="733" y="1445"/>
                      <a:pt x="733" y="1445"/>
                    </a:cubicBezTo>
                    <a:cubicBezTo>
                      <a:pt x="733" y="1445"/>
                      <a:pt x="729" y="1435"/>
                      <a:pt x="738" y="1436"/>
                    </a:cubicBezTo>
                    <a:cubicBezTo>
                      <a:pt x="747" y="1437"/>
                      <a:pt x="749" y="1448"/>
                      <a:pt x="755" y="1452"/>
                    </a:cubicBezTo>
                    <a:cubicBezTo>
                      <a:pt x="761" y="1456"/>
                      <a:pt x="764" y="1461"/>
                      <a:pt x="764" y="1461"/>
                    </a:cubicBezTo>
                    <a:cubicBezTo>
                      <a:pt x="764" y="1461"/>
                      <a:pt x="776" y="1455"/>
                      <a:pt x="780" y="1455"/>
                    </a:cubicBezTo>
                    <a:cubicBezTo>
                      <a:pt x="784" y="1455"/>
                      <a:pt x="797" y="1464"/>
                      <a:pt x="797" y="1464"/>
                    </a:cubicBezTo>
                    <a:cubicBezTo>
                      <a:pt x="797" y="1464"/>
                      <a:pt x="811" y="1462"/>
                      <a:pt x="818" y="1464"/>
                    </a:cubicBezTo>
                    <a:cubicBezTo>
                      <a:pt x="825" y="1466"/>
                      <a:pt x="827" y="1472"/>
                      <a:pt x="827" y="1472"/>
                    </a:cubicBezTo>
                    <a:cubicBezTo>
                      <a:pt x="840" y="1481"/>
                      <a:pt x="840" y="1481"/>
                      <a:pt x="840" y="1481"/>
                    </a:cubicBezTo>
                    <a:cubicBezTo>
                      <a:pt x="840" y="1481"/>
                      <a:pt x="857" y="1475"/>
                      <a:pt x="858" y="1485"/>
                    </a:cubicBezTo>
                    <a:cubicBezTo>
                      <a:pt x="859" y="1495"/>
                      <a:pt x="860" y="1502"/>
                      <a:pt x="860" y="1502"/>
                    </a:cubicBezTo>
                    <a:cubicBezTo>
                      <a:pt x="846" y="1509"/>
                      <a:pt x="846" y="1509"/>
                      <a:pt x="846" y="1509"/>
                    </a:cubicBezTo>
                    <a:cubicBezTo>
                      <a:pt x="846" y="1509"/>
                      <a:pt x="863" y="1512"/>
                      <a:pt x="862" y="1518"/>
                    </a:cubicBezTo>
                    <a:cubicBezTo>
                      <a:pt x="861" y="1524"/>
                      <a:pt x="844" y="1522"/>
                      <a:pt x="845" y="1525"/>
                    </a:cubicBezTo>
                    <a:cubicBezTo>
                      <a:pt x="846" y="1528"/>
                      <a:pt x="858" y="1536"/>
                      <a:pt x="859" y="1542"/>
                    </a:cubicBezTo>
                    <a:cubicBezTo>
                      <a:pt x="860" y="1548"/>
                      <a:pt x="868" y="1561"/>
                      <a:pt x="856" y="1565"/>
                    </a:cubicBezTo>
                    <a:cubicBezTo>
                      <a:pt x="844" y="1569"/>
                      <a:pt x="821" y="1567"/>
                      <a:pt x="821" y="1567"/>
                    </a:cubicBezTo>
                    <a:cubicBezTo>
                      <a:pt x="821" y="1567"/>
                      <a:pt x="813" y="1576"/>
                      <a:pt x="810" y="1580"/>
                    </a:cubicBezTo>
                    <a:cubicBezTo>
                      <a:pt x="807" y="1584"/>
                      <a:pt x="794" y="1584"/>
                      <a:pt x="794" y="1584"/>
                    </a:cubicBezTo>
                    <a:cubicBezTo>
                      <a:pt x="797" y="1609"/>
                      <a:pt x="797" y="1609"/>
                      <a:pt x="797" y="1609"/>
                    </a:cubicBezTo>
                    <a:cubicBezTo>
                      <a:pt x="796" y="1610"/>
                      <a:pt x="795" y="1610"/>
                      <a:pt x="795" y="1610"/>
                    </a:cubicBezTo>
                    <a:cubicBezTo>
                      <a:pt x="796" y="1610"/>
                      <a:pt x="797" y="1609"/>
                      <a:pt x="799" y="1609"/>
                    </a:cubicBezTo>
                    <a:cubicBezTo>
                      <a:pt x="810" y="1603"/>
                      <a:pt x="839" y="1594"/>
                      <a:pt x="840" y="1603"/>
                    </a:cubicBezTo>
                    <a:cubicBezTo>
                      <a:pt x="841" y="1611"/>
                      <a:pt x="819" y="1627"/>
                      <a:pt x="819" y="1627"/>
                    </a:cubicBezTo>
                    <a:cubicBezTo>
                      <a:pt x="786" y="1637"/>
                      <a:pt x="786" y="1637"/>
                      <a:pt x="786" y="1637"/>
                    </a:cubicBezTo>
                    <a:cubicBezTo>
                      <a:pt x="816" y="1660"/>
                      <a:pt x="816" y="1660"/>
                      <a:pt x="816" y="1660"/>
                    </a:cubicBezTo>
                    <a:cubicBezTo>
                      <a:pt x="816" y="1660"/>
                      <a:pt x="792" y="1665"/>
                      <a:pt x="791" y="1675"/>
                    </a:cubicBezTo>
                    <a:cubicBezTo>
                      <a:pt x="790" y="1685"/>
                      <a:pt x="790" y="1696"/>
                      <a:pt x="790" y="1696"/>
                    </a:cubicBezTo>
                    <a:cubicBezTo>
                      <a:pt x="790" y="1696"/>
                      <a:pt x="777" y="1705"/>
                      <a:pt x="772" y="1705"/>
                    </a:cubicBezTo>
                    <a:cubicBezTo>
                      <a:pt x="767" y="1705"/>
                      <a:pt x="752" y="1694"/>
                      <a:pt x="752" y="1694"/>
                    </a:cubicBezTo>
                    <a:cubicBezTo>
                      <a:pt x="748" y="1705"/>
                      <a:pt x="748" y="1705"/>
                      <a:pt x="748" y="1705"/>
                    </a:cubicBezTo>
                    <a:cubicBezTo>
                      <a:pt x="748" y="1705"/>
                      <a:pt x="760" y="1718"/>
                      <a:pt x="763" y="1718"/>
                    </a:cubicBezTo>
                    <a:cubicBezTo>
                      <a:pt x="766" y="1718"/>
                      <a:pt x="775" y="1737"/>
                      <a:pt x="775" y="1737"/>
                    </a:cubicBezTo>
                    <a:cubicBezTo>
                      <a:pt x="800" y="1735"/>
                      <a:pt x="800" y="1735"/>
                      <a:pt x="800" y="1735"/>
                    </a:cubicBezTo>
                    <a:cubicBezTo>
                      <a:pt x="800" y="1735"/>
                      <a:pt x="818" y="1754"/>
                      <a:pt x="824" y="1754"/>
                    </a:cubicBezTo>
                    <a:cubicBezTo>
                      <a:pt x="830" y="1754"/>
                      <a:pt x="842" y="1755"/>
                      <a:pt x="842" y="1755"/>
                    </a:cubicBezTo>
                    <a:cubicBezTo>
                      <a:pt x="842" y="1755"/>
                      <a:pt x="873" y="1792"/>
                      <a:pt x="881" y="1795"/>
                    </a:cubicBezTo>
                    <a:cubicBezTo>
                      <a:pt x="889" y="1798"/>
                      <a:pt x="905" y="1805"/>
                      <a:pt x="905" y="1805"/>
                    </a:cubicBezTo>
                    <a:cubicBezTo>
                      <a:pt x="905" y="1805"/>
                      <a:pt x="904" y="1805"/>
                      <a:pt x="901" y="1804"/>
                    </a:cubicBezTo>
                    <a:cubicBezTo>
                      <a:pt x="914" y="1793"/>
                      <a:pt x="914" y="1793"/>
                      <a:pt x="914" y="1793"/>
                    </a:cubicBezTo>
                    <a:cubicBezTo>
                      <a:pt x="914" y="1793"/>
                      <a:pt x="939" y="1796"/>
                      <a:pt x="955" y="1803"/>
                    </a:cubicBezTo>
                    <a:cubicBezTo>
                      <a:pt x="971" y="1810"/>
                      <a:pt x="983" y="1812"/>
                      <a:pt x="996" y="1811"/>
                    </a:cubicBezTo>
                    <a:cubicBezTo>
                      <a:pt x="1009" y="1810"/>
                      <a:pt x="1029" y="1815"/>
                      <a:pt x="1029" y="1815"/>
                    </a:cubicBezTo>
                    <a:cubicBezTo>
                      <a:pt x="1061" y="1835"/>
                      <a:pt x="1061" y="1835"/>
                      <a:pt x="1061" y="1835"/>
                    </a:cubicBezTo>
                    <a:cubicBezTo>
                      <a:pt x="1061" y="1835"/>
                      <a:pt x="1061" y="1846"/>
                      <a:pt x="1080" y="1846"/>
                    </a:cubicBezTo>
                    <a:cubicBezTo>
                      <a:pt x="1099" y="1846"/>
                      <a:pt x="1091" y="1837"/>
                      <a:pt x="1109" y="1835"/>
                    </a:cubicBezTo>
                    <a:cubicBezTo>
                      <a:pt x="1127" y="1833"/>
                      <a:pt x="1137" y="1848"/>
                      <a:pt x="1137" y="1848"/>
                    </a:cubicBezTo>
                    <a:cubicBezTo>
                      <a:pt x="1157" y="1851"/>
                      <a:pt x="1157" y="1851"/>
                      <a:pt x="1157" y="1851"/>
                    </a:cubicBezTo>
                    <a:cubicBezTo>
                      <a:pt x="1157" y="1851"/>
                      <a:pt x="1152" y="1869"/>
                      <a:pt x="1152" y="1868"/>
                    </a:cubicBezTo>
                    <a:cubicBezTo>
                      <a:pt x="1169" y="1869"/>
                      <a:pt x="1180" y="1879"/>
                      <a:pt x="1187" y="1886"/>
                    </a:cubicBezTo>
                    <a:cubicBezTo>
                      <a:pt x="1187" y="1886"/>
                      <a:pt x="1187" y="1886"/>
                      <a:pt x="1187" y="1886"/>
                    </a:cubicBezTo>
                    <a:cubicBezTo>
                      <a:pt x="1194" y="1885"/>
                      <a:pt x="1205" y="1886"/>
                      <a:pt x="1214" y="1892"/>
                    </a:cubicBezTo>
                    <a:cubicBezTo>
                      <a:pt x="1227" y="1901"/>
                      <a:pt x="1236" y="1923"/>
                      <a:pt x="1252" y="1921"/>
                    </a:cubicBezTo>
                    <a:cubicBezTo>
                      <a:pt x="1268" y="1919"/>
                      <a:pt x="1262" y="1907"/>
                      <a:pt x="1262" y="1907"/>
                    </a:cubicBezTo>
                    <a:cubicBezTo>
                      <a:pt x="1262" y="1907"/>
                      <a:pt x="1278" y="1910"/>
                      <a:pt x="1279" y="1903"/>
                    </a:cubicBezTo>
                    <a:cubicBezTo>
                      <a:pt x="1280" y="1896"/>
                      <a:pt x="1281" y="1885"/>
                      <a:pt x="1281" y="1885"/>
                    </a:cubicBezTo>
                    <a:cubicBezTo>
                      <a:pt x="1274" y="1882"/>
                      <a:pt x="1274" y="1882"/>
                      <a:pt x="1274" y="1882"/>
                    </a:cubicBezTo>
                    <a:cubicBezTo>
                      <a:pt x="1274" y="1882"/>
                      <a:pt x="1269" y="1868"/>
                      <a:pt x="1264" y="1860"/>
                    </a:cubicBezTo>
                    <a:cubicBezTo>
                      <a:pt x="1259" y="1852"/>
                      <a:pt x="1240" y="1848"/>
                      <a:pt x="1240" y="1848"/>
                    </a:cubicBezTo>
                    <a:cubicBezTo>
                      <a:pt x="1240" y="1833"/>
                      <a:pt x="1240" y="1833"/>
                      <a:pt x="1240" y="1833"/>
                    </a:cubicBezTo>
                    <a:cubicBezTo>
                      <a:pt x="1240" y="1833"/>
                      <a:pt x="1232" y="1829"/>
                      <a:pt x="1223" y="1818"/>
                    </a:cubicBezTo>
                    <a:cubicBezTo>
                      <a:pt x="1214" y="1807"/>
                      <a:pt x="1226" y="1793"/>
                      <a:pt x="1221" y="1780"/>
                    </a:cubicBezTo>
                    <a:cubicBezTo>
                      <a:pt x="1216" y="1767"/>
                      <a:pt x="1195" y="1753"/>
                      <a:pt x="1195" y="1753"/>
                    </a:cubicBezTo>
                    <a:cubicBezTo>
                      <a:pt x="1195" y="1753"/>
                      <a:pt x="1186" y="1752"/>
                      <a:pt x="1177" y="1747"/>
                    </a:cubicBezTo>
                    <a:cubicBezTo>
                      <a:pt x="1168" y="1742"/>
                      <a:pt x="1190" y="1721"/>
                      <a:pt x="1190" y="1721"/>
                    </a:cubicBezTo>
                    <a:cubicBezTo>
                      <a:pt x="1190" y="1721"/>
                      <a:pt x="1205" y="1708"/>
                      <a:pt x="1208" y="1701"/>
                    </a:cubicBezTo>
                    <a:cubicBezTo>
                      <a:pt x="1211" y="1694"/>
                      <a:pt x="1197" y="1679"/>
                      <a:pt x="1197" y="1679"/>
                    </a:cubicBezTo>
                    <a:cubicBezTo>
                      <a:pt x="1197" y="1679"/>
                      <a:pt x="1211" y="1685"/>
                      <a:pt x="1214" y="1685"/>
                    </a:cubicBezTo>
                    <a:cubicBezTo>
                      <a:pt x="1217" y="1685"/>
                      <a:pt x="1229" y="1684"/>
                      <a:pt x="1232" y="1678"/>
                    </a:cubicBezTo>
                    <a:cubicBezTo>
                      <a:pt x="1235" y="1672"/>
                      <a:pt x="1238" y="1678"/>
                      <a:pt x="1250" y="1676"/>
                    </a:cubicBezTo>
                    <a:cubicBezTo>
                      <a:pt x="1262" y="1674"/>
                      <a:pt x="1245" y="1661"/>
                      <a:pt x="1245" y="1661"/>
                    </a:cubicBezTo>
                    <a:cubicBezTo>
                      <a:pt x="1245" y="1661"/>
                      <a:pt x="1261" y="1662"/>
                      <a:pt x="1264" y="1662"/>
                    </a:cubicBezTo>
                    <a:cubicBezTo>
                      <a:pt x="1266" y="1662"/>
                      <a:pt x="1265" y="1652"/>
                      <a:pt x="1264" y="1649"/>
                    </a:cubicBezTo>
                    <a:cubicBezTo>
                      <a:pt x="1257" y="1647"/>
                      <a:pt x="1231" y="1638"/>
                      <a:pt x="1231" y="1631"/>
                    </a:cubicBezTo>
                    <a:cubicBezTo>
                      <a:pt x="1231" y="1623"/>
                      <a:pt x="1254" y="1632"/>
                      <a:pt x="1254" y="1624"/>
                    </a:cubicBezTo>
                    <a:cubicBezTo>
                      <a:pt x="1254" y="1616"/>
                      <a:pt x="1215" y="1576"/>
                      <a:pt x="1210" y="1574"/>
                    </a:cubicBezTo>
                    <a:cubicBezTo>
                      <a:pt x="1205" y="1571"/>
                      <a:pt x="1181" y="1580"/>
                      <a:pt x="1169" y="1575"/>
                    </a:cubicBezTo>
                    <a:cubicBezTo>
                      <a:pt x="1157" y="1570"/>
                      <a:pt x="1171" y="1555"/>
                      <a:pt x="1159" y="1550"/>
                    </a:cubicBezTo>
                    <a:cubicBezTo>
                      <a:pt x="1147" y="1544"/>
                      <a:pt x="1137" y="1554"/>
                      <a:pt x="1137" y="1538"/>
                    </a:cubicBezTo>
                    <a:cubicBezTo>
                      <a:pt x="1137" y="1522"/>
                      <a:pt x="1145" y="1510"/>
                      <a:pt x="1145" y="1502"/>
                    </a:cubicBezTo>
                    <a:cubicBezTo>
                      <a:pt x="1145" y="1494"/>
                      <a:pt x="1139" y="1488"/>
                      <a:pt x="1139" y="1488"/>
                    </a:cubicBezTo>
                    <a:cubicBezTo>
                      <a:pt x="1137" y="1464"/>
                      <a:pt x="1137" y="1464"/>
                      <a:pt x="1137" y="1464"/>
                    </a:cubicBezTo>
                    <a:cubicBezTo>
                      <a:pt x="1137" y="1464"/>
                      <a:pt x="1150" y="1467"/>
                      <a:pt x="1150" y="1459"/>
                    </a:cubicBezTo>
                    <a:cubicBezTo>
                      <a:pt x="1150" y="1451"/>
                      <a:pt x="1142" y="1432"/>
                      <a:pt x="1154" y="1431"/>
                    </a:cubicBezTo>
                    <a:cubicBezTo>
                      <a:pt x="1166" y="1430"/>
                      <a:pt x="1194" y="1472"/>
                      <a:pt x="1209" y="1458"/>
                    </a:cubicBezTo>
                    <a:cubicBezTo>
                      <a:pt x="1223" y="1443"/>
                      <a:pt x="1205" y="1428"/>
                      <a:pt x="1205" y="1428"/>
                    </a:cubicBezTo>
                    <a:cubicBezTo>
                      <a:pt x="1223" y="1419"/>
                      <a:pt x="1223" y="1419"/>
                      <a:pt x="1223" y="1419"/>
                    </a:cubicBezTo>
                    <a:cubicBezTo>
                      <a:pt x="1223" y="1404"/>
                      <a:pt x="1223" y="1404"/>
                      <a:pt x="1223" y="1404"/>
                    </a:cubicBezTo>
                    <a:cubicBezTo>
                      <a:pt x="1223" y="1404"/>
                      <a:pt x="1251" y="1399"/>
                      <a:pt x="1259" y="1388"/>
                    </a:cubicBezTo>
                    <a:cubicBezTo>
                      <a:pt x="1267" y="1378"/>
                      <a:pt x="1245" y="1370"/>
                      <a:pt x="1267" y="1368"/>
                    </a:cubicBezTo>
                    <a:cubicBezTo>
                      <a:pt x="1290" y="1367"/>
                      <a:pt x="1282" y="1380"/>
                      <a:pt x="1298" y="1380"/>
                    </a:cubicBezTo>
                    <a:cubicBezTo>
                      <a:pt x="1314" y="1380"/>
                      <a:pt x="1327" y="1367"/>
                      <a:pt x="1334" y="1367"/>
                    </a:cubicBezTo>
                    <a:cubicBezTo>
                      <a:pt x="1341" y="1367"/>
                      <a:pt x="1342" y="1380"/>
                      <a:pt x="1351" y="1382"/>
                    </a:cubicBezTo>
                    <a:cubicBezTo>
                      <a:pt x="1361" y="1383"/>
                      <a:pt x="1385" y="1378"/>
                      <a:pt x="1389" y="1382"/>
                    </a:cubicBezTo>
                    <a:cubicBezTo>
                      <a:pt x="1393" y="1386"/>
                      <a:pt x="1395" y="1398"/>
                      <a:pt x="1395" y="1398"/>
                    </a:cubicBezTo>
                    <a:cubicBezTo>
                      <a:pt x="1419" y="1396"/>
                      <a:pt x="1419" y="1396"/>
                      <a:pt x="1419" y="1396"/>
                    </a:cubicBezTo>
                    <a:cubicBezTo>
                      <a:pt x="1426" y="1416"/>
                      <a:pt x="1426" y="1416"/>
                      <a:pt x="1426" y="1416"/>
                    </a:cubicBezTo>
                    <a:cubicBezTo>
                      <a:pt x="1426" y="1416"/>
                      <a:pt x="1434" y="1436"/>
                      <a:pt x="1442" y="1430"/>
                    </a:cubicBezTo>
                    <a:cubicBezTo>
                      <a:pt x="1450" y="1423"/>
                      <a:pt x="1427" y="1406"/>
                      <a:pt x="1438" y="1403"/>
                    </a:cubicBezTo>
                    <a:cubicBezTo>
                      <a:pt x="1449" y="1400"/>
                      <a:pt x="1490" y="1431"/>
                      <a:pt x="1493" y="1427"/>
                    </a:cubicBezTo>
                    <a:cubicBezTo>
                      <a:pt x="1495" y="1423"/>
                      <a:pt x="1513" y="1403"/>
                      <a:pt x="1522" y="1402"/>
                    </a:cubicBezTo>
                    <a:cubicBezTo>
                      <a:pt x="1531" y="1400"/>
                      <a:pt x="1542" y="1416"/>
                      <a:pt x="1558" y="1412"/>
                    </a:cubicBezTo>
                    <a:cubicBezTo>
                      <a:pt x="1574" y="1408"/>
                      <a:pt x="1585" y="1399"/>
                      <a:pt x="1593" y="1400"/>
                    </a:cubicBezTo>
                    <a:cubicBezTo>
                      <a:pt x="1601" y="1402"/>
                      <a:pt x="1613" y="1423"/>
                      <a:pt x="1623" y="1424"/>
                    </a:cubicBezTo>
                    <a:cubicBezTo>
                      <a:pt x="1634" y="1426"/>
                      <a:pt x="1657" y="1430"/>
                      <a:pt x="1657" y="1430"/>
                    </a:cubicBezTo>
                    <a:cubicBezTo>
                      <a:pt x="1663" y="1414"/>
                      <a:pt x="1663" y="1414"/>
                      <a:pt x="1663" y="1414"/>
                    </a:cubicBezTo>
                    <a:cubicBezTo>
                      <a:pt x="1663" y="1414"/>
                      <a:pt x="1723" y="1444"/>
                      <a:pt x="1719" y="1406"/>
                    </a:cubicBezTo>
                    <a:cubicBezTo>
                      <a:pt x="1715" y="1367"/>
                      <a:pt x="1665" y="1370"/>
                      <a:pt x="1665" y="1370"/>
                    </a:cubicBezTo>
                    <a:cubicBezTo>
                      <a:pt x="1642" y="1350"/>
                      <a:pt x="1642" y="1350"/>
                      <a:pt x="1642" y="1350"/>
                    </a:cubicBezTo>
                    <a:cubicBezTo>
                      <a:pt x="1642" y="1350"/>
                      <a:pt x="1675" y="1344"/>
                      <a:pt x="1677" y="1338"/>
                    </a:cubicBezTo>
                    <a:cubicBezTo>
                      <a:pt x="1678" y="1331"/>
                      <a:pt x="1665" y="1314"/>
                      <a:pt x="1665" y="1314"/>
                    </a:cubicBezTo>
                    <a:cubicBezTo>
                      <a:pt x="1671" y="1303"/>
                      <a:pt x="1671" y="1303"/>
                      <a:pt x="1671" y="1303"/>
                    </a:cubicBezTo>
                    <a:cubicBezTo>
                      <a:pt x="1671" y="1303"/>
                      <a:pt x="1709" y="1310"/>
                      <a:pt x="1709" y="1303"/>
                    </a:cubicBezTo>
                    <a:cubicBezTo>
                      <a:pt x="1709" y="1296"/>
                      <a:pt x="1666" y="1288"/>
                      <a:pt x="1666" y="1288"/>
                    </a:cubicBezTo>
                    <a:cubicBezTo>
                      <a:pt x="1677" y="1276"/>
                      <a:pt x="1677" y="1276"/>
                      <a:pt x="1677" y="1276"/>
                    </a:cubicBezTo>
                    <a:cubicBezTo>
                      <a:pt x="1658" y="1275"/>
                      <a:pt x="1658" y="1275"/>
                      <a:pt x="1658" y="1275"/>
                    </a:cubicBezTo>
                    <a:cubicBezTo>
                      <a:pt x="1658" y="1275"/>
                      <a:pt x="1642" y="1256"/>
                      <a:pt x="1687" y="1250"/>
                    </a:cubicBezTo>
                    <a:cubicBezTo>
                      <a:pt x="1733" y="1243"/>
                      <a:pt x="1765" y="1244"/>
                      <a:pt x="1765" y="1244"/>
                    </a:cubicBezTo>
                    <a:cubicBezTo>
                      <a:pt x="1769" y="1232"/>
                      <a:pt x="1769" y="1232"/>
                      <a:pt x="1769" y="1232"/>
                    </a:cubicBezTo>
                    <a:cubicBezTo>
                      <a:pt x="1811" y="1232"/>
                      <a:pt x="1811" y="1232"/>
                      <a:pt x="1811" y="1232"/>
                    </a:cubicBezTo>
                    <a:cubicBezTo>
                      <a:pt x="1811" y="1232"/>
                      <a:pt x="1811" y="1216"/>
                      <a:pt x="1819" y="1216"/>
                    </a:cubicBezTo>
                    <a:cubicBezTo>
                      <a:pt x="1827" y="1216"/>
                      <a:pt x="1855" y="1220"/>
                      <a:pt x="1877" y="1215"/>
                    </a:cubicBezTo>
                    <a:cubicBezTo>
                      <a:pt x="1898" y="1210"/>
                      <a:pt x="1918" y="1203"/>
                      <a:pt x="1918" y="1203"/>
                    </a:cubicBezTo>
                    <a:cubicBezTo>
                      <a:pt x="1918" y="1203"/>
                      <a:pt x="1915" y="1183"/>
                      <a:pt x="1949" y="1182"/>
                    </a:cubicBezTo>
                    <a:cubicBezTo>
                      <a:pt x="1982" y="1180"/>
                      <a:pt x="1995" y="1191"/>
                      <a:pt x="2001" y="1191"/>
                    </a:cubicBezTo>
                    <a:cubicBezTo>
                      <a:pt x="2006" y="1191"/>
                      <a:pt x="2013" y="1182"/>
                      <a:pt x="2021" y="1187"/>
                    </a:cubicBezTo>
                    <a:cubicBezTo>
                      <a:pt x="2029" y="1192"/>
                      <a:pt x="2034" y="1210"/>
                      <a:pt x="2034" y="1210"/>
                    </a:cubicBezTo>
                    <a:cubicBezTo>
                      <a:pt x="2034" y="1210"/>
                      <a:pt x="2046" y="1210"/>
                      <a:pt x="2046" y="1216"/>
                    </a:cubicBezTo>
                    <a:cubicBezTo>
                      <a:pt x="2046" y="1223"/>
                      <a:pt x="2045" y="1244"/>
                      <a:pt x="2050" y="1244"/>
                    </a:cubicBezTo>
                    <a:cubicBezTo>
                      <a:pt x="2055" y="1244"/>
                      <a:pt x="2083" y="1240"/>
                      <a:pt x="2083" y="1240"/>
                    </a:cubicBezTo>
                    <a:cubicBezTo>
                      <a:pt x="2090" y="1230"/>
                      <a:pt x="2090" y="1230"/>
                      <a:pt x="2090" y="1230"/>
                    </a:cubicBezTo>
                    <a:cubicBezTo>
                      <a:pt x="2109" y="1251"/>
                      <a:pt x="2109" y="1251"/>
                      <a:pt x="2109" y="1251"/>
                    </a:cubicBezTo>
                    <a:cubicBezTo>
                      <a:pt x="2122" y="1243"/>
                      <a:pt x="2122" y="1243"/>
                      <a:pt x="2122" y="1243"/>
                    </a:cubicBezTo>
                    <a:cubicBezTo>
                      <a:pt x="2139" y="1254"/>
                      <a:pt x="2139" y="1254"/>
                      <a:pt x="2139" y="1254"/>
                    </a:cubicBezTo>
                    <a:cubicBezTo>
                      <a:pt x="2139" y="1254"/>
                      <a:pt x="2145" y="1242"/>
                      <a:pt x="2154" y="1251"/>
                    </a:cubicBezTo>
                    <a:cubicBezTo>
                      <a:pt x="2163" y="1260"/>
                      <a:pt x="2142" y="1276"/>
                      <a:pt x="2153" y="1278"/>
                    </a:cubicBezTo>
                    <a:cubicBezTo>
                      <a:pt x="2163" y="1279"/>
                      <a:pt x="2165" y="1266"/>
                      <a:pt x="2171" y="1268"/>
                    </a:cubicBezTo>
                    <a:cubicBezTo>
                      <a:pt x="2178" y="1271"/>
                      <a:pt x="2193" y="1287"/>
                      <a:pt x="2201" y="1280"/>
                    </a:cubicBezTo>
                    <a:cubicBezTo>
                      <a:pt x="2209" y="1274"/>
                      <a:pt x="2201" y="1266"/>
                      <a:pt x="2207" y="1262"/>
                    </a:cubicBezTo>
                    <a:cubicBezTo>
                      <a:pt x="2214" y="1258"/>
                      <a:pt x="2222" y="1256"/>
                      <a:pt x="2222" y="1256"/>
                    </a:cubicBezTo>
                    <a:cubicBezTo>
                      <a:pt x="2231" y="1246"/>
                      <a:pt x="2231" y="1246"/>
                      <a:pt x="2231" y="1246"/>
                    </a:cubicBezTo>
                    <a:cubicBezTo>
                      <a:pt x="2255" y="1238"/>
                      <a:pt x="2255" y="1238"/>
                      <a:pt x="2255" y="1238"/>
                    </a:cubicBezTo>
                    <a:cubicBezTo>
                      <a:pt x="2255" y="1238"/>
                      <a:pt x="2267" y="1216"/>
                      <a:pt x="2275" y="1227"/>
                    </a:cubicBezTo>
                    <a:cubicBezTo>
                      <a:pt x="2283" y="1238"/>
                      <a:pt x="2263" y="1250"/>
                      <a:pt x="2263" y="1250"/>
                    </a:cubicBezTo>
                    <a:cubicBezTo>
                      <a:pt x="2263" y="1250"/>
                      <a:pt x="2331" y="1282"/>
                      <a:pt x="2337" y="1284"/>
                    </a:cubicBezTo>
                    <a:cubicBezTo>
                      <a:pt x="2342" y="1287"/>
                      <a:pt x="2414" y="1354"/>
                      <a:pt x="2429" y="1367"/>
                    </a:cubicBezTo>
                    <a:cubicBezTo>
                      <a:pt x="2443" y="1380"/>
                      <a:pt x="2467" y="1419"/>
                      <a:pt x="2485" y="1416"/>
                    </a:cubicBezTo>
                    <a:cubicBezTo>
                      <a:pt x="2502" y="1414"/>
                      <a:pt x="2498" y="1384"/>
                      <a:pt x="2509" y="1387"/>
                    </a:cubicBezTo>
                    <a:cubicBezTo>
                      <a:pt x="2519" y="1390"/>
                      <a:pt x="2515" y="1406"/>
                      <a:pt x="2519" y="1407"/>
                    </a:cubicBezTo>
                    <a:cubicBezTo>
                      <a:pt x="2523" y="1408"/>
                      <a:pt x="2541" y="1410"/>
                      <a:pt x="2541" y="1410"/>
                    </a:cubicBezTo>
                    <a:cubicBezTo>
                      <a:pt x="2541" y="1410"/>
                      <a:pt x="2555" y="1426"/>
                      <a:pt x="2567" y="1424"/>
                    </a:cubicBezTo>
                    <a:cubicBezTo>
                      <a:pt x="2579" y="1423"/>
                      <a:pt x="2595" y="1402"/>
                      <a:pt x="2618" y="1406"/>
                    </a:cubicBezTo>
                    <a:cubicBezTo>
                      <a:pt x="2641" y="1410"/>
                      <a:pt x="2662" y="1439"/>
                      <a:pt x="2662" y="1439"/>
                    </a:cubicBezTo>
                    <a:cubicBezTo>
                      <a:pt x="2662" y="1439"/>
                      <a:pt x="2697" y="1444"/>
                      <a:pt x="2698" y="1448"/>
                    </a:cubicBezTo>
                    <a:cubicBezTo>
                      <a:pt x="2699" y="1452"/>
                      <a:pt x="2715" y="1480"/>
                      <a:pt x="2715" y="1480"/>
                    </a:cubicBezTo>
                    <a:cubicBezTo>
                      <a:pt x="2762" y="1484"/>
                      <a:pt x="2762" y="1484"/>
                      <a:pt x="2762" y="1484"/>
                    </a:cubicBezTo>
                    <a:cubicBezTo>
                      <a:pt x="2773" y="1462"/>
                      <a:pt x="2773" y="1462"/>
                      <a:pt x="2773" y="1462"/>
                    </a:cubicBezTo>
                    <a:cubicBezTo>
                      <a:pt x="2786" y="1478"/>
                      <a:pt x="2786" y="1478"/>
                      <a:pt x="2786" y="1478"/>
                    </a:cubicBezTo>
                    <a:cubicBezTo>
                      <a:pt x="2810" y="1504"/>
                      <a:pt x="2810" y="1504"/>
                      <a:pt x="2810" y="1504"/>
                    </a:cubicBezTo>
                    <a:cubicBezTo>
                      <a:pt x="2815" y="1505"/>
                      <a:pt x="2819" y="1506"/>
                      <a:pt x="2819" y="1506"/>
                    </a:cubicBezTo>
                    <a:cubicBezTo>
                      <a:pt x="2819" y="1506"/>
                      <a:pt x="2832" y="1499"/>
                      <a:pt x="2840" y="1503"/>
                    </a:cubicBezTo>
                    <a:cubicBezTo>
                      <a:pt x="2847" y="1496"/>
                      <a:pt x="2847" y="1496"/>
                      <a:pt x="2847" y="1496"/>
                    </a:cubicBezTo>
                    <a:cubicBezTo>
                      <a:pt x="2846" y="1484"/>
                      <a:pt x="2846" y="1484"/>
                      <a:pt x="2846" y="1484"/>
                    </a:cubicBezTo>
                    <a:cubicBezTo>
                      <a:pt x="2887" y="1484"/>
                      <a:pt x="2887" y="1484"/>
                      <a:pt x="2887" y="1484"/>
                    </a:cubicBezTo>
                    <a:cubicBezTo>
                      <a:pt x="2885" y="1475"/>
                      <a:pt x="2885" y="1475"/>
                      <a:pt x="2885" y="1475"/>
                    </a:cubicBezTo>
                    <a:cubicBezTo>
                      <a:pt x="2901" y="1475"/>
                      <a:pt x="2901" y="1475"/>
                      <a:pt x="2901" y="1475"/>
                    </a:cubicBezTo>
                    <a:cubicBezTo>
                      <a:pt x="2901" y="1475"/>
                      <a:pt x="2892" y="1473"/>
                      <a:pt x="2901" y="1463"/>
                    </a:cubicBezTo>
                    <a:cubicBezTo>
                      <a:pt x="2910" y="1453"/>
                      <a:pt x="2921" y="1445"/>
                      <a:pt x="2921" y="1445"/>
                    </a:cubicBezTo>
                    <a:cubicBezTo>
                      <a:pt x="2930" y="1446"/>
                      <a:pt x="2930" y="1446"/>
                      <a:pt x="2930" y="1446"/>
                    </a:cubicBezTo>
                    <a:cubicBezTo>
                      <a:pt x="2941" y="1433"/>
                      <a:pt x="2941" y="1433"/>
                      <a:pt x="2941" y="1433"/>
                    </a:cubicBezTo>
                    <a:cubicBezTo>
                      <a:pt x="2957" y="1433"/>
                      <a:pt x="2957" y="1433"/>
                      <a:pt x="2957" y="1433"/>
                    </a:cubicBezTo>
                    <a:cubicBezTo>
                      <a:pt x="2957" y="1433"/>
                      <a:pt x="2958" y="1416"/>
                      <a:pt x="2965" y="1416"/>
                    </a:cubicBezTo>
                    <a:cubicBezTo>
                      <a:pt x="2972" y="1416"/>
                      <a:pt x="2981" y="1422"/>
                      <a:pt x="2981" y="1422"/>
                    </a:cubicBezTo>
                    <a:cubicBezTo>
                      <a:pt x="2993" y="1415"/>
                      <a:pt x="2993" y="1415"/>
                      <a:pt x="2993" y="1415"/>
                    </a:cubicBezTo>
                    <a:cubicBezTo>
                      <a:pt x="2993" y="1415"/>
                      <a:pt x="2993" y="1420"/>
                      <a:pt x="2996" y="1420"/>
                    </a:cubicBezTo>
                    <a:cubicBezTo>
                      <a:pt x="2999" y="1420"/>
                      <a:pt x="3015" y="1420"/>
                      <a:pt x="3015" y="1420"/>
                    </a:cubicBezTo>
                    <a:cubicBezTo>
                      <a:pt x="3020" y="1431"/>
                      <a:pt x="3020" y="1431"/>
                      <a:pt x="3020" y="1431"/>
                    </a:cubicBezTo>
                    <a:cubicBezTo>
                      <a:pt x="3020" y="1431"/>
                      <a:pt x="3064" y="1427"/>
                      <a:pt x="3071" y="1427"/>
                    </a:cubicBezTo>
                    <a:cubicBezTo>
                      <a:pt x="3078" y="1427"/>
                      <a:pt x="3076" y="1440"/>
                      <a:pt x="3085" y="1447"/>
                    </a:cubicBezTo>
                    <a:cubicBezTo>
                      <a:pt x="3094" y="1454"/>
                      <a:pt x="3116" y="1452"/>
                      <a:pt x="3116" y="1452"/>
                    </a:cubicBezTo>
                    <a:cubicBezTo>
                      <a:pt x="3118" y="1461"/>
                      <a:pt x="3118" y="1461"/>
                      <a:pt x="3118" y="1461"/>
                    </a:cubicBezTo>
                    <a:cubicBezTo>
                      <a:pt x="3137" y="1458"/>
                      <a:pt x="3137" y="1458"/>
                      <a:pt x="3137" y="1458"/>
                    </a:cubicBezTo>
                    <a:cubicBezTo>
                      <a:pt x="3139" y="1463"/>
                      <a:pt x="3139" y="1463"/>
                      <a:pt x="3139" y="1463"/>
                    </a:cubicBezTo>
                    <a:cubicBezTo>
                      <a:pt x="3139" y="1463"/>
                      <a:pt x="3141" y="1457"/>
                      <a:pt x="3152" y="1456"/>
                    </a:cubicBezTo>
                    <a:cubicBezTo>
                      <a:pt x="3163" y="1455"/>
                      <a:pt x="3172" y="1456"/>
                      <a:pt x="3172" y="1456"/>
                    </a:cubicBezTo>
                    <a:cubicBezTo>
                      <a:pt x="3173" y="1464"/>
                      <a:pt x="3173" y="1464"/>
                      <a:pt x="3173" y="1464"/>
                    </a:cubicBezTo>
                    <a:cubicBezTo>
                      <a:pt x="3203" y="1462"/>
                      <a:pt x="3203" y="1462"/>
                      <a:pt x="3203" y="1462"/>
                    </a:cubicBezTo>
                    <a:cubicBezTo>
                      <a:pt x="3203" y="1462"/>
                      <a:pt x="3197" y="1478"/>
                      <a:pt x="3214" y="1470"/>
                    </a:cubicBezTo>
                    <a:cubicBezTo>
                      <a:pt x="3231" y="1462"/>
                      <a:pt x="3229" y="1455"/>
                      <a:pt x="3229" y="1455"/>
                    </a:cubicBezTo>
                    <a:cubicBezTo>
                      <a:pt x="3229" y="1455"/>
                      <a:pt x="3241" y="1465"/>
                      <a:pt x="3241" y="1447"/>
                    </a:cubicBezTo>
                    <a:cubicBezTo>
                      <a:pt x="3241" y="1429"/>
                      <a:pt x="3226" y="1429"/>
                      <a:pt x="3226" y="1429"/>
                    </a:cubicBezTo>
                    <a:cubicBezTo>
                      <a:pt x="3210" y="1405"/>
                      <a:pt x="3210" y="1405"/>
                      <a:pt x="3210" y="1405"/>
                    </a:cubicBezTo>
                    <a:cubicBezTo>
                      <a:pt x="3206" y="1391"/>
                      <a:pt x="3206" y="1391"/>
                      <a:pt x="3206" y="1391"/>
                    </a:cubicBezTo>
                    <a:cubicBezTo>
                      <a:pt x="3206" y="1391"/>
                      <a:pt x="3200" y="1388"/>
                      <a:pt x="3200" y="1382"/>
                    </a:cubicBezTo>
                    <a:cubicBezTo>
                      <a:pt x="3200" y="1376"/>
                      <a:pt x="3211" y="1378"/>
                      <a:pt x="3211" y="1378"/>
                    </a:cubicBezTo>
                    <a:cubicBezTo>
                      <a:pt x="3209" y="1367"/>
                      <a:pt x="3209" y="1367"/>
                      <a:pt x="3209" y="1367"/>
                    </a:cubicBezTo>
                    <a:cubicBezTo>
                      <a:pt x="3209" y="1367"/>
                      <a:pt x="3213" y="1369"/>
                      <a:pt x="3218" y="1363"/>
                    </a:cubicBezTo>
                    <a:cubicBezTo>
                      <a:pt x="3223" y="1357"/>
                      <a:pt x="3222" y="1345"/>
                      <a:pt x="3222" y="1345"/>
                    </a:cubicBezTo>
                    <a:cubicBezTo>
                      <a:pt x="3231" y="1347"/>
                      <a:pt x="3231" y="1347"/>
                      <a:pt x="3231" y="1347"/>
                    </a:cubicBezTo>
                    <a:cubicBezTo>
                      <a:pt x="3231" y="1347"/>
                      <a:pt x="3254" y="1364"/>
                      <a:pt x="3272" y="1366"/>
                    </a:cubicBezTo>
                    <a:cubicBezTo>
                      <a:pt x="3290" y="1368"/>
                      <a:pt x="3310" y="1367"/>
                      <a:pt x="3310" y="1367"/>
                    </a:cubicBezTo>
                    <a:cubicBezTo>
                      <a:pt x="3310" y="1367"/>
                      <a:pt x="3329" y="1381"/>
                      <a:pt x="3339" y="1383"/>
                    </a:cubicBezTo>
                    <a:cubicBezTo>
                      <a:pt x="3349" y="1385"/>
                      <a:pt x="3361" y="1372"/>
                      <a:pt x="3370" y="1383"/>
                    </a:cubicBezTo>
                    <a:cubicBezTo>
                      <a:pt x="3379" y="1394"/>
                      <a:pt x="3401" y="1428"/>
                      <a:pt x="3401" y="1428"/>
                    </a:cubicBezTo>
                    <a:cubicBezTo>
                      <a:pt x="3416" y="1425"/>
                      <a:pt x="3416" y="1425"/>
                      <a:pt x="3416" y="1425"/>
                    </a:cubicBezTo>
                    <a:cubicBezTo>
                      <a:pt x="3416" y="1425"/>
                      <a:pt x="3418" y="1441"/>
                      <a:pt x="3428" y="1441"/>
                    </a:cubicBezTo>
                    <a:cubicBezTo>
                      <a:pt x="3438" y="1441"/>
                      <a:pt x="3445" y="1440"/>
                      <a:pt x="3445" y="1440"/>
                    </a:cubicBezTo>
                    <a:cubicBezTo>
                      <a:pt x="3445" y="1440"/>
                      <a:pt x="3462" y="1450"/>
                      <a:pt x="3475" y="1449"/>
                    </a:cubicBezTo>
                    <a:cubicBezTo>
                      <a:pt x="3488" y="1448"/>
                      <a:pt x="3506" y="1430"/>
                      <a:pt x="3535" y="1432"/>
                    </a:cubicBezTo>
                    <a:cubicBezTo>
                      <a:pt x="3564" y="1434"/>
                      <a:pt x="3566" y="1442"/>
                      <a:pt x="3566" y="1442"/>
                    </a:cubicBezTo>
                    <a:cubicBezTo>
                      <a:pt x="3593" y="1439"/>
                      <a:pt x="3593" y="1439"/>
                      <a:pt x="3593" y="1439"/>
                    </a:cubicBezTo>
                    <a:cubicBezTo>
                      <a:pt x="3593" y="1439"/>
                      <a:pt x="3604" y="1458"/>
                      <a:pt x="3616" y="1458"/>
                    </a:cubicBezTo>
                    <a:cubicBezTo>
                      <a:pt x="3628" y="1458"/>
                      <a:pt x="3647" y="1458"/>
                      <a:pt x="3650" y="1459"/>
                    </a:cubicBezTo>
                    <a:cubicBezTo>
                      <a:pt x="3653" y="1460"/>
                      <a:pt x="3661" y="1479"/>
                      <a:pt x="3664" y="1478"/>
                    </a:cubicBezTo>
                    <a:cubicBezTo>
                      <a:pt x="3667" y="1477"/>
                      <a:pt x="3678" y="1480"/>
                      <a:pt x="3678" y="1480"/>
                    </a:cubicBezTo>
                    <a:cubicBezTo>
                      <a:pt x="3678" y="1480"/>
                      <a:pt x="3673" y="1491"/>
                      <a:pt x="3693" y="1493"/>
                    </a:cubicBezTo>
                    <a:cubicBezTo>
                      <a:pt x="3713" y="1495"/>
                      <a:pt x="3723" y="1492"/>
                      <a:pt x="3723" y="1492"/>
                    </a:cubicBezTo>
                    <a:cubicBezTo>
                      <a:pt x="3723" y="1492"/>
                      <a:pt x="3730" y="1495"/>
                      <a:pt x="3733" y="1498"/>
                    </a:cubicBezTo>
                    <a:cubicBezTo>
                      <a:pt x="3736" y="1501"/>
                      <a:pt x="3760" y="1501"/>
                      <a:pt x="3760" y="1501"/>
                    </a:cubicBezTo>
                    <a:cubicBezTo>
                      <a:pt x="3760" y="1501"/>
                      <a:pt x="3772" y="1494"/>
                      <a:pt x="3776" y="1496"/>
                    </a:cubicBezTo>
                    <a:cubicBezTo>
                      <a:pt x="3780" y="1498"/>
                      <a:pt x="3788" y="1507"/>
                      <a:pt x="3793" y="1501"/>
                    </a:cubicBezTo>
                    <a:cubicBezTo>
                      <a:pt x="3798" y="1495"/>
                      <a:pt x="3796" y="1490"/>
                      <a:pt x="3805" y="1488"/>
                    </a:cubicBezTo>
                    <a:cubicBezTo>
                      <a:pt x="3814" y="1486"/>
                      <a:pt x="3831" y="1487"/>
                      <a:pt x="3831" y="1487"/>
                    </a:cubicBezTo>
                    <a:cubicBezTo>
                      <a:pt x="3841" y="1482"/>
                      <a:pt x="3841" y="1482"/>
                      <a:pt x="3841" y="1482"/>
                    </a:cubicBezTo>
                    <a:cubicBezTo>
                      <a:pt x="3841" y="1482"/>
                      <a:pt x="3853" y="1485"/>
                      <a:pt x="3863" y="1481"/>
                    </a:cubicBezTo>
                    <a:cubicBezTo>
                      <a:pt x="3873" y="1477"/>
                      <a:pt x="3870" y="1466"/>
                      <a:pt x="3870" y="1466"/>
                    </a:cubicBezTo>
                    <a:cubicBezTo>
                      <a:pt x="3893" y="1443"/>
                      <a:pt x="3893" y="1443"/>
                      <a:pt x="3893" y="1443"/>
                    </a:cubicBezTo>
                    <a:cubicBezTo>
                      <a:pt x="3893" y="1443"/>
                      <a:pt x="3920" y="1447"/>
                      <a:pt x="3929" y="1447"/>
                    </a:cubicBezTo>
                    <a:cubicBezTo>
                      <a:pt x="3938" y="1447"/>
                      <a:pt x="3948" y="1463"/>
                      <a:pt x="3962" y="1463"/>
                    </a:cubicBezTo>
                    <a:cubicBezTo>
                      <a:pt x="3976" y="1463"/>
                      <a:pt x="3982" y="1456"/>
                      <a:pt x="3982" y="1456"/>
                    </a:cubicBezTo>
                    <a:cubicBezTo>
                      <a:pt x="4000" y="1459"/>
                      <a:pt x="4000" y="1459"/>
                      <a:pt x="4000" y="1459"/>
                    </a:cubicBezTo>
                    <a:cubicBezTo>
                      <a:pt x="4011" y="1462"/>
                      <a:pt x="4011" y="1462"/>
                      <a:pt x="4011" y="1462"/>
                    </a:cubicBezTo>
                    <a:cubicBezTo>
                      <a:pt x="4034" y="1476"/>
                      <a:pt x="4034" y="1476"/>
                      <a:pt x="4034" y="1476"/>
                    </a:cubicBezTo>
                    <a:cubicBezTo>
                      <a:pt x="4058" y="1477"/>
                      <a:pt x="4058" y="1477"/>
                      <a:pt x="4058" y="1477"/>
                    </a:cubicBezTo>
                    <a:cubicBezTo>
                      <a:pt x="4058" y="1477"/>
                      <a:pt x="4061" y="1482"/>
                      <a:pt x="4071" y="1482"/>
                    </a:cubicBezTo>
                    <a:cubicBezTo>
                      <a:pt x="4081" y="1482"/>
                      <a:pt x="4085" y="1460"/>
                      <a:pt x="4085" y="1460"/>
                    </a:cubicBezTo>
                    <a:cubicBezTo>
                      <a:pt x="4085" y="1460"/>
                      <a:pt x="4096" y="1465"/>
                      <a:pt x="4109" y="1457"/>
                    </a:cubicBezTo>
                    <a:cubicBezTo>
                      <a:pt x="4122" y="1449"/>
                      <a:pt x="4098" y="1439"/>
                      <a:pt x="4098" y="1439"/>
                    </a:cubicBezTo>
                    <a:cubicBezTo>
                      <a:pt x="4097" y="1414"/>
                      <a:pt x="4097" y="1414"/>
                      <a:pt x="4097" y="1414"/>
                    </a:cubicBezTo>
                    <a:cubicBezTo>
                      <a:pt x="4097" y="1395"/>
                      <a:pt x="4097" y="1395"/>
                      <a:pt x="4097" y="1395"/>
                    </a:cubicBezTo>
                    <a:cubicBezTo>
                      <a:pt x="4097" y="1395"/>
                      <a:pt x="4092" y="1377"/>
                      <a:pt x="4094" y="1368"/>
                    </a:cubicBezTo>
                    <a:cubicBezTo>
                      <a:pt x="4096" y="1359"/>
                      <a:pt x="4108" y="1354"/>
                      <a:pt x="4109" y="1348"/>
                    </a:cubicBezTo>
                    <a:cubicBezTo>
                      <a:pt x="4110" y="1342"/>
                      <a:pt x="4083" y="1327"/>
                      <a:pt x="4083" y="1327"/>
                    </a:cubicBezTo>
                    <a:cubicBezTo>
                      <a:pt x="4083" y="1327"/>
                      <a:pt x="4071" y="1325"/>
                      <a:pt x="4056" y="1322"/>
                    </a:cubicBezTo>
                    <a:cubicBezTo>
                      <a:pt x="4041" y="1319"/>
                      <a:pt x="4063" y="1304"/>
                      <a:pt x="4063" y="1304"/>
                    </a:cubicBezTo>
                    <a:cubicBezTo>
                      <a:pt x="4083" y="1284"/>
                      <a:pt x="4083" y="1284"/>
                      <a:pt x="4083" y="1284"/>
                    </a:cubicBezTo>
                    <a:cubicBezTo>
                      <a:pt x="4107" y="1281"/>
                      <a:pt x="4107" y="1281"/>
                      <a:pt x="4107" y="1281"/>
                    </a:cubicBezTo>
                    <a:cubicBezTo>
                      <a:pt x="4111" y="1273"/>
                      <a:pt x="4111" y="1273"/>
                      <a:pt x="4111" y="1273"/>
                    </a:cubicBezTo>
                    <a:cubicBezTo>
                      <a:pt x="4139" y="1275"/>
                      <a:pt x="4139" y="1275"/>
                      <a:pt x="4139" y="1275"/>
                    </a:cubicBezTo>
                    <a:cubicBezTo>
                      <a:pt x="4174" y="1268"/>
                      <a:pt x="4174" y="1268"/>
                      <a:pt x="4174" y="1268"/>
                    </a:cubicBezTo>
                    <a:cubicBezTo>
                      <a:pt x="4199" y="1281"/>
                      <a:pt x="4199" y="1281"/>
                      <a:pt x="4199" y="1281"/>
                    </a:cubicBezTo>
                    <a:cubicBezTo>
                      <a:pt x="4225" y="1298"/>
                      <a:pt x="4225" y="1298"/>
                      <a:pt x="4225" y="1298"/>
                    </a:cubicBezTo>
                    <a:cubicBezTo>
                      <a:pt x="4240" y="1295"/>
                      <a:pt x="4240" y="1295"/>
                      <a:pt x="4240" y="1295"/>
                    </a:cubicBezTo>
                    <a:cubicBezTo>
                      <a:pt x="4240" y="1295"/>
                      <a:pt x="4259" y="1296"/>
                      <a:pt x="4266" y="1297"/>
                    </a:cubicBezTo>
                    <a:cubicBezTo>
                      <a:pt x="4273" y="1298"/>
                      <a:pt x="4294" y="1312"/>
                      <a:pt x="4294" y="1312"/>
                    </a:cubicBezTo>
                    <a:cubicBezTo>
                      <a:pt x="4296" y="1321"/>
                      <a:pt x="4296" y="1321"/>
                      <a:pt x="4296" y="1321"/>
                    </a:cubicBezTo>
                    <a:cubicBezTo>
                      <a:pt x="4296" y="1321"/>
                      <a:pt x="4314" y="1331"/>
                      <a:pt x="4319" y="1335"/>
                    </a:cubicBezTo>
                    <a:cubicBezTo>
                      <a:pt x="4324" y="1339"/>
                      <a:pt x="4339" y="1344"/>
                      <a:pt x="4339" y="1344"/>
                    </a:cubicBezTo>
                    <a:cubicBezTo>
                      <a:pt x="4342" y="1363"/>
                      <a:pt x="4342" y="1363"/>
                      <a:pt x="4342" y="1363"/>
                    </a:cubicBezTo>
                    <a:cubicBezTo>
                      <a:pt x="4374" y="1380"/>
                      <a:pt x="4374" y="1380"/>
                      <a:pt x="4374" y="1380"/>
                    </a:cubicBezTo>
                    <a:cubicBezTo>
                      <a:pt x="4385" y="1402"/>
                      <a:pt x="4385" y="1402"/>
                      <a:pt x="4385" y="1402"/>
                    </a:cubicBezTo>
                    <a:cubicBezTo>
                      <a:pt x="4385" y="1402"/>
                      <a:pt x="4406" y="1404"/>
                      <a:pt x="4416" y="1413"/>
                    </a:cubicBezTo>
                    <a:cubicBezTo>
                      <a:pt x="4426" y="1422"/>
                      <a:pt x="4444" y="1446"/>
                      <a:pt x="4444" y="1446"/>
                    </a:cubicBezTo>
                    <a:cubicBezTo>
                      <a:pt x="4451" y="1446"/>
                      <a:pt x="4451" y="1446"/>
                      <a:pt x="4451" y="1446"/>
                    </a:cubicBezTo>
                    <a:cubicBezTo>
                      <a:pt x="4455" y="1462"/>
                      <a:pt x="4455" y="1462"/>
                      <a:pt x="4455" y="1462"/>
                    </a:cubicBezTo>
                    <a:cubicBezTo>
                      <a:pt x="4455" y="1462"/>
                      <a:pt x="4474" y="1472"/>
                      <a:pt x="4482" y="1477"/>
                    </a:cubicBezTo>
                    <a:cubicBezTo>
                      <a:pt x="4490" y="1482"/>
                      <a:pt x="4507" y="1481"/>
                      <a:pt x="4517" y="1479"/>
                    </a:cubicBezTo>
                    <a:cubicBezTo>
                      <a:pt x="4527" y="1477"/>
                      <a:pt x="4543" y="1493"/>
                      <a:pt x="4543" y="1493"/>
                    </a:cubicBezTo>
                    <a:cubicBezTo>
                      <a:pt x="4543" y="1493"/>
                      <a:pt x="4551" y="1486"/>
                      <a:pt x="4555" y="1486"/>
                    </a:cubicBezTo>
                    <a:cubicBezTo>
                      <a:pt x="4559" y="1486"/>
                      <a:pt x="4597" y="1514"/>
                      <a:pt x="4597" y="1514"/>
                    </a:cubicBezTo>
                    <a:cubicBezTo>
                      <a:pt x="4621" y="1514"/>
                      <a:pt x="4621" y="1514"/>
                      <a:pt x="4621" y="1514"/>
                    </a:cubicBezTo>
                    <a:cubicBezTo>
                      <a:pt x="4630" y="1533"/>
                      <a:pt x="4630" y="1533"/>
                      <a:pt x="4630" y="1533"/>
                    </a:cubicBezTo>
                    <a:cubicBezTo>
                      <a:pt x="4630" y="1533"/>
                      <a:pt x="4646" y="1534"/>
                      <a:pt x="4649" y="1541"/>
                    </a:cubicBezTo>
                    <a:cubicBezTo>
                      <a:pt x="4652" y="1548"/>
                      <a:pt x="4653" y="1556"/>
                      <a:pt x="4653" y="1556"/>
                    </a:cubicBezTo>
                    <a:cubicBezTo>
                      <a:pt x="4678" y="1576"/>
                      <a:pt x="4678" y="1576"/>
                      <a:pt x="4678" y="1576"/>
                    </a:cubicBezTo>
                    <a:cubicBezTo>
                      <a:pt x="4695" y="1572"/>
                      <a:pt x="4695" y="1572"/>
                      <a:pt x="4695" y="1572"/>
                    </a:cubicBezTo>
                    <a:cubicBezTo>
                      <a:pt x="4703" y="1582"/>
                      <a:pt x="4703" y="1582"/>
                      <a:pt x="4703" y="1582"/>
                    </a:cubicBezTo>
                    <a:cubicBezTo>
                      <a:pt x="4716" y="1581"/>
                      <a:pt x="4716" y="1581"/>
                      <a:pt x="4716" y="1581"/>
                    </a:cubicBezTo>
                    <a:cubicBezTo>
                      <a:pt x="4716" y="1574"/>
                      <a:pt x="4716" y="1574"/>
                      <a:pt x="4716" y="1574"/>
                    </a:cubicBezTo>
                    <a:cubicBezTo>
                      <a:pt x="4735" y="1576"/>
                      <a:pt x="4735" y="1576"/>
                      <a:pt x="4735" y="1576"/>
                    </a:cubicBezTo>
                    <a:cubicBezTo>
                      <a:pt x="4735" y="1576"/>
                      <a:pt x="4736" y="1565"/>
                      <a:pt x="4739" y="1560"/>
                    </a:cubicBezTo>
                    <a:cubicBezTo>
                      <a:pt x="4742" y="1555"/>
                      <a:pt x="4770" y="1556"/>
                      <a:pt x="4770" y="1556"/>
                    </a:cubicBezTo>
                    <a:cubicBezTo>
                      <a:pt x="4775" y="1542"/>
                      <a:pt x="4775" y="1542"/>
                      <a:pt x="4775" y="1542"/>
                    </a:cubicBezTo>
                    <a:cubicBezTo>
                      <a:pt x="4775" y="1542"/>
                      <a:pt x="4800" y="1536"/>
                      <a:pt x="4810" y="1544"/>
                    </a:cubicBezTo>
                    <a:cubicBezTo>
                      <a:pt x="4820" y="1552"/>
                      <a:pt x="4814" y="1565"/>
                      <a:pt x="4814" y="1565"/>
                    </a:cubicBezTo>
                    <a:cubicBezTo>
                      <a:pt x="4832" y="1573"/>
                      <a:pt x="4832" y="1573"/>
                      <a:pt x="4832" y="1573"/>
                    </a:cubicBezTo>
                    <a:cubicBezTo>
                      <a:pt x="4832" y="1593"/>
                      <a:pt x="4832" y="1593"/>
                      <a:pt x="4832" y="1593"/>
                    </a:cubicBezTo>
                    <a:cubicBezTo>
                      <a:pt x="4820" y="1598"/>
                      <a:pt x="4820" y="1598"/>
                      <a:pt x="4820" y="1598"/>
                    </a:cubicBezTo>
                    <a:cubicBezTo>
                      <a:pt x="4828" y="1608"/>
                      <a:pt x="4828" y="1608"/>
                      <a:pt x="4828" y="1608"/>
                    </a:cubicBezTo>
                    <a:cubicBezTo>
                      <a:pt x="4828" y="1620"/>
                      <a:pt x="4828" y="1620"/>
                      <a:pt x="4828" y="1620"/>
                    </a:cubicBezTo>
                    <a:cubicBezTo>
                      <a:pt x="4835" y="1630"/>
                      <a:pt x="4835" y="1630"/>
                      <a:pt x="4835" y="1630"/>
                    </a:cubicBezTo>
                    <a:cubicBezTo>
                      <a:pt x="4835" y="1643"/>
                      <a:pt x="4835" y="1643"/>
                      <a:pt x="4835" y="1643"/>
                    </a:cubicBezTo>
                    <a:cubicBezTo>
                      <a:pt x="4846" y="1650"/>
                      <a:pt x="4846" y="1650"/>
                      <a:pt x="4846" y="1650"/>
                    </a:cubicBezTo>
                    <a:cubicBezTo>
                      <a:pt x="4843" y="1667"/>
                      <a:pt x="4843" y="1667"/>
                      <a:pt x="4843" y="1667"/>
                    </a:cubicBezTo>
                    <a:cubicBezTo>
                      <a:pt x="4846" y="1684"/>
                      <a:pt x="4846" y="1684"/>
                      <a:pt x="4846" y="1684"/>
                    </a:cubicBezTo>
                    <a:cubicBezTo>
                      <a:pt x="4846" y="1684"/>
                      <a:pt x="4834" y="1688"/>
                      <a:pt x="4839" y="1700"/>
                    </a:cubicBezTo>
                    <a:cubicBezTo>
                      <a:pt x="4844" y="1712"/>
                      <a:pt x="4846" y="1713"/>
                      <a:pt x="4839" y="1719"/>
                    </a:cubicBezTo>
                    <a:cubicBezTo>
                      <a:pt x="4832" y="1725"/>
                      <a:pt x="4796" y="1702"/>
                      <a:pt x="4785" y="1707"/>
                    </a:cubicBezTo>
                    <a:cubicBezTo>
                      <a:pt x="4774" y="1712"/>
                      <a:pt x="4786" y="1718"/>
                      <a:pt x="4784" y="1723"/>
                    </a:cubicBezTo>
                    <a:cubicBezTo>
                      <a:pt x="4782" y="1728"/>
                      <a:pt x="4769" y="1719"/>
                      <a:pt x="4766" y="1729"/>
                    </a:cubicBezTo>
                    <a:cubicBezTo>
                      <a:pt x="4763" y="1739"/>
                      <a:pt x="4778" y="1740"/>
                      <a:pt x="4792" y="1753"/>
                    </a:cubicBezTo>
                    <a:cubicBezTo>
                      <a:pt x="4806" y="1766"/>
                      <a:pt x="4810" y="1785"/>
                      <a:pt x="4812" y="1791"/>
                    </a:cubicBezTo>
                    <a:cubicBezTo>
                      <a:pt x="4814" y="1797"/>
                      <a:pt x="4825" y="1808"/>
                      <a:pt x="4825" y="1808"/>
                    </a:cubicBezTo>
                    <a:cubicBezTo>
                      <a:pt x="4826" y="1831"/>
                      <a:pt x="4826" y="1831"/>
                      <a:pt x="4826" y="1831"/>
                    </a:cubicBezTo>
                    <a:cubicBezTo>
                      <a:pt x="4809" y="1827"/>
                      <a:pt x="4809" y="1827"/>
                      <a:pt x="4809" y="1827"/>
                    </a:cubicBezTo>
                    <a:cubicBezTo>
                      <a:pt x="4802" y="1845"/>
                      <a:pt x="4802" y="1845"/>
                      <a:pt x="4802" y="1845"/>
                    </a:cubicBezTo>
                    <a:cubicBezTo>
                      <a:pt x="4821" y="1851"/>
                      <a:pt x="4821" y="1851"/>
                      <a:pt x="4821" y="1851"/>
                    </a:cubicBezTo>
                    <a:cubicBezTo>
                      <a:pt x="4844" y="1852"/>
                      <a:pt x="4844" y="1852"/>
                      <a:pt x="4844" y="1852"/>
                    </a:cubicBezTo>
                    <a:cubicBezTo>
                      <a:pt x="4844" y="1852"/>
                      <a:pt x="4838" y="1811"/>
                      <a:pt x="4847" y="1807"/>
                    </a:cubicBezTo>
                    <a:cubicBezTo>
                      <a:pt x="4856" y="1803"/>
                      <a:pt x="4863" y="1816"/>
                      <a:pt x="4863" y="1816"/>
                    </a:cubicBezTo>
                    <a:cubicBezTo>
                      <a:pt x="4872" y="1808"/>
                      <a:pt x="4872" y="1808"/>
                      <a:pt x="4872" y="1808"/>
                    </a:cubicBezTo>
                    <a:cubicBezTo>
                      <a:pt x="4872" y="1808"/>
                      <a:pt x="4888" y="1840"/>
                      <a:pt x="4896" y="1838"/>
                    </a:cubicBezTo>
                    <a:cubicBezTo>
                      <a:pt x="4904" y="1836"/>
                      <a:pt x="4923" y="1830"/>
                      <a:pt x="4923" y="1830"/>
                    </a:cubicBezTo>
                    <a:cubicBezTo>
                      <a:pt x="4923" y="1842"/>
                      <a:pt x="4923" y="1842"/>
                      <a:pt x="4923" y="1842"/>
                    </a:cubicBezTo>
                    <a:cubicBezTo>
                      <a:pt x="4923" y="1842"/>
                      <a:pt x="4978" y="1822"/>
                      <a:pt x="4980" y="1802"/>
                    </a:cubicBezTo>
                    <a:cubicBezTo>
                      <a:pt x="4982" y="1782"/>
                      <a:pt x="4985" y="1754"/>
                      <a:pt x="4985" y="1754"/>
                    </a:cubicBezTo>
                    <a:cubicBezTo>
                      <a:pt x="4999" y="1747"/>
                      <a:pt x="4999" y="1747"/>
                      <a:pt x="4999" y="1747"/>
                    </a:cubicBezTo>
                    <a:cubicBezTo>
                      <a:pt x="4999" y="1747"/>
                      <a:pt x="4997" y="1704"/>
                      <a:pt x="5006" y="1697"/>
                    </a:cubicBezTo>
                    <a:cubicBezTo>
                      <a:pt x="5015" y="1690"/>
                      <a:pt x="5017" y="1666"/>
                      <a:pt x="5019" y="1650"/>
                    </a:cubicBezTo>
                    <a:cubicBezTo>
                      <a:pt x="5021" y="1634"/>
                      <a:pt x="5010" y="1607"/>
                      <a:pt x="5010" y="1607"/>
                    </a:cubicBezTo>
                    <a:cubicBezTo>
                      <a:pt x="5010" y="1607"/>
                      <a:pt x="5024" y="1585"/>
                      <a:pt x="5024" y="1580"/>
                    </a:cubicBezTo>
                    <a:cubicBezTo>
                      <a:pt x="5024" y="1575"/>
                      <a:pt x="5016" y="1565"/>
                      <a:pt x="5016" y="1565"/>
                    </a:cubicBezTo>
                    <a:cubicBezTo>
                      <a:pt x="5016" y="1565"/>
                      <a:pt x="5033" y="1541"/>
                      <a:pt x="5029" y="1532"/>
                    </a:cubicBezTo>
                    <a:cubicBezTo>
                      <a:pt x="5025" y="1523"/>
                      <a:pt x="5013" y="1496"/>
                      <a:pt x="5013" y="1496"/>
                    </a:cubicBezTo>
                    <a:cubicBezTo>
                      <a:pt x="5013" y="1496"/>
                      <a:pt x="5005" y="1468"/>
                      <a:pt x="4998" y="1465"/>
                    </a:cubicBezTo>
                    <a:cubicBezTo>
                      <a:pt x="4991" y="1462"/>
                      <a:pt x="4986" y="1458"/>
                      <a:pt x="4986" y="1458"/>
                    </a:cubicBezTo>
                    <a:cubicBezTo>
                      <a:pt x="4990" y="1451"/>
                      <a:pt x="4990" y="1451"/>
                      <a:pt x="4990" y="1451"/>
                    </a:cubicBezTo>
                    <a:cubicBezTo>
                      <a:pt x="4990" y="1451"/>
                      <a:pt x="4971" y="1443"/>
                      <a:pt x="4965" y="1428"/>
                    </a:cubicBezTo>
                    <a:cubicBezTo>
                      <a:pt x="4959" y="1413"/>
                      <a:pt x="4957" y="1401"/>
                      <a:pt x="4957" y="1401"/>
                    </a:cubicBezTo>
                    <a:cubicBezTo>
                      <a:pt x="4948" y="1395"/>
                      <a:pt x="4948" y="1395"/>
                      <a:pt x="4948" y="1395"/>
                    </a:cubicBezTo>
                    <a:cubicBezTo>
                      <a:pt x="4948" y="1395"/>
                      <a:pt x="4955" y="1365"/>
                      <a:pt x="4948" y="1356"/>
                    </a:cubicBezTo>
                    <a:cubicBezTo>
                      <a:pt x="4941" y="1347"/>
                      <a:pt x="4936" y="1340"/>
                      <a:pt x="4936" y="1340"/>
                    </a:cubicBezTo>
                    <a:cubicBezTo>
                      <a:pt x="4924" y="1336"/>
                      <a:pt x="4924" y="1336"/>
                      <a:pt x="4924" y="1336"/>
                    </a:cubicBezTo>
                    <a:cubicBezTo>
                      <a:pt x="4924" y="1336"/>
                      <a:pt x="4920" y="1322"/>
                      <a:pt x="4913" y="1317"/>
                    </a:cubicBezTo>
                    <a:cubicBezTo>
                      <a:pt x="4906" y="1312"/>
                      <a:pt x="4889" y="1304"/>
                      <a:pt x="4889" y="1304"/>
                    </a:cubicBezTo>
                    <a:cubicBezTo>
                      <a:pt x="4875" y="1300"/>
                      <a:pt x="4875" y="1300"/>
                      <a:pt x="4875" y="1300"/>
                    </a:cubicBezTo>
                    <a:cubicBezTo>
                      <a:pt x="4872" y="1291"/>
                      <a:pt x="4872" y="1291"/>
                      <a:pt x="4872" y="1291"/>
                    </a:cubicBezTo>
                    <a:cubicBezTo>
                      <a:pt x="4872" y="1291"/>
                      <a:pt x="4900" y="1304"/>
                      <a:pt x="4903" y="1298"/>
                    </a:cubicBezTo>
                    <a:cubicBezTo>
                      <a:pt x="4906" y="1292"/>
                      <a:pt x="4885" y="1286"/>
                      <a:pt x="4885" y="1286"/>
                    </a:cubicBezTo>
                    <a:cubicBezTo>
                      <a:pt x="4830" y="1260"/>
                      <a:pt x="4830" y="1260"/>
                      <a:pt x="4830" y="1260"/>
                    </a:cubicBezTo>
                    <a:cubicBezTo>
                      <a:pt x="4830" y="1260"/>
                      <a:pt x="4802" y="1243"/>
                      <a:pt x="4794" y="1238"/>
                    </a:cubicBezTo>
                    <a:cubicBezTo>
                      <a:pt x="4786" y="1233"/>
                      <a:pt x="4772" y="1243"/>
                      <a:pt x="4772" y="1243"/>
                    </a:cubicBezTo>
                    <a:cubicBezTo>
                      <a:pt x="4746" y="1236"/>
                      <a:pt x="4746" y="1236"/>
                      <a:pt x="4746" y="1236"/>
                    </a:cubicBezTo>
                    <a:cubicBezTo>
                      <a:pt x="4771" y="1264"/>
                      <a:pt x="4771" y="1264"/>
                      <a:pt x="4771" y="1264"/>
                    </a:cubicBezTo>
                    <a:cubicBezTo>
                      <a:pt x="4767" y="1281"/>
                      <a:pt x="4767" y="1281"/>
                      <a:pt x="4767" y="1281"/>
                    </a:cubicBezTo>
                    <a:cubicBezTo>
                      <a:pt x="4759" y="1279"/>
                      <a:pt x="4759" y="1279"/>
                      <a:pt x="4759" y="1279"/>
                    </a:cubicBezTo>
                    <a:cubicBezTo>
                      <a:pt x="4758" y="1259"/>
                      <a:pt x="4758" y="1259"/>
                      <a:pt x="4758" y="1259"/>
                    </a:cubicBezTo>
                    <a:cubicBezTo>
                      <a:pt x="4748" y="1252"/>
                      <a:pt x="4748" y="1252"/>
                      <a:pt x="4748" y="1252"/>
                    </a:cubicBezTo>
                    <a:cubicBezTo>
                      <a:pt x="4746" y="1271"/>
                      <a:pt x="4746" y="1271"/>
                      <a:pt x="4746" y="1271"/>
                    </a:cubicBezTo>
                    <a:cubicBezTo>
                      <a:pt x="4717" y="1273"/>
                      <a:pt x="4717" y="1273"/>
                      <a:pt x="4717" y="1273"/>
                    </a:cubicBezTo>
                    <a:cubicBezTo>
                      <a:pt x="4717" y="1273"/>
                      <a:pt x="4724" y="1263"/>
                      <a:pt x="4719" y="1257"/>
                    </a:cubicBezTo>
                    <a:cubicBezTo>
                      <a:pt x="4714" y="1251"/>
                      <a:pt x="4701" y="1253"/>
                      <a:pt x="4701" y="1253"/>
                    </a:cubicBezTo>
                    <a:cubicBezTo>
                      <a:pt x="4696" y="1260"/>
                      <a:pt x="4696" y="1260"/>
                      <a:pt x="4696" y="1260"/>
                    </a:cubicBezTo>
                    <a:cubicBezTo>
                      <a:pt x="4681" y="1261"/>
                      <a:pt x="4681" y="1261"/>
                      <a:pt x="4681" y="1261"/>
                    </a:cubicBezTo>
                    <a:cubicBezTo>
                      <a:pt x="4672" y="1236"/>
                      <a:pt x="4672" y="1236"/>
                      <a:pt x="4672" y="1236"/>
                    </a:cubicBezTo>
                    <a:cubicBezTo>
                      <a:pt x="4668" y="1235"/>
                      <a:pt x="4668" y="1235"/>
                      <a:pt x="4668" y="1235"/>
                    </a:cubicBezTo>
                    <a:cubicBezTo>
                      <a:pt x="4660" y="1222"/>
                      <a:pt x="4660" y="1222"/>
                      <a:pt x="4660" y="1222"/>
                    </a:cubicBezTo>
                    <a:cubicBezTo>
                      <a:pt x="4612" y="1224"/>
                      <a:pt x="4612" y="1224"/>
                      <a:pt x="4612" y="1224"/>
                    </a:cubicBezTo>
                    <a:cubicBezTo>
                      <a:pt x="4606" y="1218"/>
                      <a:pt x="4606" y="1218"/>
                      <a:pt x="4606" y="1218"/>
                    </a:cubicBezTo>
                    <a:cubicBezTo>
                      <a:pt x="4606" y="1218"/>
                      <a:pt x="4580" y="1222"/>
                      <a:pt x="4580" y="1205"/>
                    </a:cubicBezTo>
                    <a:cubicBezTo>
                      <a:pt x="4580" y="1188"/>
                      <a:pt x="4602" y="1186"/>
                      <a:pt x="4602" y="1186"/>
                    </a:cubicBezTo>
                    <a:cubicBezTo>
                      <a:pt x="4602" y="1170"/>
                      <a:pt x="4602" y="1170"/>
                      <a:pt x="4602" y="1170"/>
                    </a:cubicBezTo>
                    <a:cubicBezTo>
                      <a:pt x="4602" y="1170"/>
                      <a:pt x="4621" y="1169"/>
                      <a:pt x="4622" y="1158"/>
                    </a:cubicBezTo>
                    <a:cubicBezTo>
                      <a:pt x="4623" y="1147"/>
                      <a:pt x="4633" y="1132"/>
                      <a:pt x="4633" y="1132"/>
                    </a:cubicBezTo>
                    <a:cubicBezTo>
                      <a:pt x="4623" y="1123"/>
                      <a:pt x="4623" y="1123"/>
                      <a:pt x="4623" y="1123"/>
                    </a:cubicBezTo>
                    <a:cubicBezTo>
                      <a:pt x="4630" y="1110"/>
                      <a:pt x="4630" y="1110"/>
                      <a:pt x="4630" y="1110"/>
                    </a:cubicBezTo>
                    <a:cubicBezTo>
                      <a:pt x="4623" y="1100"/>
                      <a:pt x="4623" y="1100"/>
                      <a:pt x="4623" y="1100"/>
                    </a:cubicBezTo>
                    <a:cubicBezTo>
                      <a:pt x="4637" y="1089"/>
                      <a:pt x="4637" y="1089"/>
                      <a:pt x="4637" y="1089"/>
                    </a:cubicBezTo>
                    <a:cubicBezTo>
                      <a:pt x="4651" y="1086"/>
                      <a:pt x="4651" y="1086"/>
                      <a:pt x="4651" y="1086"/>
                    </a:cubicBezTo>
                    <a:cubicBezTo>
                      <a:pt x="4645" y="1064"/>
                      <a:pt x="4645" y="1064"/>
                      <a:pt x="4645" y="1064"/>
                    </a:cubicBezTo>
                    <a:cubicBezTo>
                      <a:pt x="4660" y="1059"/>
                      <a:pt x="4660" y="1059"/>
                      <a:pt x="4660" y="1059"/>
                    </a:cubicBezTo>
                    <a:cubicBezTo>
                      <a:pt x="4642" y="1036"/>
                      <a:pt x="4642" y="1036"/>
                      <a:pt x="4642" y="1036"/>
                    </a:cubicBezTo>
                    <a:cubicBezTo>
                      <a:pt x="4664" y="1027"/>
                      <a:pt x="4664" y="1027"/>
                      <a:pt x="4664" y="1027"/>
                    </a:cubicBezTo>
                    <a:cubicBezTo>
                      <a:pt x="4664" y="1027"/>
                      <a:pt x="4657" y="997"/>
                      <a:pt x="4673" y="987"/>
                    </a:cubicBezTo>
                    <a:cubicBezTo>
                      <a:pt x="4689" y="977"/>
                      <a:pt x="4695" y="976"/>
                      <a:pt x="4695" y="976"/>
                    </a:cubicBezTo>
                    <a:cubicBezTo>
                      <a:pt x="4695" y="976"/>
                      <a:pt x="4720" y="980"/>
                      <a:pt x="4732" y="979"/>
                    </a:cubicBezTo>
                    <a:cubicBezTo>
                      <a:pt x="4744" y="978"/>
                      <a:pt x="4796" y="982"/>
                      <a:pt x="4796" y="982"/>
                    </a:cubicBezTo>
                    <a:cubicBezTo>
                      <a:pt x="4807" y="993"/>
                      <a:pt x="4807" y="993"/>
                      <a:pt x="4807" y="993"/>
                    </a:cubicBezTo>
                    <a:cubicBezTo>
                      <a:pt x="4820" y="988"/>
                      <a:pt x="4820" y="988"/>
                      <a:pt x="4820" y="988"/>
                    </a:cubicBezTo>
                    <a:cubicBezTo>
                      <a:pt x="4815" y="976"/>
                      <a:pt x="4815" y="976"/>
                      <a:pt x="4815" y="976"/>
                    </a:cubicBezTo>
                    <a:cubicBezTo>
                      <a:pt x="4865" y="989"/>
                      <a:pt x="4865" y="989"/>
                      <a:pt x="4865" y="989"/>
                    </a:cubicBezTo>
                    <a:cubicBezTo>
                      <a:pt x="4885" y="977"/>
                      <a:pt x="4885" y="977"/>
                      <a:pt x="4885" y="977"/>
                    </a:cubicBezTo>
                    <a:cubicBezTo>
                      <a:pt x="4904" y="992"/>
                      <a:pt x="4904" y="992"/>
                      <a:pt x="4904" y="992"/>
                    </a:cubicBezTo>
                    <a:cubicBezTo>
                      <a:pt x="4909" y="968"/>
                      <a:pt x="4909" y="968"/>
                      <a:pt x="4909" y="968"/>
                    </a:cubicBezTo>
                    <a:cubicBezTo>
                      <a:pt x="4909" y="968"/>
                      <a:pt x="4932" y="966"/>
                      <a:pt x="4948" y="967"/>
                    </a:cubicBezTo>
                    <a:cubicBezTo>
                      <a:pt x="4964" y="968"/>
                      <a:pt x="4970" y="982"/>
                      <a:pt x="4976" y="980"/>
                    </a:cubicBezTo>
                    <a:cubicBezTo>
                      <a:pt x="4982" y="978"/>
                      <a:pt x="5000" y="967"/>
                      <a:pt x="5000" y="967"/>
                    </a:cubicBezTo>
                    <a:cubicBezTo>
                      <a:pt x="5016" y="981"/>
                      <a:pt x="5016" y="981"/>
                      <a:pt x="5016" y="981"/>
                    </a:cubicBezTo>
                    <a:cubicBezTo>
                      <a:pt x="5044" y="986"/>
                      <a:pt x="5044" y="986"/>
                      <a:pt x="5044" y="986"/>
                    </a:cubicBezTo>
                    <a:cubicBezTo>
                      <a:pt x="5008" y="993"/>
                      <a:pt x="5008" y="993"/>
                      <a:pt x="5008" y="993"/>
                    </a:cubicBezTo>
                    <a:cubicBezTo>
                      <a:pt x="5008" y="993"/>
                      <a:pt x="5019" y="1014"/>
                      <a:pt x="5030" y="1009"/>
                    </a:cubicBezTo>
                    <a:cubicBezTo>
                      <a:pt x="5041" y="1004"/>
                      <a:pt x="5061" y="996"/>
                      <a:pt x="5061" y="996"/>
                    </a:cubicBezTo>
                    <a:cubicBezTo>
                      <a:pt x="5079" y="1005"/>
                      <a:pt x="5079" y="1005"/>
                      <a:pt x="5079" y="1005"/>
                    </a:cubicBezTo>
                    <a:cubicBezTo>
                      <a:pt x="5094" y="993"/>
                      <a:pt x="5094" y="993"/>
                      <a:pt x="5094" y="993"/>
                    </a:cubicBezTo>
                    <a:cubicBezTo>
                      <a:pt x="5094" y="993"/>
                      <a:pt x="5121" y="1002"/>
                      <a:pt x="5129" y="998"/>
                    </a:cubicBezTo>
                    <a:cubicBezTo>
                      <a:pt x="5137" y="994"/>
                      <a:pt x="5131" y="986"/>
                      <a:pt x="5131" y="986"/>
                    </a:cubicBezTo>
                    <a:cubicBezTo>
                      <a:pt x="5155" y="988"/>
                      <a:pt x="5155" y="988"/>
                      <a:pt x="5155" y="988"/>
                    </a:cubicBezTo>
                    <a:cubicBezTo>
                      <a:pt x="5122" y="970"/>
                      <a:pt x="5122" y="970"/>
                      <a:pt x="5122" y="970"/>
                    </a:cubicBezTo>
                    <a:cubicBezTo>
                      <a:pt x="5104" y="977"/>
                      <a:pt x="5104" y="977"/>
                      <a:pt x="5104" y="977"/>
                    </a:cubicBezTo>
                    <a:cubicBezTo>
                      <a:pt x="5099" y="965"/>
                      <a:pt x="5099" y="965"/>
                      <a:pt x="5099" y="965"/>
                    </a:cubicBezTo>
                    <a:cubicBezTo>
                      <a:pt x="5099" y="965"/>
                      <a:pt x="5084" y="942"/>
                      <a:pt x="5086" y="937"/>
                    </a:cubicBezTo>
                    <a:cubicBezTo>
                      <a:pt x="5088" y="932"/>
                      <a:pt x="5105" y="918"/>
                      <a:pt x="5105" y="918"/>
                    </a:cubicBezTo>
                    <a:cubicBezTo>
                      <a:pt x="5101" y="898"/>
                      <a:pt x="5101" y="898"/>
                      <a:pt x="5101" y="898"/>
                    </a:cubicBezTo>
                    <a:cubicBezTo>
                      <a:pt x="5110" y="890"/>
                      <a:pt x="5110" y="890"/>
                      <a:pt x="5110" y="890"/>
                    </a:cubicBezTo>
                    <a:cubicBezTo>
                      <a:pt x="5110" y="890"/>
                      <a:pt x="5084" y="877"/>
                      <a:pt x="5101" y="866"/>
                    </a:cubicBezTo>
                    <a:cubicBezTo>
                      <a:pt x="5118" y="855"/>
                      <a:pt x="5154" y="866"/>
                      <a:pt x="5154" y="866"/>
                    </a:cubicBezTo>
                    <a:cubicBezTo>
                      <a:pt x="5168" y="852"/>
                      <a:pt x="5168" y="852"/>
                      <a:pt x="5168" y="852"/>
                    </a:cubicBezTo>
                    <a:cubicBezTo>
                      <a:pt x="5190" y="871"/>
                      <a:pt x="5190" y="871"/>
                      <a:pt x="5190" y="871"/>
                    </a:cubicBezTo>
                    <a:cubicBezTo>
                      <a:pt x="5209" y="860"/>
                      <a:pt x="5209" y="860"/>
                      <a:pt x="5209" y="860"/>
                    </a:cubicBezTo>
                    <a:cubicBezTo>
                      <a:pt x="5209" y="860"/>
                      <a:pt x="5222" y="893"/>
                      <a:pt x="5229" y="896"/>
                    </a:cubicBezTo>
                    <a:cubicBezTo>
                      <a:pt x="5236" y="899"/>
                      <a:pt x="5257" y="895"/>
                      <a:pt x="5257" y="895"/>
                    </a:cubicBezTo>
                    <a:cubicBezTo>
                      <a:pt x="5257" y="895"/>
                      <a:pt x="5257" y="926"/>
                      <a:pt x="5268" y="922"/>
                    </a:cubicBezTo>
                    <a:cubicBezTo>
                      <a:pt x="5279" y="918"/>
                      <a:pt x="5294" y="878"/>
                      <a:pt x="5294" y="878"/>
                    </a:cubicBezTo>
                    <a:cubicBezTo>
                      <a:pt x="5310" y="869"/>
                      <a:pt x="5310" y="869"/>
                      <a:pt x="5310" y="869"/>
                    </a:cubicBezTo>
                    <a:cubicBezTo>
                      <a:pt x="5330" y="876"/>
                      <a:pt x="5330" y="876"/>
                      <a:pt x="5330" y="876"/>
                    </a:cubicBezTo>
                    <a:cubicBezTo>
                      <a:pt x="5329" y="867"/>
                      <a:pt x="5329" y="867"/>
                      <a:pt x="5329" y="867"/>
                    </a:cubicBezTo>
                    <a:cubicBezTo>
                      <a:pt x="5310" y="857"/>
                      <a:pt x="5310" y="857"/>
                      <a:pt x="5310" y="857"/>
                    </a:cubicBezTo>
                    <a:cubicBezTo>
                      <a:pt x="5310" y="857"/>
                      <a:pt x="5263" y="823"/>
                      <a:pt x="5274" y="822"/>
                    </a:cubicBezTo>
                    <a:cubicBezTo>
                      <a:pt x="5285" y="821"/>
                      <a:pt x="5339" y="823"/>
                      <a:pt x="5339" y="823"/>
                    </a:cubicBezTo>
                    <a:cubicBezTo>
                      <a:pt x="5373" y="823"/>
                      <a:pt x="5373" y="823"/>
                      <a:pt x="5373" y="823"/>
                    </a:cubicBezTo>
                    <a:cubicBezTo>
                      <a:pt x="5373" y="823"/>
                      <a:pt x="5376" y="837"/>
                      <a:pt x="5372" y="836"/>
                    </a:cubicBezTo>
                    <a:cubicBezTo>
                      <a:pt x="5368" y="835"/>
                      <a:pt x="5329" y="823"/>
                      <a:pt x="5331" y="837"/>
                    </a:cubicBezTo>
                    <a:cubicBezTo>
                      <a:pt x="5333" y="851"/>
                      <a:pt x="5356" y="864"/>
                      <a:pt x="5356" y="864"/>
                    </a:cubicBezTo>
                    <a:cubicBezTo>
                      <a:pt x="5358" y="881"/>
                      <a:pt x="5358" y="881"/>
                      <a:pt x="5358" y="881"/>
                    </a:cubicBezTo>
                    <a:cubicBezTo>
                      <a:pt x="5378" y="884"/>
                      <a:pt x="5378" y="884"/>
                      <a:pt x="5378" y="884"/>
                    </a:cubicBezTo>
                    <a:cubicBezTo>
                      <a:pt x="5374" y="897"/>
                      <a:pt x="5374" y="897"/>
                      <a:pt x="5374" y="897"/>
                    </a:cubicBezTo>
                    <a:cubicBezTo>
                      <a:pt x="5387" y="908"/>
                      <a:pt x="5387" y="908"/>
                      <a:pt x="5387" y="908"/>
                    </a:cubicBezTo>
                    <a:cubicBezTo>
                      <a:pt x="5369" y="911"/>
                      <a:pt x="5369" y="911"/>
                      <a:pt x="5369" y="911"/>
                    </a:cubicBezTo>
                    <a:cubicBezTo>
                      <a:pt x="5364" y="922"/>
                      <a:pt x="5364" y="922"/>
                      <a:pt x="5364" y="922"/>
                    </a:cubicBezTo>
                    <a:cubicBezTo>
                      <a:pt x="5352" y="926"/>
                      <a:pt x="5352" y="926"/>
                      <a:pt x="5352" y="926"/>
                    </a:cubicBezTo>
                    <a:cubicBezTo>
                      <a:pt x="5352" y="926"/>
                      <a:pt x="5365" y="948"/>
                      <a:pt x="5358" y="960"/>
                    </a:cubicBezTo>
                    <a:cubicBezTo>
                      <a:pt x="5351" y="972"/>
                      <a:pt x="5340" y="992"/>
                      <a:pt x="5340" y="999"/>
                    </a:cubicBezTo>
                    <a:cubicBezTo>
                      <a:pt x="5340" y="1006"/>
                      <a:pt x="5358" y="1012"/>
                      <a:pt x="5345" y="1029"/>
                    </a:cubicBezTo>
                    <a:cubicBezTo>
                      <a:pt x="5332" y="1046"/>
                      <a:pt x="5310" y="1051"/>
                      <a:pt x="5310" y="1051"/>
                    </a:cubicBezTo>
                    <a:cubicBezTo>
                      <a:pt x="5313" y="1063"/>
                      <a:pt x="5313" y="1063"/>
                      <a:pt x="5313" y="1063"/>
                    </a:cubicBezTo>
                    <a:cubicBezTo>
                      <a:pt x="5300" y="1063"/>
                      <a:pt x="5300" y="1063"/>
                      <a:pt x="5300" y="1063"/>
                    </a:cubicBezTo>
                    <a:cubicBezTo>
                      <a:pt x="5300" y="1063"/>
                      <a:pt x="5324" y="1073"/>
                      <a:pt x="5322" y="1090"/>
                    </a:cubicBezTo>
                    <a:cubicBezTo>
                      <a:pt x="5320" y="1107"/>
                      <a:pt x="5313" y="1118"/>
                      <a:pt x="5320" y="1135"/>
                    </a:cubicBezTo>
                    <a:cubicBezTo>
                      <a:pt x="5327" y="1152"/>
                      <a:pt x="5392" y="1206"/>
                      <a:pt x="5392" y="1206"/>
                    </a:cubicBezTo>
                    <a:cubicBezTo>
                      <a:pt x="5432" y="1247"/>
                      <a:pt x="5432" y="1247"/>
                      <a:pt x="5432" y="1247"/>
                    </a:cubicBezTo>
                    <a:cubicBezTo>
                      <a:pt x="5441" y="1244"/>
                      <a:pt x="5441" y="1244"/>
                      <a:pt x="5441" y="1244"/>
                    </a:cubicBezTo>
                    <a:cubicBezTo>
                      <a:pt x="5494" y="1308"/>
                      <a:pt x="5494" y="1308"/>
                      <a:pt x="5494" y="1308"/>
                    </a:cubicBezTo>
                    <a:cubicBezTo>
                      <a:pt x="5529" y="1319"/>
                      <a:pt x="5529" y="1319"/>
                      <a:pt x="5529" y="1319"/>
                    </a:cubicBezTo>
                    <a:cubicBezTo>
                      <a:pt x="5544" y="1337"/>
                      <a:pt x="5544" y="1337"/>
                      <a:pt x="5544" y="1337"/>
                    </a:cubicBezTo>
                    <a:cubicBezTo>
                      <a:pt x="5544" y="1337"/>
                      <a:pt x="5583" y="1385"/>
                      <a:pt x="5590" y="1389"/>
                    </a:cubicBezTo>
                    <a:cubicBezTo>
                      <a:pt x="5597" y="1393"/>
                      <a:pt x="5608" y="1393"/>
                      <a:pt x="5608" y="1393"/>
                    </a:cubicBezTo>
                    <a:cubicBezTo>
                      <a:pt x="5608" y="1393"/>
                      <a:pt x="5602" y="1411"/>
                      <a:pt x="5617" y="1405"/>
                    </a:cubicBezTo>
                    <a:cubicBezTo>
                      <a:pt x="5632" y="1399"/>
                      <a:pt x="5630" y="1386"/>
                      <a:pt x="5630" y="1386"/>
                    </a:cubicBezTo>
                    <a:cubicBezTo>
                      <a:pt x="5623" y="1378"/>
                      <a:pt x="5623" y="1378"/>
                      <a:pt x="5623" y="1378"/>
                    </a:cubicBezTo>
                    <a:cubicBezTo>
                      <a:pt x="5623" y="1378"/>
                      <a:pt x="5638" y="1358"/>
                      <a:pt x="5635" y="1349"/>
                    </a:cubicBezTo>
                    <a:cubicBezTo>
                      <a:pt x="5632" y="1340"/>
                      <a:pt x="5601" y="1323"/>
                      <a:pt x="5608" y="1310"/>
                    </a:cubicBezTo>
                    <a:cubicBezTo>
                      <a:pt x="5615" y="1297"/>
                      <a:pt x="5624" y="1289"/>
                      <a:pt x="5627" y="1288"/>
                    </a:cubicBezTo>
                    <a:cubicBezTo>
                      <a:pt x="5630" y="1287"/>
                      <a:pt x="5650" y="1295"/>
                      <a:pt x="5650" y="1295"/>
                    </a:cubicBezTo>
                    <a:cubicBezTo>
                      <a:pt x="5650" y="1295"/>
                      <a:pt x="5628" y="1269"/>
                      <a:pt x="5622" y="1265"/>
                    </a:cubicBezTo>
                    <a:cubicBezTo>
                      <a:pt x="5616" y="1261"/>
                      <a:pt x="5601" y="1255"/>
                      <a:pt x="5604" y="1240"/>
                    </a:cubicBezTo>
                    <a:cubicBezTo>
                      <a:pt x="5607" y="1225"/>
                      <a:pt x="5625" y="1220"/>
                      <a:pt x="5625" y="1220"/>
                    </a:cubicBezTo>
                    <a:cubicBezTo>
                      <a:pt x="5625" y="1220"/>
                      <a:pt x="5654" y="1232"/>
                      <a:pt x="5652" y="1217"/>
                    </a:cubicBezTo>
                    <a:cubicBezTo>
                      <a:pt x="5650" y="1202"/>
                      <a:pt x="5637" y="1198"/>
                      <a:pt x="5621" y="1190"/>
                    </a:cubicBezTo>
                    <a:cubicBezTo>
                      <a:pt x="5605" y="1182"/>
                      <a:pt x="5591" y="1163"/>
                      <a:pt x="5590" y="1152"/>
                    </a:cubicBezTo>
                    <a:cubicBezTo>
                      <a:pt x="5589" y="1141"/>
                      <a:pt x="5583" y="1129"/>
                      <a:pt x="5583" y="1129"/>
                    </a:cubicBezTo>
                    <a:cubicBezTo>
                      <a:pt x="5590" y="1126"/>
                      <a:pt x="5590" y="1126"/>
                      <a:pt x="5590" y="1126"/>
                    </a:cubicBezTo>
                    <a:cubicBezTo>
                      <a:pt x="5590" y="1126"/>
                      <a:pt x="5616" y="1151"/>
                      <a:pt x="5622" y="1146"/>
                    </a:cubicBezTo>
                    <a:cubicBezTo>
                      <a:pt x="5628" y="1141"/>
                      <a:pt x="5604" y="1114"/>
                      <a:pt x="5604" y="1114"/>
                    </a:cubicBezTo>
                    <a:cubicBezTo>
                      <a:pt x="5581" y="1111"/>
                      <a:pt x="5581" y="1111"/>
                      <a:pt x="5581" y="1111"/>
                    </a:cubicBezTo>
                    <a:cubicBezTo>
                      <a:pt x="5548" y="1083"/>
                      <a:pt x="5548" y="1083"/>
                      <a:pt x="5548" y="1083"/>
                    </a:cubicBezTo>
                    <a:cubicBezTo>
                      <a:pt x="5548" y="1083"/>
                      <a:pt x="5552" y="1062"/>
                      <a:pt x="5536" y="1055"/>
                    </a:cubicBezTo>
                    <a:cubicBezTo>
                      <a:pt x="5520" y="1048"/>
                      <a:pt x="5508" y="1048"/>
                      <a:pt x="5508" y="1048"/>
                    </a:cubicBezTo>
                    <a:cubicBezTo>
                      <a:pt x="5509" y="1060"/>
                      <a:pt x="5509" y="1060"/>
                      <a:pt x="5509" y="1060"/>
                    </a:cubicBezTo>
                    <a:cubicBezTo>
                      <a:pt x="5509" y="1060"/>
                      <a:pt x="5465" y="1050"/>
                      <a:pt x="5464" y="1034"/>
                    </a:cubicBezTo>
                    <a:cubicBezTo>
                      <a:pt x="5463" y="1018"/>
                      <a:pt x="5471" y="1007"/>
                      <a:pt x="5463" y="992"/>
                    </a:cubicBezTo>
                    <a:cubicBezTo>
                      <a:pt x="5455" y="977"/>
                      <a:pt x="5439" y="969"/>
                      <a:pt x="5439" y="969"/>
                    </a:cubicBezTo>
                    <a:cubicBezTo>
                      <a:pt x="5439" y="969"/>
                      <a:pt x="5441" y="953"/>
                      <a:pt x="5445" y="951"/>
                    </a:cubicBezTo>
                    <a:cubicBezTo>
                      <a:pt x="5449" y="949"/>
                      <a:pt x="5458" y="956"/>
                      <a:pt x="5458" y="956"/>
                    </a:cubicBezTo>
                    <a:cubicBezTo>
                      <a:pt x="5467" y="945"/>
                      <a:pt x="5467" y="945"/>
                      <a:pt x="5467" y="945"/>
                    </a:cubicBezTo>
                    <a:cubicBezTo>
                      <a:pt x="5492" y="964"/>
                      <a:pt x="5492" y="964"/>
                      <a:pt x="5492" y="964"/>
                    </a:cubicBezTo>
                    <a:cubicBezTo>
                      <a:pt x="5497" y="959"/>
                      <a:pt x="5497" y="959"/>
                      <a:pt x="5497" y="959"/>
                    </a:cubicBezTo>
                    <a:cubicBezTo>
                      <a:pt x="5489" y="951"/>
                      <a:pt x="5489" y="951"/>
                      <a:pt x="5489" y="951"/>
                    </a:cubicBezTo>
                    <a:cubicBezTo>
                      <a:pt x="5489" y="951"/>
                      <a:pt x="5495" y="919"/>
                      <a:pt x="5506" y="925"/>
                    </a:cubicBezTo>
                    <a:cubicBezTo>
                      <a:pt x="5517" y="931"/>
                      <a:pt x="5544" y="964"/>
                      <a:pt x="5544" y="964"/>
                    </a:cubicBezTo>
                    <a:cubicBezTo>
                      <a:pt x="5551" y="931"/>
                      <a:pt x="5551" y="931"/>
                      <a:pt x="5551" y="931"/>
                    </a:cubicBezTo>
                    <a:cubicBezTo>
                      <a:pt x="5551" y="931"/>
                      <a:pt x="5608" y="924"/>
                      <a:pt x="5617" y="924"/>
                    </a:cubicBezTo>
                    <a:cubicBezTo>
                      <a:pt x="5626" y="924"/>
                      <a:pt x="5663" y="944"/>
                      <a:pt x="5663" y="944"/>
                    </a:cubicBezTo>
                    <a:cubicBezTo>
                      <a:pt x="5691" y="955"/>
                      <a:pt x="5691" y="955"/>
                      <a:pt x="5691" y="955"/>
                    </a:cubicBezTo>
                    <a:cubicBezTo>
                      <a:pt x="5671" y="915"/>
                      <a:pt x="5671" y="915"/>
                      <a:pt x="5671" y="915"/>
                    </a:cubicBezTo>
                    <a:cubicBezTo>
                      <a:pt x="5671" y="915"/>
                      <a:pt x="5703" y="916"/>
                      <a:pt x="5705" y="905"/>
                    </a:cubicBezTo>
                    <a:cubicBezTo>
                      <a:pt x="5707" y="894"/>
                      <a:pt x="5697" y="876"/>
                      <a:pt x="5697" y="876"/>
                    </a:cubicBezTo>
                    <a:cubicBezTo>
                      <a:pt x="5710" y="877"/>
                      <a:pt x="5710" y="877"/>
                      <a:pt x="5710" y="877"/>
                    </a:cubicBezTo>
                    <a:cubicBezTo>
                      <a:pt x="5713" y="861"/>
                      <a:pt x="5713" y="861"/>
                      <a:pt x="5713" y="861"/>
                    </a:cubicBezTo>
                    <a:cubicBezTo>
                      <a:pt x="5713" y="861"/>
                      <a:pt x="5752" y="870"/>
                      <a:pt x="5758" y="855"/>
                    </a:cubicBezTo>
                    <a:cubicBezTo>
                      <a:pt x="5764" y="840"/>
                      <a:pt x="5784" y="828"/>
                      <a:pt x="5784" y="828"/>
                    </a:cubicBezTo>
                    <a:cubicBezTo>
                      <a:pt x="5770" y="811"/>
                      <a:pt x="5770" y="811"/>
                      <a:pt x="5770" y="811"/>
                    </a:cubicBezTo>
                    <a:cubicBezTo>
                      <a:pt x="5791" y="813"/>
                      <a:pt x="5791" y="813"/>
                      <a:pt x="5791" y="813"/>
                    </a:cubicBezTo>
                    <a:cubicBezTo>
                      <a:pt x="5794" y="825"/>
                      <a:pt x="5794" y="825"/>
                      <a:pt x="5794" y="825"/>
                    </a:cubicBezTo>
                    <a:cubicBezTo>
                      <a:pt x="5835" y="828"/>
                      <a:pt x="5835" y="828"/>
                      <a:pt x="5835" y="828"/>
                    </a:cubicBezTo>
                    <a:cubicBezTo>
                      <a:pt x="5835" y="828"/>
                      <a:pt x="5877" y="838"/>
                      <a:pt x="5877" y="832"/>
                    </a:cubicBezTo>
                    <a:cubicBezTo>
                      <a:pt x="5877" y="826"/>
                      <a:pt x="5873" y="814"/>
                      <a:pt x="5873" y="814"/>
                    </a:cubicBezTo>
                    <a:cubicBezTo>
                      <a:pt x="5848" y="811"/>
                      <a:pt x="5848" y="811"/>
                      <a:pt x="5848" y="811"/>
                    </a:cubicBezTo>
                    <a:cubicBezTo>
                      <a:pt x="5844" y="797"/>
                      <a:pt x="5844" y="797"/>
                      <a:pt x="5844" y="797"/>
                    </a:cubicBezTo>
                    <a:cubicBezTo>
                      <a:pt x="5844" y="797"/>
                      <a:pt x="5807" y="784"/>
                      <a:pt x="5795" y="780"/>
                    </a:cubicBezTo>
                    <a:cubicBezTo>
                      <a:pt x="5783" y="776"/>
                      <a:pt x="5774" y="782"/>
                      <a:pt x="5774" y="782"/>
                    </a:cubicBezTo>
                    <a:cubicBezTo>
                      <a:pt x="5778" y="770"/>
                      <a:pt x="5778" y="770"/>
                      <a:pt x="5778" y="770"/>
                    </a:cubicBezTo>
                    <a:cubicBezTo>
                      <a:pt x="5730" y="736"/>
                      <a:pt x="5730" y="736"/>
                      <a:pt x="5730" y="736"/>
                    </a:cubicBezTo>
                    <a:cubicBezTo>
                      <a:pt x="5719" y="747"/>
                      <a:pt x="5719" y="747"/>
                      <a:pt x="5719" y="747"/>
                    </a:cubicBezTo>
                    <a:cubicBezTo>
                      <a:pt x="5719" y="747"/>
                      <a:pt x="5699" y="742"/>
                      <a:pt x="5691" y="739"/>
                    </a:cubicBezTo>
                    <a:cubicBezTo>
                      <a:pt x="5683" y="736"/>
                      <a:pt x="5672" y="727"/>
                      <a:pt x="5672" y="727"/>
                    </a:cubicBezTo>
                    <a:cubicBezTo>
                      <a:pt x="5649" y="732"/>
                      <a:pt x="5649" y="732"/>
                      <a:pt x="5649" y="732"/>
                    </a:cubicBezTo>
                    <a:cubicBezTo>
                      <a:pt x="5630" y="730"/>
                      <a:pt x="5630" y="730"/>
                      <a:pt x="5630" y="730"/>
                    </a:cubicBezTo>
                    <a:cubicBezTo>
                      <a:pt x="5630" y="730"/>
                      <a:pt x="5599" y="712"/>
                      <a:pt x="5611" y="709"/>
                    </a:cubicBezTo>
                    <a:cubicBezTo>
                      <a:pt x="5623" y="706"/>
                      <a:pt x="5635" y="713"/>
                      <a:pt x="5644" y="715"/>
                    </a:cubicBezTo>
                    <a:cubicBezTo>
                      <a:pt x="5653" y="717"/>
                      <a:pt x="5697" y="724"/>
                      <a:pt x="5697" y="724"/>
                    </a:cubicBezTo>
                    <a:cubicBezTo>
                      <a:pt x="5697" y="724"/>
                      <a:pt x="5749" y="709"/>
                      <a:pt x="5749" y="702"/>
                    </a:cubicBezTo>
                    <a:cubicBezTo>
                      <a:pt x="5749" y="695"/>
                      <a:pt x="5719" y="679"/>
                      <a:pt x="5716" y="677"/>
                    </a:cubicBezTo>
                    <a:cubicBezTo>
                      <a:pt x="5713" y="675"/>
                      <a:pt x="5664" y="658"/>
                      <a:pt x="5679" y="649"/>
                    </a:cubicBezTo>
                    <a:cubicBezTo>
                      <a:pt x="5694" y="640"/>
                      <a:pt x="5719" y="660"/>
                      <a:pt x="5719" y="660"/>
                    </a:cubicBezTo>
                    <a:cubicBezTo>
                      <a:pt x="5719" y="660"/>
                      <a:pt x="5766" y="689"/>
                      <a:pt x="5780" y="687"/>
                    </a:cubicBezTo>
                    <a:cubicBezTo>
                      <a:pt x="5794" y="685"/>
                      <a:pt x="5799" y="671"/>
                      <a:pt x="5838" y="684"/>
                    </a:cubicBezTo>
                    <a:cubicBezTo>
                      <a:pt x="5877" y="697"/>
                      <a:pt x="5911" y="711"/>
                      <a:pt x="5922" y="713"/>
                    </a:cubicBezTo>
                    <a:cubicBezTo>
                      <a:pt x="5933" y="715"/>
                      <a:pt x="5976" y="727"/>
                      <a:pt x="5976" y="727"/>
                    </a:cubicBezTo>
                    <a:cubicBezTo>
                      <a:pt x="5976" y="727"/>
                      <a:pt x="6035" y="762"/>
                      <a:pt x="6031" y="744"/>
                    </a:cubicBezTo>
                    <a:cubicBezTo>
                      <a:pt x="6027" y="726"/>
                      <a:pt x="6007" y="715"/>
                      <a:pt x="6007" y="715"/>
                    </a:cubicBezTo>
                    <a:cubicBezTo>
                      <a:pt x="6019" y="706"/>
                      <a:pt x="6019" y="706"/>
                      <a:pt x="6019" y="706"/>
                    </a:cubicBezTo>
                    <a:cubicBezTo>
                      <a:pt x="5989" y="693"/>
                      <a:pt x="5989" y="693"/>
                      <a:pt x="5989" y="693"/>
                    </a:cubicBezTo>
                    <a:cubicBezTo>
                      <a:pt x="5995" y="689"/>
                      <a:pt x="5995" y="689"/>
                      <a:pt x="5995" y="689"/>
                    </a:cubicBezTo>
                    <a:cubicBezTo>
                      <a:pt x="5962" y="672"/>
                      <a:pt x="5962" y="672"/>
                      <a:pt x="5962" y="672"/>
                    </a:cubicBezTo>
                    <a:cubicBezTo>
                      <a:pt x="5998" y="679"/>
                      <a:pt x="5998" y="679"/>
                      <a:pt x="5998" y="679"/>
                    </a:cubicBezTo>
                    <a:cubicBezTo>
                      <a:pt x="5994" y="666"/>
                      <a:pt x="5994" y="666"/>
                      <a:pt x="5994" y="666"/>
                    </a:cubicBezTo>
                    <a:cubicBezTo>
                      <a:pt x="5994" y="666"/>
                      <a:pt x="6045" y="678"/>
                      <a:pt x="6034" y="664"/>
                    </a:cubicBezTo>
                    <a:close/>
                    <a:moveTo>
                      <a:pt x="3574" y="1289"/>
                    </a:moveTo>
                    <a:cubicBezTo>
                      <a:pt x="3574" y="1289"/>
                      <a:pt x="3571" y="1303"/>
                      <a:pt x="3570" y="1306"/>
                    </a:cubicBezTo>
                    <a:cubicBezTo>
                      <a:pt x="3569" y="1309"/>
                      <a:pt x="3556" y="1316"/>
                      <a:pt x="3556" y="1316"/>
                    </a:cubicBezTo>
                    <a:cubicBezTo>
                      <a:pt x="3556" y="1316"/>
                      <a:pt x="3544" y="1322"/>
                      <a:pt x="3540" y="1322"/>
                    </a:cubicBezTo>
                    <a:cubicBezTo>
                      <a:pt x="3535" y="1322"/>
                      <a:pt x="3536" y="1334"/>
                      <a:pt x="3536" y="1334"/>
                    </a:cubicBezTo>
                    <a:cubicBezTo>
                      <a:pt x="3536" y="1334"/>
                      <a:pt x="3534" y="1327"/>
                      <a:pt x="3514" y="1334"/>
                    </a:cubicBezTo>
                    <a:cubicBezTo>
                      <a:pt x="3493" y="1340"/>
                      <a:pt x="3522" y="1350"/>
                      <a:pt x="3522" y="1350"/>
                    </a:cubicBezTo>
                    <a:cubicBezTo>
                      <a:pt x="3522" y="1350"/>
                      <a:pt x="3512" y="1358"/>
                      <a:pt x="3510" y="1367"/>
                    </a:cubicBezTo>
                    <a:cubicBezTo>
                      <a:pt x="3509" y="1377"/>
                      <a:pt x="3494" y="1368"/>
                      <a:pt x="3494" y="1368"/>
                    </a:cubicBezTo>
                    <a:cubicBezTo>
                      <a:pt x="3494" y="1368"/>
                      <a:pt x="3491" y="1382"/>
                      <a:pt x="3471" y="1382"/>
                    </a:cubicBezTo>
                    <a:cubicBezTo>
                      <a:pt x="3450" y="1382"/>
                      <a:pt x="3451" y="1377"/>
                      <a:pt x="3451" y="1377"/>
                    </a:cubicBezTo>
                    <a:cubicBezTo>
                      <a:pt x="3428" y="1371"/>
                      <a:pt x="3428" y="1371"/>
                      <a:pt x="3428" y="1371"/>
                    </a:cubicBezTo>
                    <a:cubicBezTo>
                      <a:pt x="3439" y="1365"/>
                      <a:pt x="3439" y="1365"/>
                      <a:pt x="3439" y="1365"/>
                    </a:cubicBezTo>
                    <a:cubicBezTo>
                      <a:pt x="3461" y="1365"/>
                      <a:pt x="3461" y="1365"/>
                      <a:pt x="3461" y="1365"/>
                    </a:cubicBezTo>
                    <a:cubicBezTo>
                      <a:pt x="3462" y="1360"/>
                      <a:pt x="3462" y="1360"/>
                      <a:pt x="3462" y="1360"/>
                    </a:cubicBezTo>
                    <a:cubicBezTo>
                      <a:pt x="3462" y="1360"/>
                      <a:pt x="3478" y="1360"/>
                      <a:pt x="3485" y="1353"/>
                    </a:cubicBezTo>
                    <a:cubicBezTo>
                      <a:pt x="3491" y="1347"/>
                      <a:pt x="3492" y="1328"/>
                      <a:pt x="3492" y="1328"/>
                    </a:cubicBezTo>
                    <a:cubicBezTo>
                      <a:pt x="3492" y="1328"/>
                      <a:pt x="3496" y="1327"/>
                      <a:pt x="3505" y="1325"/>
                    </a:cubicBezTo>
                    <a:cubicBezTo>
                      <a:pt x="3514" y="1323"/>
                      <a:pt x="3514" y="1307"/>
                      <a:pt x="3514" y="1307"/>
                    </a:cubicBezTo>
                    <a:cubicBezTo>
                      <a:pt x="3514" y="1307"/>
                      <a:pt x="3507" y="1303"/>
                      <a:pt x="3508" y="1297"/>
                    </a:cubicBezTo>
                    <a:cubicBezTo>
                      <a:pt x="3509" y="1292"/>
                      <a:pt x="3528" y="1275"/>
                      <a:pt x="3528" y="1275"/>
                    </a:cubicBezTo>
                    <a:cubicBezTo>
                      <a:pt x="3528" y="1264"/>
                      <a:pt x="3528" y="1264"/>
                      <a:pt x="3528" y="1264"/>
                    </a:cubicBezTo>
                    <a:cubicBezTo>
                      <a:pt x="3542" y="1251"/>
                      <a:pt x="3542" y="1251"/>
                      <a:pt x="3542" y="1251"/>
                    </a:cubicBezTo>
                    <a:cubicBezTo>
                      <a:pt x="3534" y="1240"/>
                      <a:pt x="3534" y="1240"/>
                      <a:pt x="3534" y="1240"/>
                    </a:cubicBezTo>
                    <a:cubicBezTo>
                      <a:pt x="3533" y="1187"/>
                      <a:pt x="3533" y="1187"/>
                      <a:pt x="3533" y="1187"/>
                    </a:cubicBezTo>
                    <a:cubicBezTo>
                      <a:pt x="3533" y="1187"/>
                      <a:pt x="3518" y="1165"/>
                      <a:pt x="3536" y="1160"/>
                    </a:cubicBezTo>
                    <a:cubicBezTo>
                      <a:pt x="3555" y="1156"/>
                      <a:pt x="3551" y="1181"/>
                      <a:pt x="3551" y="1181"/>
                    </a:cubicBezTo>
                    <a:cubicBezTo>
                      <a:pt x="3551" y="1181"/>
                      <a:pt x="3560" y="1188"/>
                      <a:pt x="3564" y="1203"/>
                    </a:cubicBezTo>
                    <a:cubicBezTo>
                      <a:pt x="3569" y="1219"/>
                      <a:pt x="3571" y="1229"/>
                      <a:pt x="3571" y="1229"/>
                    </a:cubicBezTo>
                    <a:cubicBezTo>
                      <a:pt x="3585" y="1248"/>
                      <a:pt x="3585" y="1248"/>
                      <a:pt x="3585" y="1248"/>
                    </a:cubicBezTo>
                    <a:cubicBezTo>
                      <a:pt x="3579" y="1259"/>
                      <a:pt x="3579" y="1259"/>
                      <a:pt x="3579" y="1259"/>
                    </a:cubicBezTo>
                    <a:cubicBezTo>
                      <a:pt x="3579" y="1259"/>
                      <a:pt x="3566" y="1265"/>
                      <a:pt x="3568" y="1272"/>
                    </a:cubicBezTo>
                    <a:cubicBezTo>
                      <a:pt x="3569" y="1280"/>
                      <a:pt x="3585" y="1271"/>
                      <a:pt x="3585" y="1271"/>
                    </a:cubicBezTo>
                    <a:cubicBezTo>
                      <a:pt x="3587" y="1282"/>
                      <a:pt x="3587" y="1282"/>
                      <a:pt x="3587" y="1282"/>
                    </a:cubicBezTo>
                    <a:lnTo>
                      <a:pt x="3574" y="1289"/>
                    </a:lnTo>
                    <a:close/>
                    <a:moveTo>
                      <a:pt x="4656" y="1185"/>
                    </a:moveTo>
                    <a:cubicBezTo>
                      <a:pt x="4650" y="1193"/>
                      <a:pt x="4662" y="1221"/>
                      <a:pt x="4684" y="1223"/>
                    </a:cubicBezTo>
                    <a:cubicBezTo>
                      <a:pt x="4702" y="1225"/>
                      <a:pt x="4662" y="1177"/>
                      <a:pt x="4656" y="1185"/>
                    </a:cubicBezTo>
                    <a:close/>
                    <a:moveTo>
                      <a:pt x="1020" y="0"/>
                    </a:moveTo>
                    <a:cubicBezTo>
                      <a:pt x="986" y="0"/>
                      <a:pt x="986" y="0"/>
                      <a:pt x="986" y="0"/>
                    </a:cubicBezTo>
                    <a:cubicBezTo>
                      <a:pt x="986" y="10"/>
                      <a:pt x="986" y="10"/>
                      <a:pt x="986" y="10"/>
                    </a:cubicBezTo>
                    <a:cubicBezTo>
                      <a:pt x="1007" y="11"/>
                      <a:pt x="1007" y="11"/>
                      <a:pt x="1007" y="11"/>
                    </a:cubicBezTo>
                    <a:cubicBezTo>
                      <a:pt x="1021" y="10"/>
                      <a:pt x="1020" y="0"/>
                      <a:pt x="1020" y="0"/>
                    </a:cubicBezTo>
                    <a:close/>
                    <a:moveTo>
                      <a:pt x="1012" y="37"/>
                    </a:moveTo>
                    <a:cubicBezTo>
                      <a:pt x="1026" y="35"/>
                      <a:pt x="1035" y="23"/>
                      <a:pt x="1017" y="23"/>
                    </a:cubicBezTo>
                    <a:cubicBezTo>
                      <a:pt x="999" y="23"/>
                      <a:pt x="1002" y="38"/>
                      <a:pt x="1012" y="37"/>
                    </a:cubicBezTo>
                    <a:close/>
                    <a:moveTo>
                      <a:pt x="943" y="537"/>
                    </a:moveTo>
                    <a:cubicBezTo>
                      <a:pt x="965" y="542"/>
                      <a:pt x="973" y="535"/>
                      <a:pt x="980" y="531"/>
                    </a:cubicBezTo>
                    <a:cubicBezTo>
                      <a:pt x="987" y="527"/>
                      <a:pt x="993" y="519"/>
                      <a:pt x="993" y="519"/>
                    </a:cubicBezTo>
                    <a:cubicBezTo>
                      <a:pt x="1002" y="518"/>
                      <a:pt x="1002" y="518"/>
                      <a:pt x="1002" y="518"/>
                    </a:cubicBezTo>
                    <a:cubicBezTo>
                      <a:pt x="1002" y="518"/>
                      <a:pt x="994" y="507"/>
                      <a:pt x="968" y="501"/>
                    </a:cubicBezTo>
                    <a:cubicBezTo>
                      <a:pt x="942" y="495"/>
                      <a:pt x="927" y="518"/>
                      <a:pt x="927" y="518"/>
                    </a:cubicBezTo>
                    <a:cubicBezTo>
                      <a:pt x="927" y="521"/>
                      <a:pt x="921" y="533"/>
                      <a:pt x="943" y="537"/>
                    </a:cubicBezTo>
                    <a:close/>
                    <a:moveTo>
                      <a:pt x="996" y="48"/>
                    </a:moveTo>
                    <a:cubicBezTo>
                      <a:pt x="1007" y="61"/>
                      <a:pt x="1000" y="62"/>
                      <a:pt x="1023" y="55"/>
                    </a:cubicBezTo>
                    <a:cubicBezTo>
                      <a:pt x="1045" y="48"/>
                      <a:pt x="1020" y="45"/>
                      <a:pt x="1016" y="45"/>
                    </a:cubicBezTo>
                    <a:cubicBezTo>
                      <a:pt x="1012" y="45"/>
                      <a:pt x="996" y="48"/>
                      <a:pt x="996" y="48"/>
                    </a:cubicBezTo>
                    <a:close/>
                    <a:moveTo>
                      <a:pt x="966" y="65"/>
                    </a:moveTo>
                    <a:cubicBezTo>
                      <a:pt x="976" y="65"/>
                      <a:pt x="1009" y="63"/>
                      <a:pt x="1003" y="62"/>
                    </a:cubicBezTo>
                    <a:cubicBezTo>
                      <a:pt x="997" y="61"/>
                      <a:pt x="985" y="52"/>
                      <a:pt x="985" y="52"/>
                    </a:cubicBezTo>
                    <a:cubicBezTo>
                      <a:pt x="954" y="52"/>
                      <a:pt x="954" y="52"/>
                      <a:pt x="954" y="52"/>
                    </a:cubicBezTo>
                    <a:cubicBezTo>
                      <a:pt x="954" y="52"/>
                      <a:pt x="957" y="65"/>
                      <a:pt x="966" y="65"/>
                    </a:cubicBezTo>
                    <a:close/>
                    <a:moveTo>
                      <a:pt x="893" y="23"/>
                    </a:moveTo>
                    <a:cubicBezTo>
                      <a:pt x="876" y="24"/>
                      <a:pt x="885" y="35"/>
                      <a:pt x="885" y="35"/>
                    </a:cubicBezTo>
                    <a:cubicBezTo>
                      <a:pt x="910" y="30"/>
                      <a:pt x="910" y="21"/>
                      <a:pt x="893" y="23"/>
                    </a:cubicBezTo>
                    <a:close/>
                    <a:moveTo>
                      <a:pt x="940" y="48"/>
                    </a:moveTo>
                    <a:cubicBezTo>
                      <a:pt x="924" y="45"/>
                      <a:pt x="924" y="45"/>
                      <a:pt x="924" y="45"/>
                    </a:cubicBezTo>
                    <a:cubicBezTo>
                      <a:pt x="930" y="61"/>
                      <a:pt x="930" y="61"/>
                      <a:pt x="930" y="61"/>
                    </a:cubicBezTo>
                    <a:lnTo>
                      <a:pt x="940" y="48"/>
                    </a:lnTo>
                    <a:close/>
                    <a:moveTo>
                      <a:pt x="972" y="10"/>
                    </a:moveTo>
                    <a:cubicBezTo>
                      <a:pt x="972" y="27"/>
                      <a:pt x="972" y="27"/>
                      <a:pt x="972" y="27"/>
                    </a:cubicBezTo>
                    <a:cubicBezTo>
                      <a:pt x="995" y="20"/>
                      <a:pt x="995" y="20"/>
                      <a:pt x="995" y="20"/>
                    </a:cubicBezTo>
                    <a:lnTo>
                      <a:pt x="972" y="10"/>
                    </a:lnTo>
                    <a:close/>
                    <a:moveTo>
                      <a:pt x="936" y="31"/>
                    </a:moveTo>
                    <a:cubicBezTo>
                      <a:pt x="936" y="31"/>
                      <a:pt x="931" y="25"/>
                      <a:pt x="924" y="25"/>
                    </a:cubicBezTo>
                    <a:cubicBezTo>
                      <a:pt x="917" y="25"/>
                      <a:pt x="919" y="38"/>
                      <a:pt x="919" y="38"/>
                    </a:cubicBezTo>
                    <a:lnTo>
                      <a:pt x="936" y="31"/>
                    </a:lnTo>
                    <a:close/>
                    <a:moveTo>
                      <a:pt x="957" y="31"/>
                    </a:moveTo>
                    <a:cubicBezTo>
                      <a:pt x="938" y="39"/>
                      <a:pt x="938" y="39"/>
                      <a:pt x="938" y="39"/>
                    </a:cubicBezTo>
                    <a:cubicBezTo>
                      <a:pt x="957" y="39"/>
                      <a:pt x="957" y="39"/>
                      <a:pt x="957" y="39"/>
                    </a:cubicBezTo>
                    <a:lnTo>
                      <a:pt x="957" y="31"/>
                    </a:lnTo>
                    <a:close/>
                    <a:moveTo>
                      <a:pt x="979" y="42"/>
                    </a:moveTo>
                    <a:cubicBezTo>
                      <a:pt x="995" y="47"/>
                      <a:pt x="1009" y="30"/>
                      <a:pt x="990" y="28"/>
                    </a:cubicBezTo>
                    <a:cubicBezTo>
                      <a:pt x="972" y="27"/>
                      <a:pt x="964" y="38"/>
                      <a:pt x="979" y="42"/>
                    </a:cubicBezTo>
                    <a:close/>
                    <a:moveTo>
                      <a:pt x="966" y="23"/>
                    </a:moveTo>
                    <a:cubicBezTo>
                      <a:pt x="965" y="7"/>
                      <a:pt x="965" y="7"/>
                      <a:pt x="965" y="7"/>
                    </a:cubicBezTo>
                    <a:cubicBezTo>
                      <a:pt x="938" y="14"/>
                      <a:pt x="938" y="14"/>
                      <a:pt x="938" y="14"/>
                    </a:cubicBezTo>
                    <a:cubicBezTo>
                      <a:pt x="944" y="24"/>
                      <a:pt x="944" y="24"/>
                      <a:pt x="944" y="24"/>
                    </a:cubicBezTo>
                    <a:lnTo>
                      <a:pt x="966" y="23"/>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95" name="Freeform 217">
                <a:extLst>
                  <a:ext uri="{FF2B5EF4-FFF2-40B4-BE49-F238E27FC236}">
                    <a16:creationId xmlns:a16="http://schemas.microsoft.com/office/drawing/2014/main" id="{86E6CF57-2829-45DF-A513-1F9654755CDB}"/>
                  </a:ext>
                </a:extLst>
              </p:cNvPr>
              <p:cNvSpPr>
                <a:spLocks/>
              </p:cNvSpPr>
              <p:nvPr>
                <p:custDataLst>
                  <p:tags r:id="rId176"/>
                </p:custDataLst>
              </p:nvPr>
            </p:nvSpPr>
            <p:spPr bwMode="gray">
              <a:xfrm>
                <a:off x="7618369" y="4162443"/>
                <a:ext cx="279398" cy="196851"/>
              </a:xfrm>
              <a:custGeom>
                <a:avLst/>
                <a:gdLst>
                  <a:gd name="T0" fmla="*/ 9 w 461"/>
                  <a:gd name="T1" fmla="*/ 338 h 355"/>
                  <a:gd name="T2" fmla="*/ 43 w 461"/>
                  <a:gd name="T3" fmla="*/ 352 h 355"/>
                  <a:gd name="T4" fmla="*/ 61 w 461"/>
                  <a:gd name="T5" fmla="*/ 342 h 355"/>
                  <a:gd name="T6" fmla="*/ 98 w 461"/>
                  <a:gd name="T7" fmla="*/ 345 h 355"/>
                  <a:gd name="T8" fmla="*/ 121 w 461"/>
                  <a:gd name="T9" fmla="*/ 318 h 355"/>
                  <a:gd name="T10" fmla="*/ 150 w 461"/>
                  <a:gd name="T11" fmla="*/ 318 h 355"/>
                  <a:gd name="T12" fmla="*/ 182 w 461"/>
                  <a:gd name="T13" fmla="*/ 335 h 355"/>
                  <a:gd name="T14" fmla="*/ 203 w 461"/>
                  <a:gd name="T15" fmla="*/ 322 h 355"/>
                  <a:gd name="T16" fmla="*/ 219 w 461"/>
                  <a:gd name="T17" fmla="*/ 322 h 355"/>
                  <a:gd name="T18" fmla="*/ 236 w 461"/>
                  <a:gd name="T19" fmla="*/ 299 h 355"/>
                  <a:gd name="T20" fmla="*/ 235 w 461"/>
                  <a:gd name="T21" fmla="*/ 287 h 355"/>
                  <a:gd name="T22" fmla="*/ 257 w 461"/>
                  <a:gd name="T23" fmla="*/ 268 h 355"/>
                  <a:gd name="T24" fmla="*/ 252 w 461"/>
                  <a:gd name="T25" fmla="*/ 243 h 355"/>
                  <a:gd name="T26" fmla="*/ 265 w 461"/>
                  <a:gd name="T27" fmla="*/ 235 h 355"/>
                  <a:gd name="T28" fmla="*/ 275 w 461"/>
                  <a:gd name="T29" fmla="*/ 204 h 355"/>
                  <a:gd name="T30" fmla="*/ 284 w 461"/>
                  <a:gd name="T31" fmla="*/ 165 h 355"/>
                  <a:gd name="T32" fmla="*/ 344 w 461"/>
                  <a:gd name="T33" fmla="*/ 166 h 355"/>
                  <a:gd name="T34" fmla="*/ 375 w 461"/>
                  <a:gd name="T35" fmla="*/ 190 h 355"/>
                  <a:gd name="T36" fmla="*/ 374 w 461"/>
                  <a:gd name="T37" fmla="*/ 189 h 355"/>
                  <a:gd name="T38" fmla="*/ 387 w 461"/>
                  <a:gd name="T39" fmla="*/ 186 h 355"/>
                  <a:gd name="T40" fmla="*/ 378 w 461"/>
                  <a:gd name="T41" fmla="*/ 144 h 355"/>
                  <a:gd name="T42" fmla="*/ 402 w 461"/>
                  <a:gd name="T43" fmla="*/ 162 h 355"/>
                  <a:gd name="T44" fmla="*/ 427 w 461"/>
                  <a:gd name="T45" fmla="*/ 160 h 355"/>
                  <a:gd name="T46" fmla="*/ 408 w 461"/>
                  <a:gd name="T47" fmla="*/ 126 h 355"/>
                  <a:gd name="T48" fmla="*/ 444 w 461"/>
                  <a:gd name="T49" fmla="*/ 131 h 355"/>
                  <a:gd name="T50" fmla="*/ 461 w 461"/>
                  <a:gd name="T51" fmla="*/ 111 h 355"/>
                  <a:gd name="T52" fmla="*/ 444 w 461"/>
                  <a:gd name="T53" fmla="*/ 105 h 355"/>
                  <a:gd name="T54" fmla="*/ 433 w 461"/>
                  <a:gd name="T55" fmla="*/ 88 h 355"/>
                  <a:gd name="T56" fmla="*/ 393 w 461"/>
                  <a:gd name="T57" fmla="*/ 77 h 355"/>
                  <a:gd name="T58" fmla="*/ 380 w 461"/>
                  <a:gd name="T59" fmla="*/ 46 h 355"/>
                  <a:gd name="T60" fmla="*/ 354 w 461"/>
                  <a:gd name="T61" fmla="*/ 42 h 355"/>
                  <a:gd name="T62" fmla="*/ 343 w 461"/>
                  <a:gd name="T63" fmla="*/ 1 h 355"/>
                  <a:gd name="T64" fmla="*/ 339 w 461"/>
                  <a:gd name="T65" fmla="*/ 14 h 355"/>
                  <a:gd name="T66" fmla="*/ 329 w 461"/>
                  <a:gd name="T67" fmla="*/ 0 h 355"/>
                  <a:gd name="T68" fmla="*/ 323 w 461"/>
                  <a:gd name="T69" fmla="*/ 41 h 355"/>
                  <a:gd name="T70" fmla="*/ 301 w 461"/>
                  <a:gd name="T71" fmla="*/ 50 h 355"/>
                  <a:gd name="T72" fmla="*/ 293 w 461"/>
                  <a:gd name="T73" fmla="*/ 77 h 355"/>
                  <a:gd name="T74" fmla="*/ 276 w 461"/>
                  <a:gd name="T75" fmla="*/ 83 h 355"/>
                  <a:gd name="T76" fmla="*/ 283 w 461"/>
                  <a:gd name="T77" fmla="*/ 107 h 355"/>
                  <a:gd name="T78" fmla="*/ 243 w 461"/>
                  <a:gd name="T79" fmla="*/ 101 h 355"/>
                  <a:gd name="T80" fmla="*/ 227 w 461"/>
                  <a:gd name="T81" fmla="*/ 136 h 355"/>
                  <a:gd name="T82" fmla="*/ 200 w 461"/>
                  <a:gd name="T83" fmla="*/ 166 h 355"/>
                  <a:gd name="T84" fmla="*/ 176 w 461"/>
                  <a:gd name="T85" fmla="*/ 213 h 355"/>
                  <a:gd name="T86" fmla="*/ 110 w 461"/>
                  <a:gd name="T87" fmla="*/ 235 h 355"/>
                  <a:gd name="T88" fmla="*/ 69 w 461"/>
                  <a:gd name="T89" fmla="*/ 262 h 355"/>
                  <a:gd name="T90" fmla="*/ 60 w 461"/>
                  <a:gd name="T91" fmla="*/ 285 h 355"/>
                  <a:gd name="T92" fmla="*/ 65 w 461"/>
                  <a:gd name="T93" fmla="*/ 317 h 355"/>
                  <a:gd name="T94" fmla="*/ 23 w 461"/>
                  <a:gd name="T95" fmla="*/ 305 h 355"/>
                  <a:gd name="T96" fmla="*/ 0 w 461"/>
                  <a:gd name="T97" fmla="*/ 322 h 355"/>
                  <a:gd name="T98" fmla="*/ 0 w 461"/>
                  <a:gd name="T99" fmla="*/ 322 h 355"/>
                  <a:gd name="T100" fmla="*/ 9 w 461"/>
                  <a:gd name="T101" fmla="*/ 33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1" h="355">
                    <a:moveTo>
                      <a:pt x="9" y="338"/>
                    </a:moveTo>
                    <a:cubicBezTo>
                      <a:pt x="17" y="347"/>
                      <a:pt x="39" y="355"/>
                      <a:pt x="43" y="352"/>
                    </a:cubicBezTo>
                    <a:cubicBezTo>
                      <a:pt x="47" y="350"/>
                      <a:pt x="46" y="342"/>
                      <a:pt x="61" y="342"/>
                    </a:cubicBezTo>
                    <a:cubicBezTo>
                      <a:pt x="75" y="342"/>
                      <a:pt x="88" y="351"/>
                      <a:pt x="98" y="345"/>
                    </a:cubicBezTo>
                    <a:cubicBezTo>
                      <a:pt x="108" y="339"/>
                      <a:pt x="121" y="318"/>
                      <a:pt x="121" y="318"/>
                    </a:cubicBezTo>
                    <a:cubicBezTo>
                      <a:pt x="121" y="318"/>
                      <a:pt x="146" y="315"/>
                      <a:pt x="150" y="318"/>
                    </a:cubicBezTo>
                    <a:cubicBezTo>
                      <a:pt x="154" y="320"/>
                      <a:pt x="179" y="336"/>
                      <a:pt x="182" y="335"/>
                    </a:cubicBezTo>
                    <a:cubicBezTo>
                      <a:pt x="185" y="335"/>
                      <a:pt x="203" y="322"/>
                      <a:pt x="203" y="322"/>
                    </a:cubicBezTo>
                    <a:cubicBezTo>
                      <a:pt x="219" y="322"/>
                      <a:pt x="219" y="322"/>
                      <a:pt x="219" y="322"/>
                    </a:cubicBezTo>
                    <a:cubicBezTo>
                      <a:pt x="236" y="299"/>
                      <a:pt x="236" y="299"/>
                      <a:pt x="236" y="299"/>
                    </a:cubicBezTo>
                    <a:cubicBezTo>
                      <a:pt x="235" y="287"/>
                      <a:pt x="235" y="287"/>
                      <a:pt x="235" y="287"/>
                    </a:cubicBezTo>
                    <a:cubicBezTo>
                      <a:pt x="257" y="268"/>
                      <a:pt x="257" y="268"/>
                      <a:pt x="257" y="268"/>
                    </a:cubicBezTo>
                    <a:cubicBezTo>
                      <a:pt x="257" y="268"/>
                      <a:pt x="245" y="252"/>
                      <a:pt x="252" y="243"/>
                    </a:cubicBezTo>
                    <a:cubicBezTo>
                      <a:pt x="258" y="234"/>
                      <a:pt x="265" y="235"/>
                      <a:pt x="265" y="235"/>
                    </a:cubicBezTo>
                    <a:cubicBezTo>
                      <a:pt x="265" y="235"/>
                      <a:pt x="274" y="220"/>
                      <a:pt x="275" y="204"/>
                    </a:cubicBezTo>
                    <a:cubicBezTo>
                      <a:pt x="277" y="188"/>
                      <a:pt x="270" y="166"/>
                      <a:pt x="284" y="165"/>
                    </a:cubicBezTo>
                    <a:cubicBezTo>
                      <a:pt x="299" y="164"/>
                      <a:pt x="340" y="165"/>
                      <a:pt x="344" y="166"/>
                    </a:cubicBezTo>
                    <a:cubicBezTo>
                      <a:pt x="348" y="166"/>
                      <a:pt x="367" y="183"/>
                      <a:pt x="375" y="190"/>
                    </a:cubicBezTo>
                    <a:cubicBezTo>
                      <a:pt x="374" y="189"/>
                      <a:pt x="374" y="189"/>
                      <a:pt x="374" y="189"/>
                    </a:cubicBezTo>
                    <a:cubicBezTo>
                      <a:pt x="387" y="186"/>
                      <a:pt x="387" y="186"/>
                      <a:pt x="387" y="186"/>
                    </a:cubicBezTo>
                    <a:cubicBezTo>
                      <a:pt x="378" y="144"/>
                      <a:pt x="378" y="144"/>
                      <a:pt x="378" y="144"/>
                    </a:cubicBezTo>
                    <a:cubicBezTo>
                      <a:pt x="378" y="144"/>
                      <a:pt x="393" y="160"/>
                      <a:pt x="402" y="162"/>
                    </a:cubicBezTo>
                    <a:cubicBezTo>
                      <a:pt x="412" y="163"/>
                      <a:pt x="427" y="160"/>
                      <a:pt x="427" y="160"/>
                    </a:cubicBezTo>
                    <a:cubicBezTo>
                      <a:pt x="427" y="160"/>
                      <a:pt x="402" y="136"/>
                      <a:pt x="408" y="126"/>
                    </a:cubicBezTo>
                    <a:cubicBezTo>
                      <a:pt x="413" y="115"/>
                      <a:pt x="444" y="131"/>
                      <a:pt x="444" y="131"/>
                    </a:cubicBezTo>
                    <a:cubicBezTo>
                      <a:pt x="461" y="111"/>
                      <a:pt x="461" y="111"/>
                      <a:pt x="461" y="111"/>
                    </a:cubicBezTo>
                    <a:cubicBezTo>
                      <a:pt x="444" y="105"/>
                      <a:pt x="444" y="105"/>
                      <a:pt x="444" y="105"/>
                    </a:cubicBezTo>
                    <a:cubicBezTo>
                      <a:pt x="444" y="105"/>
                      <a:pt x="441" y="93"/>
                      <a:pt x="433" y="88"/>
                    </a:cubicBezTo>
                    <a:cubicBezTo>
                      <a:pt x="425" y="82"/>
                      <a:pt x="393" y="77"/>
                      <a:pt x="393" y="77"/>
                    </a:cubicBezTo>
                    <a:cubicBezTo>
                      <a:pt x="393" y="77"/>
                      <a:pt x="392" y="58"/>
                      <a:pt x="380" y="46"/>
                    </a:cubicBezTo>
                    <a:cubicBezTo>
                      <a:pt x="367" y="33"/>
                      <a:pt x="354" y="42"/>
                      <a:pt x="354" y="42"/>
                    </a:cubicBezTo>
                    <a:cubicBezTo>
                      <a:pt x="343" y="1"/>
                      <a:pt x="343" y="1"/>
                      <a:pt x="343" y="1"/>
                    </a:cubicBezTo>
                    <a:cubicBezTo>
                      <a:pt x="339" y="14"/>
                      <a:pt x="339" y="14"/>
                      <a:pt x="339" y="14"/>
                    </a:cubicBezTo>
                    <a:cubicBezTo>
                      <a:pt x="329" y="0"/>
                      <a:pt x="329" y="0"/>
                      <a:pt x="329" y="0"/>
                    </a:cubicBezTo>
                    <a:cubicBezTo>
                      <a:pt x="323" y="41"/>
                      <a:pt x="323" y="41"/>
                      <a:pt x="323" y="41"/>
                    </a:cubicBezTo>
                    <a:cubicBezTo>
                      <a:pt x="323" y="41"/>
                      <a:pt x="308" y="45"/>
                      <a:pt x="301" y="50"/>
                    </a:cubicBezTo>
                    <a:cubicBezTo>
                      <a:pt x="294" y="55"/>
                      <a:pt x="293" y="77"/>
                      <a:pt x="293" y="77"/>
                    </a:cubicBezTo>
                    <a:cubicBezTo>
                      <a:pt x="276" y="83"/>
                      <a:pt x="276" y="83"/>
                      <a:pt x="276" y="83"/>
                    </a:cubicBezTo>
                    <a:cubicBezTo>
                      <a:pt x="283" y="107"/>
                      <a:pt x="283" y="107"/>
                      <a:pt x="283" y="107"/>
                    </a:cubicBezTo>
                    <a:cubicBezTo>
                      <a:pt x="283" y="107"/>
                      <a:pt x="259" y="104"/>
                      <a:pt x="243" y="101"/>
                    </a:cubicBezTo>
                    <a:cubicBezTo>
                      <a:pt x="228" y="97"/>
                      <a:pt x="227" y="136"/>
                      <a:pt x="227" y="136"/>
                    </a:cubicBezTo>
                    <a:cubicBezTo>
                      <a:pt x="200" y="166"/>
                      <a:pt x="200" y="166"/>
                      <a:pt x="200" y="166"/>
                    </a:cubicBezTo>
                    <a:cubicBezTo>
                      <a:pt x="200" y="166"/>
                      <a:pt x="192" y="201"/>
                      <a:pt x="176" y="213"/>
                    </a:cubicBezTo>
                    <a:cubicBezTo>
                      <a:pt x="160" y="224"/>
                      <a:pt x="119" y="232"/>
                      <a:pt x="110" y="235"/>
                    </a:cubicBezTo>
                    <a:cubicBezTo>
                      <a:pt x="101" y="237"/>
                      <a:pt x="69" y="262"/>
                      <a:pt x="69" y="262"/>
                    </a:cubicBezTo>
                    <a:cubicBezTo>
                      <a:pt x="60" y="285"/>
                      <a:pt x="60" y="285"/>
                      <a:pt x="60" y="285"/>
                    </a:cubicBezTo>
                    <a:cubicBezTo>
                      <a:pt x="60" y="285"/>
                      <a:pt x="84" y="303"/>
                      <a:pt x="65" y="317"/>
                    </a:cubicBezTo>
                    <a:cubicBezTo>
                      <a:pt x="47" y="331"/>
                      <a:pt x="34" y="308"/>
                      <a:pt x="23" y="305"/>
                    </a:cubicBezTo>
                    <a:cubicBezTo>
                      <a:pt x="13" y="303"/>
                      <a:pt x="0" y="322"/>
                      <a:pt x="0" y="322"/>
                    </a:cubicBezTo>
                    <a:cubicBezTo>
                      <a:pt x="0" y="322"/>
                      <a:pt x="0" y="322"/>
                      <a:pt x="0" y="322"/>
                    </a:cubicBezTo>
                    <a:cubicBezTo>
                      <a:pt x="3" y="328"/>
                      <a:pt x="5" y="334"/>
                      <a:pt x="9" y="338"/>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96" name="Freeform 218">
                <a:extLst>
                  <a:ext uri="{FF2B5EF4-FFF2-40B4-BE49-F238E27FC236}">
                    <a16:creationId xmlns:a16="http://schemas.microsoft.com/office/drawing/2014/main" id="{69537233-F199-41FB-B3EA-BE05CB055887}"/>
                  </a:ext>
                </a:extLst>
              </p:cNvPr>
              <p:cNvSpPr>
                <a:spLocks/>
              </p:cNvSpPr>
              <p:nvPr>
                <p:custDataLst>
                  <p:tags r:id="rId177"/>
                </p:custDataLst>
              </p:nvPr>
            </p:nvSpPr>
            <p:spPr bwMode="gray">
              <a:xfrm>
                <a:off x="5946742" y="3028964"/>
                <a:ext cx="481010" cy="247651"/>
              </a:xfrm>
              <a:custGeom>
                <a:avLst/>
                <a:gdLst>
                  <a:gd name="T0" fmla="*/ 764 w 798"/>
                  <a:gd name="T1" fmla="*/ 243 h 447"/>
                  <a:gd name="T2" fmla="*/ 745 w 798"/>
                  <a:gd name="T3" fmla="*/ 230 h 447"/>
                  <a:gd name="T4" fmla="*/ 721 w 798"/>
                  <a:gd name="T5" fmla="*/ 212 h 447"/>
                  <a:gd name="T6" fmla="*/ 712 w 798"/>
                  <a:gd name="T7" fmla="*/ 222 h 447"/>
                  <a:gd name="T8" fmla="*/ 689 w 798"/>
                  <a:gd name="T9" fmla="*/ 229 h 447"/>
                  <a:gd name="T10" fmla="*/ 660 w 798"/>
                  <a:gd name="T11" fmla="*/ 212 h 447"/>
                  <a:gd name="T12" fmla="*/ 690 w 798"/>
                  <a:gd name="T13" fmla="*/ 175 h 447"/>
                  <a:gd name="T14" fmla="*/ 653 w 798"/>
                  <a:gd name="T15" fmla="*/ 185 h 447"/>
                  <a:gd name="T16" fmla="*/ 623 w 798"/>
                  <a:gd name="T17" fmla="*/ 208 h 447"/>
                  <a:gd name="T18" fmla="*/ 596 w 798"/>
                  <a:gd name="T19" fmla="*/ 236 h 447"/>
                  <a:gd name="T20" fmla="*/ 573 w 798"/>
                  <a:gd name="T21" fmla="*/ 259 h 447"/>
                  <a:gd name="T22" fmla="*/ 509 w 798"/>
                  <a:gd name="T23" fmla="*/ 228 h 447"/>
                  <a:gd name="T24" fmla="*/ 469 w 798"/>
                  <a:gd name="T25" fmla="*/ 188 h 447"/>
                  <a:gd name="T26" fmla="*/ 441 w 798"/>
                  <a:gd name="T27" fmla="*/ 136 h 447"/>
                  <a:gd name="T28" fmla="*/ 379 w 798"/>
                  <a:gd name="T29" fmla="*/ 105 h 447"/>
                  <a:gd name="T30" fmla="*/ 272 w 798"/>
                  <a:gd name="T31" fmla="*/ 108 h 447"/>
                  <a:gd name="T32" fmla="*/ 177 w 798"/>
                  <a:gd name="T33" fmla="*/ 38 h 447"/>
                  <a:gd name="T34" fmla="*/ 174 w 798"/>
                  <a:gd name="T35" fmla="*/ 75 h 447"/>
                  <a:gd name="T36" fmla="*/ 149 w 798"/>
                  <a:gd name="T37" fmla="*/ 55 h 447"/>
                  <a:gd name="T38" fmla="*/ 145 w 798"/>
                  <a:gd name="T39" fmla="*/ 23 h 447"/>
                  <a:gd name="T40" fmla="*/ 106 w 798"/>
                  <a:gd name="T41" fmla="*/ 20 h 447"/>
                  <a:gd name="T42" fmla="*/ 116 w 798"/>
                  <a:gd name="T43" fmla="*/ 45 h 447"/>
                  <a:gd name="T44" fmla="*/ 92 w 798"/>
                  <a:gd name="T45" fmla="*/ 37 h 447"/>
                  <a:gd name="T46" fmla="*/ 103 w 798"/>
                  <a:gd name="T47" fmla="*/ 3 h 447"/>
                  <a:gd name="T48" fmla="*/ 0 w 798"/>
                  <a:gd name="T49" fmla="*/ 31 h 447"/>
                  <a:gd name="T50" fmla="*/ 37 w 798"/>
                  <a:gd name="T51" fmla="*/ 217 h 447"/>
                  <a:gd name="T52" fmla="*/ 92 w 798"/>
                  <a:gd name="T53" fmla="*/ 224 h 447"/>
                  <a:gd name="T54" fmla="*/ 112 w 798"/>
                  <a:gd name="T55" fmla="*/ 175 h 447"/>
                  <a:gd name="T56" fmla="*/ 139 w 798"/>
                  <a:gd name="T57" fmla="*/ 169 h 447"/>
                  <a:gd name="T58" fmla="*/ 139 w 798"/>
                  <a:gd name="T59" fmla="*/ 152 h 447"/>
                  <a:gd name="T60" fmla="*/ 155 w 798"/>
                  <a:gd name="T61" fmla="*/ 161 h 447"/>
                  <a:gd name="T62" fmla="*/ 169 w 798"/>
                  <a:gd name="T63" fmla="*/ 168 h 447"/>
                  <a:gd name="T64" fmla="*/ 201 w 798"/>
                  <a:gd name="T65" fmla="*/ 173 h 447"/>
                  <a:gd name="T66" fmla="*/ 219 w 798"/>
                  <a:gd name="T67" fmla="*/ 197 h 447"/>
                  <a:gd name="T68" fmla="*/ 243 w 798"/>
                  <a:gd name="T69" fmla="*/ 227 h 447"/>
                  <a:gd name="T70" fmla="*/ 279 w 798"/>
                  <a:gd name="T71" fmla="*/ 225 h 447"/>
                  <a:gd name="T72" fmla="*/ 312 w 798"/>
                  <a:gd name="T73" fmla="*/ 256 h 447"/>
                  <a:gd name="T74" fmla="*/ 336 w 798"/>
                  <a:gd name="T75" fmla="*/ 293 h 447"/>
                  <a:gd name="T76" fmla="*/ 381 w 798"/>
                  <a:gd name="T77" fmla="*/ 319 h 447"/>
                  <a:gd name="T78" fmla="*/ 417 w 798"/>
                  <a:gd name="T79" fmla="*/ 348 h 447"/>
                  <a:gd name="T80" fmla="*/ 444 w 798"/>
                  <a:gd name="T81" fmla="*/ 357 h 447"/>
                  <a:gd name="T82" fmla="*/ 476 w 798"/>
                  <a:gd name="T83" fmla="*/ 376 h 447"/>
                  <a:gd name="T84" fmla="*/ 516 w 798"/>
                  <a:gd name="T85" fmla="*/ 387 h 447"/>
                  <a:gd name="T86" fmla="*/ 548 w 798"/>
                  <a:gd name="T87" fmla="*/ 425 h 447"/>
                  <a:gd name="T88" fmla="*/ 563 w 798"/>
                  <a:gd name="T89" fmla="*/ 437 h 447"/>
                  <a:gd name="T90" fmla="*/ 580 w 798"/>
                  <a:gd name="T91" fmla="*/ 445 h 447"/>
                  <a:gd name="T92" fmla="*/ 596 w 798"/>
                  <a:gd name="T93" fmla="*/ 440 h 447"/>
                  <a:gd name="T94" fmla="*/ 603 w 798"/>
                  <a:gd name="T95" fmla="*/ 445 h 447"/>
                  <a:gd name="T96" fmla="*/ 622 w 798"/>
                  <a:gd name="T97" fmla="*/ 397 h 447"/>
                  <a:gd name="T98" fmla="*/ 603 w 798"/>
                  <a:gd name="T99" fmla="*/ 353 h 447"/>
                  <a:gd name="T100" fmla="*/ 575 w 798"/>
                  <a:gd name="T101" fmla="*/ 339 h 447"/>
                  <a:gd name="T102" fmla="*/ 567 w 798"/>
                  <a:gd name="T103" fmla="*/ 321 h 447"/>
                  <a:gd name="T104" fmla="*/ 610 w 798"/>
                  <a:gd name="T105" fmla="*/ 305 h 447"/>
                  <a:gd name="T106" fmla="*/ 607 w 798"/>
                  <a:gd name="T107" fmla="*/ 282 h 447"/>
                  <a:gd name="T108" fmla="*/ 626 w 798"/>
                  <a:gd name="T109" fmla="*/ 264 h 447"/>
                  <a:gd name="T110" fmla="*/ 652 w 798"/>
                  <a:gd name="T111" fmla="*/ 260 h 447"/>
                  <a:gd name="T112" fmla="*/ 694 w 798"/>
                  <a:gd name="T113" fmla="*/ 251 h 447"/>
                  <a:gd name="T114" fmla="*/ 701 w 798"/>
                  <a:gd name="T115" fmla="*/ 283 h 447"/>
                  <a:gd name="T116" fmla="*/ 741 w 798"/>
                  <a:gd name="T117" fmla="*/ 286 h 447"/>
                  <a:gd name="T118" fmla="*/ 766 w 798"/>
                  <a:gd name="T119" fmla="*/ 271 h 447"/>
                  <a:gd name="T120" fmla="*/ 788 w 798"/>
                  <a:gd name="T121" fmla="*/ 254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98" h="447">
                    <a:moveTo>
                      <a:pt x="769" y="248"/>
                    </a:moveTo>
                    <a:cubicBezTo>
                      <a:pt x="764" y="243"/>
                      <a:pt x="764" y="243"/>
                      <a:pt x="764" y="243"/>
                    </a:cubicBezTo>
                    <a:cubicBezTo>
                      <a:pt x="751" y="241"/>
                      <a:pt x="751" y="241"/>
                      <a:pt x="751" y="241"/>
                    </a:cubicBezTo>
                    <a:cubicBezTo>
                      <a:pt x="745" y="230"/>
                      <a:pt x="745" y="230"/>
                      <a:pt x="745" y="230"/>
                    </a:cubicBezTo>
                    <a:cubicBezTo>
                      <a:pt x="732" y="230"/>
                      <a:pt x="732" y="230"/>
                      <a:pt x="732" y="230"/>
                    </a:cubicBezTo>
                    <a:cubicBezTo>
                      <a:pt x="721" y="212"/>
                      <a:pt x="721" y="212"/>
                      <a:pt x="721" y="212"/>
                    </a:cubicBezTo>
                    <a:cubicBezTo>
                      <a:pt x="721" y="222"/>
                      <a:pt x="721" y="222"/>
                      <a:pt x="721" y="222"/>
                    </a:cubicBezTo>
                    <a:cubicBezTo>
                      <a:pt x="712" y="222"/>
                      <a:pt x="712" y="222"/>
                      <a:pt x="712" y="222"/>
                    </a:cubicBezTo>
                    <a:cubicBezTo>
                      <a:pt x="713" y="231"/>
                      <a:pt x="713" y="231"/>
                      <a:pt x="713" y="231"/>
                    </a:cubicBezTo>
                    <a:cubicBezTo>
                      <a:pt x="713" y="231"/>
                      <a:pt x="694" y="233"/>
                      <a:pt x="689" y="229"/>
                    </a:cubicBezTo>
                    <a:cubicBezTo>
                      <a:pt x="684" y="225"/>
                      <a:pt x="683" y="220"/>
                      <a:pt x="683" y="220"/>
                    </a:cubicBezTo>
                    <a:cubicBezTo>
                      <a:pt x="660" y="212"/>
                      <a:pt x="660" y="212"/>
                      <a:pt x="660" y="212"/>
                    </a:cubicBezTo>
                    <a:cubicBezTo>
                      <a:pt x="660" y="212"/>
                      <a:pt x="696" y="183"/>
                      <a:pt x="694" y="178"/>
                    </a:cubicBezTo>
                    <a:cubicBezTo>
                      <a:pt x="693" y="177"/>
                      <a:pt x="692" y="176"/>
                      <a:pt x="690" y="175"/>
                    </a:cubicBezTo>
                    <a:cubicBezTo>
                      <a:pt x="671" y="184"/>
                      <a:pt x="671" y="184"/>
                      <a:pt x="671" y="184"/>
                    </a:cubicBezTo>
                    <a:cubicBezTo>
                      <a:pt x="653" y="185"/>
                      <a:pt x="653" y="185"/>
                      <a:pt x="653" y="185"/>
                    </a:cubicBezTo>
                    <a:cubicBezTo>
                      <a:pt x="645" y="203"/>
                      <a:pt x="645" y="203"/>
                      <a:pt x="645" y="203"/>
                    </a:cubicBezTo>
                    <a:cubicBezTo>
                      <a:pt x="645" y="203"/>
                      <a:pt x="633" y="205"/>
                      <a:pt x="623" y="208"/>
                    </a:cubicBezTo>
                    <a:cubicBezTo>
                      <a:pt x="612" y="211"/>
                      <a:pt x="613" y="229"/>
                      <a:pt x="613" y="229"/>
                    </a:cubicBezTo>
                    <a:cubicBezTo>
                      <a:pt x="613" y="229"/>
                      <a:pt x="605" y="229"/>
                      <a:pt x="596" y="236"/>
                    </a:cubicBezTo>
                    <a:cubicBezTo>
                      <a:pt x="587" y="243"/>
                      <a:pt x="595" y="267"/>
                      <a:pt x="595" y="267"/>
                    </a:cubicBezTo>
                    <a:cubicBezTo>
                      <a:pt x="595" y="267"/>
                      <a:pt x="584" y="261"/>
                      <a:pt x="573" y="259"/>
                    </a:cubicBezTo>
                    <a:cubicBezTo>
                      <a:pt x="563" y="256"/>
                      <a:pt x="580" y="243"/>
                      <a:pt x="573" y="233"/>
                    </a:cubicBezTo>
                    <a:cubicBezTo>
                      <a:pt x="567" y="224"/>
                      <a:pt x="520" y="233"/>
                      <a:pt x="509" y="228"/>
                    </a:cubicBezTo>
                    <a:cubicBezTo>
                      <a:pt x="499" y="223"/>
                      <a:pt x="497" y="199"/>
                      <a:pt x="488" y="188"/>
                    </a:cubicBezTo>
                    <a:cubicBezTo>
                      <a:pt x="479" y="177"/>
                      <a:pt x="479" y="191"/>
                      <a:pt x="469" y="188"/>
                    </a:cubicBezTo>
                    <a:cubicBezTo>
                      <a:pt x="460" y="185"/>
                      <a:pt x="467" y="137"/>
                      <a:pt x="461" y="136"/>
                    </a:cubicBezTo>
                    <a:cubicBezTo>
                      <a:pt x="456" y="135"/>
                      <a:pt x="441" y="136"/>
                      <a:pt x="441" y="136"/>
                    </a:cubicBezTo>
                    <a:cubicBezTo>
                      <a:pt x="441" y="136"/>
                      <a:pt x="411" y="93"/>
                      <a:pt x="404" y="93"/>
                    </a:cubicBezTo>
                    <a:cubicBezTo>
                      <a:pt x="397" y="93"/>
                      <a:pt x="379" y="105"/>
                      <a:pt x="379" y="105"/>
                    </a:cubicBezTo>
                    <a:cubicBezTo>
                      <a:pt x="379" y="105"/>
                      <a:pt x="341" y="101"/>
                      <a:pt x="325" y="101"/>
                    </a:cubicBezTo>
                    <a:cubicBezTo>
                      <a:pt x="309" y="101"/>
                      <a:pt x="272" y="108"/>
                      <a:pt x="272" y="108"/>
                    </a:cubicBezTo>
                    <a:cubicBezTo>
                      <a:pt x="223" y="60"/>
                      <a:pt x="223" y="60"/>
                      <a:pt x="223" y="60"/>
                    </a:cubicBezTo>
                    <a:cubicBezTo>
                      <a:pt x="177" y="38"/>
                      <a:pt x="177" y="38"/>
                      <a:pt x="177" y="38"/>
                    </a:cubicBezTo>
                    <a:cubicBezTo>
                      <a:pt x="181" y="47"/>
                      <a:pt x="186" y="56"/>
                      <a:pt x="183" y="61"/>
                    </a:cubicBezTo>
                    <a:cubicBezTo>
                      <a:pt x="178" y="70"/>
                      <a:pt x="174" y="75"/>
                      <a:pt x="174" y="75"/>
                    </a:cubicBezTo>
                    <a:cubicBezTo>
                      <a:pt x="174" y="75"/>
                      <a:pt x="162" y="76"/>
                      <a:pt x="154" y="70"/>
                    </a:cubicBezTo>
                    <a:cubicBezTo>
                      <a:pt x="146" y="64"/>
                      <a:pt x="149" y="55"/>
                      <a:pt x="149" y="55"/>
                    </a:cubicBezTo>
                    <a:cubicBezTo>
                      <a:pt x="142" y="36"/>
                      <a:pt x="142" y="36"/>
                      <a:pt x="142" y="36"/>
                    </a:cubicBezTo>
                    <a:cubicBezTo>
                      <a:pt x="145" y="23"/>
                      <a:pt x="145" y="23"/>
                      <a:pt x="145" y="23"/>
                    </a:cubicBezTo>
                    <a:cubicBezTo>
                      <a:pt x="112" y="7"/>
                      <a:pt x="112" y="7"/>
                      <a:pt x="112" y="7"/>
                    </a:cubicBezTo>
                    <a:cubicBezTo>
                      <a:pt x="106" y="20"/>
                      <a:pt x="106" y="20"/>
                      <a:pt x="106" y="20"/>
                    </a:cubicBezTo>
                    <a:cubicBezTo>
                      <a:pt x="106" y="20"/>
                      <a:pt x="119" y="28"/>
                      <a:pt x="119" y="37"/>
                    </a:cubicBezTo>
                    <a:cubicBezTo>
                      <a:pt x="119" y="46"/>
                      <a:pt x="116" y="45"/>
                      <a:pt x="116" y="45"/>
                    </a:cubicBezTo>
                    <a:cubicBezTo>
                      <a:pt x="116" y="45"/>
                      <a:pt x="117" y="55"/>
                      <a:pt x="106" y="57"/>
                    </a:cubicBezTo>
                    <a:cubicBezTo>
                      <a:pt x="95" y="59"/>
                      <a:pt x="98" y="39"/>
                      <a:pt x="92" y="37"/>
                    </a:cubicBezTo>
                    <a:cubicBezTo>
                      <a:pt x="86" y="35"/>
                      <a:pt x="99" y="21"/>
                      <a:pt x="99" y="21"/>
                    </a:cubicBezTo>
                    <a:cubicBezTo>
                      <a:pt x="103" y="3"/>
                      <a:pt x="103" y="3"/>
                      <a:pt x="103" y="3"/>
                    </a:cubicBezTo>
                    <a:cubicBezTo>
                      <a:pt x="96" y="0"/>
                      <a:pt x="96" y="0"/>
                      <a:pt x="96" y="0"/>
                    </a:cubicBezTo>
                    <a:cubicBezTo>
                      <a:pt x="0" y="31"/>
                      <a:pt x="0" y="31"/>
                      <a:pt x="0" y="31"/>
                    </a:cubicBezTo>
                    <a:cubicBezTo>
                      <a:pt x="35" y="218"/>
                      <a:pt x="35" y="218"/>
                      <a:pt x="35" y="218"/>
                    </a:cubicBezTo>
                    <a:cubicBezTo>
                      <a:pt x="36" y="218"/>
                      <a:pt x="36" y="217"/>
                      <a:pt x="37" y="217"/>
                    </a:cubicBezTo>
                    <a:cubicBezTo>
                      <a:pt x="44" y="217"/>
                      <a:pt x="48" y="224"/>
                      <a:pt x="48" y="224"/>
                    </a:cubicBezTo>
                    <a:cubicBezTo>
                      <a:pt x="92" y="224"/>
                      <a:pt x="92" y="224"/>
                      <a:pt x="92" y="224"/>
                    </a:cubicBezTo>
                    <a:cubicBezTo>
                      <a:pt x="92" y="224"/>
                      <a:pt x="77" y="208"/>
                      <a:pt x="79" y="195"/>
                    </a:cubicBezTo>
                    <a:cubicBezTo>
                      <a:pt x="80" y="181"/>
                      <a:pt x="112" y="175"/>
                      <a:pt x="112" y="175"/>
                    </a:cubicBezTo>
                    <a:cubicBezTo>
                      <a:pt x="112" y="175"/>
                      <a:pt x="112" y="164"/>
                      <a:pt x="116" y="163"/>
                    </a:cubicBezTo>
                    <a:cubicBezTo>
                      <a:pt x="120" y="161"/>
                      <a:pt x="139" y="169"/>
                      <a:pt x="139" y="169"/>
                    </a:cubicBezTo>
                    <a:cubicBezTo>
                      <a:pt x="119" y="151"/>
                      <a:pt x="119" y="151"/>
                      <a:pt x="119" y="151"/>
                    </a:cubicBezTo>
                    <a:cubicBezTo>
                      <a:pt x="139" y="152"/>
                      <a:pt x="139" y="152"/>
                      <a:pt x="139" y="152"/>
                    </a:cubicBezTo>
                    <a:cubicBezTo>
                      <a:pt x="143" y="145"/>
                      <a:pt x="143" y="145"/>
                      <a:pt x="143" y="145"/>
                    </a:cubicBezTo>
                    <a:cubicBezTo>
                      <a:pt x="155" y="161"/>
                      <a:pt x="155" y="161"/>
                      <a:pt x="155" y="161"/>
                    </a:cubicBezTo>
                    <a:cubicBezTo>
                      <a:pt x="171" y="160"/>
                      <a:pt x="171" y="160"/>
                      <a:pt x="171" y="160"/>
                    </a:cubicBezTo>
                    <a:cubicBezTo>
                      <a:pt x="169" y="168"/>
                      <a:pt x="169" y="168"/>
                      <a:pt x="169" y="168"/>
                    </a:cubicBezTo>
                    <a:cubicBezTo>
                      <a:pt x="179" y="172"/>
                      <a:pt x="179" y="172"/>
                      <a:pt x="179" y="172"/>
                    </a:cubicBezTo>
                    <a:cubicBezTo>
                      <a:pt x="179" y="172"/>
                      <a:pt x="192" y="169"/>
                      <a:pt x="201" y="173"/>
                    </a:cubicBezTo>
                    <a:cubicBezTo>
                      <a:pt x="211" y="177"/>
                      <a:pt x="209" y="192"/>
                      <a:pt x="209" y="192"/>
                    </a:cubicBezTo>
                    <a:cubicBezTo>
                      <a:pt x="219" y="197"/>
                      <a:pt x="219" y="197"/>
                      <a:pt x="219" y="197"/>
                    </a:cubicBezTo>
                    <a:cubicBezTo>
                      <a:pt x="219" y="197"/>
                      <a:pt x="207" y="209"/>
                      <a:pt x="212" y="219"/>
                    </a:cubicBezTo>
                    <a:cubicBezTo>
                      <a:pt x="217" y="228"/>
                      <a:pt x="243" y="227"/>
                      <a:pt x="243" y="227"/>
                    </a:cubicBezTo>
                    <a:cubicBezTo>
                      <a:pt x="279" y="231"/>
                      <a:pt x="279" y="231"/>
                      <a:pt x="279" y="231"/>
                    </a:cubicBezTo>
                    <a:cubicBezTo>
                      <a:pt x="279" y="225"/>
                      <a:pt x="279" y="225"/>
                      <a:pt x="279" y="225"/>
                    </a:cubicBezTo>
                    <a:cubicBezTo>
                      <a:pt x="303" y="237"/>
                      <a:pt x="303" y="237"/>
                      <a:pt x="303" y="237"/>
                    </a:cubicBezTo>
                    <a:cubicBezTo>
                      <a:pt x="312" y="256"/>
                      <a:pt x="312" y="256"/>
                      <a:pt x="312" y="256"/>
                    </a:cubicBezTo>
                    <a:cubicBezTo>
                      <a:pt x="325" y="271"/>
                      <a:pt x="325" y="271"/>
                      <a:pt x="325" y="271"/>
                    </a:cubicBezTo>
                    <a:cubicBezTo>
                      <a:pt x="325" y="271"/>
                      <a:pt x="333" y="283"/>
                      <a:pt x="336" y="293"/>
                    </a:cubicBezTo>
                    <a:cubicBezTo>
                      <a:pt x="339" y="304"/>
                      <a:pt x="351" y="309"/>
                      <a:pt x="357" y="312"/>
                    </a:cubicBezTo>
                    <a:cubicBezTo>
                      <a:pt x="364" y="315"/>
                      <a:pt x="377" y="317"/>
                      <a:pt x="381" y="319"/>
                    </a:cubicBezTo>
                    <a:cubicBezTo>
                      <a:pt x="385" y="320"/>
                      <a:pt x="397" y="336"/>
                      <a:pt x="397" y="336"/>
                    </a:cubicBezTo>
                    <a:cubicBezTo>
                      <a:pt x="417" y="348"/>
                      <a:pt x="417" y="348"/>
                      <a:pt x="417" y="348"/>
                    </a:cubicBezTo>
                    <a:cubicBezTo>
                      <a:pt x="435" y="349"/>
                      <a:pt x="435" y="349"/>
                      <a:pt x="435" y="349"/>
                    </a:cubicBezTo>
                    <a:cubicBezTo>
                      <a:pt x="444" y="357"/>
                      <a:pt x="444" y="357"/>
                      <a:pt x="444" y="357"/>
                    </a:cubicBezTo>
                    <a:cubicBezTo>
                      <a:pt x="455" y="360"/>
                      <a:pt x="455" y="360"/>
                      <a:pt x="455" y="360"/>
                    </a:cubicBezTo>
                    <a:cubicBezTo>
                      <a:pt x="455" y="360"/>
                      <a:pt x="469" y="371"/>
                      <a:pt x="476" y="376"/>
                    </a:cubicBezTo>
                    <a:cubicBezTo>
                      <a:pt x="483" y="381"/>
                      <a:pt x="501" y="389"/>
                      <a:pt x="501" y="389"/>
                    </a:cubicBezTo>
                    <a:cubicBezTo>
                      <a:pt x="516" y="387"/>
                      <a:pt x="516" y="387"/>
                      <a:pt x="516" y="387"/>
                    </a:cubicBezTo>
                    <a:cubicBezTo>
                      <a:pt x="549" y="405"/>
                      <a:pt x="549" y="405"/>
                      <a:pt x="549" y="405"/>
                    </a:cubicBezTo>
                    <a:cubicBezTo>
                      <a:pt x="549" y="405"/>
                      <a:pt x="537" y="417"/>
                      <a:pt x="548" y="425"/>
                    </a:cubicBezTo>
                    <a:cubicBezTo>
                      <a:pt x="554" y="430"/>
                      <a:pt x="555" y="434"/>
                      <a:pt x="555" y="437"/>
                    </a:cubicBezTo>
                    <a:cubicBezTo>
                      <a:pt x="563" y="437"/>
                      <a:pt x="563" y="437"/>
                      <a:pt x="563" y="437"/>
                    </a:cubicBezTo>
                    <a:cubicBezTo>
                      <a:pt x="571" y="431"/>
                      <a:pt x="571" y="431"/>
                      <a:pt x="571" y="431"/>
                    </a:cubicBezTo>
                    <a:cubicBezTo>
                      <a:pt x="580" y="445"/>
                      <a:pt x="580" y="445"/>
                      <a:pt x="580" y="445"/>
                    </a:cubicBezTo>
                    <a:cubicBezTo>
                      <a:pt x="591" y="440"/>
                      <a:pt x="591" y="440"/>
                      <a:pt x="591" y="440"/>
                    </a:cubicBezTo>
                    <a:cubicBezTo>
                      <a:pt x="596" y="440"/>
                      <a:pt x="596" y="440"/>
                      <a:pt x="596" y="440"/>
                    </a:cubicBezTo>
                    <a:cubicBezTo>
                      <a:pt x="596" y="440"/>
                      <a:pt x="600" y="443"/>
                      <a:pt x="605" y="447"/>
                    </a:cubicBezTo>
                    <a:cubicBezTo>
                      <a:pt x="604" y="446"/>
                      <a:pt x="603" y="446"/>
                      <a:pt x="603" y="445"/>
                    </a:cubicBezTo>
                    <a:cubicBezTo>
                      <a:pt x="602" y="439"/>
                      <a:pt x="601" y="430"/>
                      <a:pt x="605" y="426"/>
                    </a:cubicBezTo>
                    <a:cubicBezTo>
                      <a:pt x="612" y="418"/>
                      <a:pt x="622" y="408"/>
                      <a:pt x="622" y="397"/>
                    </a:cubicBezTo>
                    <a:cubicBezTo>
                      <a:pt x="622" y="386"/>
                      <a:pt x="609" y="387"/>
                      <a:pt x="603" y="377"/>
                    </a:cubicBezTo>
                    <a:cubicBezTo>
                      <a:pt x="597" y="367"/>
                      <a:pt x="608" y="358"/>
                      <a:pt x="603" y="353"/>
                    </a:cubicBezTo>
                    <a:cubicBezTo>
                      <a:pt x="598" y="348"/>
                      <a:pt x="582" y="347"/>
                      <a:pt x="582" y="347"/>
                    </a:cubicBezTo>
                    <a:cubicBezTo>
                      <a:pt x="575" y="339"/>
                      <a:pt x="575" y="339"/>
                      <a:pt x="575" y="339"/>
                    </a:cubicBezTo>
                    <a:cubicBezTo>
                      <a:pt x="561" y="336"/>
                      <a:pt x="561" y="336"/>
                      <a:pt x="561" y="336"/>
                    </a:cubicBezTo>
                    <a:cubicBezTo>
                      <a:pt x="561" y="336"/>
                      <a:pt x="561" y="326"/>
                      <a:pt x="567" y="321"/>
                    </a:cubicBezTo>
                    <a:cubicBezTo>
                      <a:pt x="573" y="316"/>
                      <a:pt x="592" y="328"/>
                      <a:pt x="607" y="319"/>
                    </a:cubicBezTo>
                    <a:cubicBezTo>
                      <a:pt x="622" y="310"/>
                      <a:pt x="610" y="305"/>
                      <a:pt x="610" y="305"/>
                    </a:cubicBezTo>
                    <a:cubicBezTo>
                      <a:pt x="620" y="296"/>
                      <a:pt x="620" y="296"/>
                      <a:pt x="620" y="296"/>
                    </a:cubicBezTo>
                    <a:cubicBezTo>
                      <a:pt x="607" y="282"/>
                      <a:pt x="607" y="282"/>
                      <a:pt x="607" y="282"/>
                    </a:cubicBezTo>
                    <a:cubicBezTo>
                      <a:pt x="607" y="282"/>
                      <a:pt x="626" y="287"/>
                      <a:pt x="632" y="281"/>
                    </a:cubicBezTo>
                    <a:cubicBezTo>
                      <a:pt x="638" y="275"/>
                      <a:pt x="625" y="268"/>
                      <a:pt x="626" y="264"/>
                    </a:cubicBezTo>
                    <a:cubicBezTo>
                      <a:pt x="627" y="260"/>
                      <a:pt x="629" y="251"/>
                      <a:pt x="635" y="251"/>
                    </a:cubicBezTo>
                    <a:cubicBezTo>
                      <a:pt x="641" y="251"/>
                      <a:pt x="644" y="265"/>
                      <a:pt x="652" y="260"/>
                    </a:cubicBezTo>
                    <a:cubicBezTo>
                      <a:pt x="660" y="255"/>
                      <a:pt x="671" y="243"/>
                      <a:pt x="675" y="241"/>
                    </a:cubicBezTo>
                    <a:cubicBezTo>
                      <a:pt x="679" y="239"/>
                      <a:pt x="694" y="251"/>
                      <a:pt x="694" y="251"/>
                    </a:cubicBezTo>
                    <a:cubicBezTo>
                      <a:pt x="678" y="272"/>
                      <a:pt x="678" y="272"/>
                      <a:pt x="678" y="272"/>
                    </a:cubicBezTo>
                    <a:cubicBezTo>
                      <a:pt x="678" y="272"/>
                      <a:pt x="698" y="278"/>
                      <a:pt x="701" y="283"/>
                    </a:cubicBezTo>
                    <a:cubicBezTo>
                      <a:pt x="708" y="280"/>
                      <a:pt x="717" y="277"/>
                      <a:pt x="721" y="276"/>
                    </a:cubicBezTo>
                    <a:cubicBezTo>
                      <a:pt x="728" y="274"/>
                      <a:pt x="732" y="290"/>
                      <a:pt x="741" y="286"/>
                    </a:cubicBezTo>
                    <a:cubicBezTo>
                      <a:pt x="750" y="282"/>
                      <a:pt x="752" y="273"/>
                      <a:pt x="752" y="273"/>
                    </a:cubicBezTo>
                    <a:cubicBezTo>
                      <a:pt x="766" y="271"/>
                      <a:pt x="766" y="271"/>
                      <a:pt x="766" y="271"/>
                    </a:cubicBezTo>
                    <a:cubicBezTo>
                      <a:pt x="766" y="265"/>
                      <a:pt x="766" y="265"/>
                      <a:pt x="766" y="265"/>
                    </a:cubicBezTo>
                    <a:cubicBezTo>
                      <a:pt x="766" y="265"/>
                      <a:pt x="778" y="266"/>
                      <a:pt x="788" y="254"/>
                    </a:cubicBezTo>
                    <a:cubicBezTo>
                      <a:pt x="798" y="242"/>
                      <a:pt x="769" y="248"/>
                      <a:pt x="769" y="248"/>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97" name="Freeform 219">
                <a:extLst>
                  <a:ext uri="{FF2B5EF4-FFF2-40B4-BE49-F238E27FC236}">
                    <a16:creationId xmlns:a16="http://schemas.microsoft.com/office/drawing/2014/main" id="{80FC77CF-44F0-4F46-9101-7799EA6CCA49}"/>
                  </a:ext>
                </a:extLst>
              </p:cNvPr>
              <p:cNvSpPr>
                <a:spLocks noEditPoints="1"/>
              </p:cNvSpPr>
              <p:nvPr>
                <p:custDataLst>
                  <p:tags r:id="rId178"/>
                </p:custDataLst>
              </p:nvPr>
            </p:nvSpPr>
            <p:spPr bwMode="gray">
              <a:xfrm>
                <a:off x="5686393" y="2746385"/>
                <a:ext cx="1008057" cy="430215"/>
              </a:xfrm>
              <a:custGeom>
                <a:avLst/>
                <a:gdLst>
                  <a:gd name="T0" fmla="*/ 545 w 1673"/>
                  <a:gd name="T1" fmla="*/ 518 h 778"/>
                  <a:gd name="T2" fmla="*/ 1655 w 1673"/>
                  <a:gd name="T3" fmla="*/ 327 h 778"/>
                  <a:gd name="T4" fmla="*/ 1625 w 1673"/>
                  <a:gd name="T5" fmla="*/ 304 h 778"/>
                  <a:gd name="T6" fmla="*/ 1481 w 1673"/>
                  <a:gd name="T7" fmla="*/ 226 h 778"/>
                  <a:gd name="T8" fmla="*/ 1372 w 1673"/>
                  <a:gd name="T9" fmla="*/ 207 h 778"/>
                  <a:gd name="T10" fmla="*/ 1126 w 1673"/>
                  <a:gd name="T11" fmla="*/ 70 h 778"/>
                  <a:gd name="T12" fmla="*/ 1085 w 1673"/>
                  <a:gd name="T13" fmla="*/ 76 h 778"/>
                  <a:gd name="T14" fmla="*/ 1016 w 1673"/>
                  <a:gd name="T15" fmla="*/ 98 h 778"/>
                  <a:gd name="T16" fmla="*/ 972 w 1673"/>
                  <a:gd name="T17" fmla="*/ 71 h 778"/>
                  <a:gd name="T18" fmla="*/ 909 w 1673"/>
                  <a:gd name="T19" fmla="*/ 36 h 778"/>
                  <a:gd name="T20" fmla="*/ 812 w 1673"/>
                  <a:gd name="T21" fmla="*/ 2 h 778"/>
                  <a:gd name="T22" fmla="*/ 674 w 1673"/>
                  <a:gd name="T23" fmla="*/ 52 h 778"/>
                  <a:gd name="T24" fmla="*/ 521 w 1673"/>
                  <a:gd name="T25" fmla="*/ 95 h 778"/>
                  <a:gd name="T26" fmla="*/ 534 w 1673"/>
                  <a:gd name="T27" fmla="*/ 123 h 778"/>
                  <a:gd name="T28" fmla="*/ 528 w 1673"/>
                  <a:gd name="T29" fmla="*/ 190 h 778"/>
                  <a:gd name="T30" fmla="*/ 486 w 1673"/>
                  <a:gd name="T31" fmla="*/ 244 h 778"/>
                  <a:gd name="T32" fmla="*/ 356 w 1673"/>
                  <a:gd name="T33" fmla="*/ 247 h 778"/>
                  <a:gd name="T34" fmla="*/ 282 w 1673"/>
                  <a:gd name="T35" fmla="*/ 216 h 778"/>
                  <a:gd name="T36" fmla="*/ 197 w 1673"/>
                  <a:gd name="T37" fmla="*/ 187 h 778"/>
                  <a:gd name="T38" fmla="*/ 86 w 1673"/>
                  <a:gd name="T39" fmla="*/ 224 h 778"/>
                  <a:gd name="T40" fmla="*/ 17 w 1673"/>
                  <a:gd name="T41" fmla="*/ 251 h 778"/>
                  <a:gd name="T42" fmla="*/ 8 w 1673"/>
                  <a:gd name="T43" fmla="*/ 322 h 778"/>
                  <a:gd name="T44" fmla="*/ 73 w 1673"/>
                  <a:gd name="T45" fmla="*/ 394 h 778"/>
                  <a:gd name="T46" fmla="*/ 136 w 1673"/>
                  <a:gd name="T47" fmla="*/ 460 h 778"/>
                  <a:gd name="T48" fmla="*/ 289 w 1673"/>
                  <a:gd name="T49" fmla="*/ 455 h 778"/>
                  <a:gd name="T50" fmla="*/ 352 w 1673"/>
                  <a:gd name="T51" fmla="*/ 524 h 778"/>
                  <a:gd name="T52" fmla="*/ 338 w 1673"/>
                  <a:gd name="T53" fmla="*/ 531 h 778"/>
                  <a:gd name="T54" fmla="*/ 218 w 1673"/>
                  <a:gd name="T55" fmla="*/ 544 h 778"/>
                  <a:gd name="T56" fmla="*/ 228 w 1673"/>
                  <a:gd name="T57" fmla="*/ 598 h 778"/>
                  <a:gd name="T58" fmla="*/ 274 w 1673"/>
                  <a:gd name="T59" fmla="*/ 654 h 778"/>
                  <a:gd name="T60" fmla="*/ 328 w 1673"/>
                  <a:gd name="T61" fmla="*/ 709 h 778"/>
                  <a:gd name="T62" fmla="*/ 408 w 1673"/>
                  <a:gd name="T63" fmla="*/ 690 h 778"/>
                  <a:gd name="T64" fmla="*/ 468 w 1673"/>
                  <a:gd name="T65" fmla="*/ 729 h 778"/>
                  <a:gd name="T66" fmla="*/ 536 w 1673"/>
                  <a:gd name="T67" fmla="*/ 513 h 778"/>
                  <a:gd name="T68" fmla="*/ 582 w 1673"/>
                  <a:gd name="T69" fmla="*/ 492 h 778"/>
                  <a:gd name="T70" fmla="*/ 604 w 1673"/>
                  <a:gd name="T71" fmla="*/ 479 h 778"/>
                  <a:gd name="T72" fmla="*/ 584 w 1673"/>
                  <a:gd name="T73" fmla="*/ 460 h 778"/>
                  <a:gd name="T74" fmla="*/ 636 w 1673"/>
                  <a:gd name="T75" fmla="*/ 455 h 778"/>
                  <a:gd name="T76" fmla="*/ 590 w 1673"/>
                  <a:gd name="T77" fmla="*/ 493 h 778"/>
                  <a:gd name="T78" fmla="*/ 610 w 1673"/>
                  <a:gd name="T79" fmla="*/ 549 h 778"/>
                  <a:gd name="T80" fmla="*/ 812 w 1673"/>
                  <a:gd name="T81" fmla="*/ 616 h 778"/>
                  <a:gd name="T82" fmla="*/ 902 w 1673"/>
                  <a:gd name="T83" fmla="*/ 699 h 778"/>
                  <a:gd name="T84" fmla="*/ 1006 w 1673"/>
                  <a:gd name="T85" fmla="*/ 770 h 778"/>
                  <a:gd name="T86" fmla="*/ 1056 w 1673"/>
                  <a:gd name="T87" fmla="*/ 719 h 778"/>
                  <a:gd name="T88" fmla="*/ 1123 w 1673"/>
                  <a:gd name="T89" fmla="*/ 686 h 778"/>
                  <a:gd name="T90" fmla="*/ 1208 w 1673"/>
                  <a:gd name="T91" fmla="*/ 672 h 778"/>
                  <a:gd name="T92" fmla="*/ 1264 w 1673"/>
                  <a:gd name="T93" fmla="*/ 647 h 778"/>
                  <a:gd name="T94" fmla="*/ 1402 w 1673"/>
                  <a:gd name="T95" fmla="*/ 651 h 778"/>
                  <a:gd name="T96" fmla="*/ 1471 w 1673"/>
                  <a:gd name="T97" fmla="*/ 676 h 778"/>
                  <a:gd name="T98" fmla="*/ 1503 w 1673"/>
                  <a:gd name="T99" fmla="*/ 659 h 778"/>
                  <a:gd name="T100" fmla="*/ 1484 w 1673"/>
                  <a:gd name="T101" fmla="*/ 587 h 778"/>
                  <a:gd name="T102" fmla="*/ 1516 w 1673"/>
                  <a:gd name="T103" fmla="*/ 518 h 778"/>
                  <a:gd name="T104" fmla="*/ 1541 w 1673"/>
                  <a:gd name="T105" fmla="*/ 513 h 778"/>
                  <a:gd name="T106" fmla="*/ 1614 w 1673"/>
                  <a:gd name="T107" fmla="*/ 434 h 778"/>
                  <a:gd name="T108" fmla="*/ 1641 w 1673"/>
                  <a:gd name="T109" fmla="*/ 397 h 778"/>
                  <a:gd name="T110" fmla="*/ 1385 w 1673"/>
                  <a:gd name="T111" fmla="*/ 465 h 778"/>
                  <a:gd name="T112" fmla="*/ 1320 w 1673"/>
                  <a:gd name="T113" fmla="*/ 467 h 778"/>
                  <a:gd name="T114" fmla="*/ 1246 w 1673"/>
                  <a:gd name="T115" fmla="*/ 460 h 778"/>
                  <a:gd name="T116" fmla="*/ 1195 w 1673"/>
                  <a:gd name="T117" fmla="*/ 489 h 778"/>
                  <a:gd name="T118" fmla="*/ 1200 w 1673"/>
                  <a:gd name="T119" fmla="*/ 542 h 778"/>
                  <a:gd name="T120" fmla="*/ 1193 w 1673"/>
                  <a:gd name="T121" fmla="*/ 448 h 778"/>
                  <a:gd name="T122" fmla="*/ 1306 w 1673"/>
                  <a:gd name="T123" fmla="*/ 458 h 778"/>
                  <a:gd name="T124" fmla="*/ 1385 w 1673"/>
                  <a:gd name="T125" fmla="*/ 465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73" h="778">
                    <a:moveTo>
                      <a:pt x="565" y="505"/>
                    </a:moveTo>
                    <a:cubicBezTo>
                      <a:pt x="558" y="500"/>
                      <a:pt x="557" y="497"/>
                      <a:pt x="557" y="497"/>
                    </a:cubicBezTo>
                    <a:cubicBezTo>
                      <a:pt x="548" y="511"/>
                      <a:pt x="548" y="511"/>
                      <a:pt x="548" y="511"/>
                    </a:cubicBezTo>
                    <a:cubicBezTo>
                      <a:pt x="545" y="518"/>
                      <a:pt x="545" y="518"/>
                      <a:pt x="545" y="518"/>
                    </a:cubicBezTo>
                    <a:cubicBezTo>
                      <a:pt x="578" y="534"/>
                      <a:pt x="578" y="534"/>
                      <a:pt x="578" y="534"/>
                    </a:cubicBezTo>
                    <a:cubicBezTo>
                      <a:pt x="580" y="525"/>
                      <a:pt x="580" y="525"/>
                      <a:pt x="580" y="525"/>
                    </a:cubicBezTo>
                    <a:cubicBezTo>
                      <a:pt x="580" y="525"/>
                      <a:pt x="572" y="510"/>
                      <a:pt x="565" y="505"/>
                    </a:cubicBezTo>
                    <a:close/>
                    <a:moveTo>
                      <a:pt x="1655" y="327"/>
                    </a:moveTo>
                    <a:cubicBezTo>
                      <a:pt x="1656" y="321"/>
                      <a:pt x="1666" y="322"/>
                      <a:pt x="1673" y="324"/>
                    </a:cubicBezTo>
                    <a:cubicBezTo>
                      <a:pt x="1649" y="298"/>
                      <a:pt x="1649" y="298"/>
                      <a:pt x="1649" y="298"/>
                    </a:cubicBezTo>
                    <a:cubicBezTo>
                      <a:pt x="1636" y="282"/>
                      <a:pt x="1636" y="282"/>
                      <a:pt x="1636" y="282"/>
                    </a:cubicBezTo>
                    <a:cubicBezTo>
                      <a:pt x="1625" y="304"/>
                      <a:pt x="1625" y="304"/>
                      <a:pt x="1625" y="304"/>
                    </a:cubicBezTo>
                    <a:cubicBezTo>
                      <a:pt x="1578" y="300"/>
                      <a:pt x="1578" y="300"/>
                      <a:pt x="1578" y="300"/>
                    </a:cubicBezTo>
                    <a:cubicBezTo>
                      <a:pt x="1578" y="300"/>
                      <a:pt x="1562" y="272"/>
                      <a:pt x="1561" y="268"/>
                    </a:cubicBezTo>
                    <a:cubicBezTo>
                      <a:pt x="1560" y="264"/>
                      <a:pt x="1525" y="259"/>
                      <a:pt x="1525" y="259"/>
                    </a:cubicBezTo>
                    <a:cubicBezTo>
                      <a:pt x="1525" y="259"/>
                      <a:pt x="1504" y="230"/>
                      <a:pt x="1481" y="226"/>
                    </a:cubicBezTo>
                    <a:cubicBezTo>
                      <a:pt x="1458" y="222"/>
                      <a:pt x="1442" y="243"/>
                      <a:pt x="1430" y="244"/>
                    </a:cubicBezTo>
                    <a:cubicBezTo>
                      <a:pt x="1418" y="246"/>
                      <a:pt x="1404" y="230"/>
                      <a:pt x="1404" y="230"/>
                    </a:cubicBezTo>
                    <a:cubicBezTo>
                      <a:pt x="1404" y="230"/>
                      <a:pt x="1386" y="228"/>
                      <a:pt x="1382" y="227"/>
                    </a:cubicBezTo>
                    <a:cubicBezTo>
                      <a:pt x="1378" y="226"/>
                      <a:pt x="1382" y="210"/>
                      <a:pt x="1372" y="207"/>
                    </a:cubicBezTo>
                    <a:cubicBezTo>
                      <a:pt x="1361" y="204"/>
                      <a:pt x="1365" y="234"/>
                      <a:pt x="1348" y="236"/>
                    </a:cubicBezTo>
                    <a:cubicBezTo>
                      <a:pt x="1330" y="239"/>
                      <a:pt x="1306" y="200"/>
                      <a:pt x="1292" y="187"/>
                    </a:cubicBezTo>
                    <a:cubicBezTo>
                      <a:pt x="1277" y="174"/>
                      <a:pt x="1205" y="107"/>
                      <a:pt x="1200" y="104"/>
                    </a:cubicBezTo>
                    <a:cubicBezTo>
                      <a:pt x="1194" y="102"/>
                      <a:pt x="1126" y="70"/>
                      <a:pt x="1126" y="70"/>
                    </a:cubicBezTo>
                    <a:cubicBezTo>
                      <a:pt x="1126" y="70"/>
                      <a:pt x="1146" y="58"/>
                      <a:pt x="1138" y="47"/>
                    </a:cubicBezTo>
                    <a:cubicBezTo>
                      <a:pt x="1130" y="36"/>
                      <a:pt x="1118" y="58"/>
                      <a:pt x="1118" y="58"/>
                    </a:cubicBezTo>
                    <a:cubicBezTo>
                      <a:pt x="1094" y="66"/>
                      <a:pt x="1094" y="66"/>
                      <a:pt x="1094" y="66"/>
                    </a:cubicBezTo>
                    <a:cubicBezTo>
                      <a:pt x="1085" y="76"/>
                      <a:pt x="1085" y="76"/>
                      <a:pt x="1085" y="76"/>
                    </a:cubicBezTo>
                    <a:cubicBezTo>
                      <a:pt x="1085" y="76"/>
                      <a:pt x="1077" y="78"/>
                      <a:pt x="1070" y="82"/>
                    </a:cubicBezTo>
                    <a:cubicBezTo>
                      <a:pt x="1064" y="86"/>
                      <a:pt x="1072" y="94"/>
                      <a:pt x="1064" y="100"/>
                    </a:cubicBezTo>
                    <a:cubicBezTo>
                      <a:pt x="1056" y="107"/>
                      <a:pt x="1041" y="91"/>
                      <a:pt x="1034" y="88"/>
                    </a:cubicBezTo>
                    <a:cubicBezTo>
                      <a:pt x="1028" y="86"/>
                      <a:pt x="1026" y="99"/>
                      <a:pt x="1016" y="98"/>
                    </a:cubicBezTo>
                    <a:cubicBezTo>
                      <a:pt x="1005" y="96"/>
                      <a:pt x="1026" y="80"/>
                      <a:pt x="1017" y="71"/>
                    </a:cubicBezTo>
                    <a:cubicBezTo>
                      <a:pt x="1008" y="62"/>
                      <a:pt x="1002" y="74"/>
                      <a:pt x="1002" y="74"/>
                    </a:cubicBezTo>
                    <a:cubicBezTo>
                      <a:pt x="985" y="63"/>
                      <a:pt x="985" y="63"/>
                      <a:pt x="985" y="63"/>
                    </a:cubicBezTo>
                    <a:cubicBezTo>
                      <a:pt x="972" y="71"/>
                      <a:pt x="972" y="71"/>
                      <a:pt x="972" y="71"/>
                    </a:cubicBezTo>
                    <a:cubicBezTo>
                      <a:pt x="953" y="50"/>
                      <a:pt x="953" y="50"/>
                      <a:pt x="953" y="50"/>
                    </a:cubicBezTo>
                    <a:cubicBezTo>
                      <a:pt x="946" y="60"/>
                      <a:pt x="946" y="60"/>
                      <a:pt x="946" y="60"/>
                    </a:cubicBezTo>
                    <a:cubicBezTo>
                      <a:pt x="946" y="60"/>
                      <a:pt x="918" y="64"/>
                      <a:pt x="913" y="64"/>
                    </a:cubicBezTo>
                    <a:cubicBezTo>
                      <a:pt x="908" y="64"/>
                      <a:pt x="909" y="43"/>
                      <a:pt x="909" y="36"/>
                    </a:cubicBezTo>
                    <a:cubicBezTo>
                      <a:pt x="909" y="30"/>
                      <a:pt x="897" y="30"/>
                      <a:pt x="897" y="30"/>
                    </a:cubicBezTo>
                    <a:cubicBezTo>
                      <a:pt x="897" y="30"/>
                      <a:pt x="892" y="12"/>
                      <a:pt x="884" y="7"/>
                    </a:cubicBezTo>
                    <a:cubicBezTo>
                      <a:pt x="876" y="2"/>
                      <a:pt x="869" y="11"/>
                      <a:pt x="864" y="11"/>
                    </a:cubicBezTo>
                    <a:cubicBezTo>
                      <a:pt x="858" y="11"/>
                      <a:pt x="845" y="0"/>
                      <a:pt x="812" y="2"/>
                    </a:cubicBezTo>
                    <a:cubicBezTo>
                      <a:pt x="778" y="3"/>
                      <a:pt x="781" y="23"/>
                      <a:pt x="781" y="23"/>
                    </a:cubicBezTo>
                    <a:cubicBezTo>
                      <a:pt x="781" y="23"/>
                      <a:pt x="761" y="30"/>
                      <a:pt x="740" y="35"/>
                    </a:cubicBezTo>
                    <a:cubicBezTo>
                      <a:pt x="718" y="40"/>
                      <a:pt x="690" y="36"/>
                      <a:pt x="682" y="36"/>
                    </a:cubicBezTo>
                    <a:cubicBezTo>
                      <a:pt x="674" y="36"/>
                      <a:pt x="674" y="52"/>
                      <a:pt x="674" y="52"/>
                    </a:cubicBezTo>
                    <a:cubicBezTo>
                      <a:pt x="632" y="52"/>
                      <a:pt x="632" y="52"/>
                      <a:pt x="632" y="52"/>
                    </a:cubicBezTo>
                    <a:cubicBezTo>
                      <a:pt x="628" y="64"/>
                      <a:pt x="628" y="64"/>
                      <a:pt x="628" y="64"/>
                    </a:cubicBezTo>
                    <a:cubicBezTo>
                      <a:pt x="628" y="64"/>
                      <a:pt x="596" y="63"/>
                      <a:pt x="550" y="70"/>
                    </a:cubicBezTo>
                    <a:cubicBezTo>
                      <a:pt x="505" y="76"/>
                      <a:pt x="521" y="95"/>
                      <a:pt x="521" y="95"/>
                    </a:cubicBezTo>
                    <a:cubicBezTo>
                      <a:pt x="540" y="96"/>
                      <a:pt x="540" y="96"/>
                      <a:pt x="540" y="96"/>
                    </a:cubicBezTo>
                    <a:cubicBezTo>
                      <a:pt x="529" y="108"/>
                      <a:pt x="529" y="108"/>
                      <a:pt x="529" y="108"/>
                    </a:cubicBezTo>
                    <a:cubicBezTo>
                      <a:pt x="529" y="108"/>
                      <a:pt x="572" y="116"/>
                      <a:pt x="572" y="123"/>
                    </a:cubicBezTo>
                    <a:cubicBezTo>
                      <a:pt x="572" y="130"/>
                      <a:pt x="534" y="123"/>
                      <a:pt x="534" y="123"/>
                    </a:cubicBezTo>
                    <a:cubicBezTo>
                      <a:pt x="528" y="134"/>
                      <a:pt x="528" y="134"/>
                      <a:pt x="528" y="134"/>
                    </a:cubicBezTo>
                    <a:cubicBezTo>
                      <a:pt x="528" y="134"/>
                      <a:pt x="541" y="151"/>
                      <a:pt x="540" y="158"/>
                    </a:cubicBezTo>
                    <a:cubicBezTo>
                      <a:pt x="538" y="164"/>
                      <a:pt x="505" y="170"/>
                      <a:pt x="505" y="170"/>
                    </a:cubicBezTo>
                    <a:cubicBezTo>
                      <a:pt x="528" y="190"/>
                      <a:pt x="528" y="190"/>
                      <a:pt x="528" y="190"/>
                    </a:cubicBezTo>
                    <a:cubicBezTo>
                      <a:pt x="528" y="190"/>
                      <a:pt x="578" y="187"/>
                      <a:pt x="582" y="226"/>
                    </a:cubicBezTo>
                    <a:cubicBezTo>
                      <a:pt x="586" y="264"/>
                      <a:pt x="526" y="234"/>
                      <a:pt x="526" y="234"/>
                    </a:cubicBezTo>
                    <a:cubicBezTo>
                      <a:pt x="520" y="250"/>
                      <a:pt x="520" y="250"/>
                      <a:pt x="520" y="250"/>
                    </a:cubicBezTo>
                    <a:cubicBezTo>
                      <a:pt x="520" y="250"/>
                      <a:pt x="497" y="246"/>
                      <a:pt x="486" y="244"/>
                    </a:cubicBezTo>
                    <a:cubicBezTo>
                      <a:pt x="476" y="243"/>
                      <a:pt x="464" y="222"/>
                      <a:pt x="456" y="220"/>
                    </a:cubicBezTo>
                    <a:cubicBezTo>
                      <a:pt x="448" y="219"/>
                      <a:pt x="437" y="228"/>
                      <a:pt x="421" y="232"/>
                    </a:cubicBezTo>
                    <a:cubicBezTo>
                      <a:pt x="405" y="236"/>
                      <a:pt x="394" y="220"/>
                      <a:pt x="385" y="222"/>
                    </a:cubicBezTo>
                    <a:cubicBezTo>
                      <a:pt x="376" y="223"/>
                      <a:pt x="358" y="243"/>
                      <a:pt x="356" y="247"/>
                    </a:cubicBezTo>
                    <a:cubicBezTo>
                      <a:pt x="353" y="251"/>
                      <a:pt x="312" y="220"/>
                      <a:pt x="301" y="223"/>
                    </a:cubicBezTo>
                    <a:cubicBezTo>
                      <a:pt x="290" y="226"/>
                      <a:pt x="313" y="243"/>
                      <a:pt x="305" y="250"/>
                    </a:cubicBezTo>
                    <a:cubicBezTo>
                      <a:pt x="297" y="256"/>
                      <a:pt x="289" y="236"/>
                      <a:pt x="289" y="236"/>
                    </a:cubicBezTo>
                    <a:cubicBezTo>
                      <a:pt x="282" y="216"/>
                      <a:pt x="282" y="216"/>
                      <a:pt x="282" y="216"/>
                    </a:cubicBezTo>
                    <a:cubicBezTo>
                      <a:pt x="258" y="218"/>
                      <a:pt x="258" y="218"/>
                      <a:pt x="258" y="218"/>
                    </a:cubicBezTo>
                    <a:cubicBezTo>
                      <a:pt x="258" y="218"/>
                      <a:pt x="256" y="206"/>
                      <a:pt x="252" y="202"/>
                    </a:cubicBezTo>
                    <a:cubicBezTo>
                      <a:pt x="248" y="198"/>
                      <a:pt x="224" y="203"/>
                      <a:pt x="214" y="202"/>
                    </a:cubicBezTo>
                    <a:cubicBezTo>
                      <a:pt x="205" y="200"/>
                      <a:pt x="204" y="187"/>
                      <a:pt x="197" y="187"/>
                    </a:cubicBezTo>
                    <a:cubicBezTo>
                      <a:pt x="190" y="187"/>
                      <a:pt x="177" y="200"/>
                      <a:pt x="161" y="200"/>
                    </a:cubicBezTo>
                    <a:cubicBezTo>
                      <a:pt x="145" y="200"/>
                      <a:pt x="153" y="187"/>
                      <a:pt x="130" y="188"/>
                    </a:cubicBezTo>
                    <a:cubicBezTo>
                      <a:pt x="108" y="190"/>
                      <a:pt x="130" y="198"/>
                      <a:pt x="122" y="208"/>
                    </a:cubicBezTo>
                    <a:cubicBezTo>
                      <a:pt x="114" y="219"/>
                      <a:pt x="86" y="224"/>
                      <a:pt x="86" y="224"/>
                    </a:cubicBezTo>
                    <a:cubicBezTo>
                      <a:pt x="86" y="239"/>
                      <a:pt x="86" y="239"/>
                      <a:pt x="86" y="239"/>
                    </a:cubicBezTo>
                    <a:cubicBezTo>
                      <a:pt x="68" y="248"/>
                      <a:pt x="68" y="248"/>
                      <a:pt x="68" y="248"/>
                    </a:cubicBezTo>
                    <a:cubicBezTo>
                      <a:pt x="68" y="248"/>
                      <a:pt x="86" y="263"/>
                      <a:pt x="72" y="278"/>
                    </a:cubicBezTo>
                    <a:cubicBezTo>
                      <a:pt x="57" y="292"/>
                      <a:pt x="29" y="250"/>
                      <a:pt x="17" y="251"/>
                    </a:cubicBezTo>
                    <a:cubicBezTo>
                      <a:pt x="5" y="252"/>
                      <a:pt x="13" y="271"/>
                      <a:pt x="13" y="279"/>
                    </a:cubicBezTo>
                    <a:cubicBezTo>
                      <a:pt x="13" y="287"/>
                      <a:pt x="0" y="284"/>
                      <a:pt x="0" y="284"/>
                    </a:cubicBezTo>
                    <a:cubicBezTo>
                      <a:pt x="2" y="308"/>
                      <a:pt x="2" y="308"/>
                      <a:pt x="2" y="308"/>
                    </a:cubicBezTo>
                    <a:cubicBezTo>
                      <a:pt x="2" y="308"/>
                      <a:pt x="8" y="314"/>
                      <a:pt x="8" y="322"/>
                    </a:cubicBezTo>
                    <a:cubicBezTo>
                      <a:pt x="8" y="330"/>
                      <a:pt x="0" y="342"/>
                      <a:pt x="0" y="358"/>
                    </a:cubicBezTo>
                    <a:cubicBezTo>
                      <a:pt x="0" y="374"/>
                      <a:pt x="10" y="364"/>
                      <a:pt x="22" y="370"/>
                    </a:cubicBezTo>
                    <a:cubicBezTo>
                      <a:pt x="34" y="375"/>
                      <a:pt x="20" y="390"/>
                      <a:pt x="32" y="395"/>
                    </a:cubicBezTo>
                    <a:cubicBezTo>
                      <a:pt x="44" y="400"/>
                      <a:pt x="68" y="391"/>
                      <a:pt x="73" y="394"/>
                    </a:cubicBezTo>
                    <a:cubicBezTo>
                      <a:pt x="78" y="396"/>
                      <a:pt x="117" y="436"/>
                      <a:pt x="117" y="444"/>
                    </a:cubicBezTo>
                    <a:cubicBezTo>
                      <a:pt x="117" y="452"/>
                      <a:pt x="94" y="443"/>
                      <a:pt x="94" y="451"/>
                    </a:cubicBezTo>
                    <a:cubicBezTo>
                      <a:pt x="94" y="459"/>
                      <a:pt x="129" y="470"/>
                      <a:pt x="129" y="470"/>
                    </a:cubicBezTo>
                    <a:cubicBezTo>
                      <a:pt x="136" y="460"/>
                      <a:pt x="136" y="460"/>
                      <a:pt x="136" y="460"/>
                    </a:cubicBezTo>
                    <a:cubicBezTo>
                      <a:pt x="136" y="460"/>
                      <a:pt x="145" y="462"/>
                      <a:pt x="152" y="455"/>
                    </a:cubicBezTo>
                    <a:cubicBezTo>
                      <a:pt x="158" y="448"/>
                      <a:pt x="208" y="427"/>
                      <a:pt x="214" y="430"/>
                    </a:cubicBezTo>
                    <a:cubicBezTo>
                      <a:pt x="221" y="432"/>
                      <a:pt x="242" y="448"/>
                      <a:pt x="252" y="448"/>
                    </a:cubicBezTo>
                    <a:cubicBezTo>
                      <a:pt x="261" y="448"/>
                      <a:pt x="269" y="430"/>
                      <a:pt x="289" y="455"/>
                    </a:cubicBezTo>
                    <a:cubicBezTo>
                      <a:pt x="309" y="480"/>
                      <a:pt x="293" y="488"/>
                      <a:pt x="290" y="496"/>
                    </a:cubicBezTo>
                    <a:cubicBezTo>
                      <a:pt x="288" y="504"/>
                      <a:pt x="309" y="520"/>
                      <a:pt x="316" y="523"/>
                    </a:cubicBezTo>
                    <a:cubicBezTo>
                      <a:pt x="322" y="526"/>
                      <a:pt x="333" y="511"/>
                      <a:pt x="341" y="507"/>
                    </a:cubicBezTo>
                    <a:cubicBezTo>
                      <a:pt x="349" y="503"/>
                      <a:pt x="352" y="516"/>
                      <a:pt x="352" y="524"/>
                    </a:cubicBezTo>
                    <a:cubicBezTo>
                      <a:pt x="352" y="532"/>
                      <a:pt x="364" y="542"/>
                      <a:pt x="364" y="542"/>
                    </a:cubicBezTo>
                    <a:cubicBezTo>
                      <a:pt x="337" y="543"/>
                      <a:pt x="337" y="543"/>
                      <a:pt x="337" y="543"/>
                    </a:cubicBezTo>
                    <a:cubicBezTo>
                      <a:pt x="337" y="543"/>
                      <a:pt x="338" y="563"/>
                      <a:pt x="325" y="554"/>
                    </a:cubicBezTo>
                    <a:cubicBezTo>
                      <a:pt x="312" y="544"/>
                      <a:pt x="338" y="531"/>
                      <a:pt x="338" y="531"/>
                    </a:cubicBezTo>
                    <a:cubicBezTo>
                      <a:pt x="338" y="531"/>
                      <a:pt x="290" y="528"/>
                      <a:pt x="282" y="526"/>
                    </a:cubicBezTo>
                    <a:cubicBezTo>
                      <a:pt x="274" y="523"/>
                      <a:pt x="232" y="515"/>
                      <a:pt x="232" y="515"/>
                    </a:cubicBezTo>
                    <a:cubicBezTo>
                      <a:pt x="240" y="538"/>
                      <a:pt x="240" y="538"/>
                      <a:pt x="240" y="538"/>
                    </a:cubicBezTo>
                    <a:cubicBezTo>
                      <a:pt x="240" y="538"/>
                      <a:pt x="224" y="531"/>
                      <a:pt x="218" y="544"/>
                    </a:cubicBezTo>
                    <a:cubicBezTo>
                      <a:pt x="213" y="558"/>
                      <a:pt x="249" y="559"/>
                      <a:pt x="248" y="567"/>
                    </a:cubicBezTo>
                    <a:cubicBezTo>
                      <a:pt x="246" y="575"/>
                      <a:pt x="198" y="550"/>
                      <a:pt x="193" y="562"/>
                    </a:cubicBezTo>
                    <a:cubicBezTo>
                      <a:pt x="188" y="574"/>
                      <a:pt x="221" y="582"/>
                      <a:pt x="221" y="582"/>
                    </a:cubicBezTo>
                    <a:cubicBezTo>
                      <a:pt x="221" y="582"/>
                      <a:pt x="221" y="590"/>
                      <a:pt x="228" y="598"/>
                    </a:cubicBezTo>
                    <a:cubicBezTo>
                      <a:pt x="234" y="606"/>
                      <a:pt x="248" y="622"/>
                      <a:pt x="248" y="622"/>
                    </a:cubicBezTo>
                    <a:cubicBezTo>
                      <a:pt x="246" y="636"/>
                      <a:pt x="246" y="636"/>
                      <a:pt x="246" y="636"/>
                    </a:cubicBezTo>
                    <a:cubicBezTo>
                      <a:pt x="269" y="639"/>
                      <a:pt x="269" y="639"/>
                      <a:pt x="269" y="639"/>
                    </a:cubicBezTo>
                    <a:cubicBezTo>
                      <a:pt x="274" y="654"/>
                      <a:pt x="274" y="654"/>
                      <a:pt x="274" y="654"/>
                    </a:cubicBezTo>
                    <a:cubicBezTo>
                      <a:pt x="274" y="654"/>
                      <a:pt x="309" y="654"/>
                      <a:pt x="320" y="664"/>
                    </a:cubicBezTo>
                    <a:cubicBezTo>
                      <a:pt x="330" y="675"/>
                      <a:pt x="308" y="686"/>
                      <a:pt x="306" y="696"/>
                    </a:cubicBezTo>
                    <a:cubicBezTo>
                      <a:pt x="305" y="707"/>
                      <a:pt x="316" y="708"/>
                      <a:pt x="316" y="708"/>
                    </a:cubicBezTo>
                    <a:cubicBezTo>
                      <a:pt x="317" y="704"/>
                      <a:pt x="323" y="707"/>
                      <a:pt x="328" y="709"/>
                    </a:cubicBezTo>
                    <a:cubicBezTo>
                      <a:pt x="330" y="703"/>
                      <a:pt x="336" y="683"/>
                      <a:pt x="344" y="682"/>
                    </a:cubicBezTo>
                    <a:cubicBezTo>
                      <a:pt x="349" y="681"/>
                      <a:pt x="357" y="682"/>
                      <a:pt x="363" y="683"/>
                    </a:cubicBezTo>
                    <a:cubicBezTo>
                      <a:pt x="364" y="681"/>
                      <a:pt x="364" y="679"/>
                      <a:pt x="365" y="678"/>
                    </a:cubicBezTo>
                    <a:cubicBezTo>
                      <a:pt x="368" y="674"/>
                      <a:pt x="400" y="686"/>
                      <a:pt x="408" y="690"/>
                    </a:cubicBezTo>
                    <a:cubicBezTo>
                      <a:pt x="416" y="694"/>
                      <a:pt x="426" y="707"/>
                      <a:pt x="426" y="707"/>
                    </a:cubicBezTo>
                    <a:cubicBezTo>
                      <a:pt x="426" y="707"/>
                      <a:pt x="444" y="732"/>
                      <a:pt x="454" y="738"/>
                    </a:cubicBezTo>
                    <a:cubicBezTo>
                      <a:pt x="463" y="742"/>
                      <a:pt x="464" y="732"/>
                      <a:pt x="468" y="729"/>
                    </a:cubicBezTo>
                    <a:cubicBezTo>
                      <a:pt x="468" y="729"/>
                      <a:pt x="468" y="729"/>
                      <a:pt x="468" y="729"/>
                    </a:cubicBezTo>
                    <a:cubicBezTo>
                      <a:pt x="433" y="542"/>
                      <a:pt x="433" y="542"/>
                      <a:pt x="433" y="542"/>
                    </a:cubicBezTo>
                    <a:cubicBezTo>
                      <a:pt x="529" y="511"/>
                      <a:pt x="529" y="511"/>
                      <a:pt x="529" y="511"/>
                    </a:cubicBezTo>
                    <a:cubicBezTo>
                      <a:pt x="536" y="514"/>
                      <a:pt x="536" y="514"/>
                      <a:pt x="536" y="514"/>
                    </a:cubicBezTo>
                    <a:cubicBezTo>
                      <a:pt x="536" y="513"/>
                      <a:pt x="536" y="513"/>
                      <a:pt x="536" y="513"/>
                    </a:cubicBezTo>
                    <a:cubicBezTo>
                      <a:pt x="536" y="513"/>
                      <a:pt x="540" y="501"/>
                      <a:pt x="541" y="491"/>
                    </a:cubicBezTo>
                    <a:cubicBezTo>
                      <a:pt x="542" y="481"/>
                      <a:pt x="561" y="486"/>
                      <a:pt x="561" y="486"/>
                    </a:cubicBezTo>
                    <a:cubicBezTo>
                      <a:pt x="566" y="501"/>
                      <a:pt x="566" y="501"/>
                      <a:pt x="566" y="501"/>
                    </a:cubicBezTo>
                    <a:cubicBezTo>
                      <a:pt x="566" y="501"/>
                      <a:pt x="580" y="495"/>
                      <a:pt x="582" y="492"/>
                    </a:cubicBezTo>
                    <a:cubicBezTo>
                      <a:pt x="584" y="489"/>
                      <a:pt x="568" y="471"/>
                      <a:pt x="568" y="471"/>
                    </a:cubicBezTo>
                    <a:cubicBezTo>
                      <a:pt x="578" y="471"/>
                      <a:pt x="578" y="471"/>
                      <a:pt x="578" y="471"/>
                    </a:cubicBezTo>
                    <a:cubicBezTo>
                      <a:pt x="587" y="480"/>
                      <a:pt x="587" y="480"/>
                      <a:pt x="587" y="480"/>
                    </a:cubicBezTo>
                    <a:cubicBezTo>
                      <a:pt x="604" y="479"/>
                      <a:pt x="604" y="479"/>
                      <a:pt x="604" y="479"/>
                    </a:cubicBezTo>
                    <a:cubicBezTo>
                      <a:pt x="604" y="479"/>
                      <a:pt x="618" y="483"/>
                      <a:pt x="621" y="479"/>
                    </a:cubicBezTo>
                    <a:cubicBezTo>
                      <a:pt x="624" y="475"/>
                      <a:pt x="619" y="471"/>
                      <a:pt x="615" y="471"/>
                    </a:cubicBezTo>
                    <a:cubicBezTo>
                      <a:pt x="611" y="471"/>
                      <a:pt x="603" y="466"/>
                      <a:pt x="603" y="466"/>
                    </a:cubicBezTo>
                    <a:cubicBezTo>
                      <a:pt x="603" y="466"/>
                      <a:pt x="587" y="470"/>
                      <a:pt x="584" y="460"/>
                    </a:cubicBezTo>
                    <a:cubicBezTo>
                      <a:pt x="581" y="450"/>
                      <a:pt x="604" y="452"/>
                      <a:pt x="604" y="452"/>
                    </a:cubicBezTo>
                    <a:cubicBezTo>
                      <a:pt x="613" y="444"/>
                      <a:pt x="613" y="444"/>
                      <a:pt x="613" y="444"/>
                    </a:cubicBezTo>
                    <a:cubicBezTo>
                      <a:pt x="613" y="444"/>
                      <a:pt x="625" y="461"/>
                      <a:pt x="628" y="461"/>
                    </a:cubicBezTo>
                    <a:cubicBezTo>
                      <a:pt x="631" y="461"/>
                      <a:pt x="636" y="455"/>
                      <a:pt x="636" y="455"/>
                    </a:cubicBezTo>
                    <a:cubicBezTo>
                      <a:pt x="636" y="455"/>
                      <a:pt x="645" y="465"/>
                      <a:pt x="642" y="471"/>
                    </a:cubicBezTo>
                    <a:cubicBezTo>
                      <a:pt x="639" y="477"/>
                      <a:pt x="625" y="481"/>
                      <a:pt x="625" y="481"/>
                    </a:cubicBezTo>
                    <a:cubicBezTo>
                      <a:pt x="625" y="481"/>
                      <a:pt x="617" y="488"/>
                      <a:pt x="613" y="492"/>
                    </a:cubicBezTo>
                    <a:cubicBezTo>
                      <a:pt x="609" y="496"/>
                      <a:pt x="593" y="491"/>
                      <a:pt x="590" y="493"/>
                    </a:cubicBezTo>
                    <a:cubicBezTo>
                      <a:pt x="587" y="495"/>
                      <a:pt x="587" y="506"/>
                      <a:pt x="587" y="506"/>
                    </a:cubicBezTo>
                    <a:cubicBezTo>
                      <a:pt x="587" y="506"/>
                      <a:pt x="602" y="512"/>
                      <a:pt x="606" y="513"/>
                    </a:cubicBezTo>
                    <a:cubicBezTo>
                      <a:pt x="610" y="514"/>
                      <a:pt x="613" y="523"/>
                      <a:pt x="607" y="532"/>
                    </a:cubicBezTo>
                    <a:cubicBezTo>
                      <a:pt x="604" y="536"/>
                      <a:pt x="607" y="542"/>
                      <a:pt x="610" y="549"/>
                    </a:cubicBezTo>
                    <a:cubicBezTo>
                      <a:pt x="656" y="571"/>
                      <a:pt x="656" y="571"/>
                      <a:pt x="656" y="571"/>
                    </a:cubicBezTo>
                    <a:cubicBezTo>
                      <a:pt x="705" y="619"/>
                      <a:pt x="705" y="619"/>
                      <a:pt x="705" y="619"/>
                    </a:cubicBezTo>
                    <a:cubicBezTo>
                      <a:pt x="705" y="619"/>
                      <a:pt x="742" y="612"/>
                      <a:pt x="758" y="612"/>
                    </a:cubicBezTo>
                    <a:cubicBezTo>
                      <a:pt x="774" y="612"/>
                      <a:pt x="812" y="616"/>
                      <a:pt x="812" y="616"/>
                    </a:cubicBezTo>
                    <a:cubicBezTo>
                      <a:pt x="812" y="616"/>
                      <a:pt x="830" y="604"/>
                      <a:pt x="837" y="604"/>
                    </a:cubicBezTo>
                    <a:cubicBezTo>
                      <a:pt x="844" y="604"/>
                      <a:pt x="874" y="647"/>
                      <a:pt x="874" y="647"/>
                    </a:cubicBezTo>
                    <a:cubicBezTo>
                      <a:pt x="874" y="647"/>
                      <a:pt x="889" y="646"/>
                      <a:pt x="894" y="647"/>
                    </a:cubicBezTo>
                    <a:cubicBezTo>
                      <a:pt x="900" y="648"/>
                      <a:pt x="893" y="696"/>
                      <a:pt x="902" y="699"/>
                    </a:cubicBezTo>
                    <a:cubicBezTo>
                      <a:pt x="912" y="702"/>
                      <a:pt x="912" y="688"/>
                      <a:pt x="921" y="699"/>
                    </a:cubicBezTo>
                    <a:cubicBezTo>
                      <a:pt x="930" y="710"/>
                      <a:pt x="932" y="734"/>
                      <a:pt x="942" y="739"/>
                    </a:cubicBezTo>
                    <a:cubicBezTo>
                      <a:pt x="953" y="744"/>
                      <a:pt x="1000" y="735"/>
                      <a:pt x="1006" y="744"/>
                    </a:cubicBezTo>
                    <a:cubicBezTo>
                      <a:pt x="1013" y="754"/>
                      <a:pt x="996" y="767"/>
                      <a:pt x="1006" y="770"/>
                    </a:cubicBezTo>
                    <a:cubicBezTo>
                      <a:pt x="1017" y="772"/>
                      <a:pt x="1028" y="778"/>
                      <a:pt x="1028" y="778"/>
                    </a:cubicBezTo>
                    <a:cubicBezTo>
                      <a:pt x="1028" y="778"/>
                      <a:pt x="1020" y="754"/>
                      <a:pt x="1029" y="747"/>
                    </a:cubicBezTo>
                    <a:cubicBezTo>
                      <a:pt x="1038" y="740"/>
                      <a:pt x="1046" y="740"/>
                      <a:pt x="1046" y="740"/>
                    </a:cubicBezTo>
                    <a:cubicBezTo>
                      <a:pt x="1046" y="740"/>
                      <a:pt x="1045" y="722"/>
                      <a:pt x="1056" y="719"/>
                    </a:cubicBezTo>
                    <a:cubicBezTo>
                      <a:pt x="1066" y="716"/>
                      <a:pt x="1078" y="714"/>
                      <a:pt x="1078" y="714"/>
                    </a:cubicBezTo>
                    <a:cubicBezTo>
                      <a:pt x="1086" y="696"/>
                      <a:pt x="1086" y="696"/>
                      <a:pt x="1086" y="696"/>
                    </a:cubicBezTo>
                    <a:cubicBezTo>
                      <a:pt x="1104" y="695"/>
                      <a:pt x="1104" y="695"/>
                      <a:pt x="1104" y="695"/>
                    </a:cubicBezTo>
                    <a:cubicBezTo>
                      <a:pt x="1123" y="686"/>
                      <a:pt x="1123" y="686"/>
                      <a:pt x="1123" y="686"/>
                    </a:cubicBezTo>
                    <a:cubicBezTo>
                      <a:pt x="1117" y="683"/>
                      <a:pt x="1107" y="683"/>
                      <a:pt x="1107" y="683"/>
                    </a:cubicBezTo>
                    <a:cubicBezTo>
                      <a:pt x="1107" y="683"/>
                      <a:pt x="1108" y="654"/>
                      <a:pt x="1131" y="653"/>
                    </a:cubicBezTo>
                    <a:cubicBezTo>
                      <a:pt x="1154" y="652"/>
                      <a:pt x="1185" y="672"/>
                      <a:pt x="1185" y="672"/>
                    </a:cubicBezTo>
                    <a:cubicBezTo>
                      <a:pt x="1208" y="672"/>
                      <a:pt x="1208" y="672"/>
                      <a:pt x="1208" y="672"/>
                    </a:cubicBezTo>
                    <a:cubicBezTo>
                      <a:pt x="1219" y="678"/>
                      <a:pt x="1219" y="678"/>
                      <a:pt x="1219" y="678"/>
                    </a:cubicBezTo>
                    <a:cubicBezTo>
                      <a:pt x="1219" y="678"/>
                      <a:pt x="1211" y="643"/>
                      <a:pt x="1214" y="640"/>
                    </a:cubicBezTo>
                    <a:cubicBezTo>
                      <a:pt x="1217" y="637"/>
                      <a:pt x="1230" y="635"/>
                      <a:pt x="1240" y="635"/>
                    </a:cubicBezTo>
                    <a:cubicBezTo>
                      <a:pt x="1250" y="635"/>
                      <a:pt x="1260" y="647"/>
                      <a:pt x="1264" y="647"/>
                    </a:cubicBezTo>
                    <a:cubicBezTo>
                      <a:pt x="1268" y="647"/>
                      <a:pt x="1296" y="653"/>
                      <a:pt x="1296" y="653"/>
                    </a:cubicBezTo>
                    <a:cubicBezTo>
                      <a:pt x="1308" y="649"/>
                      <a:pt x="1308" y="649"/>
                      <a:pt x="1308" y="649"/>
                    </a:cubicBezTo>
                    <a:cubicBezTo>
                      <a:pt x="1308" y="649"/>
                      <a:pt x="1356" y="649"/>
                      <a:pt x="1364" y="648"/>
                    </a:cubicBezTo>
                    <a:cubicBezTo>
                      <a:pt x="1372" y="647"/>
                      <a:pt x="1402" y="651"/>
                      <a:pt x="1402" y="651"/>
                    </a:cubicBezTo>
                    <a:cubicBezTo>
                      <a:pt x="1434" y="650"/>
                      <a:pt x="1434" y="650"/>
                      <a:pt x="1434" y="650"/>
                    </a:cubicBezTo>
                    <a:cubicBezTo>
                      <a:pt x="1442" y="658"/>
                      <a:pt x="1442" y="658"/>
                      <a:pt x="1442" y="658"/>
                    </a:cubicBezTo>
                    <a:cubicBezTo>
                      <a:pt x="1454" y="658"/>
                      <a:pt x="1454" y="658"/>
                      <a:pt x="1454" y="658"/>
                    </a:cubicBezTo>
                    <a:cubicBezTo>
                      <a:pt x="1471" y="676"/>
                      <a:pt x="1471" y="676"/>
                      <a:pt x="1471" y="676"/>
                    </a:cubicBezTo>
                    <a:cubicBezTo>
                      <a:pt x="1499" y="676"/>
                      <a:pt x="1499" y="676"/>
                      <a:pt x="1499" y="676"/>
                    </a:cubicBezTo>
                    <a:cubicBezTo>
                      <a:pt x="1513" y="681"/>
                      <a:pt x="1513" y="681"/>
                      <a:pt x="1513" y="681"/>
                    </a:cubicBezTo>
                    <a:cubicBezTo>
                      <a:pt x="1512" y="680"/>
                      <a:pt x="1512" y="680"/>
                      <a:pt x="1512" y="680"/>
                    </a:cubicBezTo>
                    <a:cubicBezTo>
                      <a:pt x="1507" y="675"/>
                      <a:pt x="1503" y="664"/>
                      <a:pt x="1503" y="659"/>
                    </a:cubicBezTo>
                    <a:cubicBezTo>
                      <a:pt x="1503" y="654"/>
                      <a:pt x="1517" y="656"/>
                      <a:pt x="1517" y="656"/>
                    </a:cubicBezTo>
                    <a:cubicBezTo>
                      <a:pt x="1517" y="656"/>
                      <a:pt x="1506" y="644"/>
                      <a:pt x="1506" y="641"/>
                    </a:cubicBezTo>
                    <a:cubicBezTo>
                      <a:pt x="1506" y="638"/>
                      <a:pt x="1522" y="641"/>
                      <a:pt x="1522" y="634"/>
                    </a:cubicBezTo>
                    <a:cubicBezTo>
                      <a:pt x="1522" y="627"/>
                      <a:pt x="1492" y="596"/>
                      <a:pt x="1484" y="587"/>
                    </a:cubicBezTo>
                    <a:cubicBezTo>
                      <a:pt x="1476" y="578"/>
                      <a:pt x="1476" y="552"/>
                      <a:pt x="1476" y="552"/>
                    </a:cubicBezTo>
                    <a:cubicBezTo>
                      <a:pt x="1476" y="552"/>
                      <a:pt x="1458" y="555"/>
                      <a:pt x="1451" y="546"/>
                    </a:cubicBezTo>
                    <a:cubicBezTo>
                      <a:pt x="1444" y="537"/>
                      <a:pt x="1475" y="530"/>
                      <a:pt x="1481" y="529"/>
                    </a:cubicBezTo>
                    <a:cubicBezTo>
                      <a:pt x="1487" y="528"/>
                      <a:pt x="1511" y="518"/>
                      <a:pt x="1516" y="518"/>
                    </a:cubicBezTo>
                    <a:cubicBezTo>
                      <a:pt x="1521" y="518"/>
                      <a:pt x="1530" y="532"/>
                      <a:pt x="1530" y="532"/>
                    </a:cubicBezTo>
                    <a:cubicBezTo>
                      <a:pt x="1543" y="525"/>
                      <a:pt x="1543" y="525"/>
                      <a:pt x="1543" y="525"/>
                    </a:cubicBezTo>
                    <a:cubicBezTo>
                      <a:pt x="1543" y="525"/>
                      <a:pt x="1550" y="539"/>
                      <a:pt x="1559" y="528"/>
                    </a:cubicBezTo>
                    <a:cubicBezTo>
                      <a:pt x="1568" y="517"/>
                      <a:pt x="1545" y="515"/>
                      <a:pt x="1541" y="513"/>
                    </a:cubicBezTo>
                    <a:cubicBezTo>
                      <a:pt x="1537" y="511"/>
                      <a:pt x="1541" y="459"/>
                      <a:pt x="1541" y="447"/>
                    </a:cubicBezTo>
                    <a:cubicBezTo>
                      <a:pt x="1541" y="435"/>
                      <a:pt x="1540" y="420"/>
                      <a:pt x="1546" y="420"/>
                    </a:cubicBezTo>
                    <a:cubicBezTo>
                      <a:pt x="1552" y="420"/>
                      <a:pt x="1577" y="432"/>
                      <a:pt x="1585" y="434"/>
                    </a:cubicBezTo>
                    <a:cubicBezTo>
                      <a:pt x="1593" y="436"/>
                      <a:pt x="1614" y="434"/>
                      <a:pt x="1614" y="434"/>
                    </a:cubicBezTo>
                    <a:cubicBezTo>
                      <a:pt x="1623" y="442"/>
                      <a:pt x="1623" y="442"/>
                      <a:pt x="1623" y="442"/>
                    </a:cubicBezTo>
                    <a:cubicBezTo>
                      <a:pt x="1634" y="430"/>
                      <a:pt x="1634" y="430"/>
                      <a:pt x="1634" y="430"/>
                    </a:cubicBezTo>
                    <a:cubicBezTo>
                      <a:pt x="1634" y="430"/>
                      <a:pt x="1642" y="431"/>
                      <a:pt x="1649" y="426"/>
                    </a:cubicBezTo>
                    <a:cubicBezTo>
                      <a:pt x="1656" y="421"/>
                      <a:pt x="1650" y="410"/>
                      <a:pt x="1641" y="397"/>
                    </a:cubicBezTo>
                    <a:cubicBezTo>
                      <a:pt x="1632" y="384"/>
                      <a:pt x="1622" y="375"/>
                      <a:pt x="1627" y="361"/>
                    </a:cubicBezTo>
                    <a:cubicBezTo>
                      <a:pt x="1632" y="347"/>
                      <a:pt x="1661" y="357"/>
                      <a:pt x="1667" y="348"/>
                    </a:cubicBezTo>
                    <a:cubicBezTo>
                      <a:pt x="1673" y="339"/>
                      <a:pt x="1654" y="336"/>
                      <a:pt x="1655" y="327"/>
                    </a:cubicBezTo>
                    <a:close/>
                    <a:moveTo>
                      <a:pt x="1385" y="465"/>
                    </a:moveTo>
                    <a:cubicBezTo>
                      <a:pt x="1380" y="470"/>
                      <a:pt x="1363" y="466"/>
                      <a:pt x="1363" y="466"/>
                    </a:cubicBezTo>
                    <a:cubicBezTo>
                      <a:pt x="1363" y="466"/>
                      <a:pt x="1361" y="472"/>
                      <a:pt x="1356" y="473"/>
                    </a:cubicBezTo>
                    <a:cubicBezTo>
                      <a:pt x="1351" y="474"/>
                      <a:pt x="1340" y="464"/>
                      <a:pt x="1340" y="464"/>
                    </a:cubicBezTo>
                    <a:cubicBezTo>
                      <a:pt x="1320" y="467"/>
                      <a:pt x="1320" y="467"/>
                      <a:pt x="1320" y="467"/>
                    </a:cubicBezTo>
                    <a:cubicBezTo>
                      <a:pt x="1299" y="463"/>
                      <a:pt x="1299" y="463"/>
                      <a:pt x="1299" y="463"/>
                    </a:cubicBezTo>
                    <a:cubicBezTo>
                      <a:pt x="1287" y="464"/>
                      <a:pt x="1287" y="464"/>
                      <a:pt x="1287" y="464"/>
                    </a:cubicBezTo>
                    <a:cubicBezTo>
                      <a:pt x="1270" y="459"/>
                      <a:pt x="1270" y="459"/>
                      <a:pt x="1270" y="459"/>
                    </a:cubicBezTo>
                    <a:cubicBezTo>
                      <a:pt x="1270" y="459"/>
                      <a:pt x="1259" y="460"/>
                      <a:pt x="1246" y="460"/>
                    </a:cubicBezTo>
                    <a:cubicBezTo>
                      <a:pt x="1233" y="460"/>
                      <a:pt x="1236" y="454"/>
                      <a:pt x="1236" y="454"/>
                    </a:cubicBezTo>
                    <a:cubicBezTo>
                      <a:pt x="1236" y="454"/>
                      <a:pt x="1228" y="462"/>
                      <a:pt x="1222" y="464"/>
                    </a:cubicBezTo>
                    <a:cubicBezTo>
                      <a:pt x="1216" y="466"/>
                      <a:pt x="1215" y="476"/>
                      <a:pt x="1209" y="484"/>
                    </a:cubicBezTo>
                    <a:cubicBezTo>
                      <a:pt x="1203" y="492"/>
                      <a:pt x="1195" y="489"/>
                      <a:pt x="1195" y="489"/>
                    </a:cubicBezTo>
                    <a:cubicBezTo>
                      <a:pt x="1199" y="507"/>
                      <a:pt x="1199" y="507"/>
                      <a:pt x="1199" y="507"/>
                    </a:cubicBezTo>
                    <a:cubicBezTo>
                      <a:pt x="1191" y="514"/>
                      <a:pt x="1191" y="514"/>
                      <a:pt x="1191" y="514"/>
                    </a:cubicBezTo>
                    <a:cubicBezTo>
                      <a:pt x="1201" y="525"/>
                      <a:pt x="1201" y="525"/>
                      <a:pt x="1201" y="525"/>
                    </a:cubicBezTo>
                    <a:cubicBezTo>
                      <a:pt x="1200" y="542"/>
                      <a:pt x="1200" y="542"/>
                      <a:pt x="1200" y="542"/>
                    </a:cubicBezTo>
                    <a:cubicBezTo>
                      <a:pt x="1196" y="541"/>
                      <a:pt x="1167" y="507"/>
                      <a:pt x="1167" y="507"/>
                    </a:cubicBezTo>
                    <a:cubicBezTo>
                      <a:pt x="1167" y="507"/>
                      <a:pt x="1163" y="492"/>
                      <a:pt x="1163" y="481"/>
                    </a:cubicBezTo>
                    <a:cubicBezTo>
                      <a:pt x="1163" y="470"/>
                      <a:pt x="1181" y="467"/>
                      <a:pt x="1185" y="466"/>
                    </a:cubicBezTo>
                    <a:cubicBezTo>
                      <a:pt x="1189" y="465"/>
                      <a:pt x="1187" y="454"/>
                      <a:pt x="1193" y="448"/>
                    </a:cubicBezTo>
                    <a:cubicBezTo>
                      <a:pt x="1199" y="442"/>
                      <a:pt x="1224" y="448"/>
                      <a:pt x="1228" y="448"/>
                    </a:cubicBezTo>
                    <a:cubicBezTo>
                      <a:pt x="1232" y="448"/>
                      <a:pt x="1240" y="442"/>
                      <a:pt x="1253" y="443"/>
                    </a:cubicBezTo>
                    <a:cubicBezTo>
                      <a:pt x="1266" y="444"/>
                      <a:pt x="1274" y="451"/>
                      <a:pt x="1281" y="452"/>
                    </a:cubicBezTo>
                    <a:cubicBezTo>
                      <a:pt x="1288" y="453"/>
                      <a:pt x="1293" y="456"/>
                      <a:pt x="1306" y="458"/>
                    </a:cubicBezTo>
                    <a:cubicBezTo>
                      <a:pt x="1319" y="460"/>
                      <a:pt x="1315" y="449"/>
                      <a:pt x="1328" y="449"/>
                    </a:cubicBezTo>
                    <a:cubicBezTo>
                      <a:pt x="1341" y="449"/>
                      <a:pt x="1360" y="454"/>
                      <a:pt x="1360" y="454"/>
                    </a:cubicBezTo>
                    <a:cubicBezTo>
                      <a:pt x="1360" y="454"/>
                      <a:pt x="1370" y="445"/>
                      <a:pt x="1384" y="443"/>
                    </a:cubicBezTo>
                    <a:cubicBezTo>
                      <a:pt x="1398" y="441"/>
                      <a:pt x="1390" y="460"/>
                      <a:pt x="1385" y="465"/>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98" name="Freeform 220">
                <a:extLst>
                  <a:ext uri="{FF2B5EF4-FFF2-40B4-BE49-F238E27FC236}">
                    <a16:creationId xmlns:a16="http://schemas.microsoft.com/office/drawing/2014/main" id="{8F7071AA-4575-4B47-9CAF-2B7C149A57C7}"/>
                  </a:ext>
                </a:extLst>
              </p:cNvPr>
              <p:cNvSpPr>
                <a:spLocks/>
              </p:cNvSpPr>
              <p:nvPr>
                <p:custDataLst>
                  <p:tags r:id="rId179"/>
                </p:custDataLst>
              </p:nvPr>
            </p:nvSpPr>
            <p:spPr bwMode="gray">
              <a:xfrm>
                <a:off x="5365718" y="3321066"/>
                <a:ext cx="60324" cy="33338"/>
              </a:xfrm>
              <a:custGeom>
                <a:avLst/>
                <a:gdLst>
                  <a:gd name="T0" fmla="*/ 1 w 98"/>
                  <a:gd name="T1" fmla="*/ 31 h 60"/>
                  <a:gd name="T2" fmla="*/ 36 w 98"/>
                  <a:gd name="T3" fmla="*/ 57 h 60"/>
                  <a:gd name="T4" fmla="*/ 61 w 98"/>
                  <a:gd name="T5" fmla="*/ 38 h 60"/>
                  <a:gd name="T6" fmla="*/ 80 w 98"/>
                  <a:gd name="T7" fmla="*/ 39 h 60"/>
                  <a:gd name="T8" fmla="*/ 77 w 98"/>
                  <a:gd name="T9" fmla="*/ 24 h 60"/>
                  <a:gd name="T10" fmla="*/ 98 w 98"/>
                  <a:gd name="T11" fmla="*/ 0 h 60"/>
                  <a:gd name="T12" fmla="*/ 71 w 98"/>
                  <a:gd name="T13" fmla="*/ 17 h 60"/>
                  <a:gd name="T14" fmla="*/ 38 w 98"/>
                  <a:gd name="T15" fmla="*/ 15 h 60"/>
                  <a:gd name="T16" fmla="*/ 32 w 98"/>
                  <a:gd name="T17" fmla="*/ 26 h 60"/>
                  <a:gd name="T18" fmla="*/ 1 w 98"/>
                  <a:gd name="T19" fmla="*/ 3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60">
                    <a:moveTo>
                      <a:pt x="1" y="31"/>
                    </a:moveTo>
                    <a:cubicBezTo>
                      <a:pt x="2" y="45"/>
                      <a:pt x="29" y="60"/>
                      <a:pt x="36" y="57"/>
                    </a:cubicBezTo>
                    <a:cubicBezTo>
                      <a:pt x="43" y="54"/>
                      <a:pt x="61" y="38"/>
                      <a:pt x="61" y="38"/>
                    </a:cubicBezTo>
                    <a:cubicBezTo>
                      <a:pt x="61" y="38"/>
                      <a:pt x="77" y="45"/>
                      <a:pt x="80" y="39"/>
                    </a:cubicBezTo>
                    <a:cubicBezTo>
                      <a:pt x="84" y="33"/>
                      <a:pt x="77" y="24"/>
                      <a:pt x="77" y="24"/>
                    </a:cubicBezTo>
                    <a:cubicBezTo>
                      <a:pt x="98" y="0"/>
                      <a:pt x="98" y="0"/>
                      <a:pt x="98" y="0"/>
                    </a:cubicBezTo>
                    <a:cubicBezTo>
                      <a:pt x="71" y="17"/>
                      <a:pt x="71" y="17"/>
                      <a:pt x="71" y="17"/>
                    </a:cubicBezTo>
                    <a:cubicBezTo>
                      <a:pt x="71" y="17"/>
                      <a:pt x="47" y="13"/>
                      <a:pt x="38" y="15"/>
                    </a:cubicBezTo>
                    <a:cubicBezTo>
                      <a:pt x="29" y="17"/>
                      <a:pt x="32" y="26"/>
                      <a:pt x="32" y="26"/>
                    </a:cubicBezTo>
                    <a:cubicBezTo>
                      <a:pt x="32" y="26"/>
                      <a:pt x="0" y="20"/>
                      <a:pt x="1" y="31"/>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499" name="Freeform 221">
                <a:extLst>
                  <a:ext uri="{FF2B5EF4-FFF2-40B4-BE49-F238E27FC236}">
                    <a16:creationId xmlns:a16="http://schemas.microsoft.com/office/drawing/2014/main" id="{4B78677E-D3EB-441D-8633-188BAD325836}"/>
                  </a:ext>
                </a:extLst>
              </p:cNvPr>
              <p:cNvSpPr>
                <a:spLocks/>
              </p:cNvSpPr>
              <p:nvPr>
                <p:custDataLst>
                  <p:tags r:id="rId180"/>
                </p:custDataLst>
              </p:nvPr>
            </p:nvSpPr>
            <p:spPr bwMode="gray">
              <a:xfrm>
                <a:off x="5443506" y="3351225"/>
                <a:ext cx="46037" cy="57150"/>
              </a:xfrm>
              <a:custGeom>
                <a:avLst/>
                <a:gdLst>
                  <a:gd name="T0" fmla="*/ 46 w 76"/>
                  <a:gd name="T1" fmla="*/ 66 h 105"/>
                  <a:gd name="T2" fmla="*/ 50 w 76"/>
                  <a:gd name="T3" fmla="*/ 46 h 105"/>
                  <a:gd name="T4" fmla="*/ 71 w 76"/>
                  <a:gd name="T5" fmla="*/ 34 h 105"/>
                  <a:gd name="T6" fmla="*/ 64 w 76"/>
                  <a:gd name="T7" fmla="*/ 10 h 105"/>
                  <a:gd name="T8" fmla="*/ 65 w 76"/>
                  <a:gd name="T9" fmla="*/ 0 h 105"/>
                  <a:gd name="T10" fmla="*/ 40 w 76"/>
                  <a:gd name="T11" fmla="*/ 0 h 105"/>
                  <a:gd name="T12" fmla="*/ 37 w 76"/>
                  <a:gd name="T13" fmla="*/ 0 h 105"/>
                  <a:gd name="T14" fmla="*/ 36 w 76"/>
                  <a:gd name="T15" fmla="*/ 5 h 105"/>
                  <a:gd name="T16" fmla="*/ 20 w 76"/>
                  <a:gd name="T17" fmla="*/ 21 h 105"/>
                  <a:gd name="T18" fmla="*/ 11 w 76"/>
                  <a:gd name="T19" fmla="*/ 45 h 105"/>
                  <a:gd name="T20" fmla="*/ 0 w 76"/>
                  <a:gd name="T21" fmla="*/ 89 h 105"/>
                  <a:gd name="T22" fmla="*/ 1 w 76"/>
                  <a:gd name="T23" fmla="*/ 105 h 105"/>
                  <a:gd name="T24" fmla="*/ 6 w 76"/>
                  <a:gd name="T25" fmla="*/ 100 h 105"/>
                  <a:gd name="T26" fmla="*/ 13 w 76"/>
                  <a:gd name="T27" fmla="*/ 87 h 105"/>
                  <a:gd name="T28" fmla="*/ 27 w 76"/>
                  <a:gd name="T29" fmla="*/ 86 h 105"/>
                  <a:gd name="T30" fmla="*/ 31 w 76"/>
                  <a:gd name="T31" fmla="*/ 69 h 105"/>
                  <a:gd name="T32" fmla="*/ 46 w 76"/>
                  <a:gd name="T33" fmla="*/ 6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105">
                    <a:moveTo>
                      <a:pt x="46" y="66"/>
                    </a:moveTo>
                    <a:cubicBezTo>
                      <a:pt x="46" y="66"/>
                      <a:pt x="41" y="49"/>
                      <a:pt x="50" y="46"/>
                    </a:cubicBezTo>
                    <a:cubicBezTo>
                      <a:pt x="59" y="43"/>
                      <a:pt x="66" y="46"/>
                      <a:pt x="71" y="34"/>
                    </a:cubicBezTo>
                    <a:cubicBezTo>
                      <a:pt x="76" y="22"/>
                      <a:pt x="64" y="10"/>
                      <a:pt x="64" y="10"/>
                    </a:cubicBezTo>
                    <a:cubicBezTo>
                      <a:pt x="65" y="0"/>
                      <a:pt x="65" y="0"/>
                      <a:pt x="65" y="0"/>
                    </a:cubicBezTo>
                    <a:cubicBezTo>
                      <a:pt x="40" y="0"/>
                      <a:pt x="40" y="0"/>
                      <a:pt x="40" y="0"/>
                    </a:cubicBezTo>
                    <a:cubicBezTo>
                      <a:pt x="37" y="0"/>
                      <a:pt x="37" y="0"/>
                      <a:pt x="37" y="0"/>
                    </a:cubicBezTo>
                    <a:cubicBezTo>
                      <a:pt x="37" y="2"/>
                      <a:pt x="37" y="4"/>
                      <a:pt x="36" y="5"/>
                    </a:cubicBezTo>
                    <a:cubicBezTo>
                      <a:pt x="29" y="15"/>
                      <a:pt x="20" y="21"/>
                      <a:pt x="20" y="21"/>
                    </a:cubicBezTo>
                    <a:cubicBezTo>
                      <a:pt x="11" y="45"/>
                      <a:pt x="11" y="45"/>
                      <a:pt x="11" y="45"/>
                    </a:cubicBezTo>
                    <a:cubicBezTo>
                      <a:pt x="11" y="45"/>
                      <a:pt x="1" y="69"/>
                      <a:pt x="0" y="89"/>
                    </a:cubicBezTo>
                    <a:cubicBezTo>
                      <a:pt x="0" y="94"/>
                      <a:pt x="0" y="100"/>
                      <a:pt x="1" y="105"/>
                    </a:cubicBezTo>
                    <a:cubicBezTo>
                      <a:pt x="6" y="100"/>
                      <a:pt x="6" y="100"/>
                      <a:pt x="6" y="100"/>
                    </a:cubicBezTo>
                    <a:cubicBezTo>
                      <a:pt x="13" y="87"/>
                      <a:pt x="13" y="87"/>
                      <a:pt x="13" y="87"/>
                    </a:cubicBezTo>
                    <a:cubicBezTo>
                      <a:pt x="13" y="87"/>
                      <a:pt x="22" y="93"/>
                      <a:pt x="27" y="86"/>
                    </a:cubicBezTo>
                    <a:cubicBezTo>
                      <a:pt x="32" y="79"/>
                      <a:pt x="31" y="69"/>
                      <a:pt x="31" y="69"/>
                    </a:cubicBezTo>
                    <a:cubicBezTo>
                      <a:pt x="46" y="66"/>
                      <a:pt x="46" y="66"/>
                      <a:pt x="46" y="66"/>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00" name="Freeform 222">
                <a:extLst>
                  <a:ext uri="{FF2B5EF4-FFF2-40B4-BE49-F238E27FC236}">
                    <a16:creationId xmlns:a16="http://schemas.microsoft.com/office/drawing/2014/main" id="{6B260BF9-27D8-48B0-837D-989A07947158}"/>
                  </a:ext>
                </a:extLst>
              </p:cNvPr>
              <p:cNvSpPr>
                <a:spLocks/>
              </p:cNvSpPr>
              <p:nvPr>
                <p:custDataLst>
                  <p:tags r:id="rId181"/>
                </p:custDataLst>
              </p:nvPr>
            </p:nvSpPr>
            <p:spPr bwMode="gray">
              <a:xfrm>
                <a:off x="5446681" y="3414726"/>
                <a:ext cx="19049" cy="39687"/>
              </a:xfrm>
              <a:custGeom>
                <a:avLst/>
                <a:gdLst>
                  <a:gd name="T0" fmla="*/ 21 w 32"/>
                  <a:gd name="T1" fmla="*/ 54 h 70"/>
                  <a:gd name="T2" fmla="*/ 27 w 32"/>
                  <a:gd name="T3" fmla="*/ 56 h 70"/>
                  <a:gd name="T4" fmla="*/ 32 w 32"/>
                  <a:gd name="T5" fmla="*/ 47 h 70"/>
                  <a:gd name="T6" fmla="*/ 31 w 32"/>
                  <a:gd name="T7" fmla="*/ 1 h 70"/>
                  <a:gd name="T8" fmla="*/ 13 w 32"/>
                  <a:gd name="T9" fmla="*/ 2 h 70"/>
                  <a:gd name="T10" fmla="*/ 6 w 32"/>
                  <a:gd name="T11" fmla="*/ 21 h 70"/>
                  <a:gd name="T12" fmla="*/ 6 w 32"/>
                  <a:gd name="T13" fmla="*/ 40 h 70"/>
                  <a:gd name="T14" fmla="*/ 7 w 32"/>
                  <a:gd name="T15" fmla="*/ 62 h 70"/>
                  <a:gd name="T16" fmla="*/ 21 w 32"/>
                  <a:gd name="T17" fmla="*/ 5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70">
                    <a:moveTo>
                      <a:pt x="21" y="54"/>
                    </a:moveTo>
                    <a:cubicBezTo>
                      <a:pt x="22" y="53"/>
                      <a:pt x="24" y="54"/>
                      <a:pt x="27" y="56"/>
                    </a:cubicBezTo>
                    <a:cubicBezTo>
                      <a:pt x="29" y="51"/>
                      <a:pt x="32" y="47"/>
                      <a:pt x="32" y="47"/>
                    </a:cubicBezTo>
                    <a:cubicBezTo>
                      <a:pt x="31" y="1"/>
                      <a:pt x="31" y="1"/>
                      <a:pt x="31" y="1"/>
                    </a:cubicBezTo>
                    <a:cubicBezTo>
                      <a:pt x="26" y="0"/>
                      <a:pt x="17" y="0"/>
                      <a:pt x="13" y="2"/>
                    </a:cubicBezTo>
                    <a:cubicBezTo>
                      <a:pt x="7" y="6"/>
                      <a:pt x="6" y="21"/>
                      <a:pt x="6" y="21"/>
                    </a:cubicBezTo>
                    <a:cubicBezTo>
                      <a:pt x="6" y="21"/>
                      <a:pt x="7" y="34"/>
                      <a:pt x="6" y="40"/>
                    </a:cubicBezTo>
                    <a:cubicBezTo>
                      <a:pt x="5" y="46"/>
                      <a:pt x="0" y="54"/>
                      <a:pt x="7" y="62"/>
                    </a:cubicBezTo>
                    <a:cubicBezTo>
                      <a:pt x="13" y="70"/>
                      <a:pt x="18" y="55"/>
                      <a:pt x="21" y="54"/>
                    </a:cubicBez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01" name="Freeform 223">
                <a:extLst>
                  <a:ext uri="{FF2B5EF4-FFF2-40B4-BE49-F238E27FC236}">
                    <a16:creationId xmlns:a16="http://schemas.microsoft.com/office/drawing/2014/main" id="{4160BA42-859C-4D6F-8A55-A290DF9AFAD3}"/>
                  </a:ext>
                </a:extLst>
              </p:cNvPr>
              <p:cNvSpPr>
                <a:spLocks/>
              </p:cNvSpPr>
              <p:nvPr>
                <p:custDataLst>
                  <p:tags r:id="rId182"/>
                </p:custDataLst>
              </p:nvPr>
            </p:nvSpPr>
            <p:spPr bwMode="gray">
              <a:xfrm>
                <a:off x="5454634" y="3390905"/>
                <a:ext cx="112713" cy="128589"/>
              </a:xfrm>
              <a:custGeom>
                <a:avLst/>
                <a:gdLst>
                  <a:gd name="T0" fmla="*/ 169 w 186"/>
                  <a:gd name="T1" fmla="*/ 44 h 236"/>
                  <a:gd name="T2" fmla="*/ 169 w 186"/>
                  <a:gd name="T3" fmla="*/ 30 h 236"/>
                  <a:gd name="T4" fmla="*/ 157 w 186"/>
                  <a:gd name="T5" fmla="*/ 0 h 236"/>
                  <a:gd name="T6" fmla="*/ 73 w 186"/>
                  <a:gd name="T7" fmla="*/ 57 h 236"/>
                  <a:gd name="T8" fmla="*/ 45 w 186"/>
                  <a:gd name="T9" fmla="*/ 45 h 236"/>
                  <a:gd name="T10" fmla="*/ 23 w 186"/>
                  <a:gd name="T11" fmla="*/ 33 h 236"/>
                  <a:gd name="T12" fmla="*/ 19 w 186"/>
                  <a:gd name="T13" fmla="*/ 36 h 236"/>
                  <a:gd name="T14" fmla="*/ 16 w 186"/>
                  <a:gd name="T15" fmla="*/ 45 h 236"/>
                  <a:gd name="T16" fmla="*/ 17 w 186"/>
                  <a:gd name="T17" fmla="*/ 93 h 236"/>
                  <a:gd name="T18" fmla="*/ 10 w 186"/>
                  <a:gd name="T19" fmla="*/ 107 h 236"/>
                  <a:gd name="T20" fmla="*/ 16 w 186"/>
                  <a:gd name="T21" fmla="*/ 115 h 236"/>
                  <a:gd name="T22" fmla="*/ 15 w 186"/>
                  <a:gd name="T23" fmla="*/ 134 h 236"/>
                  <a:gd name="T24" fmla="*/ 4 w 186"/>
                  <a:gd name="T25" fmla="*/ 158 h 236"/>
                  <a:gd name="T26" fmla="*/ 0 w 186"/>
                  <a:gd name="T27" fmla="*/ 211 h 236"/>
                  <a:gd name="T28" fmla="*/ 2 w 186"/>
                  <a:gd name="T29" fmla="*/ 217 h 236"/>
                  <a:gd name="T30" fmla="*/ 3 w 186"/>
                  <a:gd name="T31" fmla="*/ 217 h 236"/>
                  <a:gd name="T32" fmla="*/ 55 w 186"/>
                  <a:gd name="T33" fmla="*/ 225 h 236"/>
                  <a:gd name="T34" fmla="*/ 77 w 186"/>
                  <a:gd name="T35" fmla="*/ 185 h 236"/>
                  <a:gd name="T36" fmla="*/ 108 w 186"/>
                  <a:gd name="T37" fmla="*/ 180 h 236"/>
                  <a:gd name="T38" fmla="*/ 122 w 186"/>
                  <a:gd name="T39" fmla="*/ 147 h 236"/>
                  <a:gd name="T40" fmla="*/ 96 w 186"/>
                  <a:gd name="T41" fmla="*/ 108 h 236"/>
                  <a:gd name="T42" fmla="*/ 64 w 186"/>
                  <a:gd name="T43" fmla="*/ 100 h 236"/>
                  <a:gd name="T44" fmla="*/ 96 w 186"/>
                  <a:gd name="T45" fmla="*/ 94 h 236"/>
                  <a:gd name="T46" fmla="*/ 124 w 186"/>
                  <a:gd name="T47" fmla="*/ 94 h 236"/>
                  <a:gd name="T48" fmla="*/ 132 w 186"/>
                  <a:gd name="T49" fmla="*/ 80 h 236"/>
                  <a:gd name="T50" fmla="*/ 166 w 186"/>
                  <a:gd name="T51" fmla="*/ 76 h 236"/>
                  <a:gd name="T52" fmla="*/ 185 w 186"/>
                  <a:gd name="T53" fmla="*/ 62 h 236"/>
                  <a:gd name="T54" fmla="*/ 186 w 186"/>
                  <a:gd name="T55" fmla="*/ 53 h 236"/>
                  <a:gd name="T56" fmla="*/ 169 w 186"/>
                  <a:gd name="T57" fmla="*/ 4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6" h="236">
                    <a:moveTo>
                      <a:pt x="169" y="44"/>
                    </a:moveTo>
                    <a:cubicBezTo>
                      <a:pt x="169" y="30"/>
                      <a:pt x="169" y="30"/>
                      <a:pt x="169" y="30"/>
                    </a:cubicBezTo>
                    <a:cubicBezTo>
                      <a:pt x="157" y="0"/>
                      <a:pt x="157" y="0"/>
                      <a:pt x="157" y="0"/>
                    </a:cubicBezTo>
                    <a:cubicBezTo>
                      <a:pt x="154" y="2"/>
                      <a:pt x="94" y="57"/>
                      <a:pt x="73" y="57"/>
                    </a:cubicBezTo>
                    <a:cubicBezTo>
                      <a:pt x="52" y="57"/>
                      <a:pt x="45" y="45"/>
                      <a:pt x="45" y="45"/>
                    </a:cubicBezTo>
                    <a:cubicBezTo>
                      <a:pt x="23" y="33"/>
                      <a:pt x="23" y="33"/>
                      <a:pt x="23" y="33"/>
                    </a:cubicBezTo>
                    <a:cubicBezTo>
                      <a:pt x="19" y="36"/>
                      <a:pt x="19" y="36"/>
                      <a:pt x="19" y="36"/>
                    </a:cubicBezTo>
                    <a:cubicBezTo>
                      <a:pt x="16" y="45"/>
                      <a:pt x="16" y="45"/>
                      <a:pt x="16" y="45"/>
                    </a:cubicBezTo>
                    <a:cubicBezTo>
                      <a:pt x="17" y="93"/>
                      <a:pt x="17" y="93"/>
                      <a:pt x="17" y="93"/>
                    </a:cubicBezTo>
                    <a:cubicBezTo>
                      <a:pt x="17" y="93"/>
                      <a:pt x="10" y="103"/>
                      <a:pt x="10" y="107"/>
                    </a:cubicBezTo>
                    <a:cubicBezTo>
                      <a:pt x="10" y="111"/>
                      <a:pt x="12" y="111"/>
                      <a:pt x="16" y="115"/>
                    </a:cubicBezTo>
                    <a:cubicBezTo>
                      <a:pt x="20" y="119"/>
                      <a:pt x="18" y="127"/>
                      <a:pt x="15" y="134"/>
                    </a:cubicBezTo>
                    <a:cubicBezTo>
                      <a:pt x="12" y="141"/>
                      <a:pt x="4" y="146"/>
                      <a:pt x="4" y="158"/>
                    </a:cubicBezTo>
                    <a:cubicBezTo>
                      <a:pt x="4" y="170"/>
                      <a:pt x="0" y="211"/>
                      <a:pt x="0" y="211"/>
                    </a:cubicBezTo>
                    <a:cubicBezTo>
                      <a:pt x="2" y="217"/>
                      <a:pt x="2" y="217"/>
                      <a:pt x="2" y="217"/>
                    </a:cubicBezTo>
                    <a:cubicBezTo>
                      <a:pt x="2" y="217"/>
                      <a:pt x="3" y="217"/>
                      <a:pt x="3" y="217"/>
                    </a:cubicBezTo>
                    <a:cubicBezTo>
                      <a:pt x="10" y="216"/>
                      <a:pt x="41" y="236"/>
                      <a:pt x="55" y="225"/>
                    </a:cubicBezTo>
                    <a:cubicBezTo>
                      <a:pt x="69" y="214"/>
                      <a:pt x="71" y="187"/>
                      <a:pt x="77" y="185"/>
                    </a:cubicBezTo>
                    <a:cubicBezTo>
                      <a:pt x="83" y="183"/>
                      <a:pt x="100" y="187"/>
                      <a:pt x="108" y="180"/>
                    </a:cubicBezTo>
                    <a:cubicBezTo>
                      <a:pt x="116" y="173"/>
                      <a:pt x="122" y="147"/>
                      <a:pt x="122" y="147"/>
                    </a:cubicBezTo>
                    <a:cubicBezTo>
                      <a:pt x="122" y="147"/>
                      <a:pt x="103" y="112"/>
                      <a:pt x="96" y="108"/>
                    </a:cubicBezTo>
                    <a:cubicBezTo>
                      <a:pt x="89" y="104"/>
                      <a:pt x="57" y="107"/>
                      <a:pt x="64" y="100"/>
                    </a:cubicBezTo>
                    <a:cubicBezTo>
                      <a:pt x="71" y="93"/>
                      <a:pt x="96" y="94"/>
                      <a:pt x="96" y="94"/>
                    </a:cubicBezTo>
                    <a:cubicBezTo>
                      <a:pt x="124" y="94"/>
                      <a:pt x="124" y="94"/>
                      <a:pt x="124" y="94"/>
                    </a:cubicBezTo>
                    <a:cubicBezTo>
                      <a:pt x="132" y="80"/>
                      <a:pt x="132" y="80"/>
                      <a:pt x="132" y="80"/>
                    </a:cubicBezTo>
                    <a:cubicBezTo>
                      <a:pt x="132" y="80"/>
                      <a:pt x="160" y="82"/>
                      <a:pt x="166" y="76"/>
                    </a:cubicBezTo>
                    <a:cubicBezTo>
                      <a:pt x="172" y="70"/>
                      <a:pt x="185" y="62"/>
                      <a:pt x="185" y="62"/>
                    </a:cubicBezTo>
                    <a:cubicBezTo>
                      <a:pt x="186" y="53"/>
                      <a:pt x="186" y="53"/>
                      <a:pt x="186" y="53"/>
                    </a:cubicBezTo>
                    <a:lnTo>
                      <a:pt x="169" y="44"/>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02" name="Freeform 224">
                <a:extLst>
                  <a:ext uri="{FF2B5EF4-FFF2-40B4-BE49-F238E27FC236}">
                    <a16:creationId xmlns:a16="http://schemas.microsoft.com/office/drawing/2014/main" id="{4C38E4E1-BB4B-448D-ADCF-E5A46BF02C9E}"/>
                  </a:ext>
                </a:extLst>
              </p:cNvPr>
              <p:cNvSpPr>
                <a:spLocks/>
              </p:cNvSpPr>
              <p:nvPr>
                <p:custDataLst>
                  <p:tags r:id="rId183"/>
                </p:custDataLst>
              </p:nvPr>
            </p:nvSpPr>
            <p:spPr bwMode="gray">
              <a:xfrm>
                <a:off x="5432425" y="3387725"/>
                <a:ext cx="38100" cy="119063"/>
              </a:xfrm>
              <a:custGeom>
                <a:avLst/>
                <a:gdLst>
                  <a:gd name="T0" fmla="*/ 0 w 67"/>
                  <a:gd name="T1" fmla="*/ 113 h 216"/>
                  <a:gd name="T2" fmla="*/ 36 w 67"/>
                  <a:gd name="T3" fmla="*/ 206 h 216"/>
                  <a:gd name="T4" fmla="*/ 41 w 67"/>
                  <a:gd name="T5" fmla="*/ 216 h 216"/>
                  <a:gd name="T6" fmla="*/ 45 w 67"/>
                  <a:gd name="T7" fmla="*/ 163 h 216"/>
                  <a:gd name="T8" fmla="*/ 56 w 67"/>
                  <a:gd name="T9" fmla="*/ 139 h 216"/>
                  <a:gd name="T10" fmla="*/ 57 w 67"/>
                  <a:gd name="T11" fmla="*/ 120 h 216"/>
                  <a:gd name="T12" fmla="*/ 51 w 67"/>
                  <a:gd name="T13" fmla="*/ 112 h 216"/>
                  <a:gd name="T14" fmla="*/ 53 w 67"/>
                  <a:gd name="T15" fmla="*/ 107 h 216"/>
                  <a:gd name="T16" fmla="*/ 47 w 67"/>
                  <a:gd name="T17" fmla="*/ 105 h 216"/>
                  <a:gd name="T18" fmla="*/ 33 w 67"/>
                  <a:gd name="T19" fmla="*/ 113 h 216"/>
                  <a:gd name="T20" fmla="*/ 32 w 67"/>
                  <a:gd name="T21" fmla="*/ 91 h 216"/>
                  <a:gd name="T22" fmla="*/ 32 w 67"/>
                  <a:gd name="T23" fmla="*/ 72 h 216"/>
                  <a:gd name="T24" fmla="*/ 39 w 67"/>
                  <a:gd name="T25" fmla="*/ 53 h 216"/>
                  <a:gd name="T26" fmla="*/ 57 w 67"/>
                  <a:gd name="T27" fmla="*/ 52 h 216"/>
                  <a:gd name="T28" fmla="*/ 57 w 67"/>
                  <a:gd name="T29" fmla="*/ 50 h 216"/>
                  <a:gd name="T30" fmla="*/ 60 w 67"/>
                  <a:gd name="T31" fmla="*/ 41 h 216"/>
                  <a:gd name="T32" fmla="*/ 57 w 67"/>
                  <a:gd name="T33" fmla="*/ 11 h 216"/>
                  <a:gd name="T34" fmla="*/ 67 w 67"/>
                  <a:gd name="T35" fmla="*/ 0 h 216"/>
                  <a:gd name="T36" fmla="*/ 52 w 67"/>
                  <a:gd name="T37" fmla="*/ 3 h 216"/>
                  <a:gd name="T38" fmla="*/ 48 w 67"/>
                  <a:gd name="T39" fmla="*/ 20 h 216"/>
                  <a:gd name="T40" fmla="*/ 34 w 67"/>
                  <a:gd name="T41" fmla="*/ 21 h 216"/>
                  <a:gd name="T42" fmla="*/ 27 w 67"/>
                  <a:gd name="T43" fmla="*/ 34 h 216"/>
                  <a:gd name="T44" fmla="*/ 22 w 67"/>
                  <a:gd name="T45" fmla="*/ 39 h 216"/>
                  <a:gd name="T46" fmla="*/ 27 w 67"/>
                  <a:gd name="T47" fmla="*/ 63 h 216"/>
                  <a:gd name="T48" fmla="*/ 13 w 67"/>
                  <a:gd name="T49" fmla="*/ 89 h 216"/>
                  <a:gd name="T50" fmla="*/ 11 w 67"/>
                  <a:gd name="T51" fmla="*/ 105 h 216"/>
                  <a:gd name="T52" fmla="*/ 0 w 67"/>
                  <a:gd name="T53" fmla="*/ 11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7" h="216">
                    <a:moveTo>
                      <a:pt x="0" y="113"/>
                    </a:moveTo>
                    <a:cubicBezTo>
                      <a:pt x="36" y="206"/>
                      <a:pt x="36" y="206"/>
                      <a:pt x="36" y="206"/>
                    </a:cubicBezTo>
                    <a:cubicBezTo>
                      <a:pt x="41" y="216"/>
                      <a:pt x="41" y="216"/>
                      <a:pt x="41" y="216"/>
                    </a:cubicBezTo>
                    <a:cubicBezTo>
                      <a:pt x="41" y="216"/>
                      <a:pt x="45" y="175"/>
                      <a:pt x="45" y="163"/>
                    </a:cubicBezTo>
                    <a:cubicBezTo>
                      <a:pt x="45" y="151"/>
                      <a:pt x="53" y="146"/>
                      <a:pt x="56" y="139"/>
                    </a:cubicBezTo>
                    <a:cubicBezTo>
                      <a:pt x="59" y="132"/>
                      <a:pt x="61" y="124"/>
                      <a:pt x="57" y="120"/>
                    </a:cubicBezTo>
                    <a:cubicBezTo>
                      <a:pt x="53" y="116"/>
                      <a:pt x="51" y="116"/>
                      <a:pt x="51" y="112"/>
                    </a:cubicBezTo>
                    <a:cubicBezTo>
                      <a:pt x="51" y="111"/>
                      <a:pt x="52" y="109"/>
                      <a:pt x="53" y="107"/>
                    </a:cubicBezTo>
                    <a:cubicBezTo>
                      <a:pt x="50" y="105"/>
                      <a:pt x="48" y="104"/>
                      <a:pt x="47" y="105"/>
                    </a:cubicBezTo>
                    <a:cubicBezTo>
                      <a:pt x="44" y="106"/>
                      <a:pt x="39" y="121"/>
                      <a:pt x="33" y="113"/>
                    </a:cubicBezTo>
                    <a:cubicBezTo>
                      <a:pt x="26" y="105"/>
                      <a:pt x="31" y="97"/>
                      <a:pt x="32" y="91"/>
                    </a:cubicBezTo>
                    <a:cubicBezTo>
                      <a:pt x="33" y="85"/>
                      <a:pt x="32" y="72"/>
                      <a:pt x="32" y="72"/>
                    </a:cubicBezTo>
                    <a:cubicBezTo>
                      <a:pt x="32" y="72"/>
                      <a:pt x="33" y="57"/>
                      <a:pt x="39" y="53"/>
                    </a:cubicBezTo>
                    <a:cubicBezTo>
                      <a:pt x="43" y="51"/>
                      <a:pt x="52" y="51"/>
                      <a:pt x="57" y="52"/>
                    </a:cubicBezTo>
                    <a:cubicBezTo>
                      <a:pt x="57" y="50"/>
                      <a:pt x="57" y="50"/>
                      <a:pt x="57" y="50"/>
                    </a:cubicBezTo>
                    <a:cubicBezTo>
                      <a:pt x="60" y="41"/>
                      <a:pt x="60" y="41"/>
                      <a:pt x="60" y="41"/>
                    </a:cubicBezTo>
                    <a:cubicBezTo>
                      <a:pt x="57" y="11"/>
                      <a:pt x="57" y="11"/>
                      <a:pt x="57" y="11"/>
                    </a:cubicBezTo>
                    <a:cubicBezTo>
                      <a:pt x="67" y="0"/>
                      <a:pt x="67" y="0"/>
                      <a:pt x="67" y="0"/>
                    </a:cubicBezTo>
                    <a:cubicBezTo>
                      <a:pt x="52" y="3"/>
                      <a:pt x="52" y="3"/>
                      <a:pt x="52" y="3"/>
                    </a:cubicBezTo>
                    <a:cubicBezTo>
                      <a:pt x="52" y="3"/>
                      <a:pt x="53" y="13"/>
                      <a:pt x="48" y="20"/>
                    </a:cubicBezTo>
                    <a:cubicBezTo>
                      <a:pt x="43" y="27"/>
                      <a:pt x="34" y="21"/>
                      <a:pt x="34" y="21"/>
                    </a:cubicBezTo>
                    <a:cubicBezTo>
                      <a:pt x="27" y="34"/>
                      <a:pt x="27" y="34"/>
                      <a:pt x="27" y="34"/>
                    </a:cubicBezTo>
                    <a:cubicBezTo>
                      <a:pt x="22" y="39"/>
                      <a:pt x="22" y="39"/>
                      <a:pt x="22" y="39"/>
                    </a:cubicBezTo>
                    <a:cubicBezTo>
                      <a:pt x="23" y="52"/>
                      <a:pt x="27" y="63"/>
                      <a:pt x="27" y="63"/>
                    </a:cubicBezTo>
                    <a:cubicBezTo>
                      <a:pt x="13" y="89"/>
                      <a:pt x="13" y="89"/>
                      <a:pt x="13" y="89"/>
                    </a:cubicBezTo>
                    <a:cubicBezTo>
                      <a:pt x="11" y="105"/>
                      <a:pt x="11" y="105"/>
                      <a:pt x="11" y="105"/>
                    </a:cubicBezTo>
                    <a:lnTo>
                      <a:pt x="0" y="113"/>
                    </a:lnTo>
                    <a:close/>
                  </a:path>
                </a:pathLst>
              </a:custGeom>
              <a:grpFill/>
              <a:ln w="9525" cmpd="sng">
                <a:solidFill>
                  <a:schemeClr val="bg1">
                    <a:lumMod val="75000"/>
                  </a:schemeClr>
                </a:solidFill>
                <a:round/>
                <a:headEnd/>
                <a:tailEnd/>
              </a:ln>
            </p:spPr>
            <p:txBody>
              <a:bodyPr/>
              <a:lstStyle/>
              <a:p>
                <a:pPr marL="0" marR="0" lvl="0" indent="0" algn="l" defTabSz="457200" rtl="0" eaLnBrk="0" fontAlgn="auto" latinLnBrk="0" hangingPunct="0">
                  <a:lnSpc>
                    <a:spcPct val="100000"/>
                  </a:lnSpc>
                  <a:spcBef>
                    <a:spcPct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sp>
          <p:nvSpPr>
            <p:cNvPr id="253" name="TextBox 252">
              <a:extLst>
                <a:ext uri="{FF2B5EF4-FFF2-40B4-BE49-F238E27FC236}">
                  <a16:creationId xmlns:a16="http://schemas.microsoft.com/office/drawing/2014/main" id="{FF334C18-4C5E-4E27-8AC4-6567E4D61EB0}"/>
                </a:ext>
              </a:extLst>
            </p:cNvPr>
            <p:cNvSpPr txBox="1"/>
            <p:nvPr/>
          </p:nvSpPr>
          <p:spPr>
            <a:xfrm>
              <a:off x="4036836" y="4368771"/>
              <a:ext cx="1524922" cy="119939"/>
            </a:xfrm>
            <a:prstGeom prst="rect">
              <a:avLst/>
            </a:prstGeom>
            <a:noFill/>
          </p:spPr>
          <p:txBody>
            <a:bodyPr wrap="square" lIns="0" tIns="0" rIns="0" bIns="0" rtlCol="0">
              <a:spAutoFit/>
            </a:bodyPr>
            <a:lstStyle>
              <a:defPPr>
                <a:defRPr lang="en-US"/>
              </a:defPPr>
              <a:lvl1pPr algn="r">
                <a:defRPr sz="800" b="1">
                  <a:solidFill>
                    <a:srgbClr val="000000"/>
                  </a:solidFill>
                  <a:latin typeface="+mn-lt"/>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S</a:t>
              </a:r>
              <a:r>
                <a:rPr kumimoji="0" lang="en-US" sz="900" b="1" i="0" u="none" strike="noStrike" kern="0" cap="none" spc="0" normalizeH="0" baseline="0" noProof="0" dirty="0">
                  <a:ln>
                    <a:noFill/>
                  </a:ln>
                  <a:solidFill>
                    <a:prstClr val="black"/>
                  </a:solidFill>
                  <a:effectLst/>
                  <a:uLnTx/>
                  <a:uFillTx/>
                  <a:latin typeface="Arial" panose="020B0604020202020204"/>
                  <a:ea typeface="+mn-ea"/>
                  <a:cs typeface="+mn-cs"/>
                </a:rPr>
                <a:t>ã</a:t>
              </a: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o Paulo</a:t>
              </a:r>
            </a:p>
          </p:txBody>
        </p:sp>
        <p:sp>
          <p:nvSpPr>
            <p:cNvPr id="254" name="Rectangle 936">
              <a:extLst>
                <a:ext uri="{FF2B5EF4-FFF2-40B4-BE49-F238E27FC236}">
                  <a16:creationId xmlns:a16="http://schemas.microsoft.com/office/drawing/2014/main" id="{E23A7DE0-5E5B-4ECF-BD92-92A8F62B1E18}"/>
                </a:ext>
              </a:extLst>
            </p:cNvPr>
            <p:cNvSpPr>
              <a:spLocks noChangeArrowheads="1"/>
            </p:cNvSpPr>
            <p:nvPr/>
          </p:nvSpPr>
          <p:spPr bwMode="auto">
            <a:xfrm>
              <a:off x="5787545" y="2810062"/>
              <a:ext cx="699792" cy="119939"/>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55" name="Rectangle 938">
              <a:extLst>
                <a:ext uri="{FF2B5EF4-FFF2-40B4-BE49-F238E27FC236}">
                  <a16:creationId xmlns:a16="http://schemas.microsoft.com/office/drawing/2014/main" id="{44D1D390-4261-4C61-9A9E-5B76EA6B2218}"/>
                </a:ext>
              </a:extLst>
            </p:cNvPr>
            <p:cNvSpPr>
              <a:spLocks noChangeArrowheads="1"/>
            </p:cNvSpPr>
            <p:nvPr/>
          </p:nvSpPr>
          <p:spPr bwMode="auto">
            <a:xfrm>
              <a:off x="7477265" y="3121429"/>
              <a:ext cx="878872" cy="239879"/>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Ahmedabad</a:t>
              </a:r>
              <a:b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b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 </a:t>
              </a:r>
            </a:p>
          </p:txBody>
        </p:sp>
        <p:sp>
          <p:nvSpPr>
            <p:cNvPr id="256" name="Rectangle 942">
              <a:extLst>
                <a:ext uri="{FF2B5EF4-FFF2-40B4-BE49-F238E27FC236}">
                  <a16:creationId xmlns:a16="http://schemas.microsoft.com/office/drawing/2014/main" id="{4EF7DA12-8024-4A00-BDA9-62A60DCA4642}"/>
                </a:ext>
              </a:extLst>
            </p:cNvPr>
            <p:cNvSpPr>
              <a:spLocks noChangeArrowheads="1"/>
            </p:cNvSpPr>
            <p:nvPr/>
          </p:nvSpPr>
          <p:spPr bwMode="auto">
            <a:xfrm>
              <a:off x="6795401" y="2956252"/>
              <a:ext cx="570762" cy="119939"/>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Dubai</a:t>
              </a:r>
            </a:p>
          </p:txBody>
        </p:sp>
        <p:sp>
          <p:nvSpPr>
            <p:cNvPr id="257" name="Rectangle 940">
              <a:extLst>
                <a:ext uri="{FF2B5EF4-FFF2-40B4-BE49-F238E27FC236}">
                  <a16:creationId xmlns:a16="http://schemas.microsoft.com/office/drawing/2014/main" id="{CAF5E124-6BE3-49B9-B9D4-5591DEC642BD}"/>
                </a:ext>
              </a:extLst>
            </p:cNvPr>
            <p:cNvSpPr>
              <a:spLocks noChangeArrowheads="1"/>
            </p:cNvSpPr>
            <p:nvPr/>
          </p:nvSpPr>
          <p:spPr bwMode="auto">
            <a:xfrm>
              <a:off x="7873214" y="3726482"/>
              <a:ext cx="830404" cy="119939"/>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Singapore</a:t>
              </a:r>
            </a:p>
          </p:txBody>
        </p:sp>
        <p:sp>
          <p:nvSpPr>
            <p:cNvPr id="258" name="Rectangle 949">
              <a:extLst>
                <a:ext uri="{FF2B5EF4-FFF2-40B4-BE49-F238E27FC236}">
                  <a16:creationId xmlns:a16="http://schemas.microsoft.com/office/drawing/2014/main" id="{11988A0C-8753-4433-92E7-1BA80AA05FF3}"/>
                </a:ext>
              </a:extLst>
            </p:cNvPr>
            <p:cNvSpPr>
              <a:spLocks noChangeArrowheads="1"/>
            </p:cNvSpPr>
            <p:nvPr/>
          </p:nvSpPr>
          <p:spPr bwMode="auto">
            <a:xfrm>
              <a:off x="8985243" y="3085927"/>
              <a:ext cx="869229" cy="119939"/>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Hong Kong</a:t>
              </a:r>
            </a:p>
          </p:txBody>
        </p:sp>
        <p:sp>
          <p:nvSpPr>
            <p:cNvPr id="259" name="Rectangle 951">
              <a:extLst>
                <a:ext uri="{FF2B5EF4-FFF2-40B4-BE49-F238E27FC236}">
                  <a16:creationId xmlns:a16="http://schemas.microsoft.com/office/drawing/2014/main" id="{E37016E9-81BC-4F25-89A2-51A4A86EDFC3}"/>
                </a:ext>
              </a:extLst>
            </p:cNvPr>
            <p:cNvSpPr>
              <a:spLocks noChangeArrowheads="1"/>
            </p:cNvSpPr>
            <p:nvPr/>
          </p:nvSpPr>
          <p:spPr bwMode="auto">
            <a:xfrm>
              <a:off x="9528889" y="2679551"/>
              <a:ext cx="491039" cy="119939"/>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Tokyo</a:t>
              </a:r>
            </a:p>
          </p:txBody>
        </p:sp>
        <p:sp>
          <p:nvSpPr>
            <p:cNvPr id="260" name="Rectangle 949">
              <a:extLst>
                <a:ext uri="{FF2B5EF4-FFF2-40B4-BE49-F238E27FC236}">
                  <a16:creationId xmlns:a16="http://schemas.microsoft.com/office/drawing/2014/main" id="{96EA7BCF-7CA7-4EEA-8EAF-566521016422}"/>
                </a:ext>
              </a:extLst>
            </p:cNvPr>
            <p:cNvSpPr>
              <a:spLocks noChangeArrowheads="1"/>
            </p:cNvSpPr>
            <p:nvPr/>
          </p:nvSpPr>
          <p:spPr bwMode="auto">
            <a:xfrm>
              <a:off x="8450464" y="2820867"/>
              <a:ext cx="836647" cy="119939"/>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Shanghai</a:t>
              </a:r>
            </a:p>
          </p:txBody>
        </p:sp>
        <p:sp>
          <p:nvSpPr>
            <p:cNvPr id="261" name="Rectangle 953">
              <a:extLst>
                <a:ext uri="{FF2B5EF4-FFF2-40B4-BE49-F238E27FC236}">
                  <a16:creationId xmlns:a16="http://schemas.microsoft.com/office/drawing/2014/main" id="{DD3F8892-B088-4294-BD4A-D3DD0166770D}"/>
                </a:ext>
              </a:extLst>
            </p:cNvPr>
            <p:cNvSpPr>
              <a:spLocks noChangeArrowheads="1"/>
            </p:cNvSpPr>
            <p:nvPr/>
          </p:nvSpPr>
          <p:spPr bwMode="auto">
            <a:xfrm>
              <a:off x="8151293" y="4760204"/>
              <a:ext cx="906216" cy="119939"/>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Perth</a:t>
              </a:r>
            </a:p>
          </p:txBody>
        </p:sp>
        <p:sp>
          <p:nvSpPr>
            <p:cNvPr id="262" name="Rectangle 934">
              <a:extLst>
                <a:ext uri="{FF2B5EF4-FFF2-40B4-BE49-F238E27FC236}">
                  <a16:creationId xmlns:a16="http://schemas.microsoft.com/office/drawing/2014/main" id="{20605E08-6F5C-4436-B835-0E0760FB0A64}"/>
                </a:ext>
              </a:extLst>
            </p:cNvPr>
            <p:cNvSpPr>
              <a:spLocks noChangeArrowheads="1"/>
            </p:cNvSpPr>
            <p:nvPr/>
          </p:nvSpPr>
          <p:spPr bwMode="auto">
            <a:xfrm>
              <a:off x="4611341" y="2072080"/>
              <a:ext cx="844935" cy="119939"/>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srgbClr val="000000"/>
                  </a:solidFill>
                  <a:effectLst/>
                  <a:uLnTx/>
                  <a:uFillTx/>
                  <a:latin typeface="Arial" panose="020B0604020202020204"/>
                  <a:ea typeface="+mn-ea"/>
                  <a:cs typeface="+mn-cs"/>
                </a:rPr>
                <a:t>London</a:t>
              </a:r>
              <a:endPar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63" name="Rectangle 934">
              <a:extLst>
                <a:ext uri="{FF2B5EF4-FFF2-40B4-BE49-F238E27FC236}">
                  <a16:creationId xmlns:a16="http://schemas.microsoft.com/office/drawing/2014/main" id="{A9C1C93A-F045-480C-9B4C-FB9AD6203443}"/>
                </a:ext>
              </a:extLst>
            </p:cNvPr>
            <p:cNvSpPr>
              <a:spLocks noChangeArrowheads="1"/>
            </p:cNvSpPr>
            <p:nvPr/>
          </p:nvSpPr>
          <p:spPr bwMode="auto">
            <a:xfrm>
              <a:off x="2431376" y="2190636"/>
              <a:ext cx="1168219" cy="119939"/>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srgbClr val="000000"/>
                  </a:solidFill>
                  <a:effectLst/>
                  <a:uLnTx/>
                  <a:uFillTx/>
                  <a:latin typeface="Arial" panose="020B0604020202020204"/>
                  <a:ea typeface="+mn-ea"/>
                  <a:cs typeface="+mn-cs"/>
                </a:rPr>
                <a:t>Toronto</a:t>
              </a:r>
            </a:p>
          </p:txBody>
        </p:sp>
        <p:sp>
          <p:nvSpPr>
            <p:cNvPr id="264" name="Rectangle 940">
              <a:extLst>
                <a:ext uri="{FF2B5EF4-FFF2-40B4-BE49-F238E27FC236}">
                  <a16:creationId xmlns:a16="http://schemas.microsoft.com/office/drawing/2014/main" id="{2264DCFF-7E46-40B4-AF1F-E652E53E2A10}"/>
                </a:ext>
              </a:extLst>
            </p:cNvPr>
            <p:cNvSpPr>
              <a:spLocks noChangeArrowheads="1"/>
            </p:cNvSpPr>
            <p:nvPr/>
          </p:nvSpPr>
          <p:spPr bwMode="auto">
            <a:xfrm>
              <a:off x="8363497" y="3271387"/>
              <a:ext cx="830404" cy="119939"/>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Manila</a:t>
              </a:r>
            </a:p>
          </p:txBody>
        </p:sp>
        <p:sp>
          <p:nvSpPr>
            <p:cNvPr id="266" name="Rectangle 934">
              <a:extLst>
                <a:ext uri="{FF2B5EF4-FFF2-40B4-BE49-F238E27FC236}">
                  <a16:creationId xmlns:a16="http://schemas.microsoft.com/office/drawing/2014/main" id="{34AF5BCA-A18B-4E44-89CE-3C709173787D}"/>
                </a:ext>
              </a:extLst>
            </p:cNvPr>
            <p:cNvSpPr>
              <a:spLocks noChangeArrowheads="1"/>
            </p:cNvSpPr>
            <p:nvPr/>
          </p:nvSpPr>
          <p:spPr bwMode="auto">
            <a:xfrm>
              <a:off x="5658558" y="1923561"/>
              <a:ext cx="815538" cy="119939"/>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srgbClr val="000000"/>
                  </a:solidFill>
                  <a:effectLst/>
                  <a:uLnTx/>
                  <a:uFillTx/>
                  <a:latin typeface="Arial" panose="020B0604020202020204"/>
                  <a:ea typeface="+mn-ea"/>
                  <a:cs typeface="+mn-cs"/>
                </a:rPr>
                <a:t>Stockholm</a:t>
              </a:r>
              <a:endPar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67" name="TextBox 266">
              <a:extLst>
                <a:ext uri="{FF2B5EF4-FFF2-40B4-BE49-F238E27FC236}">
                  <a16:creationId xmlns:a16="http://schemas.microsoft.com/office/drawing/2014/main" id="{F441E678-AD6E-4FA5-8FFC-2ECFB91B1E4D}"/>
                </a:ext>
              </a:extLst>
            </p:cNvPr>
            <p:cNvSpPr txBox="1"/>
            <p:nvPr/>
          </p:nvSpPr>
          <p:spPr>
            <a:xfrm>
              <a:off x="5669702" y="4667039"/>
              <a:ext cx="1524922" cy="119939"/>
            </a:xfrm>
            <a:prstGeom prst="rect">
              <a:avLst/>
            </a:prstGeom>
            <a:noFill/>
          </p:spPr>
          <p:txBody>
            <a:bodyPr wrap="square" lIns="0" tIns="0" rIns="0" bIns="0" rtlCol="0">
              <a:spAutoFit/>
            </a:bodyPr>
            <a:lstStyle>
              <a:defPPr>
                <a:defRPr lang="en-US"/>
              </a:defPPr>
              <a:lvl1pPr algn="r">
                <a:defRPr sz="800" b="1">
                  <a:solidFill>
                    <a:srgbClr val="000000"/>
                  </a:solidFill>
                  <a:latin typeface="+mn-lt"/>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Johannesburg</a:t>
              </a:r>
            </a:p>
          </p:txBody>
        </p:sp>
        <p:sp>
          <p:nvSpPr>
            <p:cNvPr id="268" name="Rectangle 940">
              <a:extLst>
                <a:ext uri="{FF2B5EF4-FFF2-40B4-BE49-F238E27FC236}">
                  <a16:creationId xmlns:a16="http://schemas.microsoft.com/office/drawing/2014/main" id="{275A2612-A263-4090-916E-41A4B7BE829C}"/>
                </a:ext>
              </a:extLst>
            </p:cNvPr>
            <p:cNvSpPr>
              <a:spLocks noChangeArrowheads="1"/>
            </p:cNvSpPr>
            <p:nvPr/>
          </p:nvSpPr>
          <p:spPr bwMode="auto">
            <a:xfrm>
              <a:off x="8589453" y="2486202"/>
              <a:ext cx="830404" cy="119939"/>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Seoul</a:t>
              </a:r>
            </a:p>
          </p:txBody>
        </p:sp>
        <p:sp>
          <p:nvSpPr>
            <p:cNvPr id="269" name="Rectangle 934">
              <a:extLst>
                <a:ext uri="{FF2B5EF4-FFF2-40B4-BE49-F238E27FC236}">
                  <a16:creationId xmlns:a16="http://schemas.microsoft.com/office/drawing/2014/main" id="{0F1E588A-B587-44C0-B2F2-4CA07B78305E}"/>
                </a:ext>
              </a:extLst>
            </p:cNvPr>
            <p:cNvSpPr>
              <a:spLocks noChangeArrowheads="1"/>
            </p:cNvSpPr>
            <p:nvPr/>
          </p:nvSpPr>
          <p:spPr bwMode="auto">
            <a:xfrm>
              <a:off x="6178242" y="1904367"/>
              <a:ext cx="815538" cy="119939"/>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srgbClr val="000000"/>
                  </a:solidFill>
                  <a:effectLst/>
                  <a:uLnTx/>
                  <a:uFillTx/>
                  <a:latin typeface="Arial" panose="020B0604020202020204"/>
                  <a:ea typeface="+mn-ea"/>
                  <a:cs typeface="+mn-cs"/>
                </a:rPr>
                <a:t>Moscow</a:t>
              </a:r>
              <a:endPar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70" name="Rectangle 934">
              <a:extLst>
                <a:ext uri="{FF2B5EF4-FFF2-40B4-BE49-F238E27FC236}">
                  <a16:creationId xmlns:a16="http://schemas.microsoft.com/office/drawing/2014/main" id="{1F6DF8BA-7222-4228-B43D-89B2FEBD0B2F}"/>
                </a:ext>
              </a:extLst>
            </p:cNvPr>
            <p:cNvSpPr>
              <a:spLocks noChangeArrowheads="1"/>
            </p:cNvSpPr>
            <p:nvPr/>
          </p:nvSpPr>
          <p:spPr bwMode="auto">
            <a:xfrm>
              <a:off x="4705772" y="2230422"/>
              <a:ext cx="844935" cy="138499"/>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srgbClr val="000000"/>
                  </a:solidFill>
                  <a:effectLst/>
                  <a:uLnTx/>
                  <a:uFillTx/>
                  <a:latin typeface="Arial" panose="020B0604020202020204"/>
                  <a:ea typeface="+mn-ea"/>
                  <a:cs typeface="+mn-cs"/>
                </a:rPr>
                <a:t>Paris </a:t>
              </a:r>
              <a:endPar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71" name="Rectangle 934">
              <a:extLst>
                <a:ext uri="{FF2B5EF4-FFF2-40B4-BE49-F238E27FC236}">
                  <a16:creationId xmlns:a16="http://schemas.microsoft.com/office/drawing/2014/main" id="{031376B5-998D-4943-BCC4-0D892E44ADD3}"/>
                </a:ext>
              </a:extLst>
            </p:cNvPr>
            <p:cNvSpPr>
              <a:spLocks noChangeArrowheads="1"/>
            </p:cNvSpPr>
            <p:nvPr/>
          </p:nvSpPr>
          <p:spPr bwMode="auto">
            <a:xfrm>
              <a:off x="5863018" y="2167277"/>
              <a:ext cx="844935" cy="138499"/>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srgbClr val="000000"/>
                  </a:solidFill>
                  <a:effectLst/>
                  <a:uLnTx/>
                  <a:uFillTx/>
                  <a:latin typeface="Arial" panose="020B0604020202020204"/>
                  <a:ea typeface="+mn-ea"/>
                  <a:cs typeface="+mn-cs"/>
                </a:rPr>
                <a:t>Frankfurt</a:t>
              </a:r>
              <a:endPar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72" name="Rectangle 938">
              <a:extLst>
                <a:ext uri="{FF2B5EF4-FFF2-40B4-BE49-F238E27FC236}">
                  <a16:creationId xmlns:a16="http://schemas.microsoft.com/office/drawing/2014/main" id="{4AA18B00-9009-4494-93BD-CB943D73101E}"/>
                </a:ext>
              </a:extLst>
            </p:cNvPr>
            <p:cNvSpPr>
              <a:spLocks noChangeArrowheads="1"/>
            </p:cNvSpPr>
            <p:nvPr/>
          </p:nvSpPr>
          <p:spPr bwMode="auto">
            <a:xfrm>
              <a:off x="7643393" y="2732893"/>
              <a:ext cx="774042" cy="119939"/>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Islamabad</a:t>
              </a:r>
            </a:p>
          </p:txBody>
        </p:sp>
        <p:sp>
          <p:nvSpPr>
            <p:cNvPr id="273" name="Rectangle 949">
              <a:extLst>
                <a:ext uri="{FF2B5EF4-FFF2-40B4-BE49-F238E27FC236}">
                  <a16:creationId xmlns:a16="http://schemas.microsoft.com/office/drawing/2014/main" id="{CCD1CB96-E289-4533-A73E-352320B33744}"/>
                </a:ext>
              </a:extLst>
            </p:cNvPr>
            <p:cNvSpPr>
              <a:spLocks noChangeArrowheads="1"/>
            </p:cNvSpPr>
            <p:nvPr/>
          </p:nvSpPr>
          <p:spPr bwMode="auto">
            <a:xfrm>
              <a:off x="8208443" y="2344698"/>
              <a:ext cx="836647" cy="119939"/>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Beijing</a:t>
              </a:r>
            </a:p>
          </p:txBody>
        </p:sp>
        <p:sp>
          <p:nvSpPr>
            <p:cNvPr id="274" name="Rectangle 953">
              <a:extLst>
                <a:ext uri="{FF2B5EF4-FFF2-40B4-BE49-F238E27FC236}">
                  <a16:creationId xmlns:a16="http://schemas.microsoft.com/office/drawing/2014/main" id="{329B767E-6561-47DA-978E-C2D3141717A5}"/>
                </a:ext>
              </a:extLst>
            </p:cNvPr>
            <p:cNvSpPr>
              <a:spLocks noChangeArrowheads="1"/>
            </p:cNvSpPr>
            <p:nvPr/>
          </p:nvSpPr>
          <p:spPr bwMode="auto">
            <a:xfrm>
              <a:off x="9218612" y="4816870"/>
              <a:ext cx="906216" cy="119939"/>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Melbourne</a:t>
              </a:r>
            </a:p>
          </p:txBody>
        </p:sp>
        <p:sp>
          <p:nvSpPr>
            <p:cNvPr id="275" name="Rectangle 953">
              <a:extLst>
                <a:ext uri="{FF2B5EF4-FFF2-40B4-BE49-F238E27FC236}">
                  <a16:creationId xmlns:a16="http://schemas.microsoft.com/office/drawing/2014/main" id="{2EADF202-16B9-4669-A799-BB5C999E35F2}"/>
                </a:ext>
              </a:extLst>
            </p:cNvPr>
            <p:cNvSpPr>
              <a:spLocks noChangeArrowheads="1"/>
            </p:cNvSpPr>
            <p:nvPr/>
          </p:nvSpPr>
          <p:spPr bwMode="auto">
            <a:xfrm>
              <a:off x="9481359" y="4638364"/>
              <a:ext cx="906216" cy="119939"/>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Sydney</a:t>
              </a:r>
            </a:p>
          </p:txBody>
        </p:sp>
        <p:sp>
          <p:nvSpPr>
            <p:cNvPr id="276" name="Rectangle 934">
              <a:extLst>
                <a:ext uri="{FF2B5EF4-FFF2-40B4-BE49-F238E27FC236}">
                  <a16:creationId xmlns:a16="http://schemas.microsoft.com/office/drawing/2014/main" id="{F3D51600-139D-4994-8AC5-BEA3D467A1CD}"/>
                </a:ext>
              </a:extLst>
            </p:cNvPr>
            <p:cNvSpPr>
              <a:spLocks noChangeArrowheads="1"/>
            </p:cNvSpPr>
            <p:nvPr/>
          </p:nvSpPr>
          <p:spPr bwMode="auto">
            <a:xfrm>
              <a:off x="1775326" y="2356294"/>
              <a:ext cx="1160015" cy="119939"/>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srgbClr val="000000"/>
                  </a:solidFill>
                  <a:effectLst/>
                  <a:uLnTx/>
                  <a:uFillTx/>
                  <a:latin typeface="Arial" panose="020B0604020202020204"/>
                  <a:ea typeface="+mn-ea"/>
                  <a:cs typeface="+mn-cs"/>
                </a:rPr>
                <a:t>Chicago</a:t>
              </a:r>
            </a:p>
          </p:txBody>
        </p:sp>
        <p:sp>
          <p:nvSpPr>
            <p:cNvPr id="277" name="Rectangle 934">
              <a:extLst>
                <a:ext uri="{FF2B5EF4-FFF2-40B4-BE49-F238E27FC236}">
                  <a16:creationId xmlns:a16="http://schemas.microsoft.com/office/drawing/2014/main" id="{7DB49093-1E09-427D-96FB-78BBA008BE17}"/>
                </a:ext>
              </a:extLst>
            </p:cNvPr>
            <p:cNvSpPr>
              <a:spLocks noChangeArrowheads="1"/>
            </p:cNvSpPr>
            <p:nvPr/>
          </p:nvSpPr>
          <p:spPr bwMode="auto">
            <a:xfrm>
              <a:off x="888613" y="2500438"/>
              <a:ext cx="1160015" cy="119939"/>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srgbClr val="000000"/>
                  </a:solidFill>
                  <a:effectLst/>
                  <a:uLnTx/>
                  <a:uFillTx/>
                  <a:latin typeface="Arial" panose="020B0604020202020204"/>
                  <a:ea typeface="+mn-ea"/>
                  <a:cs typeface="+mn-cs"/>
                </a:rPr>
                <a:t>San Francisco</a:t>
              </a:r>
            </a:p>
          </p:txBody>
        </p:sp>
        <p:sp>
          <p:nvSpPr>
            <p:cNvPr id="278" name="Rectangle 934">
              <a:extLst>
                <a:ext uri="{FF2B5EF4-FFF2-40B4-BE49-F238E27FC236}">
                  <a16:creationId xmlns:a16="http://schemas.microsoft.com/office/drawing/2014/main" id="{DD626169-2E5F-4089-B416-EBA78C991398}"/>
                </a:ext>
              </a:extLst>
            </p:cNvPr>
            <p:cNvSpPr>
              <a:spLocks noChangeArrowheads="1"/>
            </p:cNvSpPr>
            <p:nvPr/>
          </p:nvSpPr>
          <p:spPr bwMode="auto">
            <a:xfrm>
              <a:off x="1560494" y="2997456"/>
              <a:ext cx="1160015" cy="119939"/>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srgbClr val="000000"/>
                  </a:solidFill>
                  <a:effectLst/>
                  <a:uLnTx/>
                  <a:uFillTx/>
                  <a:latin typeface="Arial" panose="020B0604020202020204"/>
                  <a:ea typeface="+mn-ea"/>
                  <a:cs typeface="+mn-cs"/>
                </a:rPr>
                <a:t>Mexico City</a:t>
              </a:r>
            </a:p>
          </p:txBody>
        </p:sp>
        <p:sp>
          <p:nvSpPr>
            <p:cNvPr id="279" name="Rectangle 934">
              <a:extLst>
                <a:ext uri="{FF2B5EF4-FFF2-40B4-BE49-F238E27FC236}">
                  <a16:creationId xmlns:a16="http://schemas.microsoft.com/office/drawing/2014/main" id="{D605050D-3469-4ABC-B315-BE841164C32C}"/>
                </a:ext>
              </a:extLst>
            </p:cNvPr>
            <p:cNvSpPr>
              <a:spLocks noChangeArrowheads="1"/>
            </p:cNvSpPr>
            <p:nvPr/>
          </p:nvSpPr>
          <p:spPr bwMode="auto">
            <a:xfrm>
              <a:off x="1999884" y="2722708"/>
              <a:ext cx="666452" cy="119939"/>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srgbClr val="000000"/>
                  </a:solidFill>
                  <a:effectLst/>
                  <a:uLnTx/>
                  <a:uFillTx/>
                  <a:latin typeface="Arial" panose="020B0604020202020204"/>
                  <a:ea typeface="+mn-ea"/>
                  <a:cs typeface="+mn-cs"/>
                </a:rPr>
                <a:t>Dallas</a:t>
              </a:r>
            </a:p>
          </p:txBody>
        </p:sp>
        <p:sp>
          <p:nvSpPr>
            <p:cNvPr id="280" name="Rectangle 934">
              <a:extLst>
                <a:ext uri="{FF2B5EF4-FFF2-40B4-BE49-F238E27FC236}">
                  <a16:creationId xmlns:a16="http://schemas.microsoft.com/office/drawing/2014/main" id="{0D81E278-56C8-4D7A-AD65-A2B8223D089B}"/>
                </a:ext>
              </a:extLst>
            </p:cNvPr>
            <p:cNvSpPr>
              <a:spLocks noChangeArrowheads="1"/>
            </p:cNvSpPr>
            <p:nvPr/>
          </p:nvSpPr>
          <p:spPr bwMode="auto">
            <a:xfrm>
              <a:off x="3189360" y="2386694"/>
              <a:ext cx="908195" cy="119939"/>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srgbClr val="000000"/>
                  </a:solidFill>
                  <a:effectLst/>
                  <a:uLnTx/>
                  <a:uFillTx/>
                  <a:latin typeface="Arial" panose="020B0604020202020204"/>
                  <a:ea typeface="+mn-ea"/>
                  <a:cs typeface="+mn-cs"/>
                </a:rPr>
                <a:t>Boston</a:t>
              </a:r>
            </a:p>
          </p:txBody>
        </p:sp>
        <p:sp>
          <p:nvSpPr>
            <p:cNvPr id="281" name="Rectangle 934">
              <a:extLst>
                <a:ext uri="{FF2B5EF4-FFF2-40B4-BE49-F238E27FC236}">
                  <a16:creationId xmlns:a16="http://schemas.microsoft.com/office/drawing/2014/main" id="{6E7E3E8D-EA93-4E7E-9ACA-3487B681323E}"/>
                </a:ext>
              </a:extLst>
            </p:cNvPr>
            <p:cNvSpPr>
              <a:spLocks noChangeArrowheads="1"/>
            </p:cNvSpPr>
            <p:nvPr/>
          </p:nvSpPr>
          <p:spPr bwMode="auto">
            <a:xfrm>
              <a:off x="3190237" y="2319041"/>
              <a:ext cx="1168219" cy="119939"/>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srgbClr val="000000"/>
                  </a:solidFill>
                  <a:effectLst/>
                  <a:uLnTx/>
                  <a:uFillTx/>
                  <a:latin typeface="Arial" panose="020B0604020202020204"/>
                  <a:ea typeface="+mn-ea"/>
                  <a:cs typeface="+mn-cs"/>
                </a:rPr>
                <a:t>Halifax</a:t>
              </a:r>
            </a:p>
          </p:txBody>
        </p:sp>
        <p:sp>
          <p:nvSpPr>
            <p:cNvPr id="282" name="Rectangle 934">
              <a:extLst>
                <a:ext uri="{FF2B5EF4-FFF2-40B4-BE49-F238E27FC236}">
                  <a16:creationId xmlns:a16="http://schemas.microsoft.com/office/drawing/2014/main" id="{9C2EB581-014C-4BDC-A61E-EA305B9ADB4C}"/>
                </a:ext>
              </a:extLst>
            </p:cNvPr>
            <p:cNvSpPr>
              <a:spLocks noChangeArrowheads="1"/>
            </p:cNvSpPr>
            <p:nvPr/>
          </p:nvSpPr>
          <p:spPr bwMode="auto">
            <a:xfrm>
              <a:off x="2966168" y="2664432"/>
              <a:ext cx="1168219" cy="119939"/>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srgbClr val="000000"/>
                  </a:solidFill>
                  <a:effectLst/>
                  <a:uLnTx/>
                  <a:uFillTx/>
                  <a:latin typeface="Arial" panose="020B0604020202020204"/>
                  <a:ea typeface="+mn-ea"/>
                  <a:cs typeface="+mn-cs"/>
                </a:rPr>
                <a:t>Washington, D.C.</a:t>
              </a:r>
            </a:p>
          </p:txBody>
        </p:sp>
        <p:sp>
          <p:nvSpPr>
            <p:cNvPr id="283" name="Rectangle 934">
              <a:extLst>
                <a:ext uri="{FF2B5EF4-FFF2-40B4-BE49-F238E27FC236}">
                  <a16:creationId xmlns:a16="http://schemas.microsoft.com/office/drawing/2014/main" id="{B37BD4E3-8FE6-4A62-91EA-37FF84474583}"/>
                </a:ext>
              </a:extLst>
            </p:cNvPr>
            <p:cNvSpPr>
              <a:spLocks noChangeArrowheads="1"/>
            </p:cNvSpPr>
            <p:nvPr/>
          </p:nvSpPr>
          <p:spPr bwMode="auto">
            <a:xfrm>
              <a:off x="3250174" y="2556434"/>
              <a:ext cx="908195" cy="119939"/>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srgbClr val="000000"/>
                  </a:solidFill>
                  <a:effectLst/>
                  <a:uLnTx/>
                  <a:uFillTx/>
                  <a:latin typeface="Arial" panose="020B0604020202020204"/>
                  <a:ea typeface="+mn-ea"/>
                  <a:cs typeface="+mn-cs"/>
                </a:rPr>
                <a:t>New York</a:t>
              </a:r>
            </a:p>
          </p:txBody>
        </p:sp>
        <p:sp>
          <p:nvSpPr>
            <p:cNvPr id="284" name="Rectangle 934">
              <a:extLst>
                <a:ext uri="{FF2B5EF4-FFF2-40B4-BE49-F238E27FC236}">
                  <a16:creationId xmlns:a16="http://schemas.microsoft.com/office/drawing/2014/main" id="{608DF99C-A4D4-42A9-ACE8-B504237E4D44}"/>
                </a:ext>
              </a:extLst>
            </p:cNvPr>
            <p:cNvSpPr>
              <a:spLocks noChangeArrowheads="1"/>
            </p:cNvSpPr>
            <p:nvPr/>
          </p:nvSpPr>
          <p:spPr bwMode="auto">
            <a:xfrm>
              <a:off x="2431376" y="2786210"/>
              <a:ext cx="1168219" cy="119939"/>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srgbClr val="000000"/>
                  </a:solidFill>
                  <a:effectLst/>
                  <a:uLnTx/>
                  <a:uFillTx/>
                  <a:latin typeface="Arial" panose="020B0604020202020204"/>
                  <a:ea typeface="+mn-ea"/>
                  <a:cs typeface="+mn-cs"/>
                </a:rPr>
                <a:t>Charlottesville</a:t>
              </a:r>
            </a:p>
          </p:txBody>
        </p:sp>
        <p:sp>
          <p:nvSpPr>
            <p:cNvPr id="285" name="Oval 284">
              <a:extLst>
                <a:ext uri="{FF2B5EF4-FFF2-40B4-BE49-F238E27FC236}">
                  <a16:creationId xmlns:a16="http://schemas.microsoft.com/office/drawing/2014/main" id="{B22E383F-EB72-485A-99A8-3BB16365985F}"/>
                </a:ext>
              </a:extLst>
            </p:cNvPr>
            <p:cNvSpPr/>
            <p:nvPr/>
          </p:nvSpPr>
          <p:spPr>
            <a:xfrm>
              <a:off x="3271171" y="2341313"/>
              <a:ext cx="50997" cy="50997"/>
            </a:xfrm>
            <a:prstGeom prst="ellipse">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286" name="Oval 285">
              <a:extLst>
                <a:ext uri="{FF2B5EF4-FFF2-40B4-BE49-F238E27FC236}">
                  <a16:creationId xmlns:a16="http://schemas.microsoft.com/office/drawing/2014/main" id="{1C7F91A8-90C8-46D5-8E33-A91C443B9C9C}"/>
                </a:ext>
              </a:extLst>
            </p:cNvPr>
            <p:cNvSpPr/>
            <p:nvPr/>
          </p:nvSpPr>
          <p:spPr>
            <a:xfrm>
              <a:off x="3988762" y="2248851"/>
              <a:ext cx="50997" cy="50997"/>
            </a:xfrm>
            <a:prstGeom prst="ellipse">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287" name="Oval 286">
              <a:extLst>
                <a:ext uri="{FF2B5EF4-FFF2-40B4-BE49-F238E27FC236}">
                  <a16:creationId xmlns:a16="http://schemas.microsoft.com/office/drawing/2014/main" id="{B56B7274-02BB-4379-A072-E4CB5B5EF670}"/>
                </a:ext>
              </a:extLst>
            </p:cNvPr>
            <p:cNvSpPr/>
            <p:nvPr/>
          </p:nvSpPr>
          <p:spPr>
            <a:xfrm>
              <a:off x="3243648" y="2504887"/>
              <a:ext cx="50997" cy="50997"/>
            </a:xfrm>
            <a:prstGeom prst="ellipse">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288" name="Oval 287">
              <a:extLst>
                <a:ext uri="{FF2B5EF4-FFF2-40B4-BE49-F238E27FC236}">
                  <a16:creationId xmlns:a16="http://schemas.microsoft.com/office/drawing/2014/main" id="{F601C1ED-61A9-4780-A982-7D93F1055714}"/>
                </a:ext>
              </a:extLst>
            </p:cNvPr>
            <p:cNvSpPr/>
            <p:nvPr/>
          </p:nvSpPr>
          <p:spPr>
            <a:xfrm>
              <a:off x="3158579" y="2620341"/>
              <a:ext cx="50997" cy="50997"/>
            </a:xfrm>
            <a:prstGeom prst="ellipse">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289" name="Oval 288">
              <a:extLst>
                <a:ext uri="{FF2B5EF4-FFF2-40B4-BE49-F238E27FC236}">
                  <a16:creationId xmlns:a16="http://schemas.microsoft.com/office/drawing/2014/main" id="{896A9AB2-1287-4787-8DAA-F968B6FD0B14}"/>
                </a:ext>
              </a:extLst>
            </p:cNvPr>
            <p:cNvSpPr/>
            <p:nvPr/>
          </p:nvSpPr>
          <p:spPr>
            <a:xfrm>
              <a:off x="3171065" y="2517642"/>
              <a:ext cx="50997" cy="50997"/>
            </a:xfrm>
            <a:prstGeom prst="ellipse">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290" name="Oval 289">
              <a:extLst>
                <a:ext uri="{FF2B5EF4-FFF2-40B4-BE49-F238E27FC236}">
                  <a16:creationId xmlns:a16="http://schemas.microsoft.com/office/drawing/2014/main" id="{13F12C0B-6545-4BD4-8FEA-099F0B4A6DDA}"/>
                </a:ext>
              </a:extLst>
            </p:cNvPr>
            <p:cNvSpPr/>
            <p:nvPr/>
          </p:nvSpPr>
          <p:spPr>
            <a:xfrm>
              <a:off x="2948147" y="2434333"/>
              <a:ext cx="50997" cy="50997"/>
            </a:xfrm>
            <a:prstGeom prst="ellipse">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291" name="Rectangle 934">
              <a:extLst>
                <a:ext uri="{FF2B5EF4-FFF2-40B4-BE49-F238E27FC236}">
                  <a16:creationId xmlns:a16="http://schemas.microsoft.com/office/drawing/2014/main" id="{A5922BC5-402B-451E-94AD-1374F06A990B}"/>
                </a:ext>
              </a:extLst>
            </p:cNvPr>
            <p:cNvSpPr>
              <a:spLocks noChangeArrowheads="1"/>
            </p:cNvSpPr>
            <p:nvPr/>
          </p:nvSpPr>
          <p:spPr bwMode="auto">
            <a:xfrm>
              <a:off x="1323835" y="2444355"/>
              <a:ext cx="1160015" cy="119939"/>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srgbClr val="000000"/>
                  </a:solidFill>
                  <a:effectLst/>
                  <a:uLnTx/>
                  <a:uFillTx/>
                  <a:latin typeface="Arial" panose="020B0604020202020204"/>
                  <a:ea typeface="+mn-ea"/>
                  <a:cs typeface="+mn-cs"/>
                </a:rPr>
                <a:t>Denver</a:t>
              </a:r>
            </a:p>
          </p:txBody>
        </p:sp>
        <p:sp>
          <p:nvSpPr>
            <p:cNvPr id="292" name="Oval 291">
              <a:extLst>
                <a:ext uri="{FF2B5EF4-FFF2-40B4-BE49-F238E27FC236}">
                  <a16:creationId xmlns:a16="http://schemas.microsoft.com/office/drawing/2014/main" id="{AF0FB6B0-2569-4C75-A718-CF2174A83B9E}"/>
                </a:ext>
              </a:extLst>
            </p:cNvPr>
            <p:cNvSpPr/>
            <p:nvPr/>
          </p:nvSpPr>
          <p:spPr>
            <a:xfrm>
              <a:off x="2507281" y="2524844"/>
              <a:ext cx="50997" cy="50997"/>
            </a:xfrm>
            <a:prstGeom prst="ellipse">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293" name="Oval 292">
              <a:extLst>
                <a:ext uri="{FF2B5EF4-FFF2-40B4-BE49-F238E27FC236}">
                  <a16:creationId xmlns:a16="http://schemas.microsoft.com/office/drawing/2014/main" id="{9835115A-75AE-423B-851F-45DA4367BF06}"/>
                </a:ext>
              </a:extLst>
            </p:cNvPr>
            <p:cNvSpPr/>
            <p:nvPr/>
          </p:nvSpPr>
          <p:spPr>
            <a:xfrm>
              <a:off x="1884487" y="2638650"/>
              <a:ext cx="50997" cy="50997"/>
            </a:xfrm>
            <a:prstGeom prst="ellipse">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294" name="Oval 293">
              <a:extLst>
                <a:ext uri="{FF2B5EF4-FFF2-40B4-BE49-F238E27FC236}">
                  <a16:creationId xmlns:a16="http://schemas.microsoft.com/office/drawing/2014/main" id="{0C10B475-7E97-446D-A707-87AAE9492E9A}"/>
                </a:ext>
              </a:extLst>
            </p:cNvPr>
            <p:cNvSpPr/>
            <p:nvPr/>
          </p:nvSpPr>
          <p:spPr>
            <a:xfrm>
              <a:off x="2683682" y="2696119"/>
              <a:ext cx="50997" cy="50997"/>
            </a:xfrm>
            <a:prstGeom prst="ellipse">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295" name="Oval 294">
              <a:extLst>
                <a:ext uri="{FF2B5EF4-FFF2-40B4-BE49-F238E27FC236}">
                  <a16:creationId xmlns:a16="http://schemas.microsoft.com/office/drawing/2014/main" id="{318A37C2-9502-47A8-B353-296A527B4858}"/>
                </a:ext>
              </a:extLst>
            </p:cNvPr>
            <p:cNvSpPr/>
            <p:nvPr/>
          </p:nvSpPr>
          <p:spPr>
            <a:xfrm>
              <a:off x="2366355" y="3154364"/>
              <a:ext cx="50997" cy="50997"/>
            </a:xfrm>
            <a:prstGeom prst="ellipse">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296" name="Oval 295">
              <a:extLst>
                <a:ext uri="{FF2B5EF4-FFF2-40B4-BE49-F238E27FC236}">
                  <a16:creationId xmlns:a16="http://schemas.microsoft.com/office/drawing/2014/main" id="{6C4A8A1D-99D1-48CD-BA59-CB49C612ADA6}"/>
                </a:ext>
              </a:extLst>
            </p:cNvPr>
            <p:cNvSpPr/>
            <p:nvPr/>
          </p:nvSpPr>
          <p:spPr>
            <a:xfrm>
              <a:off x="3321929" y="2521542"/>
              <a:ext cx="50997" cy="50997"/>
            </a:xfrm>
            <a:prstGeom prst="ellipse">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297" name="Oval 296">
              <a:extLst>
                <a:ext uri="{FF2B5EF4-FFF2-40B4-BE49-F238E27FC236}">
                  <a16:creationId xmlns:a16="http://schemas.microsoft.com/office/drawing/2014/main" id="{7DEDF8D3-8680-4D7A-AA10-2F199E438F9C}"/>
                </a:ext>
              </a:extLst>
            </p:cNvPr>
            <p:cNvSpPr/>
            <p:nvPr/>
          </p:nvSpPr>
          <p:spPr>
            <a:xfrm>
              <a:off x="5489566" y="2153791"/>
              <a:ext cx="50997" cy="50997"/>
            </a:xfrm>
            <a:prstGeom prst="ellipse">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298" name="Oval 297">
              <a:extLst>
                <a:ext uri="{FF2B5EF4-FFF2-40B4-BE49-F238E27FC236}">
                  <a16:creationId xmlns:a16="http://schemas.microsoft.com/office/drawing/2014/main" id="{92660A76-2079-4D58-84F3-54D2C6DB59DE}"/>
                </a:ext>
              </a:extLst>
            </p:cNvPr>
            <p:cNvSpPr/>
            <p:nvPr/>
          </p:nvSpPr>
          <p:spPr>
            <a:xfrm>
              <a:off x="5571818" y="2231568"/>
              <a:ext cx="50997" cy="50997"/>
            </a:xfrm>
            <a:prstGeom prst="ellipse">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299" name="Oval 298">
              <a:extLst>
                <a:ext uri="{FF2B5EF4-FFF2-40B4-BE49-F238E27FC236}">
                  <a16:creationId xmlns:a16="http://schemas.microsoft.com/office/drawing/2014/main" id="{AB9572AC-92AC-4A90-AD17-C791FD8361F9}"/>
                </a:ext>
              </a:extLst>
            </p:cNvPr>
            <p:cNvSpPr/>
            <p:nvPr/>
          </p:nvSpPr>
          <p:spPr>
            <a:xfrm>
              <a:off x="5402677" y="2507685"/>
              <a:ext cx="50997" cy="50997"/>
            </a:xfrm>
            <a:prstGeom prst="ellipse">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300" name="Oval 299">
              <a:extLst>
                <a:ext uri="{FF2B5EF4-FFF2-40B4-BE49-F238E27FC236}">
                  <a16:creationId xmlns:a16="http://schemas.microsoft.com/office/drawing/2014/main" id="{5593A3AF-4E6B-41D5-B3F5-9A88AB8B4549}"/>
                </a:ext>
              </a:extLst>
            </p:cNvPr>
            <p:cNvSpPr/>
            <p:nvPr/>
          </p:nvSpPr>
          <p:spPr>
            <a:xfrm>
              <a:off x="5748605" y="2366346"/>
              <a:ext cx="50997" cy="50997"/>
            </a:xfrm>
            <a:prstGeom prst="ellipse">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301" name="Oval 300">
              <a:extLst>
                <a:ext uri="{FF2B5EF4-FFF2-40B4-BE49-F238E27FC236}">
                  <a16:creationId xmlns:a16="http://schemas.microsoft.com/office/drawing/2014/main" id="{6020A1D7-6031-432C-BF34-D563936E087B}"/>
                </a:ext>
              </a:extLst>
            </p:cNvPr>
            <p:cNvSpPr/>
            <p:nvPr/>
          </p:nvSpPr>
          <p:spPr>
            <a:xfrm>
              <a:off x="5769283" y="2246663"/>
              <a:ext cx="50997" cy="50997"/>
            </a:xfrm>
            <a:prstGeom prst="ellipse">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302" name="Oval 301">
              <a:extLst>
                <a:ext uri="{FF2B5EF4-FFF2-40B4-BE49-F238E27FC236}">
                  <a16:creationId xmlns:a16="http://schemas.microsoft.com/office/drawing/2014/main" id="{4398C5EA-B561-4AA2-938C-33A287CEC95B}"/>
                </a:ext>
              </a:extLst>
            </p:cNvPr>
            <p:cNvSpPr/>
            <p:nvPr/>
          </p:nvSpPr>
          <p:spPr>
            <a:xfrm>
              <a:off x="5956002" y="1872979"/>
              <a:ext cx="50997" cy="50997"/>
            </a:xfrm>
            <a:prstGeom prst="ellipse">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303" name="Oval 302">
              <a:extLst>
                <a:ext uri="{FF2B5EF4-FFF2-40B4-BE49-F238E27FC236}">
                  <a16:creationId xmlns:a16="http://schemas.microsoft.com/office/drawing/2014/main" id="{1BC04A5C-862C-489E-BF25-F85700419B68}"/>
                </a:ext>
              </a:extLst>
            </p:cNvPr>
            <p:cNvSpPr/>
            <p:nvPr/>
          </p:nvSpPr>
          <p:spPr>
            <a:xfrm>
              <a:off x="6529367" y="2037915"/>
              <a:ext cx="50997" cy="50997"/>
            </a:xfrm>
            <a:prstGeom prst="ellipse">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304" name="Oval 303">
              <a:extLst>
                <a:ext uri="{FF2B5EF4-FFF2-40B4-BE49-F238E27FC236}">
                  <a16:creationId xmlns:a16="http://schemas.microsoft.com/office/drawing/2014/main" id="{724F448C-270F-40AF-AF6F-62D96E105641}"/>
                </a:ext>
              </a:extLst>
            </p:cNvPr>
            <p:cNvSpPr/>
            <p:nvPr/>
          </p:nvSpPr>
          <p:spPr>
            <a:xfrm>
              <a:off x="7183825" y="2985035"/>
              <a:ext cx="50997" cy="50997"/>
            </a:xfrm>
            <a:prstGeom prst="ellipse">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305" name="Oval 304">
              <a:extLst>
                <a:ext uri="{FF2B5EF4-FFF2-40B4-BE49-F238E27FC236}">
                  <a16:creationId xmlns:a16="http://schemas.microsoft.com/office/drawing/2014/main" id="{442791E4-3D7D-4D3B-BC61-DF9D02287BB3}"/>
                </a:ext>
              </a:extLst>
            </p:cNvPr>
            <p:cNvSpPr/>
            <p:nvPr/>
          </p:nvSpPr>
          <p:spPr>
            <a:xfrm>
              <a:off x="7800083" y="2877082"/>
              <a:ext cx="50997" cy="50997"/>
            </a:xfrm>
            <a:prstGeom prst="ellipse">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306" name="Oval 305">
              <a:extLst>
                <a:ext uri="{FF2B5EF4-FFF2-40B4-BE49-F238E27FC236}">
                  <a16:creationId xmlns:a16="http://schemas.microsoft.com/office/drawing/2014/main" id="{525C2872-FCF0-4C36-A6E1-2D4A70DD7A3F}"/>
                </a:ext>
              </a:extLst>
            </p:cNvPr>
            <p:cNvSpPr/>
            <p:nvPr/>
          </p:nvSpPr>
          <p:spPr>
            <a:xfrm>
              <a:off x="7678778" y="3076191"/>
              <a:ext cx="50997" cy="50997"/>
            </a:xfrm>
            <a:prstGeom prst="ellipse">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307" name="Oval 306">
              <a:extLst>
                <a:ext uri="{FF2B5EF4-FFF2-40B4-BE49-F238E27FC236}">
                  <a16:creationId xmlns:a16="http://schemas.microsoft.com/office/drawing/2014/main" id="{52626548-DCA5-44FC-BF08-806DFAB0CDB2}"/>
                </a:ext>
              </a:extLst>
            </p:cNvPr>
            <p:cNvSpPr/>
            <p:nvPr/>
          </p:nvSpPr>
          <p:spPr>
            <a:xfrm>
              <a:off x="7687673" y="2691872"/>
              <a:ext cx="50997" cy="50997"/>
            </a:xfrm>
            <a:prstGeom prst="ellipse">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308" name="Oval 307">
              <a:extLst>
                <a:ext uri="{FF2B5EF4-FFF2-40B4-BE49-F238E27FC236}">
                  <a16:creationId xmlns:a16="http://schemas.microsoft.com/office/drawing/2014/main" id="{64625E02-A81C-4517-BD1B-D052740E9E6D}"/>
                </a:ext>
              </a:extLst>
            </p:cNvPr>
            <p:cNvSpPr/>
            <p:nvPr/>
          </p:nvSpPr>
          <p:spPr>
            <a:xfrm>
              <a:off x="9108407" y="2762650"/>
              <a:ext cx="50997" cy="50997"/>
            </a:xfrm>
            <a:prstGeom prst="ellipse">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309" name="Oval 308">
              <a:extLst>
                <a:ext uri="{FF2B5EF4-FFF2-40B4-BE49-F238E27FC236}">
                  <a16:creationId xmlns:a16="http://schemas.microsoft.com/office/drawing/2014/main" id="{23712874-1A5D-4DC0-B693-416D6153CA04}"/>
                </a:ext>
              </a:extLst>
            </p:cNvPr>
            <p:cNvSpPr/>
            <p:nvPr/>
          </p:nvSpPr>
          <p:spPr>
            <a:xfrm>
              <a:off x="8922078" y="2485323"/>
              <a:ext cx="50997" cy="50997"/>
            </a:xfrm>
            <a:prstGeom prst="ellipse">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310" name="Oval 309">
              <a:extLst>
                <a:ext uri="{FF2B5EF4-FFF2-40B4-BE49-F238E27FC236}">
                  <a16:creationId xmlns:a16="http://schemas.microsoft.com/office/drawing/2014/main" id="{7EDB42E3-629C-4F39-91EB-D8443CA82237}"/>
                </a:ext>
              </a:extLst>
            </p:cNvPr>
            <p:cNvSpPr/>
            <p:nvPr/>
          </p:nvSpPr>
          <p:spPr>
            <a:xfrm>
              <a:off x="9211788" y="2642074"/>
              <a:ext cx="50997" cy="50997"/>
            </a:xfrm>
            <a:prstGeom prst="ellipse">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311" name="Oval 310">
              <a:extLst>
                <a:ext uri="{FF2B5EF4-FFF2-40B4-BE49-F238E27FC236}">
                  <a16:creationId xmlns:a16="http://schemas.microsoft.com/office/drawing/2014/main" id="{59779BB2-6503-4E98-92F0-793DC6A502EA}"/>
                </a:ext>
              </a:extLst>
            </p:cNvPr>
            <p:cNvSpPr/>
            <p:nvPr/>
          </p:nvSpPr>
          <p:spPr>
            <a:xfrm>
              <a:off x="9632583" y="2619509"/>
              <a:ext cx="50997" cy="50997"/>
            </a:xfrm>
            <a:prstGeom prst="ellipse">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312" name="Oval 311">
              <a:extLst>
                <a:ext uri="{FF2B5EF4-FFF2-40B4-BE49-F238E27FC236}">
                  <a16:creationId xmlns:a16="http://schemas.microsoft.com/office/drawing/2014/main" id="{7E17BEAE-AF1E-493A-B221-59FA827E2996}"/>
                </a:ext>
              </a:extLst>
            </p:cNvPr>
            <p:cNvSpPr/>
            <p:nvPr/>
          </p:nvSpPr>
          <p:spPr>
            <a:xfrm>
              <a:off x="9041472" y="3043835"/>
              <a:ext cx="50997" cy="50997"/>
            </a:xfrm>
            <a:prstGeom prst="ellipse">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313" name="Oval 312">
              <a:extLst>
                <a:ext uri="{FF2B5EF4-FFF2-40B4-BE49-F238E27FC236}">
                  <a16:creationId xmlns:a16="http://schemas.microsoft.com/office/drawing/2014/main" id="{C042DEC8-8A22-4A0E-ABFE-717483D3656D}"/>
                </a:ext>
              </a:extLst>
            </p:cNvPr>
            <p:cNvSpPr/>
            <p:nvPr/>
          </p:nvSpPr>
          <p:spPr>
            <a:xfrm>
              <a:off x="9218039" y="3297479"/>
              <a:ext cx="50997" cy="50997"/>
            </a:xfrm>
            <a:prstGeom prst="ellipse">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314" name="Oval 313">
              <a:extLst>
                <a:ext uri="{FF2B5EF4-FFF2-40B4-BE49-F238E27FC236}">
                  <a16:creationId xmlns:a16="http://schemas.microsoft.com/office/drawing/2014/main" id="{59A0B3FC-424F-4F52-9258-87866F88C36D}"/>
                </a:ext>
              </a:extLst>
            </p:cNvPr>
            <p:cNvSpPr/>
            <p:nvPr/>
          </p:nvSpPr>
          <p:spPr>
            <a:xfrm>
              <a:off x="8729674" y="3713175"/>
              <a:ext cx="50997" cy="50997"/>
            </a:xfrm>
            <a:prstGeom prst="ellipse">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315" name="Oval 314">
              <a:extLst>
                <a:ext uri="{FF2B5EF4-FFF2-40B4-BE49-F238E27FC236}">
                  <a16:creationId xmlns:a16="http://schemas.microsoft.com/office/drawing/2014/main" id="{1239AD95-9CD9-43B4-B3E0-2DD98D5EB4F2}"/>
                </a:ext>
              </a:extLst>
            </p:cNvPr>
            <p:cNvSpPr/>
            <p:nvPr/>
          </p:nvSpPr>
          <p:spPr>
            <a:xfrm>
              <a:off x="10022256" y="4800367"/>
              <a:ext cx="50997" cy="50997"/>
            </a:xfrm>
            <a:prstGeom prst="ellipse">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317" name="Oval 316">
              <a:extLst>
                <a:ext uri="{FF2B5EF4-FFF2-40B4-BE49-F238E27FC236}">
                  <a16:creationId xmlns:a16="http://schemas.microsoft.com/office/drawing/2014/main" id="{2F169142-F001-4211-91DD-AE8D8CAB5A02}"/>
                </a:ext>
              </a:extLst>
            </p:cNvPr>
            <p:cNvSpPr/>
            <p:nvPr/>
          </p:nvSpPr>
          <p:spPr>
            <a:xfrm>
              <a:off x="8936942" y="4698123"/>
              <a:ext cx="50997" cy="50997"/>
            </a:xfrm>
            <a:prstGeom prst="ellipse">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318" name="Oval 317">
              <a:extLst>
                <a:ext uri="{FF2B5EF4-FFF2-40B4-BE49-F238E27FC236}">
                  <a16:creationId xmlns:a16="http://schemas.microsoft.com/office/drawing/2014/main" id="{F63B8825-DE14-4494-B056-46671231E72D}"/>
                </a:ext>
              </a:extLst>
            </p:cNvPr>
            <p:cNvSpPr/>
            <p:nvPr/>
          </p:nvSpPr>
          <p:spPr>
            <a:xfrm>
              <a:off x="6313446" y="4577580"/>
              <a:ext cx="50997" cy="50997"/>
            </a:xfrm>
            <a:prstGeom prst="ellipse">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319" name="Oval 318">
              <a:extLst>
                <a:ext uri="{FF2B5EF4-FFF2-40B4-BE49-F238E27FC236}">
                  <a16:creationId xmlns:a16="http://schemas.microsoft.com/office/drawing/2014/main" id="{1EA15987-7FFE-4568-B8AA-6315FE9FF135}"/>
                </a:ext>
              </a:extLst>
            </p:cNvPr>
            <p:cNvSpPr/>
            <p:nvPr/>
          </p:nvSpPr>
          <p:spPr>
            <a:xfrm>
              <a:off x="4060731" y="4507273"/>
              <a:ext cx="50997" cy="50997"/>
            </a:xfrm>
            <a:prstGeom prst="ellipse">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321" name="Rectangle 938">
              <a:extLst>
                <a:ext uri="{FF2B5EF4-FFF2-40B4-BE49-F238E27FC236}">
                  <a16:creationId xmlns:a16="http://schemas.microsoft.com/office/drawing/2014/main" id="{62762A26-997C-4ECF-AD74-1A247E499582}"/>
                </a:ext>
              </a:extLst>
            </p:cNvPr>
            <p:cNvSpPr>
              <a:spLocks noChangeArrowheads="1"/>
            </p:cNvSpPr>
            <p:nvPr/>
          </p:nvSpPr>
          <p:spPr bwMode="auto">
            <a:xfrm>
              <a:off x="7862006" y="2877182"/>
              <a:ext cx="878872" cy="119939"/>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Gurgaon </a:t>
              </a:r>
            </a:p>
          </p:txBody>
        </p:sp>
        <p:sp>
          <p:nvSpPr>
            <p:cNvPr id="265" name="TextBox 264">
              <a:extLst>
                <a:ext uri="{FF2B5EF4-FFF2-40B4-BE49-F238E27FC236}">
                  <a16:creationId xmlns:a16="http://schemas.microsoft.com/office/drawing/2014/main" id="{ED7FC86B-0A4C-4E1E-994F-59F8DF550AB6}"/>
                </a:ext>
              </a:extLst>
            </p:cNvPr>
            <p:cNvSpPr txBox="1"/>
            <p:nvPr/>
          </p:nvSpPr>
          <p:spPr>
            <a:xfrm>
              <a:off x="3629214" y="4900847"/>
              <a:ext cx="1524922" cy="119939"/>
            </a:xfrm>
            <a:prstGeom prst="rect">
              <a:avLst/>
            </a:prstGeom>
            <a:noFill/>
          </p:spPr>
          <p:txBody>
            <a:bodyPr wrap="square" lIns="0" tIns="0" rIns="0" bIns="0" rtlCol="0">
              <a:spAutoFit/>
            </a:bodyPr>
            <a:lstStyle>
              <a:defPPr>
                <a:defRPr lang="en-US"/>
              </a:defPPr>
              <a:lvl1pPr algn="r">
                <a:defRPr sz="800" b="1">
                  <a:solidFill>
                    <a:srgbClr val="000000"/>
                  </a:solidFill>
                  <a:latin typeface="+mn-lt"/>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Buenos Aires</a:t>
              </a:r>
            </a:p>
          </p:txBody>
        </p:sp>
        <p:sp>
          <p:nvSpPr>
            <p:cNvPr id="316" name="Oval 315">
              <a:extLst>
                <a:ext uri="{FF2B5EF4-FFF2-40B4-BE49-F238E27FC236}">
                  <a16:creationId xmlns:a16="http://schemas.microsoft.com/office/drawing/2014/main" id="{3DF92410-E2C2-4E15-9361-506C0AF72994}"/>
                </a:ext>
              </a:extLst>
            </p:cNvPr>
            <p:cNvSpPr/>
            <p:nvPr/>
          </p:nvSpPr>
          <p:spPr>
            <a:xfrm>
              <a:off x="9774408" y="4939399"/>
              <a:ext cx="50997" cy="50997"/>
            </a:xfrm>
            <a:prstGeom prst="ellipse">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320" name="Oval 319">
              <a:extLst>
                <a:ext uri="{FF2B5EF4-FFF2-40B4-BE49-F238E27FC236}">
                  <a16:creationId xmlns:a16="http://schemas.microsoft.com/office/drawing/2014/main" id="{E2BD54C7-8002-455C-A786-2965B281D7A5}"/>
                </a:ext>
              </a:extLst>
            </p:cNvPr>
            <p:cNvSpPr/>
            <p:nvPr/>
          </p:nvSpPr>
          <p:spPr>
            <a:xfrm>
              <a:off x="3739098" y="4849849"/>
              <a:ext cx="50997" cy="50997"/>
            </a:xfrm>
            <a:prstGeom prst="ellipse">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504" name="Rectangle 934">
              <a:extLst>
                <a:ext uri="{FF2B5EF4-FFF2-40B4-BE49-F238E27FC236}">
                  <a16:creationId xmlns:a16="http://schemas.microsoft.com/office/drawing/2014/main" id="{6039CBDA-42EF-4A50-8220-FDF65D72A001}"/>
                </a:ext>
              </a:extLst>
            </p:cNvPr>
            <p:cNvSpPr>
              <a:spLocks noChangeArrowheads="1"/>
            </p:cNvSpPr>
            <p:nvPr/>
          </p:nvSpPr>
          <p:spPr bwMode="auto">
            <a:xfrm>
              <a:off x="5819014" y="2354910"/>
              <a:ext cx="844935" cy="138499"/>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srgbClr val="000000"/>
                  </a:solidFill>
                  <a:effectLst/>
                  <a:uLnTx/>
                  <a:uFillTx/>
                  <a:latin typeface="Arial" panose="020B0604020202020204"/>
                  <a:ea typeface="+mn-ea"/>
                  <a:cs typeface="+mn-cs"/>
                </a:rPr>
                <a:t>Milan</a:t>
              </a:r>
              <a:endPar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505" name="Rectangle 934">
              <a:extLst>
                <a:ext uri="{FF2B5EF4-FFF2-40B4-BE49-F238E27FC236}">
                  <a16:creationId xmlns:a16="http://schemas.microsoft.com/office/drawing/2014/main" id="{E705CE4D-5821-40A1-BC25-FBD8A8B32796}"/>
                </a:ext>
              </a:extLst>
            </p:cNvPr>
            <p:cNvSpPr>
              <a:spLocks noChangeArrowheads="1"/>
            </p:cNvSpPr>
            <p:nvPr/>
          </p:nvSpPr>
          <p:spPr bwMode="auto">
            <a:xfrm>
              <a:off x="4981653" y="2473960"/>
              <a:ext cx="599670" cy="138499"/>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srgbClr val="000000"/>
                  </a:solidFill>
                  <a:effectLst/>
                  <a:uLnTx/>
                  <a:uFillTx/>
                  <a:latin typeface="Arial" panose="020B0604020202020204"/>
                  <a:ea typeface="+mn-ea"/>
                  <a:cs typeface="+mn-cs"/>
                </a:rPr>
                <a:t>Madrid</a:t>
              </a:r>
              <a:endPar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sp>
        <p:nvSpPr>
          <p:cNvPr id="5" name="Slide Number Placeholder 4">
            <a:extLst>
              <a:ext uri="{FF2B5EF4-FFF2-40B4-BE49-F238E27FC236}">
                <a16:creationId xmlns:a16="http://schemas.microsoft.com/office/drawing/2014/main" id="{CFCF7249-1B93-4CD2-AB10-9288CA10F71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46FB18-5DF1-419A-B975-14AFDDD65B9F}" type="slidenum">
              <a:rPr kumimoji="0" lang="en-US" sz="105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0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 name="Rectangle 30">
            <a:extLst>
              <a:ext uri="{FF2B5EF4-FFF2-40B4-BE49-F238E27FC236}">
                <a16:creationId xmlns:a16="http://schemas.microsoft.com/office/drawing/2014/main" id="{B754C873-8E5F-4580-A9FF-666106759F5B}"/>
              </a:ext>
            </a:extLst>
          </p:cNvPr>
          <p:cNvSpPr/>
          <p:nvPr/>
        </p:nvSpPr>
        <p:spPr>
          <a:xfrm>
            <a:off x="1" y="5158740"/>
            <a:ext cx="12192000" cy="938272"/>
          </a:xfrm>
          <a:prstGeom prst="rect">
            <a:avLst/>
          </a:prstGeom>
          <a:solidFill>
            <a:srgbClr val="4F99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4892" name="Text Placeholder 235">
            <a:extLst>
              <a:ext uri="{FF2B5EF4-FFF2-40B4-BE49-F238E27FC236}">
                <a16:creationId xmlns:a16="http://schemas.microsoft.com/office/drawing/2014/main" id="{258648A6-A9DD-4327-A458-A22AA55F2627}"/>
              </a:ext>
            </a:extLst>
          </p:cNvPr>
          <p:cNvSpPr txBox="1">
            <a:spLocks/>
          </p:cNvSpPr>
          <p:nvPr/>
        </p:nvSpPr>
        <p:spPr>
          <a:xfrm>
            <a:off x="1693735" y="5490592"/>
            <a:ext cx="2157971" cy="301642"/>
          </a:xfrm>
          <a:prstGeom prst="rect">
            <a:avLst/>
          </a:prstGeom>
          <a:noFill/>
        </p:spPr>
        <p:txBody>
          <a:bodyPr lIns="91440" tIns="0" rIns="0" bIns="0" anchor="ct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19456" algn="l" defTabSz="914400" rtl="0" eaLnBrk="1" latinLnBrk="0" hangingPunct="1">
              <a:lnSpc>
                <a:spcPct val="90000"/>
              </a:lnSpc>
              <a:spcBef>
                <a:spcPts val="300"/>
              </a:spcBef>
              <a:spcAft>
                <a:spcPts val="0"/>
              </a:spcAft>
              <a:buFont typeface="Arial" panose="020B0604020202020204" pitchFamily="34" charset="0"/>
              <a:buChar char="–"/>
              <a:defRPr sz="1800" b="0" kern="1200">
                <a:solidFill>
                  <a:schemeClr val="tx1"/>
                </a:solidFill>
                <a:latin typeface="+mn-lt"/>
                <a:ea typeface="+mn-ea"/>
                <a:cs typeface="+mn-cs"/>
              </a:defRPr>
            </a:lvl2pPr>
            <a:lvl3pPr marL="566928" indent="-169863" algn="l" defTabSz="914400" rtl="0" eaLnBrk="1" latinLnBrk="0" hangingPunct="1">
              <a:lnSpc>
                <a:spcPct val="90000"/>
              </a:lnSpc>
              <a:spcBef>
                <a:spcPts val="300"/>
              </a:spcBef>
              <a:spcAft>
                <a:spcPts val="0"/>
              </a:spcAft>
              <a:buFont typeface="Wingdings" panose="05000000000000000000" pitchFamily="2" charset="2"/>
              <a:buChar char="§"/>
              <a:defRPr sz="1600" b="0" kern="1200">
                <a:solidFill>
                  <a:schemeClr val="tx1"/>
                </a:solidFill>
                <a:latin typeface="+mn-lt"/>
                <a:ea typeface="+mn-ea"/>
                <a:cs typeface="+mn-cs"/>
              </a:defRPr>
            </a:lvl3pPr>
            <a:lvl4pPr marL="740664" indent="-173736"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4pPr>
            <a:lvl5pPr marL="914400" indent="-173736"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20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a:ea typeface="+mn-ea"/>
                <a:cs typeface="+mn-cs"/>
              </a:rPr>
              <a:t>Best Proposition for AI, Machine Learning, Data Science, 2019</a:t>
            </a:r>
          </a:p>
        </p:txBody>
      </p:sp>
      <p:sp>
        <p:nvSpPr>
          <p:cNvPr id="4894" name="Text Placeholder 235">
            <a:extLst>
              <a:ext uri="{FF2B5EF4-FFF2-40B4-BE49-F238E27FC236}">
                <a16:creationId xmlns:a16="http://schemas.microsoft.com/office/drawing/2014/main" id="{4088EC47-88C1-4DD2-9143-A10389797CC4}"/>
              </a:ext>
            </a:extLst>
          </p:cNvPr>
          <p:cNvSpPr txBox="1">
            <a:spLocks/>
          </p:cNvSpPr>
          <p:nvPr/>
        </p:nvSpPr>
        <p:spPr>
          <a:xfrm>
            <a:off x="9147500" y="5490592"/>
            <a:ext cx="2332922" cy="301642"/>
          </a:xfrm>
          <a:prstGeom prst="rect">
            <a:avLst/>
          </a:prstGeom>
          <a:noFill/>
        </p:spPr>
        <p:txBody>
          <a:bodyPr lIns="91440" tIns="0" rIns="0" bIns="0" anchor="ct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19456" algn="l" defTabSz="914400" rtl="0" eaLnBrk="1" latinLnBrk="0" hangingPunct="1">
              <a:lnSpc>
                <a:spcPct val="90000"/>
              </a:lnSpc>
              <a:spcBef>
                <a:spcPts val="300"/>
              </a:spcBef>
              <a:spcAft>
                <a:spcPts val="0"/>
              </a:spcAft>
              <a:buFont typeface="Arial" panose="020B0604020202020204" pitchFamily="34" charset="0"/>
              <a:buChar char="–"/>
              <a:defRPr sz="1800" b="0" kern="1200">
                <a:solidFill>
                  <a:schemeClr val="tx1"/>
                </a:solidFill>
                <a:latin typeface="+mn-lt"/>
                <a:ea typeface="+mn-ea"/>
                <a:cs typeface="+mn-cs"/>
              </a:defRPr>
            </a:lvl2pPr>
            <a:lvl3pPr marL="566928" indent="-169863" algn="l" defTabSz="914400" rtl="0" eaLnBrk="1" latinLnBrk="0" hangingPunct="1">
              <a:lnSpc>
                <a:spcPct val="90000"/>
              </a:lnSpc>
              <a:spcBef>
                <a:spcPts val="300"/>
              </a:spcBef>
              <a:spcAft>
                <a:spcPts val="0"/>
              </a:spcAft>
              <a:buFont typeface="Wingdings" panose="05000000000000000000" pitchFamily="2" charset="2"/>
              <a:buChar char="§"/>
              <a:defRPr sz="1600" b="0" kern="1200">
                <a:solidFill>
                  <a:schemeClr val="tx1"/>
                </a:solidFill>
                <a:latin typeface="+mn-lt"/>
                <a:ea typeface="+mn-ea"/>
                <a:cs typeface="+mn-cs"/>
              </a:defRPr>
            </a:lvl3pPr>
            <a:lvl4pPr marL="740664" indent="-173736"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4pPr>
            <a:lvl5pPr marL="914400" indent="-173736"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20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a:ea typeface="+mn-ea"/>
                <a:cs typeface="+mn-cs"/>
              </a:rPr>
              <a:t>Best Data Analytics &amp; Alternative Data Provider 2019</a:t>
            </a:r>
          </a:p>
        </p:txBody>
      </p:sp>
      <p:sp>
        <p:nvSpPr>
          <p:cNvPr id="4893" name="Text Placeholder 235">
            <a:extLst>
              <a:ext uri="{FF2B5EF4-FFF2-40B4-BE49-F238E27FC236}">
                <a16:creationId xmlns:a16="http://schemas.microsoft.com/office/drawing/2014/main" id="{6C5B8B78-B7BA-4644-BC05-FAE54C815C95}"/>
              </a:ext>
            </a:extLst>
          </p:cNvPr>
          <p:cNvSpPr txBox="1">
            <a:spLocks/>
          </p:cNvSpPr>
          <p:nvPr/>
        </p:nvSpPr>
        <p:spPr>
          <a:xfrm>
            <a:off x="5311283" y="5490592"/>
            <a:ext cx="2417826" cy="301642"/>
          </a:xfrm>
          <a:prstGeom prst="rect">
            <a:avLst/>
          </a:prstGeom>
          <a:noFill/>
        </p:spPr>
        <p:txBody>
          <a:bodyPr lIns="91440" tIns="0" rIns="0" bIns="0" anchor="ct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19456" algn="l" defTabSz="914400" rtl="0" eaLnBrk="1" latinLnBrk="0" hangingPunct="1">
              <a:lnSpc>
                <a:spcPct val="90000"/>
              </a:lnSpc>
              <a:spcBef>
                <a:spcPts val="300"/>
              </a:spcBef>
              <a:spcAft>
                <a:spcPts val="0"/>
              </a:spcAft>
              <a:buFont typeface="Arial" panose="020B0604020202020204" pitchFamily="34" charset="0"/>
              <a:buChar char="–"/>
              <a:defRPr sz="1800" b="0" kern="1200">
                <a:solidFill>
                  <a:schemeClr val="tx1"/>
                </a:solidFill>
                <a:latin typeface="+mn-lt"/>
                <a:ea typeface="+mn-ea"/>
                <a:cs typeface="+mn-cs"/>
              </a:defRPr>
            </a:lvl2pPr>
            <a:lvl3pPr marL="566928" indent="-169863" algn="l" defTabSz="914400" rtl="0" eaLnBrk="1" latinLnBrk="0" hangingPunct="1">
              <a:lnSpc>
                <a:spcPct val="90000"/>
              </a:lnSpc>
              <a:spcBef>
                <a:spcPts val="300"/>
              </a:spcBef>
              <a:spcAft>
                <a:spcPts val="0"/>
              </a:spcAft>
              <a:buFont typeface="Wingdings" panose="05000000000000000000" pitchFamily="2" charset="2"/>
              <a:buChar char="§"/>
              <a:defRPr sz="1600" b="0" kern="1200">
                <a:solidFill>
                  <a:schemeClr val="tx1"/>
                </a:solidFill>
                <a:latin typeface="+mn-lt"/>
                <a:ea typeface="+mn-ea"/>
                <a:cs typeface="+mn-cs"/>
              </a:defRPr>
            </a:lvl3pPr>
            <a:lvl4pPr marL="740664" indent="-173736"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4pPr>
            <a:lvl5pPr marL="914400" indent="-173736"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20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a:ea typeface="+mn-ea"/>
                <a:cs typeface="+mn-cs"/>
              </a:rPr>
              <a:t>Best Overall Data Provider 2019</a:t>
            </a:r>
          </a:p>
        </p:txBody>
      </p:sp>
      <p:sp>
        <p:nvSpPr>
          <p:cNvPr id="530" name="Text Placeholder 235">
            <a:extLst>
              <a:ext uri="{FF2B5EF4-FFF2-40B4-BE49-F238E27FC236}">
                <a16:creationId xmlns:a16="http://schemas.microsoft.com/office/drawing/2014/main" id="{258648A6-A9DD-4327-A458-A22AA55F2627}"/>
              </a:ext>
            </a:extLst>
          </p:cNvPr>
          <p:cNvSpPr txBox="1">
            <a:spLocks/>
          </p:cNvSpPr>
          <p:nvPr/>
        </p:nvSpPr>
        <p:spPr>
          <a:xfrm>
            <a:off x="2044753" y="546326"/>
            <a:ext cx="2189177" cy="301642"/>
          </a:xfrm>
          <a:prstGeom prst="rect">
            <a:avLst/>
          </a:prstGeom>
          <a:noFill/>
        </p:spPr>
        <p:txBody>
          <a:bodyPr lIns="91440" tIns="0" rIns="0" bIns="0" anchor="ct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19456" algn="l" defTabSz="914400" rtl="0" eaLnBrk="1" latinLnBrk="0" hangingPunct="1">
              <a:lnSpc>
                <a:spcPct val="90000"/>
              </a:lnSpc>
              <a:spcBef>
                <a:spcPts val="300"/>
              </a:spcBef>
              <a:spcAft>
                <a:spcPts val="0"/>
              </a:spcAft>
              <a:buFont typeface="Arial" panose="020B0604020202020204" pitchFamily="34" charset="0"/>
              <a:buChar char="–"/>
              <a:defRPr sz="1800" b="0" kern="1200">
                <a:solidFill>
                  <a:schemeClr val="tx1"/>
                </a:solidFill>
                <a:latin typeface="+mn-lt"/>
                <a:ea typeface="+mn-ea"/>
                <a:cs typeface="+mn-cs"/>
              </a:defRPr>
            </a:lvl2pPr>
            <a:lvl3pPr marL="566928" indent="-169863" algn="l" defTabSz="914400" rtl="0" eaLnBrk="1" latinLnBrk="0" hangingPunct="1">
              <a:lnSpc>
                <a:spcPct val="90000"/>
              </a:lnSpc>
              <a:spcBef>
                <a:spcPts val="300"/>
              </a:spcBef>
              <a:spcAft>
                <a:spcPts val="0"/>
              </a:spcAft>
              <a:buFont typeface="Wingdings" panose="05000000000000000000" pitchFamily="2" charset="2"/>
              <a:buChar char="§"/>
              <a:defRPr sz="1600" b="0" kern="1200">
                <a:solidFill>
                  <a:schemeClr val="tx1"/>
                </a:solidFill>
                <a:latin typeface="+mn-lt"/>
                <a:ea typeface="+mn-ea"/>
                <a:cs typeface="+mn-cs"/>
              </a:defRPr>
            </a:lvl3pPr>
            <a:lvl4pPr marL="740664" indent="-173736"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4pPr>
            <a:lvl5pPr marL="914400" indent="-173736"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200"/>
              </a:spcAft>
              <a:buClrTx/>
              <a:buSzTx/>
              <a:buFont typeface="Arial" panose="020B0604020202020204" pitchFamily="34" charset="0"/>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t>$1.92B division</a:t>
            </a:r>
          </a:p>
        </p:txBody>
      </p:sp>
      <p:sp>
        <p:nvSpPr>
          <p:cNvPr id="532" name="Freeform 5">
            <a:extLst>
              <a:ext uri="{FF2B5EF4-FFF2-40B4-BE49-F238E27FC236}">
                <a16:creationId xmlns:a16="http://schemas.microsoft.com/office/drawing/2014/main" id="{4D2D8AD6-CF0B-4014-9311-F7A805F38CE7}"/>
              </a:ext>
            </a:extLst>
          </p:cNvPr>
          <p:cNvSpPr>
            <a:spLocks noEditPoints="1"/>
          </p:cNvSpPr>
          <p:nvPr/>
        </p:nvSpPr>
        <p:spPr bwMode="auto">
          <a:xfrm>
            <a:off x="1520168" y="494510"/>
            <a:ext cx="271750" cy="422482"/>
          </a:xfrm>
          <a:custGeom>
            <a:avLst/>
            <a:gdLst>
              <a:gd name="T0" fmla="*/ 832 w 1374"/>
              <a:gd name="T1" fmla="*/ 1275 h 2143"/>
              <a:gd name="T2" fmla="*/ 832 w 1374"/>
              <a:gd name="T3" fmla="*/ 1607 h 2143"/>
              <a:gd name="T4" fmla="*/ 972 w 1374"/>
              <a:gd name="T5" fmla="*/ 1539 h 2143"/>
              <a:gd name="T6" fmla="*/ 1017 w 1374"/>
              <a:gd name="T7" fmla="*/ 1432 h 2143"/>
              <a:gd name="T8" fmla="*/ 964 w 1374"/>
              <a:gd name="T9" fmla="*/ 1336 h 2143"/>
              <a:gd name="T10" fmla="*/ 832 w 1374"/>
              <a:gd name="T11" fmla="*/ 1275 h 2143"/>
              <a:gd name="T12" fmla="*/ 476 w 1374"/>
              <a:gd name="T13" fmla="*/ 783 h 2143"/>
              <a:gd name="T14" fmla="*/ 599 w 1374"/>
              <a:gd name="T15" fmla="*/ 839 h 2143"/>
              <a:gd name="T16" fmla="*/ 599 w 1374"/>
              <a:gd name="T17" fmla="*/ 540 h 2143"/>
              <a:gd name="T18" fmla="*/ 475 w 1374"/>
              <a:gd name="T19" fmla="*/ 595 h 2143"/>
              <a:gd name="T20" fmla="*/ 430 w 1374"/>
              <a:gd name="T21" fmla="*/ 699 h 2143"/>
              <a:gd name="T22" fmla="*/ 476 w 1374"/>
              <a:gd name="T23" fmla="*/ 783 h 2143"/>
              <a:gd name="T24" fmla="*/ 793 w 1374"/>
              <a:gd name="T25" fmla="*/ 0 h 2143"/>
              <a:gd name="T26" fmla="*/ 820 w 1374"/>
              <a:gd name="T27" fmla="*/ 12 h 2143"/>
              <a:gd name="T28" fmla="*/ 832 w 1374"/>
              <a:gd name="T29" fmla="*/ 39 h 2143"/>
              <a:gd name="T30" fmla="*/ 832 w 1374"/>
              <a:gd name="T31" fmla="*/ 234 h 2143"/>
              <a:gd name="T32" fmla="*/ 1333 w 1374"/>
              <a:gd name="T33" fmla="*/ 453 h 2143"/>
              <a:gd name="T34" fmla="*/ 1347 w 1374"/>
              <a:gd name="T35" fmla="*/ 482 h 2143"/>
              <a:gd name="T36" fmla="*/ 1337 w 1374"/>
              <a:gd name="T37" fmla="*/ 507 h 2143"/>
              <a:gd name="T38" fmla="*/ 1338 w 1374"/>
              <a:gd name="T39" fmla="*/ 507 h 2143"/>
              <a:gd name="T40" fmla="*/ 1194 w 1374"/>
              <a:gd name="T41" fmla="*/ 709 h 2143"/>
              <a:gd name="T42" fmla="*/ 1166 w 1374"/>
              <a:gd name="T43" fmla="*/ 724 h 2143"/>
              <a:gd name="T44" fmla="*/ 1139 w 1374"/>
              <a:gd name="T45" fmla="*/ 715 h 2143"/>
              <a:gd name="T46" fmla="*/ 832 w 1374"/>
              <a:gd name="T47" fmla="*/ 556 h 2143"/>
              <a:gd name="T48" fmla="*/ 832 w 1374"/>
              <a:gd name="T49" fmla="*/ 896 h 2143"/>
              <a:gd name="T50" fmla="*/ 1199 w 1374"/>
              <a:gd name="T51" fmla="*/ 1044 h 2143"/>
              <a:gd name="T52" fmla="*/ 1374 w 1374"/>
              <a:gd name="T53" fmla="*/ 1396 h 2143"/>
              <a:gd name="T54" fmla="*/ 1239 w 1374"/>
              <a:gd name="T55" fmla="*/ 1746 h 2143"/>
              <a:gd name="T56" fmla="*/ 832 w 1374"/>
              <a:gd name="T57" fmla="*/ 1920 h 2143"/>
              <a:gd name="T58" fmla="*/ 832 w 1374"/>
              <a:gd name="T59" fmla="*/ 2104 h 2143"/>
              <a:gd name="T60" fmla="*/ 820 w 1374"/>
              <a:gd name="T61" fmla="*/ 2131 h 2143"/>
              <a:gd name="T62" fmla="*/ 793 w 1374"/>
              <a:gd name="T63" fmla="*/ 2143 h 2143"/>
              <a:gd name="T64" fmla="*/ 638 w 1374"/>
              <a:gd name="T65" fmla="*/ 2143 h 2143"/>
              <a:gd name="T66" fmla="*/ 611 w 1374"/>
              <a:gd name="T67" fmla="*/ 2131 h 2143"/>
              <a:gd name="T68" fmla="*/ 599 w 1374"/>
              <a:gd name="T69" fmla="*/ 2104 h 2143"/>
              <a:gd name="T70" fmla="*/ 599 w 1374"/>
              <a:gd name="T71" fmla="*/ 1920 h 2143"/>
              <a:gd name="T72" fmla="*/ 16 w 1374"/>
              <a:gd name="T73" fmla="*/ 1663 h 2143"/>
              <a:gd name="T74" fmla="*/ 0 w 1374"/>
              <a:gd name="T75" fmla="*/ 1632 h 2143"/>
              <a:gd name="T76" fmla="*/ 10 w 1374"/>
              <a:gd name="T77" fmla="*/ 1607 h 2143"/>
              <a:gd name="T78" fmla="*/ 150 w 1374"/>
              <a:gd name="T79" fmla="*/ 1401 h 2143"/>
              <a:gd name="T80" fmla="*/ 183 w 1374"/>
              <a:gd name="T81" fmla="*/ 1381 h 2143"/>
              <a:gd name="T82" fmla="*/ 207 w 1374"/>
              <a:gd name="T83" fmla="*/ 1389 h 2143"/>
              <a:gd name="T84" fmla="*/ 208 w 1374"/>
              <a:gd name="T85" fmla="*/ 1392 h 2143"/>
              <a:gd name="T86" fmla="*/ 212 w 1374"/>
              <a:gd name="T87" fmla="*/ 1393 h 2143"/>
              <a:gd name="T88" fmla="*/ 599 w 1374"/>
              <a:gd name="T89" fmla="*/ 1602 h 2143"/>
              <a:gd name="T90" fmla="*/ 599 w 1374"/>
              <a:gd name="T91" fmla="*/ 1220 h 2143"/>
              <a:gd name="T92" fmla="*/ 239 w 1374"/>
              <a:gd name="T93" fmla="*/ 1075 h 2143"/>
              <a:gd name="T94" fmla="*/ 69 w 1374"/>
              <a:gd name="T95" fmla="*/ 726 h 2143"/>
              <a:gd name="T96" fmla="*/ 208 w 1374"/>
              <a:gd name="T97" fmla="*/ 397 h 2143"/>
              <a:gd name="T98" fmla="*/ 599 w 1374"/>
              <a:gd name="T99" fmla="*/ 228 h 2143"/>
              <a:gd name="T100" fmla="*/ 599 w 1374"/>
              <a:gd name="T101" fmla="*/ 39 h 2143"/>
              <a:gd name="T102" fmla="*/ 611 w 1374"/>
              <a:gd name="T103" fmla="*/ 12 h 2143"/>
              <a:gd name="T104" fmla="*/ 638 w 1374"/>
              <a:gd name="T105" fmla="*/ 0 h 2143"/>
              <a:gd name="T106" fmla="*/ 793 w 1374"/>
              <a:gd name="T107" fmla="*/ 0 h 2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74" h="2143">
                <a:moveTo>
                  <a:pt x="832" y="1275"/>
                </a:moveTo>
                <a:cubicBezTo>
                  <a:pt x="832" y="1607"/>
                  <a:pt x="832" y="1607"/>
                  <a:pt x="832" y="1607"/>
                </a:cubicBezTo>
                <a:cubicBezTo>
                  <a:pt x="893" y="1594"/>
                  <a:pt x="939" y="1572"/>
                  <a:pt x="972" y="1539"/>
                </a:cubicBezTo>
                <a:cubicBezTo>
                  <a:pt x="1002" y="1509"/>
                  <a:pt x="1017" y="1473"/>
                  <a:pt x="1017" y="1432"/>
                </a:cubicBezTo>
                <a:cubicBezTo>
                  <a:pt x="1017" y="1394"/>
                  <a:pt x="999" y="1362"/>
                  <a:pt x="964" y="1336"/>
                </a:cubicBezTo>
                <a:cubicBezTo>
                  <a:pt x="937" y="1316"/>
                  <a:pt x="893" y="1296"/>
                  <a:pt x="832" y="1275"/>
                </a:cubicBezTo>
                <a:close/>
                <a:moveTo>
                  <a:pt x="476" y="783"/>
                </a:moveTo>
                <a:cubicBezTo>
                  <a:pt x="502" y="802"/>
                  <a:pt x="543" y="821"/>
                  <a:pt x="599" y="839"/>
                </a:cubicBezTo>
                <a:cubicBezTo>
                  <a:pt x="599" y="540"/>
                  <a:pt x="599" y="540"/>
                  <a:pt x="599" y="540"/>
                </a:cubicBezTo>
                <a:cubicBezTo>
                  <a:pt x="546" y="548"/>
                  <a:pt x="504" y="567"/>
                  <a:pt x="475" y="595"/>
                </a:cubicBezTo>
                <a:cubicBezTo>
                  <a:pt x="445" y="621"/>
                  <a:pt x="430" y="656"/>
                  <a:pt x="430" y="699"/>
                </a:cubicBezTo>
                <a:cubicBezTo>
                  <a:pt x="430" y="731"/>
                  <a:pt x="445" y="759"/>
                  <a:pt x="476" y="783"/>
                </a:cubicBezTo>
                <a:close/>
                <a:moveTo>
                  <a:pt x="793" y="0"/>
                </a:moveTo>
                <a:cubicBezTo>
                  <a:pt x="804" y="0"/>
                  <a:pt x="813" y="4"/>
                  <a:pt x="820" y="12"/>
                </a:cubicBezTo>
                <a:cubicBezTo>
                  <a:pt x="828" y="18"/>
                  <a:pt x="832" y="27"/>
                  <a:pt x="832" y="39"/>
                </a:cubicBezTo>
                <a:cubicBezTo>
                  <a:pt x="832" y="234"/>
                  <a:pt x="832" y="234"/>
                  <a:pt x="832" y="234"/>
                </a:cubicBezTo>
                <a:cubicBezTo>
                  <a:pt x="1033" y="257"/>
                  <a:pt x="1200" y="330"/>
                  <a:pt x="1333" y="453"/>
                </a:cubicBezTo>
                <a:cubicBezTo>
                  <a:pt x="1342" y="460"/>
                  <a:pt x="1347" y="469"/>
                  <a:pt x="1347" y="482"/>
                </a:cubicBezTo>
                <a:cubicBezTo>
                  <a:pt x="1347" y="492"/>
                  <a:pt x="1343" y="500"/>
                  <a:pt x="1337" y="507"/>
                </a:cubicBezTo>
                <a:cubicBezTo>
                  <a:pt x="1338" y="507"/>
                  <a:pt x="1338" y="507"/>
                  <a:pt x="1338" y="507"/>
                </a:cubicBezTo>
                <a:cubicBezTo>
                  <a:pt x="1194" y="709"/>
                  <a:pt x="1194" y="709"/>
                  <a:pt x="1194" y="709"/>
                </a:cubicBezTo>
                <a:cubicBezTo>
                  <a:pt x="1186" y="719"/>
                  <a:pt x="1177" y="724"/>
                  <a:pt x="1166" y="724"/>
                </a:cubicBezTo>
                <a:cubicBezTo>
                  <a:pt x="1156" y="724"/>
                  <a:pt x="1147" y="721"/>
                  <a:pt x="1139" y="715"/>
                </a:cubicBezTo>
                <a:cubicBezTo>
                  <a:pt x="1057" y="638"/>
                  <a:pt x="954" y="585"/>
                  <a:pt x="832" y="556"/>
                </a:cubicBezTo>
                <a:cubicBezTo>
                  <a:pt x="832" y="896"/>
                  <a:pt x="832" y="896"/>
                  <a:pt x="832" y="896"/>
                </a:cubicBezTo>
                <a:cubicBezTo>
                  <a:pt x="998" y="938"/>
                  <a:pt x="1120" y="987"/>
                  <a:pt x="1199" y="1044"/>
                </a:cubicBezTo>
                <a:cubicBezTo>
                  <a:pt x="1316" y="1128"/>
                  <a:pt x="1374" y="1246"/>
                  <a:pt x="1374" y="1396"/>
                </a:cubicBezTo>
                <a:cubicBezTo>
                  <a:pt x="1374" y="1539"/>
                  <a:pt x="1329" y="1656"/>
                  <a:pt x="1239" y="1746"/>
                </a:cubicBezTo>
                <a:cubicBezTo>
                  <a:pt x="1144" y="1845"/>
                  <a:pt x="1008" y="1903"/>
                  <a:pt x="832" y="1920"/>
                </a:cubicBezTo>
                <a:cubicBezTo>
                  <a:pt x="832" y="2104"/>
                  <a:pt x="832" y="2104"/>
                  <a:pt x="832" y="2104"/>
                </a:cubicBezTo>
                <a:cubicBezTo>
                  <a:pt x="832" y="2114"/>
                  <a:pt x="828" y="2123"/>
                  <a:pt x="820" y="2131"/>
                </a:cubicBezTo>
                <a:cubicBezTo>
                  <a:pt x="813" y="2139"/>
                  <a:pt x="804" y="2143"/>
                  <a:pt x="793" y="2143"/>
                </a:cubicBezTo>
                <a:cubicBezTo>
                  <a:pt x="638" y="2143"/>
                  <a:pt x="638" y="2143"/>
                  <a:pt x="638" y="2143"/>
                </a:cubicBezTo>
                <a:cubicBezTo>
                  <a:pt x="628" y="2143"/>
                  <a:pt x="619" y="2139"/>
                  <a:pt x="611" y="2131"/>
                </a:cubicBezTo>
                <a:cubicBezTo>
                  <a:pt x="603" y="2123"/>
                  <a:pt x="599" y="2114"/>
                  <a:pt x="599" y="2104"/>
                </a:cubicBezTo>
                <a:cubicBezTo>
                  <a:pt x="599" y="1920"/>
                  <a:pt x="599" y="1920"/>
                  <a:pt x="599" y="1920"/>
                </a:cubicBezTo>
                <a:cubicBezTo>
                  <a:pt x="362" y="1900"/>
                  <a:pt x="167" y="1815"/>
                  <a:pt x="16" y="1663"/>
                </a:cubicBezTo>
                <a:cubicBezTo>
                  <a:pt x="5" y="1655"/>
                  <a:pt x="0" y="1645"/>
                  <a:pt x="0" y="1632"/>
                </a:cubicBezTo>
                <a:cubicBezTo>
                  <a:pt x="0" y="1624"/>
                  <a:pt x="3" y="1616"/>
                  <a:pt x="10" y="1607"/>
                </a:cubicBezTo>
                <a:cubicBezTo>
                  <a:pt x="150" y="1401"/>
                  <a:pt x="150" y="1401"/>
                  <a:pt x="150" y="1401"/>
                </a:cubicBezTo>
                <a:cubicBezTo>
                  <a:pt x="158" y="1388"/>
                  <a:pt x="169" y="1381"/>
                  <a:pt x="183" y="1381"/>
                </a:cubicBezTo>
                <a:cubicBezTo>
                  <a:pt x="191" y="1381"/>
                  <a:pt x="199" y="1384"/>
                  <a:pt x="207" y="1389"/>
                </a:cubicBezTo>
                <a:cubicBezTo>
                  <a:pt x="208" y="1392"/>
                  <a:pt x="208" y="1392"/>
                  <a:pt x="208" y="1392"/>
                </a:cubicBezTo>
                <a:cubicBezTo>
                  <a:pt x="212" y="1393"/>
                  <a:pt x="212" y="1393"/>
                  <a:pt x="212" y="1393"/>
                </a:cubicBezTo>
                <a:cubicBezTo>
                  <a:pt x="320" y="1504"/>
                  <a:pt x="449" y="1574"/>
                  <a:pt x="599" y="1602"/>
                </a:cubicBezTo>
                <a:cubicBezTo>
                  <a:pt x="599" y="1220"/>
                  <a:pt x="599" y="1220"/>
                  <a:pt x="599" y="1220"/>
                </a:cubicBezTo>
                <a:cubicBezTo>
                  <a:pt x="435" y="1180"/>
                  <a:pt x="316" y="1131"/>
                  <a:pt x="239" y="1075"/>
                </a:cubicBezTo>
                <a:cubicBezTo>
                  <a:pt x="126" y="993"/>
                  <a:pt x="69" y="877"/>
                  <a:pt x="69" y="726"/>
                </a:cubicBezTo>
                <a:cubicBezTo>
                  <a:pt x="69" y="598"/>
                  <a:pt x="116" y="489"/>
                  <a:pt x="208" y="397"/>
                </a:cubicBezTo>
                <a:cubicBezTo>
                  <a:pt x="306" y="302"/>
                  <a:pt x="436" y="246"/>
                  <a:pt x="599" y="228"/>
                </a:cubicBezTo>
                <a:cubicBezTo>
                  <a:pt x="599" y="39"/>
                  <a:pt x="599" y="39"/>
                  <a:pt x="599" y="39"/>
                </a:cubicBezTo>
                <a:cubicBezTo>
                  <a:pt x="599" y="27"/>
                  <a:pt x="603" y="18"/>
                  <a:pt x="611" y="12"/>
                </a:cubicBezTo>
                <a:cubicBezTo>
                  <a:pt x="619" y="4"/>
                  <a:pt x="628" y="0"/>
                  <a:pt x="638" y="0"/>
                </a:cubicBezTo>
                <a:lnTo>
                  <a:pt x="793" y="0"/>
                </a:lnTo>
                <a:close/>
              </a:path>
            </a:pathLst>
          </a:custGeom>
          <a:solidFill>
            <a:srgbClr val="D6002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3" name="Text Placeholder 235">
            <a:extLst>
              <a:ext uri="{FF2B5EF4-FFF2-40B4-BE49-F238E27FC236}">
                <a16:creationId xmlns:a16="http://schemas.microsoft.com/office/drawing/2014/main" id="{4088EC47-88C1-4DD2-9143-A10389797CC4}"/>
              </a:ext>
            </a:extLst>
          </p:cNvPr>
          <p:cNvSpPr txBox="1">
            <a:spLocks/>
          </p:cNvSpPr>
          <p:nvPr/>
        </p:nvSpPr>
        <p:spPr>
          <a:xfrm>
            <a:off x="9022255" y="546326"/>
            <a:ext cx="2545335" cy="301642"/>
          </a:xfrm>
          <a:prstGeom prst="rect">
            <a:avLst/>
          </a:prstGeom>
          <a:noFill/>
        </p:spPr>
        <p:txBody>
          <a:bodyPr lIns="91440" tIns="0" rIns="0" bIns="0" anchor="ct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19456" algn="l" defTabSz="914400" rtl="0" eaLnBrk="1" latinLnBrk="0" hangingPunct="1">
              <a:lnSpc>
                <a:spcPct val="90000"/>
              </a:lnSpc>
              <a:spcBef>
                <a:spcPts val="300"/>
              </a:spcBef>
              <a:spcAft>
                <a:spcPts val="0"/>
              </a:spcAft>
              <a:buFont typeface="Arial" panose="020B0604020202020204" pitchFamily="34" charset="0"/>
              <a:buChar char="–"/>
              <a:defRPr sz="1800" b="0" kern="1200">
                <a:solidFill>
                  <a:schemeClr val="tx1"/>
                </a:solidFill>
                <a:latin typeface="+mn-lt"/>
                <a:ea typeface="+mn-ea"/>
                <a:cs typeface="+mn-cs"/>
              </a:defRPr>
            </a:lvl2pPr>
            <a:lvl3pPr marL="566928" indent="-169863" algn="l" defTabSz="914400" rtl="0" eaLnBrk="1" latinLnBrk="0" hangingPunct="1">
              <a:lnSpc>
                <a:spcPct val="90000"/>
              </a:lnSpc>
              <a:spcBef>
                <a:spcPts val="300"/>
              </a:spcBef>
              <a:spcAft>
                <a:spcPts val="0"/>
              </a:spcAft>
              <a:buFont typeface="Wingdings" panose="05000000000000000000" pitchFamily="2" charset="2"/>
              <a:buChar char="§"/>
              <a:defRPr sz="1600" b="0" kern="1200">
                <a:solidFill>
                  <a:schemeClr val="tx1"/>
                </a:solidFill>
                <a:latin typeface="+mn-lt"/>
                <a:ea typeface="+mn-ea"/>
                <a:cs typeface="+mn-cs"/>
              </a:defRPr>
            </a:lvl3pPr>
            <a:lvl4pPr marL="740664" indent="-173736"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4pPr>
            <a:lvl5pPr marL="914400" indent="-173736"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200"/>
              </a:spcAft>
              <a:buClrTx/>
              <a:buSzTx/>
              <a:buFont typeface="Arial" panose="020B0604020202020204" pitchFamily="34" charset="0"/>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t>11K employees</a:t>
            </a:r>
          </a:p>
        </p:txBody>
      </p:sp>
      <p:grpSp>
        <p:nvGrpSpPr>
          <p:cNvPr id="535" name="Group 534">
            <a:extLst>
              <a:ext uri="{FF2B5EF4-FFF2-40B4-BE49-F238E27FC236}">
                <a16:creationId xmlns:a16="http://schemas.microsoft.com/office/drawing/2014/main" id="{B291A94B-CA54-4044-A027-DC97350FC4AA}"/>
              </a:ext>
            </a:extLst>
          </p:cNvPr>
          <p:cNvGrpSpPr/>
          <p:nvPr/>
        </p:nvGrpSpPr>
        <p:grpSpPr>
          <a:xfrm>
            <a:off x="8413361" y="523592"/>
            <a:ext cx="473721" cy="393037"/>
            <a:chOff x="1966913" y="3175"/>
            <a:chExt cx="8258176" cy="6851650"/>
          </a:xfrm>
          <a:solidFill>
            <a:srgbClr val="D6002A"/>
          </a:solidFill>
        </p:grpSpPr>
        <p:sp>
          <p:nvSpPr>
            <p:cNvPr id="536" name="Freeform 9">
              <a:extLst>
                <a:ext uri="{FF2B5EF4-FFF2-40B4-BE49-F238E27FC236}">
                  <a16:creationId xmlns:a16="http://schemas.microsoft.com/office/drawing/2014/main" id="{A8D44064-B326-4B6B-8C99-A1777B25DC95}"/>
                </a:ext>
              </a:extLst>
            </p:cNvPr>
            <p:cNvSpPr>
              <a:spLocks/>
            </p:cNvSpPr>
            <p:nvPr/>
          </p:nvSpPr>
          <p:spPr bwMode="auto">
            <a:xfrm>
              <a:off x="3717926" y="4184650"/>
              <a:ext cx="4738688" cy="2670175"/>
            </a:xfrm>
            <a:custGeom>
              <a:avLst/>
              <a:gdLst>
                <a:gd name="T0" fmla="*/ 1017 w 1370"/>
                <a:gd name="T1" fmla="*/ 0 h 773"/>
                <a:gd name="T2" fmla="*/ 779 w 1370"/>
                <a:gd name="T3" fmla="*/ 401 h 773"/>
                <a:gd name="T4" fmla="*/ 754 w 1370"/>
                <a:gd name="T5" fmla="*/ 139 h 773"/>
                <a:gd name="T6" fmla="*/ 804 w 1370"/>
                <a:gd name="T7" fmla="*/ 0 h 773"/>
                <a:gd name="T8" fmla="*/ 561 w 1370"/>
                <a:gd name="T9" fmla="*/ 0 h 773"/>
                <a:gd name="T10" fmla="*/ 611 w 1370"/>
                <a:gd name="T11" fmla="*/ 139 h 773"/>
                <a:gd name="T12" fmla="*/ 586 w 1370"/>
                <a:gd name="T13" fmla="*/ 401 h 773"/>
                <a:gd name="T14" fmla="*/ 348 w 1370"/>
                <a:gd name="T15" fmla="*/ 0 h 773"/>
                <a:gd name="T16" fmla="*/ 0 w 1370"/>
                <a:gd name="T17" fmla="*/ 367 h 773"/>
                <a:gd name="T18" fmla="*/ 0 w 1370"/>
                <a:gd name="T19" fmla="*/ 625 h 773"/>
                <a:gd name="T20" fmla="*/ 149 w 1370"/>
                <a:gd name="T21" fmla="*/ 773 h 773"/>
                <a:gd name="T22" fmla="*/ 1221 w 1370"/>
                <a:gd name="T23" fmla="*/ 773 h 773"/>
                <a:gd name="T24" fmla="*/ 1370 w 1370"/>
                <a:gd name="T25" fmla="*/ 625 h 773"/>
                <a:gd name="T26" fmla="*/ 1370 w 1370"/>
                <a:gd name="T27" fmla="*/ 367 h 773"/>
                <a:gd name="T28" fmla="*/ 1017 w 1370"/>
                <a:gd name="T29"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0" h="773">
                  <a:moveTo>
                    <a:pt x="1017" y="0"/>
                  </a:moveTo>
                  <a:cubicBezTo>
                    <a:pt x="779" y="401"/>
                    <a:pt x="779" y="401"/>
                    <a:pt x="779" y="401"/>
                  </a:cubicBezTo>
                  <a:cubicBezTo>
                    <a:pt x="754" y="139"/>
                    <a:pt x="754" y="139"/>
                    <a:pt x="754" y="139"/>
                  </a:cubicBezTo>
                  <a:cubicBezTo>
                    <a:pt x="804" y="0"/>
                    <a:pt x="804" y="0"/>
                    <a:pt x="804" y="0"/>
                  </a:cubicBezTo>
                  <a:cubicBezTo>
                    <a:pt x="561" y="0"/>
                    <a:pt x="561" y="0"/>
                    <a:pt x="561" y="0"/>
                  </a:cubicBezTo>
                  <a:cubicBezTo>
                    <a:pt x="611" y="139"/>
                    <a:pt x="611" y="139"/>
                    <a:pt x="611" y="139"/>
                  </a:cubicBezTo>
                  <a:cubicBezTo>
                    <a:pt x="586" y="401"/>
                    <a:pt x="586" y="401"/>
                    <a:pt x="586" y="401"/>
                  </a:cubicBezTo>
                  <a:cubicBezTo>
                    <a:pt x="348" y="0"/>
                    <a:pt x="348" y="0"/>
                    <a:pt x="348" y="0"/>
                  </a:cubicBezTo>
                  <a:cubicBezTo>
                    <a:pt x="154" y="10"/>
                    <a:pt x="0" y="173"/>
                    <a:pt x="0" y="367"/>
                  </a:cubicBezTo>
                  <a:cubicBezTo>
                    <a:pt x="0" y="625"/>
                    <a:pt x="0" y="625"/>
                    <a:pt x="0" y="625"/>
                  </a:cubicBezTo>
                  <a:cubicBezTo>
                    <a:pt x="0" y="709"/>
                    <a:pt x="65" y="773"/>
                    <a:pt x="149" y="773"/>
                  </a:cubicBezTo>
                  <a:cubicBezTo>
                    <a:pt x="1221" y="773"/>
                    <a:pt x="1221" y="773"/>
                    <a:pt x="1221" y="773"/>
                  </a:cubicBezTo>
                  <a:cubicBezTo>
                    <a:pt x="1305" y="773"/>
                    <a:pt x="1370" y="709"/>
                    <a:pt x="1370" y="625"/>
                  </a:cubicBezTo>
                  <a:cubicBezTo>
                    <a:pt x="1370" y="367"/>
                    <a:pt x="1370" y="367"/>
                    <a:pt x="1370" y="367"/>
                  </a:cubicBezTo>
                  <a:cubicBezTo>
                    <a:pt x="1365" y="168"/>
                    <a:pt x="1211" y="10"/>
                    <a:pt x="10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7" name="Oval 10">
              <a:extLst>
                <a:ext uri="{FF2B5EF4-FFF2-40B4-BE49-F238E27FC236}">
                  <a16:creationId xmlns:a16="http://schemas.microsoft.com/office/drawing/2014/main" id="{9910289E-3A06-469F-B933-A83FA78A1ED5}"/>
                </a:ext>
              </a:extLst>
            </p:cNvPr>
            <p:cNvSpPr>
              <a:spLocks noChangeArrowheads="1"/>
            </p:cNvSpPr>
            <p:nvPr/>
          </p:nvSpPr>
          <p:spPr bwMode="auto">
            <a:xfrm>
              <a:off x="5003801" y="1154113"/>
              <a:ext cx="2132013" cy="2465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8" name="Freeform 11">
              <a:extLst>
                <a:ext uri="{FF2B5EF4-FFF2-40B4-BE49-F238E27FC236}">
                  <a16:creationId xmlns:a16="http://schemas.microsoft.com/office/drawing/2014/main" id="{6D4CCF4B-F7FF-433E-9A78-24D3AD00C628}"/>
                </a:ext>
              </a:extLst>
            </p:cNvPr>
            <p:cNvSpPr>
              <a:spLocks/>
            </p:cNvSpPr>
            <p:nvPr/>
          </p:nvSpPr>
          <p:spPr bwMode="auto">
            <a:xfrm>
              <a:off x="6584951" y="2503488"/>
              <a:ext cx="3640138" cy="2209800"/>
            </a:xfrm>
            <a:custGeom>
              <a:avLst/>
              <a:gdLst>
                <a:gd name="T0" fmla="*/ 759 w 1052"/>
                <a:gd name="T1" fmla="*/ 0 h 640"/>
                <a:gd name="T2" fmla="*/ 560 w 1052"/>
                <a:gd name="T3" fmla="*/ 333 h 640"/>
                <a:gd name="T4" fmla="*/ 541 w 1052"/>
                <a:gd name="T5" fmla="*/ 115 h 640"/>
                <a:gd name="T6" fmla="*/ 580 w 1052"/>
                <a:gd name="T7" fmla="*/ 0 h 640"/>
                <a:gd name="T8" fmla="*/ 382 w 1052"/>
                <a:gd name="T9" fmla="*/ 0 h 640"/>
                <a:gd name="T10" fmla="*/ 422 w 1052"/>
                <a:gd name="T11" fmla="*/ 115 h 640"/>
                <a:gd name="T12" fmla="*/ 402 w 1052"/>
                <a:gd name="T13" fmla="*/ 333 h 640"/>
                <a:gd name="T14" fmla="*/ 238 w 1052"/>
                <a:gd name="T15" fmla="*/ 55 h 640"/>
                <a:gd name="T16" fmla="*/ 0 w 1052"/>
                <a:gd name="T17" fmla="*/ 382 h 640"/>
                <a:gd name="T18" fmla="*/ 198 w 1052"/>
                <a:gd name="T19" fmla="*/ 382 h 640"/>
                <a:gd name="T20" fmla="*/ 585 w 1052"/>
                <a:gd name="T21" fmla="*/ 640 h 640"/>
                <a:gd name="T22" fmla="*/ 928 w 1052"/>
                <a:gd name="T23" fmla="*/ 640 h 640"/>
                <a:gd name="T24" fmla="*/ 1052 w 1052"/>
                <a:gd name="T25" fmla="*/ 516 h 640"/>
                <a:gd name="T26" fmla="*/ 1052 w 1052"/>
                <a:gd name="T27" fmla="*/ 303 h 640"/>
                <a:gd name="T28" fmla="*/ 759 w 1052"/>
                <a:gd name="T29" fmla="*/ 0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2" h="640">
                  <a:moveTo>
                    <a:pt x="759" y="0"/>
                  </a:moveTo>
                  <a:cubicBezTo>
                    <a:pt x="560" y="333"/>
                    <a:pt x="560" y="333"/>
                    <a:pt x="560" y="333"/>
                  </a:cubicBezTo>
                  <a:cubicBezTo>
                    <a:pt x="541" y="115"/>
                    <a:pt x="541" y="115"/>
                    <a:pt x="541" y="115"/>
                  </a:cubicBezTo>
                  <a:cubicBezTo>
                    <a:pt x="580" y="0"/>
                    <a:pt x="580" y="0"/>
                    <a:pt x="580" y="0"/>
                  </a:cubicBezTo>
                  <a:cubicBezTo>
                    <a:pt x="382" y="0"/>
                    <a:pt x="382" y="0"/>
                    <a:pt x="382" y="0"/>
                  </a:cubicBezTo>
                  <a:cubicBezTo>
                    <a:pt x="422" y="115"/>
                    <a:pt x="422" y="115"/>
                    <a:pt x="422" y="115"/>
                  </a:cubicBezTo>
                  <a:cubicBezTo>
                    <a:pt x="402" y="333"/>
                    <a:pt x="402" y="333"/>
                    <a:pt x="402" y="333"/>
                  </a:cubicBezTo>
                  <a:cubicBezTo>
                    <a:pt x="238" y="55"/>
                    <a:pt x="238" y="55"/>
                    <a:pt x="238" y="55"/>
                  </a:cubicBezTo>
                  <a:cubicBezTo>
                    <a:pt x="198" y="184"/>
                    <a:pt x="114" y="323"/>
                    <a:pt x="0" y="382"/>
                  </a:cubicBezTo>
                  <a:cubicBezTo>
                    <a:pt x="198" y="382"/>
                    <a:pt x="198" y="382"/>
                    <a:pt x="198" y="382"/>
                  </a:cubicBezTo>
                  <a:cubicBezTo>
                    <a:pt x="367" y="392"/>
                    <a:pt x="516" y="497"/>
                    <a:pt x="585" y="640"/>
                  </a:cubicBezTo>
                  <a:cubicBezTo>
                    <a:pt x="928" y="640"/>
                    <a:pt x="928" y="640"/>
                    <a:pt x="928" y="640"/>
                  </a:cubicBezTo>
                  <a:cubicBezTo>
                    <a:pt x="997" y="640"/>
                    <a:pt x="1052" y="586"/>
                    <a:pt x="1052" y="516"/>
                  </a:cubicBezTo>
                  <a:cubicBezTo>
                    <a:pt x="1052" y="303"/>
                    <a:pt x="1052" y="303"/>
                    <a:pt x="1052" y="303"/>
                  </a:cubicBezTo>
                  <a:cubicBezTo>
                    <a:pt x="1047" y="144"/>
                    <a:pt x="918" y="10"/>
                    <a:pt x="7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9" name="Freeform 12">
              <a:extLst>
                <a:ext uri="{FF2B5EF4-FFF2-40B4-BE49-F238E27FC236}">
                  <a16:creationId xmlns:a16="http://schemas.microsoft.com/office/drawing/2014/main" id="{DACA0CB9-4091-4262-B9F2-0B72AFEB1159}"/>
                </a:ext>
              </a:extLst>
            </p:cNvPr>
            <p:cNvSpPr>
              <a:spLocks/>
            </p:cNvSpPr>
            <p:nvPr/>
          </p:nvSpPr>
          <p:spPr bwMode="auto">
            <a:xfrm>
              <a:off x="7373938" y="3175"/>
              <a:ext cx="1751013" cy="2041525"/>
            </a:xfrm>
            <a:custGeom>
              <a:avLst/>
              <a:gdLst>
                <a:gd name="T0" fmla="*/ 253 w 506"/>
                <a:gd name="T1" fmla="*/ 591 h 591"/>
                <a:gd name="T2" fmla="*/ 506 w 506"/>
                <a:gd name="T3" fmla="*/ 253 h 591"/>
                <a:gd name="T4" fmla="*/ 253 w 506"/>
                <a:gd name="T5" fmla="*/ 0 h 591"/>
                <a:gd name="T6" fmla="*/ 0 w 506"/>
                <a:gd name="T7" fmla="*/ 253 h 591"/>
                <a:gd name="T8" fmla="*/ 253 w 506"/>
                <a:gd name="T9" fmla="*/ 591 h 591"/>
              </a:gdLst>
              <a:ahLst/>
              <a:cxnLst>
                <a:cxn ang="0">
                  <a:pos x="T0" y="T1"/>
                </a:cxn>
                <a:cxn ang="0">
                  <a:pos x="T2" y="T3"/>
                </a:cxn>
                <a:cxn ang="0">
                  <a:pos x="T4" y="T5"/>
                </a:cxn>
                <a:cxn ang="0">
                  <a:pos x="T6" y="T7"/>
                </a:cxn>
                <a:cxn ang="0">
                  <a:pos x="T8" y="T9"/>
                </a:cxn>
              </a:cxnLst>
              <a:rect l="0" t="0" r="r" b="b"/>
              <a:pathLst>
                <a:path w="506" h="591">
                  <a:moveTo>
                    <a:pt x="253" y="591"/>
                  </a:moveTo>
                  <a:cubicBezTo>
                    <a:pt x="392" y="591"/>
                    <a:pt x="506" y="397"/>
                    <a:pt x="506" y="253"/>
                  </a:cubicBezTo>
                  <a:cubicBezTo>
                    <a:pt x="506" y="109"/>
                    <a:pt x="392" y="0"/>
                    <a:pt x="253" y="0"/>
                  </a:cubicBezTo>
                  <a:cubicBezTo>
                    <a:pt x="114" y="0"/>
                    <a:pt x="0" y="114"/>
                    <a:pt x="0" y="253"/>
                  </a:cubicBezTo>
                  <a:cubicBezTo>
                    <a:pt x="0" y="392"/>
                    <a:pt x="114" y="591"/>
                    <a:pt x="253" y="5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0" name="Freeform 13">
              <a:extLst>
                <a:ext uri="{FF2B5EF4-FFF2-40B4-BE49-F238E27FC236}">
                  <a16:creationId xmlns:a16="http://schemas.microsoft.com/office/drawing/2014/main" id="{626E500C-4F8E-473C-A5A5-438D32187263}"/>
                </a:ext>
              </a:extLst>
            </p:cNvPr>
            <p:cNvSpPr>
              <a:spLocks/>
            </p:cNvSpPr>
            <p:nvPr/>
          </p:nvSpPr>
          <p:spPr bwMode="auto">
            <a:xfrm>
              <a:off x="1966913" y="2503488"/>
              <a:ext cx="3605213" cy="2209800"/>
            </a:xfrm>
            <a:custGeom>
              <a:avLst/>
              <a:gdLst>
                <a:gd name="T0" fmla="*/ 844 w 1042"/>
                <a:gd name="T1" fmla="*/ 387 h 640"/>
                <a:gd name="T2" fmla="*/ 1042 w 1042"/>
                <a:gd name="T3" fmla="*/ 387 h 640"/>
                <a:gd name="T4" fmla="*/ 804 w 1042"/>
                <a:gd name="T5" fmla="*/ 70 h 640"/>
                <a:gd name="T6" fmla="*/ 645 w 1042"/>
                <a:gd name="T7" fmla="*/ 333 h 640"/>
                <a:gd name="T8" fmla="*/ 625 w 1042"/>
                <a:gd name="T9" fmla="*/ 115 h 640"/>
                <a:gd name="T10" fmla="*/ 665 w 1042"/>
                <a:gd name="T11" fmla="*/ 0 h 640"/>
                <a:gd name="T12" fmla="*/ 467 w 1042"/>
                <a:gd name="T13" fmla="*/ 0 h 640"/>
                <a:gd name="T14" fmla="*/ 506 w 1042"/>
                <a:gd name="T15" fmla="*/ 115 h 640"/>
                <a:gd name="T16" fmla="*/ 487 w 1042"/>
                <a:gd name="T17" fmla="*/ 333 h 640"/>
                <a:gd name="T18" fmla="*/ 288 w 1042"/>
                <a:gd name="T19" fmla="*/ 0 h 640"/>
                <a:gd name="T20" fmla="*/ 0 w 1042"/>
                <a:gd name="T21" fmla="*/ 303 h 640"/>
                <a:gd name="T22" fmla="*/ 0 w 1042"/>
                <a:gd name="T23" fmla="*/ 516 h 640"/>
                <a:gd name="T24" fmla="*/ 124 w 1042"/>
                <a:gd name="T25" fmla="*/ 640 h 640"/>
                <a:gd name="T26" fmla="*/ 452 w 1042"/>
                <a:gd name="T27" fmla="*/ 640 h 640"/>
                <a:gd name="T28" fmla="*/ 844 w 1042"/>
                <a:gd name="T29" fmla="*/ 387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2" h="640">
                  <a:moveTo>
                    <a:pt x="844" y="387"/>
                  </a:moveTo>
                  <a:cubicBezTo>
                    <a:pt x="1042" y="387"/>
                    <a:pt x="1042" y="387"/>
                    <a:pt x="1042" y="387"/>
                  </a:cubicBezTo>
                  <a:cubicBezTo>
                    <a:pt x="928" y="323"/>
                    <a:pt x="844" y="199"/>
                    <a:pt x="804" y="70"/>
                  </a:cubicBezTo>
                  <a:cubicBezTo>
                    <a:pt x="645" y="333"/>
                    <a:pt x="645" y="333"/>
                    <a:pt x="645" y="333"/>
                  </a:cubicBezTo>
                  <a:cubicBezTo>
                    <a:pt x="625" y="115"/>
                    <a:pt x="625" y="115"/>
                    <a:pt x="625" y="115"/>
                  </a:cubicBezTo>
                  <a:cubicBezTo>
                    <a:pt x="665" y="0"/>
                    <a:pt x="665" y="0"/>
                    <a:pt x="665" y="0"/>
                  </a:cubicBezTo>
                  <a:cubicBezTo>
                    <a:pt x="467" y="0"/>
                    <a:pt x="467" y="0"/>
                    <a:pt x="467" y="0"/>
                  </a:cubicBezTo>
                  <a:cubicBezTo>
                    <a:pt x="506" y="115"/>
                    <a:pt x="506" y="115"/>
                    <a:pt x="506" y="115"/>
                  </a:cubicBezTo>
                  <a:cubicBezTo>
                    <a:pt x="487" y="333"/>
                    <a:pt x="487" y="333"/>
                    <a:pt x="487" y="333"/>
                  </a:cubicBezTo>
                  <a:cubicBezTo>
                    <a:pt x="288" y="0"/>
                    <a:pt x="288" y="0"/>
                    <a:pt x="288" y="0"/>
                  </a:cubicBezTo>
                  <a:cubicBezTo>
                    <a:pt x="129" y="10"/>
                    <a:pt x="0" y="144"/>
                    <a:pt x="0" y="303"/>
                  </a:cubicBezTo>
                  <a:cubicBezTo>
                    <a:pt x="0" y="516"/>
                    <a:pt x="0" y="516"/>
                    <a:pt x="0" y="516"/>
                  </a:cubicBezTo>
                  <a:cubicBezTo>
                    <a:pt x="0" y="586"/>
                    <a:pt x="55" y="640"/>
                    <a:pt x="124" y="640"/>
                  </a:cubicBezTo>
                  <a:cubicBezTo>
                    <a:pt x="452" y="640"/>
                    <a:pt x="452" y="640"/>
                    <a:pt x="452" y="640"/>
                  </a:cubicBezTo>
                  <a:cubicBezTo>
                    <a:pt x="526" y="497"/>
                    <a:pt x="670" y="397"/>
                    <a:pt x="844" y="3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1" name="Freeform 14">
              <a:extLst>
                <a:ext uri="{FF2B5EF4-FFF2-40B4-BE49-F238E27FC236}">
                  <a16:creationId xmlns:a16="http://schemas.microsoft.com/office/drawing/2014/main" id="{BFB2AEA0-418C-4768-B93C-91ECCC9B4272}"/>
                </a:ext>
              </a:extLst>
            </p:cNvPr>
            <p:cNvSpPr>
              <a:spLocks/>
            </p:cNvSpPr>
            <p:nvPr/>
          </p:nvSpPr>
          <p:spPr bwMode="auto">
            <a:xfrm>
              <a:off x="3049588" y="3175"/>
              <a:ext cx="1751013" cy="2041525"/>
            </a:xfrm>
            <a:custGeom>
              <a:avLst/>
              <a:gdLst>
                <a:gd name="T0" fmla="*/ 253 w 506"/>
                <a:gd name="T1" fmla="*/ 591 h 591"/>
                <a:gd name="T2" fmla="*/ 506 w 506"/>
                <a:gd name="T3" fmla="*/ 253 h 591"/>
                <a:gd name="T4" fmla="*/ 253 w 506"/>
                <a:gd name="T5" fmla="*/ 0 h 591"/>
                <a:gd name="T6" fmla="*/ 0 w 506"/>
                <a:gd name="T7" fmla="*/ 253 h 591"/>
                <a:gd name="T8" fmla="*/ 253 w 506"/>
                <a:gd name="T9" fmla="*/ 591 h 591"/>
              </a:gdLst>
              <a:ahLst/>
              <a:cxnLst>
                <a:cxn ang="0">
                  <a:pos x="T0" y="T1"/>
                </a:cxn>
                <a:cxn ang="0">
                  <a:pos x="T2" y="T3"/>
                </a:cxn>
                <a:cxn ang="0">
                  <a:pos x="T4" y="T5"/>
                </a:cxn>
                <a:cxn ang="0">
                  <a:pos x="T6" y="T7"/>
                </a:cxn>
                <a:cxn ang="0">
                  <a:pos x="T8" y="T9"/>
                </a:cxn>
              </a:cxnLst>
              <a:rect l="0" t="0" r="r" b="b"/>
              <a:pathLst>
                <a:path w="506" h="591">
                  <a:moveTo>
                    <a:pt x="253" y="591"/>
                  </a:moveTo>
                  <a:cubicBezTo>
                    <a:pt x="392" y="591"/>
                    <a:pt x="506" y="397"/>
                    <a:pt x="506" y="253"/>
                  </a:cubicBezTo>
                  <a:cubicBezTo>
                    <a:pt x="506" y="109"/>
                    <a:pt x="392" y="0"/>
                    <a:pt x="253" y="0"/>
                  </a:cubicBezTo>
                  <a:cubicBezTo>
                    <a:pt x="114" y="0"/>
                    <a:pt x="0" y="114"/>
                    <a:pt x="0" y="253"/>
                  </a:cubicBezTo>
                  <a:cubicBezTo>
                    <a:pt x="0" y="392"/>
                    <a:pt x="114" y="591"/>
                    <a:pt x="253" y="5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542" name="Text Placeholder 235">
            <a:extLst>
              <a:ext uri="{FF2B5EF4-FFF2-40B4-BE49-F238E27FC236}">
                <a16:creationId xmlns:a16="http://schemas.microsoft.com/office/drawing/2014/main" id="{6C5B8B78-B7BA-4644-BC05-FAE54C815C95}"/>
              </a:ext>
            </a:extLst>
          </p:cNvPr>
          <p:cNvSpPr txBox="1">
            <a:spLocks/>
          </p:cNvSpPr>
          <p:nvPr/>
        </p:nvSpPr>
        <p:spPr>
          <a:xfrm>
            <a:off x="5327203" y="546326"/>
            <a:ext cx="2489074" cy="301642"/>
          </a:xfrm>
          <a:prstGeom prst="rect">
            <a:avLst/>
          </a:prstGeom>
          <a:noFill/>
        </p:spPr>
        <p:txBody>
          <a:bodyPr lIns="91440" tIns="0" rIns="0" bIns="0" anchor="ct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19456" algn="l" defTabSz="914400" rtl="0" eaLnBrk="1" latinLnBrk="0" hangingPunct="1">
              <a:lnSpc>
                <a:spcPct val="90000"/>
              </a:lnSpc>
              <a:spcBef>
                <a:spcPts val="300"/>
              </a:spcBef>
              <a:spcAft>
                <a:spcPts val="0"/>
              </a:spcAft>
              <a:buFont typeface="Arial" panose="020B0604020202020204" pitchFamily="34" charset="0"/>
              <a:buChar char="–"/>
              <a:defRPr sz="1800" b="0" kern="1200">
                <a:solidFill>
                  <a:schemeClr val="tx1"/>
                </a:solidFill>
                <a:latin typeface="+mn-lt"/>
                <a:ea typeface="+mn-ea"/>
                <a:cs typeface="+mn-cs"/>
              </a:defRPr>
            </a:lvl2pPr>
            <a:lvl3pPr marL="566928" indent="-169863" algn="l" defTabSz="914400" rtl="0" eaLnBrk="1" latinLnBrk="0" hangingPunct="1">
              <a:lnSpc>
                <a:spcPct val="90000"/>
              </a:lnSpc>
              <a:spcBef>
                <a:spcPts val="300"/>
              </a:spcBef>
              <a:spcAft>
                <a:spcPts val="0"/>
              </a:spcAft>
              <a:buFont typeface="Wingdings" panose="05000000000000000000" pitchFamily="2" charset="2"/>
              <a:buChar char="§"/>
              <a:defRPr sz="1600" b="0" kern="1200">
                <a:solidFill>
                  <a:schemeClr val="tx1"/>
                </a:solidFill>
                <a:latin typeface="+mn-lt"/>
                <a:ea typeface="+mn-ea"/>
                <a:cs typeface="+mn-cs"/>
              </a:defRPr>
            </a:lvl3pPr>
            <a:lvl4pPr marL="740664" indent="-173736"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4pPr>
            <a:lvl5pPr marL="914400" indent="-173736"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200"/>
              </a:spcAft>
              <a:buClrTx/>
              <a:buSzTx/>
              <a:buFont typeface="Arial" panose="020B0604020202020204" pitchFamily="34" charset="0"/>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t>230K+ active users</a:t>
            </a:r>
          </a:p>
        </p:txBody>
      </p:sp>
      <p:grpSp>
        <p:nvGrpSpPr>
          <p:cNvPr id="544" name="Group 543">
            <a:extLst>
              <a:ext uri="{FF2B5EF4-FFF2-40B4-BE49-F238E27FC236}">
                <a16:creationId xmlns:a16="http://schemas.microsoft.com/office/drawing/2014/main" id="{22F1F706-2F9F-4CAA-B5E1-38DE0DD67BBB}"/>
              </a:ext>
            </a:extLst>
          </p:cNvPr>
          <p:cNvGrpSpPr/>
          <p:nvPr/>
        </p:nvGrpSpPr>
        <p:grpSpPr>
          <a:xfrm>
            <a:off x="4719856" y="481809"/>
            <a:ext cx="361544" cy="469812"/>
            <a:chOff x="3454400" y="0"/>
            <a:chExt cx="5280025" cy="6861175"/>
          </a:xfrm>
        </p:grpSpPr>
        <p:sp>
          <p:nvSpPr>
            <p:cNvPr id="545" name="AutoShape 16">
              <a:extLst>
                <a:ext uri="{FF2B5EF4-FFF2-40B4-BE49-F238E27FC236}">
                  <a16:creationId xmlns:a16="http://schemas.microsoft.com/office/drawing/2014/main" id="{5A1877F1-3983-4462-8F7C-14B9E417D22D}"/>
                </a:ext>
              </a:extLst>
            </p:cNvPr>
            <p:cNvSpPr>
              <a:spLocks noChangeAspect="1" noChangeArrowheads="1" noTextEdit="1"/>
            </p:cNvSpPr>
            <p:nvPr/>
          </p:nvSpPr>
          <p:spPr bwMode="auto">
            <a:xfrm>
              <a:off x="3457575" y="0"/>
              <a:ext cx="52768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6" name="Freeform 18">
              <a:extLst>
                <a:ext uri="{FF2B5EF4-FFF2-40B4-BE49-F238E27FC236}">
                  <a16:creationId xmlns:a16="http://schemas.microsoft.com/office/drawing/2014/main" id="{A21708FA-791A-465D-827E-20D2E95F1605}"/>
                </a:ext>
              </a:extLst>
            </p:cNvPr>
            <p:cNvSpPr>
              <a:spLocks/>
            </p:cNvSpPr>
            <p:nvPr/>
          </p:nvSpPr>
          <p:spPr bwMode="auto">
            <a:xfrm>
              <a:off x="3454400" y="3195638"/>
              <a:ext cx="5276850" cy="2635250"/>
            </a:xfrm>
            <a:custGeom>
              <a:avLst/>
              <a:gdLst>
                <a:gd name="T0" fmla="*/ 486 w 1644"/>
                <a:gd name="T1" fmla="*/ 646 h 823"/>
                <a:gd name="T2" fmla="*/ 593 w 1644"/>
                <a:gd name="T3" fmla="*/ 602 h 823"/>
                <a:gd name="T4" fmla="*/ 701 w 1644"/>
                <a:gd name="T5" fmla="*/ 646 h 823"/>
                <a:gd name="T6" fmla="*/ 753 w 1644"/>
                <a:gd name="T7" fmla="*/ 699 h 823"/>
                <a:gd name="T8" fmla="*/ 943 w 1644"/>
                <a:gd name="T9" fmla="*/ 509 h 823"/>
                <a:gd name="T10" fmla="*/ 1051 w 1644"/>
                <a:gd name="T11" fmla="*/ 465 h 823"/>
                <a:gd name="T12" fmla="*/ 1158 w 1644"/>
                <a:gd name="T13" fmla="*/ 509 h 823"/>
                <a:gd name="T14" fmla="*/ 1249 w 1644"/>
                <a:gd name="T15" fmla="*/ 601 h 823"/>
                <a:gd name="T16" fmla="*/ 1249 w 1644"/>
                <a:gd name="T17" fmla="*/ 815 h 823"/>
                <a:gd name="T18" fmla="*/ 1241 w 1644"/>
                <a:gd name="T19" fmla="*/ 823 h 823"/>
                <a:gd name="T20" fmla="*/ 1644 w 1644"/>
                <a:gd name="T21" fmla="*/ 609 h 823"/>
                <a:gd name="T22" fmla="*/ 1088 w 1644"/>
                <a:gd name="T23" fmla="*/ 42 h 823"/>
                <a:gd name="T24" fmla="*/ 822 w 1644"/>
                <a:gd name="T25" fmla="*/ 141 h 823"/>
                <a:gd name="T26" fmla="*/ 557 w 1644"/>
                <a:gd name="T27" fmla="*/ 42 h 823"/>
                <a:gd name="T28" fmla="*/ 0 w 1644"/>
                <a:gd name="T29" fmla="*/ 609 h 823"/>
                <a:gd name="T30" fmla="*/ 354 w 1644"/>
                <a:gd name="T31" fmla="*/ 814 h 823"/>
                <a:gd name="T32" fmla="*/ 395 w 1644"/>
                <a:gd name="T33" fmla="*/ 738 h 823"/>
                <a:gd name="T34" fmla="*/ 486 w 1644"/>
                <a:gd name="T35" fmla="*/ 646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44" h="823">
                  <a:moveTo>
                    <a:pt x="486" y="646"/>
                  </a:moveTo>
                  <a:cubicBezTo>
                    <a:pt x="515" y="618"/>
                    <a:pt x="553" y="602"/>
                    <a:pt x="593" y="602"/>
                  </a:cubicBezTo>
                  <a:cubicBezTo>
                    <a:pt x="634" y="602"/>
                    <a:pt x="672" y="618"/>
                    <a:pt x="701" y="646"/>
                  </a:cubicBezTo>
                  <a:cubicBezTo>
                    <a:pt x="753" y="699"/>
                    <a:pt x="753" y="699"/>
                    <a:pt x="753" y="699"/>
                  </a:cubicBezTo>
                  <a:cubicBezTo>
                    <a:pt x="943" y="509"/>
                    <a:pt x="943" y="509"/>
                    <a:pt x="943" y="509"/>
                  </a:cubicBezTo>
                  <a:cubicBezTo>
                    <a:pt x="972" y="481"/>
                    <a:pt x="1010" y="465"/>
                    <a:pt x="1051" y="465"/>
                  </a:cubicBezTo>
                  <a:cubicBezTo>
                    <a:pt x="1091" y="465"/>
                    <a:pt x="1129" y="481"/>
                    <a:pt x="1158" y="509"/>
                  </a:cubicBezTo>
                  <a:cubicBezTo>
                    <a:pt x="1249" y="601"/>
                    <a:pt x="1249" y="601"/>
                    <a:pt x="1249" y="601"/>
                  </a:cubicBezTo>
                  <a:cubicBezTo>
                    <a:pt x="1308" y="660"/>
                    <a:pt x="1308" y="756"/>
                    <a:pt x="1249" y="815"/>
                  </a:cubicBezTo>
                  <a:cubicBezTo>
                    <a:pt x="1241" y="823"/>
                    <a:pt x="1241" y="823"/>
                    <a:pt x="1241" y="823"/>
                  </a:cubicBezTo>
                  <a:cubicBezTo>
                    <a:pt x="1466" y="785"/>
                    <a:pt x="1644" y="714"/>
                    <a:pt x="1644" y="609"/>
                  </a:cubicBezTo>
                  <a:cubicBezTo>
                    <a:pt x="1644" y="0"/>
                    <a:pt x="1421" y="299"/>
                    <a:pt x="1088" y="42"/>
                  </a:cubicBezTo>
                  <a:cubicBezTo>
                    <a:pt x="1086" y="97"/>
                    <a:pt x="968" y="141"/>
                    <a:pt x="822" y="141"/>
                  </a:cubicBezTo>
                  <a:cubicBezTo>
                    <a:pt x="676" y="141"/>
                    <a:pt x="558" y="97"/>
                    <a:pt x="557" y="42"/>
                  </a:cubicBezTo>
                  <a:cubicBezTo>
                    <a:pt x="223" y="299"/>
                    <a:pt x="0" y="0"/>
                    <a:pt x="0" y="609"/>
                  </a:cubicBezTo>
                  <a:cubicBezTo>
                    <a:pt x="0" y="707"/>
                    <a:pt x="152" y="775"/>
                    <a:pt x="354" y="814"/>
                  </a:cubicBezTo>
                  <a:cubicBezTo>
                    <a:pt x="360" y="786"/>
                    <a:pt x="374" y="759"/>
                    <a:pt x="395" y="738"/>
                  </a:cubicBezTo>
                  <a:lnTo>
                    <a:pt x="486" y="646"/>
                  </a:lnTo>
                  <a:close/>
                </a:path>
              </a:pathLst>
            </a:custGeom>
            <a:solidFill>
              <a:srgbClr val="D600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7" name="Freeform 19">
              <a:extLst>
                <a:ext uri="{FF2B5EF4-FFF2-40B4-BE49-F238E27FC236}">
                  <a16:creationId xmlns:a16="http://schemas.microsoft.com/office/drawing/2014/main" id="{D9E83768-2D27-43A0-A6CB-CAE0B491B4C5}"/>
                </a:ext>
              </a:extLst>
            </p:cNvPr>
            <p:cNvSpPr>
              <a:spLocks/>
            </p:cNvSpPr>
            <p:nvPr/>
          </p:nvSpPr>
          <p:spPr bwMode="auto">
            <a:xfrm>
              <a:off x="4692650" y="0"/>
              <a:ext cx="2795588" cy="3297238"/>
            </a:xfrm>
            <a:custGeom>
              <a:avLst/>
              <a:gdLst>
                <a:gd name="T0" fmla="*/ 77 w 871"/>
                <a:gd name="T1" fmla="*/ 690 h 1030"/>
                <a:gd name="T2" fmla="*/ 263 w 871"/>
                <a:gd name="T3" fmla="*/ 963 h 1030"/>
                <a:gd name="T4" fmla="*/ 438 w 871"/>
                <a:gd name="T5" fmla="*/ 1030 h 1030"/>
                <a:gd name="T6" fmla="*/ 611 w 871"/>
                <a:gd name="T7" fmla="*/ 964 h 1030"/>
                <a:gd name="T8" fmla="*/ 799 w 871"/>
                <a:gd name="T9" fmla="*/ 690 h 1030"/>
                <a:gd name="T10" fmla="*/ 860 w 871"/>
                <a:gd name="T11" fmla="*/ 575 h 1030"/>
                <a:gd name="T12" fmla="*/ 836 w 871"/>
                <a:gd name="T13" fmla="*/ 444 h 1030"/>
                <a:gd name="T14" fmla="*/ 829 w 871"/>
                <a:gd name="T15" fmla="*/ 380 h 1030"/>
                <a:gd name="T16" fmla="*/ 680 w 871"/>
                <a:gd name="T17" fmla="*/ 77 h 1030"/>
                <a:gd name="T18" fmla="*/ 438 w 871"/>
                <a:gd name="T19" fmla="*/ 0 h 1030"/>
                <a:gd name="T20" fmla="*/ 196 w 871"/>
                <a:gd name="T21" fmla="*/ 75 h 1030"/>
                <a:gd name="T22" fmla="*/ 41 w 871"/>
                <a:gd name="T23" fmla="*/ 422 h 1030"/>
                <a:gd name="T24" fmla="*/ 40 w 871"/>
                <a:gd name="T25" fmla="*/ 443 h 1030"/>
                <a:gd name="T26" fmla="*/ 12 w 871"/>
                <a:gd name="T27" fmla="*/ 575 h 1030"/>
                <a:gd name="T28" fmla="*/ 77 w 871"/>
                <a:gd name="T29" fmla="*/ 69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1" h="1030">
                  <a:moveTo>
                    <a:pt x="77" y="690"/>
                  </a:moveTo>
                  <a:cubicBezTo>
                    <a:pt x="116" y="796"/>
                    <a:pt x="182" y="899"/>
                    <a:pt x="263" y="963"/>
                  </a:cubicBezTo>
                  <a:cubicBezTo>
                    <a:pt x="316" y="1004"/>
                    <a:pt x="375" y="1030"/>
                    <a:pt x="438" y="1030"/>
                  </a:cubicBezTo>
                  <a:cubicBezTo>
                    <a:pt x="500" y="1030"/>
                    <a:pt x="559" y="1005"/>
                    <a:pt x="611" y="964"/>
                  </a:cubicBezTo>
                  <a:cubicBezTo>
                    <a:pt x="693" y="899"/>
                    <a:pt x="759" y="796"/>
                    <a:pt x="799" y="690"/>
                  </a:cubicBezTo>
                  <a:cubicBezTo>
                    <a:pt x="823" y="682"/>
                    <a:pt x="849" y="635"/>
                    <a:pt x="860" y="575"/>
                  </a:cubicBezTo>
                  <a:cubicBezTo>
                    <a:pt x="871" y="510"/>
                    <a:pt x="860" y="453"/>
                    <a:pt x="836" y="444"/>
                  </a:cubicBezTo>
                  <a:cubicBezTo>
                    <a:pt x="834" y="423"/>
                    <a:pt x="832" y="401"/>
                    <a:pt x="829" y="380"/>
                  </a:cubicBezTo>
                  <a:cubicBezTo>
                    <a:pt x="819" y="196"/>
                    <a:pt x="763" y="113"/>
                    <a:pt x="680" y="77"/>
                  </a:cubicBezTo>
                  <a:cubicBezTo>
                    <a:pt x="621" y="29"/>
                    <a:pt x="542" y="0"/>
                    <a:pt x="438" y="0"/>
                  </a:cubicBezTo>
                  <a:cubicBezTo>
                    <a:pt x="333" y="0"/>
                    <a:pt x="255" y="29"/>
                    <a:pt x="196" y="75"/>
                  </a:cubicBezTo>
                  <a:cubicBezTo>
                    <a:pt x="105" y="113"/>
                    <a:pt x="45" y="205"/>
                    <a:pt x="41" y="422"/>
                  </a:cubicBezTo>
                  <a:cubicBezTo>
                    <a:pt x="41" y="429"/>
                    <a:pt x="40" y="436"/>
                    <a:pt x="40" y="443"/>
                  </a:cubicBezTo>
                  <a:cubicBezTo>
                    <a:pt x="13" y="448"/>
                    <a:pt x="0" y="507"/>
                    <a:pt x="12" y="575"/>
                  </a:cubicBezTo>
                  <a:cubicBezTo>
                    <a:pt x="23" y="638"/>
                    <a:pt x="51" y="687"/>
                    <a:pt x="77" y="690"/>
                  </a:cubicBezTo>
                  <a:close/>
                </a:path>
              </a:pathLst>
            </a:custGeom>
            <a:solidFill>
              <a:srgbClr val="D600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8" name="Freeform 20">
              <a:extLst>
                <a:ext uri="{FF2B5EF4-FFF2-40B4-BE49-F238E27FC236}">
                  <a16:creationId xmlns:a16="http://schemas.microsoft.com/office/drawing/2014/main" id="{BB3C504A-687A-479E-9394-D2438E9D6094}"/>
                </a:ext>
              </a:extLst>
            </p:cNvPr>
            <p:cNvSpPr>
              <a:spLocks/>
            </p:cNvSpPr>
            <p:nvPr/>
          </p:nvSpPr>
          <p:spPr bwMode="auto">
            <a:xfrm>
              <a:off x="4895850" y="5013325"/>
              <a:ext cx="2393950" cy="1847850"/>
            </a:xfrm>
            <a:custGeom>
              <a:avLst/>
              <a:gdLst>
                <a:gd name="T0" fmla="*/ 19 w 746"/>
                <a:gd name="T1" fmla="*/ 311 h 577"/>
                <a:gd name="T2" fmla="*/ 179 w 746"/>
                <a:gd name="T3" fmla="*/ 471 h 577"/>
                <a:gd name="T4" fmla="*/ 270 w 746"/>
                <a:gd name="T5" fmla="*/ 563 h 577"/>
                <a:gd name="T6" fmla="*/ 304 w 746"/>
                <a:gd name="T7" fmla="*/ 577 h 577"/>
                <a:gd name="T8" fmla="*/ 339 w 746"/>
                <a:gd name="T9" fmla="*/ 563 h 577"/>
                <a:gd name="T10" fmla="*/ 430 w 746"/>
                <a:gd name="T11" fmla="*/ 471 h 577"/>
                <a:gd name="T12" fmla="*/ 727 w 746"/>
                <a:gd name="T13" fmla="*/ 174 h 577"/>
                <a:gd name="T14" fmla="*/ 727 w 746"/>
                <a:gd name="T15" fmla="*/ 105 h 577"/>
                <a:gd name="T16" fmla="*/ 636 w 746"/>
                <a:gd name="T17" fmla="*/ 14 h 577"/>
                <a:gd name="T18" fmla="*/ 602 w 746"/>
                <a:gd name="T19" fmla="*/ 0 h 577"/>
                <a:gd name="T20" fmla="*/ 567 w 746"/>
                <a:gd name="T21" fmla="*/ 14 h 577"/>
                <a:gd name="T22" fmla="*/ 304 w 746"/>
                <a:gd name="T23" fmla="*/ 277 h 577"/>
                <a:gd name="T24" fmla="*/ 179 w 746"/>
                <a:gd name="T25" fmla="*/ 151 h 577"/>
                <a:gd name="T26" fmla="*/ 144 w 746"/>
                <a:gd name="T27" fmla="*/ 137 h 577"/>
                <a:gd name="T28" fmla="*/ 110 w 746"/>
                <a:gd name="T29" fmla="*/ 151 h 577"/>
                <a:gd name="T30" fmla="*/ 19 w 746"/>
                <a:gd name="T31" fmla="*/ 243 h 577"/>
                <a:gd name="T32" fmla="*/ 19 w 746"/>
                <a:gd name="T33" fmla="*/ 311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6" h="577">
                  <a:moveTo>
                    <a:pt x="19" y="311"/>
                  </a:moveTo>
                  <a:cubicBezTo>
                    <a:pt x="179" y="471"/>
                    <a:pt x="179" y="471"/>
                    <a:pt x="179" y="471"/>
                  </a:cubicBezTo>
                  <a:cubicBezTo>
                    <a:pt x="270" y="563"/>
                    <a:pt x="270" y="563"/>
                    <a:pt x="270" y="563"/>
                  </a:cubicBezTo>
                  <a:cubicBezTo>
                    <a:pt x="280" y="572"/>
                    <a:pt x="292" y="577"/>
                    <a:pt x="304" y="577"/>
                  </a:cubicBezTo>
                  <a:cubicBezTo>
                    <a:pt x="317" y="577"/>
                    <a:pt x="329" y="572"/>
                    <a:pt x="339" y="563"/>
                  </a:cubicBezTo>
                  <a:cubicBezTo>
                    <a:pt x="430" y="471"/>
                    <a:pt x="430" y="471"/>
                    <a:pt x="430" y="471"/>
                  </a:cubicBezTo>
                  <a:cubicBezTo>
                    <a:pt x="727" y="174"/>
                    <a:pt x="727" y="174"/>
                    <a:pt x="727" y="174"/>
                  </a:cubicBezTo>
                  <a:cubicBezTo>
                    <a:pt x="746" y="155"/>
                    <a:pt x="746" y="124"/>
                    <a:pt x="727" y="105"/>
                  </a:cubicBezTo>
                  <a:cubicBezTo>
                    <a:pt x="636" y="14"/>
                    <a:pt x="636" y="14"/>
                    <a:pt x="636" y="14"/>
                  </a:cubicBezTo>
                  <a:cubicBezTo>
                    <a:pt x="626" y="5"/>
                    <a:pt x="614" y="0"/>
                    <a:pt x="602" y="0"/>
                  </a:cubicBezTo>
                  <a:cubicBezTo>
                    <a:pt x="589" y="0"/>
                    <a:pt x="577" y="5"/>
                    <a:pt x="567" y="14"/>
                  </a:cubicBezTo>
                  <a:cubicBezTo>
                    <a:pt x="304" y="277"/>
                    <a:pt x="304" y="277"/>
                    <a:pt x="304" y="277"/>
                  </a:cubicBezTo>
                  <a:cubicBezTo>
                    <a:pt x="179" y="151"/>
                    <a:pt x="179" y="151"/>
                    <a:pt x="179" y="151"/>
                  </a:cubicBezTo>
                  <a:cubicBezTo>
                    <a:pt x="169" y="142"/>
                    <a:pt x="157" y="137"/>
                    <a:pt x="144" y="137"/>
                  </a:cubicBezTo>
                  <a:cubicBezTo>
                    <a:pt x="132" y="137"/>
                    <a:pt x="120" y="142"/>
                    <a:pt x="110" y="151"/>
                  </a:cubicBezTo>
                  <a:cubicBezTo>
                    <a:pt x="19" y="243"/>
                    <a:pt x="19" y="243"/>
                    <a:pt x="19" y="243"/>
                  </a:cubicBezTo>
                  <a:cubicBezTo>
                    <a:pt x="0" y="262"/>
                    <a:pt x="0" y="292"/>
                    <a:pt x="19" y="311"/>
                  </a:cubicBezTo>
                  <a:close/>
                </a:path>
              </a:pathLst>
            </a:custGeom>
            <a:solidFill>
              <a:srgbClr val="D600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9" name="Rounded Rectangle 8"/>
          <p:cNvSpPr/>
          <p:nvPr/>
        </p:nvSpPr>
        <p:spPr>
          <a:xfrm>
            <a:off x="332751" y="5286286"/>
            <a:ext cx="1360983" cy="657710"/>
          </a:xfrm>
          <a:prstGeom prst="rect">
            <a:avLst/>
          </a:prstGeom>
          <a:solidFill>
            <a:schemeClr val="bg1"/>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pic>
        <p:nvPicPr>
          <p:cNvPr id="3074" name="Picture 2" descr="https://a-teaminsight.com/wp-content/uploads/2019/02/DM-Awards-2019-400.png"/>
          <p:cNvPicPr>
            <a:picLocks noChangeAspect="1" noChangeArrowheads="1"/>
          </p:cNvPicPr>
          <p:nvPr/>
        </p:nvPicPr>
        <p:blipFill>
          <a:blip r:embed="rId186" cstate="print">
            <a:extLst>
              <a:ext uri="{28A0092B-C50C-407E-A947-70E740481C1C}">
                <a14:useLocalDpi xmlns:a14="http://schemas.microsoft.com/office/drawing/2010/main" val="0"/>
              </a:ext>
            </a:extLst>
          </a:blip>
          <a:srcRect/>
          <a:stretch>
            <a:fillRect/>
          </a:stretch>
        </p:blipFill>
        <p:spPr bwMode="auto">
          <a:xfrm>
            <a:off x="416964" y="5422179"/>
            <a:ext cx="1198440" cy="419454"/>
          </a:xfrm>
          <a:prstGeom prst="rect">
            <a:avLst/>
          </a:prstGeom>
          <a:noFill/>
          <a:extLst>
            <a:ext uri="{909E8E84-426E-40DD-AFC4-6F175D3DCCD1}">
              <a14:hiddenFill xmlns:a14="http://schemas.microsoft.com/office/drawing/2010/main">
                <a:solidFill>
                  <a:srgbClr val="FFFFFF"/>
                </a:solidFill>
              </a14:hiddenFill>
            </a:ext>
          </a:extLst>
        </p:spPr>
      </p:pic>
      <p:sp>
        <p:nvSpPr>
          <p:cNvPr id="550" name="Rounded Rectangle 549"/>
          <p:cNvSpPr/>
          <p:nvPr/>
        </p:nvSpPr>
        <p:spPr>
          <a:xfrm>
            <a:off x="7781392" y="5288133"/>
            <a:ext cx="1360983" cy="657710"/>
          </a:xfrm>
          <a:prstGeom prst="rect">
            <a:avLst/>
          </a:prstGeom>
          <a:solidFill>
            <a:schemeClr val="bg1"/>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549" name="Rounded Rectangle 548"/>
          <p:cNvSpPr/>
          <p:nvPr/>
        </p:nvSpPr>
        <p:spPr>
          <a:xfrm>
            <a:off x="3956555" y="5304077"/>
            <a:ext cx="1360983" cy="657710"/>
          </a:xfrm>
          <a:prstGeom prst="rect">
            <a:avLst/>
          </a:prstGeom>
          <a:solidFill>
            <a:schemeClr val="bg1"/>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pic>
        <p:nvPicPr>
          <p:cNvPr id="3076" name="Picture 4" descr="Inside Market Data &amp; Inside Reference Data Awards 2019"/>
          <p:cNvPicPr>
            <a:picLocks noChangeAspect="1" noChangeArrowheads="1"/>
          </p:cNvPicPr>
          <p:nvPr/>
        </p:nvPicPr>
        <p:blipFill>
          <a:blip r:embed="rId187" cstate="print">
            <a:extLst>
              <a:ext uri="{28A0092B-C50C-407E-A947-70E740481C1C}">
                <a14:useLocalDpi xmlns:a14="http://schemas.microsoft.com/office/drawing/2010/main" val="0"/>
              </a:ext>
            </a:extLst>
          </a:blip>
          <a:srcRect/>
          <a:stretch>
            <a:fillRect/>
          </a:stretch>
        </p:blipFill>
        <p:spPr bwMode="auto">
          <a:xfrm>
            <a:off x="3976476" y="5482964"/>
            <a:ext cx="1362755" cy="344133"/>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Waters Rankings 2019"/>
          <p:cNvPicPr>
            <a:picLocks noChangeAspect="1" noChangeArrowheads="1"/>
          </p:cNvPicPr>
          <p:nvPr/>
        </p:nvPicPr>
        <p:blipFill>
          <a:blip r:embed="rId188" cstate="print">
            <a:extLst>
              <a:ext uri="{28A0092B-C50C-407E-A947-70E740481C1C}">
                <a14:useLocalDpi xmlns:a14="http://schemas.microsoft.com/office/drawing/2010/main" val="0"/>
              </a:ext>
            </a:extLst>
          </a:blip>
          <a:srcRect/>
          <a:stretch>
            <a:fillRect/>
          </a:stretch>
        </p:blipFill>
        <p:spPr bwMode="auto">
          <a:xfrm>
            <a:off x="7858908" y="5393656"/>
            <a:ext cx="1210848" cy="456486"/>
          </a:xfrm>
          <a:prstGeom prst="rect">
            <a:avLst/>
          </a:prstGeom>
          <a:noFill/>
          <a:extLst>
            <a:ext uri="{909E8E84-426E-40DD-AFC4-6F175D3DCCD1}">
              <a14:hiddenFill xmlns:a14="http://schemas.microsoft.com/office/drawing/2010/main">
                <a:solidFill>
                  <a:srgbClr val="FFFFFF"/>
                </a:solidFill>
              </a14:hiddenFill>
            </a:ext>
          </a:extLst>
        </p:spPr>
      </p:pic>
      <p:pic>
        <p:nvPicPr>
          <p:cNvPr id="526" name="Market Intelligence">
            <a:extLst>
              <a:ext uri="{FF2B5EF4-FFF2-40B4-BE49-F238E27FC236}">
                <a16:creationId xmlns:a16="http://schemas.microsoft.com/office/drawing/2014/main" id="{2E77014E-85FF-485D-A077-5A569E23DA25}"/>
              </a:ext>
            </a:extLst>
          </p:cNvPr>
          <p:cNvPicPr>
            <a:picLocks noChangeAspect="1"/>
          </p:cNvPicPr>
          <p:nvPr/>
        </p:nvPicPr>
        <p:blipFill>
          <a:blip r:embed="rId189"/>
          <a:stretch>
            <a:fillRect/>
          </a:stretch>
        </p:blipFill>
        <p:spPr>
          <a:xfrm>
            <a:off x="265093" y="6083223"/>
            <a:ext cx="1978195" cy="713232"/>
          </a:xfrm>
          <a:prstGeom prst="rect">
            <a:avLst/>
          </a:prstGeom>
        </p:spPr>
      </p:pic>
      <p:grpSp>
        <p:nvGrpSpPr>
          <p:cNvPr id="8" name="Group 7">
            <a:extLst>
              <a:ext uri="{FF2B5EF4-FFF2-40B4-BE49-F238E27FC236}">
                <a16:creationId xmlns:a16="http://schemas.microsoft.com/office/drawing/2014/main" id="{E89C146B-EA26-4E76-ABC6-9D8AB1AE11E1}"/>
              </a:ext>
            </a:extLst>
          </p:cNvPr>
          <p:cNvGrpSpPr/>
          <p:nvPr/>
        </p:nvGrpSpPr>
        <p:grpSpPr>
          <a:xfrm>
            <a:off x="256478" y="5176910"/>
            <a:ext cx="7605131" cy="911655"/>
            <a:chOff x="256478" y="5118410"/>
            <a:chExt cx="7605131" cy="970156"/>
          </a:xfrm>
          <a:solidFill>
            <a:srgbClr val="D6002A"/>
          </a:solidFill>
        </p:grpSpPr>
        <p:sp>
          <p:nvSpPr>
            <p:cNvPr id="3" name="Rectangle 2">
              <a:extLst>
                <a:ext uri="{FF2B5EF4-FFF2-40B4-BE49-F238E27FC236}">
                  <a16:creationId xmlns:a16="http://schemas.microsoft.com/office/drawing/2014/main" id="{5FD63C3D-3EA2-4C7F-ADCC-A61BFA509C96}"/>
                </a:ext>
              </a:extLst>
            </p:cNvPr>
            <p:cNvSpPr/>
            <p:nvPr/>
          </p:nvSpPr>
          <p:spPr>
            <a:xfrm>
              <a:off x="256478" y="5118410"/>
              <a:ext cx="89210" cy="97015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528" name="Rectangle 527">
              <a:extLst>
                <a:ext uri="{FF2B5EF4-FFF2-40B4-BE49-F238E27FC236}">
                  <a16:creationId xmlns:a16="http://schemas.microsoft.com/office/drawing/2014/main" id="{6289071F-E372-4816-8A8C-F6D736FA4749}"/>
                </a:ext>
              </a:extLst>
            </p:cNvPr>
            <p:cNvSpPr/>
            <p:nvPr/>
          </p:nvSpPr>
          <p:spPr>
            <a:xfrm>
              <a:off x="3936380" y="5118410"/>
              <a:ext cx="89210" cy="97015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551" name="Rectangle 550">
              <a:extLst>
                <a:ext uri="{FF2B5EF4-FFF2-40B4-BE49-F238E27FC236}">
                  <a16:creationId xmlns:a16="http://schemas.microsoft.com/office/drawing/2014/main" id="{06FCC5D7-0E8D-425E-A57A-0A78D1EFE581}"/>
                </a:ext>
              </a:extLst>
            </p:cNvPr>
            <p:cNvSpPr/>
            <p:nvPr/>
          </p:nvSpPr>
          <p:spPr>
            <a:xfrm>
              <a:off x="7772399" y="5118410"/>
              <a:ext cx="89210" cy="97015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sp>
        <p:nvSpPr>
          <p:cNvPr id="506" name="Footer Placeholder 3"/>
          <p:cNvSpPr txBox="1">
            <a:spLocks/>
          </p:cNvSpPr>
          <p:nvPr/>
        </p:nvSpPr>
        <p:spPr>
          <a:xfrm>
            <a:off x="3762375" y="6486297"/>
            <a:ext cx="7528630" cy="2210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Permission to reprint or distribute any content from this presentation requires the prior written approval of S&amp;P Global Market Intelligence. </a:t>
            </a:r>
          </a:p>
        </p:txBody>
      </p:sp>
      <p:pic>
        <p:nvPicPr>
          <p:cNvPr id="507" name="Picture 506">
            <a:extLst>
              <a:ext uri="{FF2B5EF4-FFF2-40B4-BE49-F238E27FC236}">
                <a16:creationId xmlns:a16="http://schemas.microsoft.com/office/drawing/2014/main" id="{D8EE4750-F31A-47A4-8EF4-4ABBA1329B45}"/>
              </a:ext>
            </a:extLst>
          </p:cNvPr>
          <p:cNvPicPr>
            <a:picLocks noChangeAspect="1"/>
          </p:cNvPicPr>
          <p:nvPr/>
        </p:nvPicPr>
        <p:blipFill rotWithShape="1">
          <a:blip r:embed="rId190" cstate="print">
            <a:extLst>
              <a:ext uri="{28A0092B-C50C-407E-A947-70E740481C1C}">
                <a14:useLocalDpi xmlns:a14="http://schemas.microsoft.com/office/drawing/2010/main" val="0"/>
              </a:ext>
            </a:extLst>
          </a:blip>
          <a:srcRect t="40904"/>
          <a:stretch/>
        </p:blipFill>
        <p:spPr>
          <a:xfrm>
            <a:off x="153745" y="3938099"/>
            <a:ext cx="2471566" cy="1042396"/>
          </a:xfrm>
          <a:prstGeom prst="rect">
            <a:avLst/>
          </a:prstGeom>
        </p:spPr>
      </p:pic>
      <p:pic>
        <p:nvPicPr>
          <p:cNvPr id="508" name="Market Intelligence">
            <a:extLst>
              <a:ext uri="{FF2B5EF4-FFF2-40B4-BE49-F238E27FC236}">
                <a16:creationId xmlns:a16="http://schemas.microsoft.com/office/drawing/2014/main" id="{523ECEC0-A28B-4EF9-AF6C-D943549623D7}"/>
              </a:ext>
            </a:extLst>
          </p:cNvPr>
          <p:cNvPicPr>
            <a:picLocks noChangeAspect="1"/>
          </p:cNvPicPr>
          <p:nvPr/>
        </p:nvPicPr>
        <p:blipFill rotWithShape="1">
          <a:blip r:embed="rId189"/>
          <a:srcRect r="41273" b="42525"/>
          <a:stretch/>
        </p:blipFill>
        <p:spPr>
          <a:xfrm>
            <a:off x="157978" y="3243778"/>
            <a:ext cx="1961780" cy="692240"/>
          </a:xfrm>
          <a:prstGeom prst="rect">
            <a:avLst/>
          </a:prstGeom>
        </p:spPr>
      </p:pic>
      <p:pic>
        <p:nvPicPr>
          <p:cNvPr id="2" name="Audio 1">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191"/>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4152470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48A983CE-745D-4E50-AA40-D69CE6E4C90E}"/>
              </a:ext>
            </a:extLst>
          </p:cNvPr>
          <p:cNvSpPr/>
          <p:nvPr/>
        </p:nvSpPr>
        <p:spPr>
          <a:xfrm>
            <a:off x="1800665" y="1062113"/>
            <a:ext cx="8581292" cy="501582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6" name="Oval 5">
            <a:extLst>
              <a:ext uri="{FF2B5EF4-FFF2-40B4-BE49-F238E27FC236}">
                <a16:creationId xmlns:a16="http://schemas.microsoft.com/office/drawing/2014/main" id="{D405F8BE-55EA-4C55-A898-DA9EF2D33B0B}"/>
              </a:ext>
            </a:extLst>
          </p:cNvPr>
          <p:cNvSpPr/>
          <p:nvPr/>
        </p:nvSpPr>
        <p:spPr>
          <a:xfrm>
            <a:off x="3587264" y="1062114"/>
            <a:ext cx="5008098" cy="5008098"/>
          </a:xfrm>
          <a:prstGeom prst="ellipse">
            <a:avLst/>
          </a:prstGeom>
          <a:noFill/>
          <a:ln w="12700">
            <a:solidFill>
              <a:schemeClr val="tx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46" name="Partial Circle 45">
            <a:extLst>
              <a:ext uri="{FF2B5EF4-FFF2-40B4-BE49-F238E27FC236}">
                <a16:creationId xmlns:a16="http://schemas.microsoft.com/office/drawing/2014/main" id="{DB600E9D-0281-4CCF-9F7E-9E7CB86663F6}"/>
              </a:ext>
            </a:extLst>
          </p:cNvPr>
          <p:cNvSpPr/>
          <p:nvPr/>
        </p:nvSpPr>
        <p:spPr>
          <a:xfrm rot="5400000">
            <a:off x="3936609" y="1406772"/>
            <a:ext cx="4318782" cy="4318782"/>
          </a:xfrm>
          <a:prstGeom prst="pie">
            <a:avLst>
              <a:gd name="adj1" fmla="val 5385337"/>
              <a:gd name="adj2" fmla="val 16285237"/>
            </a:avLst>
          </a:prstGeom>
          <a:solidFill>
            <a:srgbClr val="4F99C1"/>
          </a:solidFill>
          <a:ln>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43" name="Partial Circle 42">
            <a:extLst>
              <a:ext uri="{FF2B5EF4-FFF2-40B4-BE49-F238E27FC236}">
                <a16:creationId xmlns:a16="http://schemas.microsoft.com/office/drawing/2014/main" id="{528094F8-C269-49ED-A7F7-1F7FA630B90D}"/>
              </a:ext>
            </a:extLst>
          </p:cNvPr>
          <p:cNvSpPr/>
          <p:nvPr/>
        </p:nvSpPr>
        <p:spPr>
          <a:xfrm rot="16200000">
            <a:off x="3931922" y="1406772"/>
            <a:ext cx="4318782" cy="4318782"/>
          </a:xfrm>
          <a:prstGeom prst="pie">
            <a:avLst>
              <a:gd name="adj1" fmla="val 5487208"/>
              <a:gd name="adj2" fmla="val 16200000"/>
            </a:avLst>
          </a:prstGeom>
          <a:solidFill>
            <a:srgbClr val="4F99C1"/>
          </a:solidFill>
          <a:ln>
            <a:solidFill>
              <a:srgbClr val="4F99C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cxnSp>
        <p:nvCxnSpPr>
          <p:cNvPr id="18" name="Straight Connector 17">
            <a:extLst>
              <a:ext uri="{FF2B5EF4-FFF2-40B4-BE49-F238E27FC236}">
                <a16:creationId xmlns:a16="http://schemas.microsoft.com/office/drawing/2014/main" id="{C0F026A6-FBF1-4354-9D17-85E3C5DEADF7}"/>
              </a:ext>
            </a:extLst>
          </p:cNvPr>
          <p:cNvCxnSpPr/>
          <p:nvPr/>
        </p:nvCxnSpPr>
        <p:spPr>
          <a:xfrm>
            <a:off x="3512641" y="4786778"/>
            <a:ext cx="5008096" cy="5627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E7FEF73-1A8F-4299-82E5-4C91253D4764}"/>
              </a:ext>
            </a:extLst>
          </p:cNvPr>
          <p:cNvCxnSpPr>
            <a:cxnSpLocks/>
          </p:cNvCxnSpPr>
          <p:nvPr/>
        </p:nvCxnSpPr>
        <p:spPr>
          <a:xfrm>
            <a:off x="6091313" y="1062114"/>
            <a:ext cx="0" cy="50080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9A4FFCA2-D6C6-4C0B-8ECF-3E93995BE4DA}"/>
              </a:ext>
            </a:extLst>
          </p:cNvPr>
          <p:cNvSpPr/>
          <p:nvPr/>
        </p:nvSpPr>
        <p:spPr>
          <a:xfrm>
            <a:off x="238361" y="1572343"/>
            <a:ext cx="3488788" cy="3935322"/>
          </a:xfrm>
          <a:prstGeom prst="rect">
            <a:avLst/>
          </a:prstGeom>
          <a:pattFill prst="pct75">
            <a:fgClr>
              <a:schemeClr val="bg1">
                <a:lumMod val="8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216000" rIns="1097280" rtlCol="0" anchor="ctr" anchorCtr="0"/>
          <a:lstStyle/>
          <a:p>
            <a:r>
              <a:rPr lang="en-US" sz="1600" b="1" dirty="0">
                <a:solidFill>
                  <a:schemeClr val="tx1"/>
                </a:solidFill>
              </a:rPr>
              <a:t>We make it convenient for development teams using the SPGI platform to continuously develop, deliver and operate compliant and cost-effective applications at-scale in the cloud</a:t>
            </a:r>
          </a:p>
        </p:txBody>
      </p:sp>
      <p:sp>
        <p:nvSpPr>
          <p:cNvPr id="2" name="Title 1">
            <a:extLst>
              <a:ext uri="{FF2B5EF4-FFF2-40B4-BE49-F238E27FC236}">
                <a16:creationId xmlns:a16="http://schemas.microsoft.com/office/drawing/2014/main" id="{A3493E68-6156-4A70-A7AB-7AF807915A9A}"/>
              </a:ext>
            </a:extLst>
          </p:cNvPr>
          <p:cNvSpPr>
            <a:spLocks noGrp="1"/>
          </p:cNvSpPr>
          <p:nvPr>
            <p:ph type="title"/>
          </p:nvPr>
        </p:nvSpPr>
        <p:spPr>
          <a:xfrm>
            <a:off x="129130" y="-1079"/>
            <a:ext cx="11903518" cy="865273"/>
          </a:xfrm>
        </p:spPr>
        <p:txBody>
          <a:bodyPr/>
          <a:lstStyle/>
          <a:p>
            <a:r>
              <a:rPr lang="en-US" dirty="0">
                <a:latin typeface="+mn-lt"/>
                <a:ea typeface="Optimist" panose="020B0603020204030204" pitchFamily="34" charset="77"/>
                <a:cs typeface="Optimist" panose="020B0603020204030204" pitchFamily="34" charset="77"/>
              </a:rPr>
              <a:t>In May, 2020 I held my first All Hands to establish the Mission and Vision for </a:t>
            </a:r>
            <a:r>
              <a:rPr lang="en-US" dirty="0" smtClean="0">
                <a:latin typeface="+mn-lt"/>
                <a:ea typeface="Optimist" panose="020B0603020204030204" pitchFamily="34" charset="77"/>
                <a:cs typeface="Optimist" panose="020B0603020204030204" pitchFamily="34" charset="77"/>
              </a:rPr>
              <a:t>the DevOps &amp; Cloud Engineering Enablement </a:t>
            </a:r>
            <a:r>
              <a:rPr lang="en-US" dirty="0">
                <a:latin typeface="+mn-lt"/>
                <a:ea typeface="Optimist" panose="020B0603020204030204" pitchFamily="34" charset="77"/>
                <a:cs typeface="Optimist" panose="020B0603020204030204" pitchFamily="34" charset="77"/>
              </a:rPr>
              <a:t>department</a:t>
            </a:r>
            <a:endParaRPr lang="en-US" dirty="0">
              <a:latin typeface="+mn-lt"/>
            </a:endParaRPr>
          </a:p>
        </p:txBody>
      </p:sp>
      <p:sp>
        <p:nvSpPr>
          <p:cNvPr id="5" name="Slide Number Placeholder 4">
            <a:extLst>
              <a:ext uri="{FF2B5EF4-FFF2-40B4-BE49-F238E27FC236}">
                <a16:creationId xmlns:a16="http://schemas.microsoft.com/office/drawing/2014/main" id="{0FE52B4C-8BC0-4192-819D-BB621433FF2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46FB18-5DF1-419A-B975-14AFDDD65B9F}" type="slidenum">
              <a:rPr kumimoji="0" lang="en-US" sz="105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0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6" name="Oval 105">
            <a:extLst>
              <a:ext uri="{FF2B5EF4-FFF2-40B4-BE49-F238E27FC236}">
                <a16:creationId xmlns:a16="http://schemas.microsoft.com/office/drawing/2014/main" id="{60E7A64D-4DA8-4D90-8EB7-C3167BDF32DC}"/>
              </a:ext>
            </a:extLst>
          </p:cNvPr>
          <p:cNvSpPr/>
          <p:nvPr/>
        </p:nvSpPr>
        <p:spPr>
          <a:xfrm>
            <a:off x="4414357" y="1889212"/>
            <a:ext cx="3353912" cy="335390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107" name="Block Arc 106">
            <a:extLst>
              <a:ext uri="{FF2B5EF4-FFF2-40B4-BE49-F238E27FC236}">
                <a16:creationId xmlns:a16="http://schemas.microsoft.com/office/drawing/2014/main" id="{715891DF-356E-464B-86BF-23E589A643B1}"/>
              </a:ext>
            </a:extLst>
          </p:cNvPr>
          <p:cNvSpPr/>
          <p:nvPr/>
        </p:nvSpPr>
        <p:spPr>
          <a:xfrm>
            <a:off x="4636507" y="2121963"/>
            <a:ext cx="2909613" cy="2909608"/>
          </a:xfrm>
          <a:prstGeom prst="blockArc">
            <a:avLst>
              <a:gd name="adj1" fmla="val 16183822"/>
              <a:gd name="adj2" fmla="val 15579827"/>
              <a:gd name="adj3" fmla="val 273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108" name="Isosceles Triangle 107">
            <a:extLst>
              <a:ext uri="{FF2B5EF4-FFF2-40B4-BE49-F238E27FC236}">
                <a16:creationId xmlns:a16="http://schemas.microsoft.com/office/drawing/2014/main" id="{499BBA0C-0B3C-4279-9C92-9713ABAA24DA}"/>
              </a:ext>
            </a:extLst>
          </p:cNvPr>
          <p:cNvSpPr/>
          <p:nvPr/>
        </p:nvSpPr>
        <p:spPr>
          <a:xfrm rot="4837643">
            <a:off x="5653940" y="3295407"/>
            <a:ext cx="302066" cy="18967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pSp>
        <p:nvGrpSpPr>
          <p:cNvPr id="50" name="Group 49">
            <a:extLst>
              <a:ext uri="{FF2B5EF4-FFF2-40B4-BE49-F238E27FC236}">
                <a16:creationId xmlns:a16="http://schemas.microsoft.com/office/drawing/2014/main" id="{50765680-E71C-4A19-8307-A82B574C4E7E}"/>
              </a:ext>
            </a:extLst>
          </p:cNvPr>
          <p:cNvGrpSpPr/>
          <p:nvPr/>
        </p:nvGrpSpPr>
        <p:grpSpPr>
          <a:xfrm rot="10800000">
            <a:off x="9113925" y="3385311"/>
            <a:ext cx="255071" cy="255071"/>
            <a:chOff x="4573812" y="2607824"/>
            <a:chExt cx="255071" cy="255071"/>
          </a:xfrm>
        </p:grpSpPr>
        <p:sp>
          <p:nvSpPr>
            <p:cNvPr id="51" name="Oval 50">
              <a:extLst>
                <a:ext uri="{FF2B5EF4-FFF2-40B4-BE49-F238E27FC236}">
                  <a16:creationId xmlns:a16="http://schemas.microsoft.com/office/drawing/2014/main" id="{13DC6ADB-13DB-4CFC-B337-2AF302006261}"/>
                </a:ext>
              </a:extLst>
            </p:cNvPr>
            <p:cNvSpPr/>
            <p:nvPr/>
          </p:nvSpPr>
          <p:spPr>
            <a:xfrm>
              <a:off x="4573812" y="2607824"/>
              <a:ext cx="255071" cy="255071"/>
            </a:xfrm>
            <a:prstGeom prst="ellipse">
              <a:avLst/>
            </a:prstGeom>
            <a:solidFill>
              <a:sysClr val="window" lastClr="FFFFFF"/>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black"/>
                </a:solidFill>
                <a:effectLst/>
                <a:uLnTx/>
                <a:uFillTx/>
                <a:latin typeface="Arial" panose="020B0604020202020204"/>
                <a:ea typeface="+mn-ea"/>
                <a:cs typeface="+mn-cs"/>
              </a:endParaRPr>
            </a:p>
          </p:txBody>
        </p:sp>
        <p:sp>
          <p:nvSpPr>
            <p:cNvPr id="52" name="Isosceles Triangle 51">
              <a:extLst>
                <a:ext uri="{FF2B5EF4-FFF2-40B4-BE49-F238E27FC236}">
                  <a16:creationId xmlns:a16="http://schemas.microsoft.com/office/drawing/2014/main" id="{B6FF2C0B-B5AF-4383-8189-21B734C3848E}"/>
                </a:ext>
              </a:extLst>
            </p:cNvPr>
            <p:cNvSpPr/>
            <p:nvPr/>
          </p:nvSpPr>
          <p:spPr>
            <a:xfrm rot="16200000" flipH="1">
              <a:off x="4614788" y="2694798"/>
              <a:ext cx="160254" cy="82798"/>
            </a:xfrm>
            <a:prstGeom prst="triangle">
              <a:avLst/>
            </a:prstGeom>
            <a:solidFill>
              <a:schemeClr val="tx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black"/>
                </a:solidFill>
                <a:effectLst/>
                <a:uLnTx/>
                <a:uFillTx/>
                <a:latin typeface="Arial" panose="020B0604020202020204"/>
                <a:ea typeface="+mn-ea"/>
                <a:cs typeface="+mn-cs"/>
              </a:endParaRPr>
            </a:p>
          </p:txBody>
        </p:sp>
      </p:grpSp>
      <p:sp>
        <p:nvSpPr>
          <p:cNvPr id="70" name="Oval 69">
            <a:extLst>
              <a:ext uri="{FF2B5EF4-FFF2-40B4-BE49-F238E27FC236}">
                <a16:creationId xmlns:a16="http://schemas.microsoft.com/office/drawing/2014/main" id="{AEF9C10A-7F99-4C46-8899-EB5718430934}"/>
              </a:ext>
            </a:extLst>
          </p:cNvPr>
          <p:cNvSpPr/>
          <p:nvPr/>
        </p:nvSpPr>
        <p:spPr>
          <a:xfrm>
            <a:off x="4831313" y="2315031"/>
            <a:ext cx="2520000" cy="2520000"/>
          </a:xfrm>
          <a:prstGeom prst="ellipse">
            <a:avLst/>
          </a:prstGeom>
          <a:solidFill>
            <a:schemeClr val="bg1"/>
          </a:solidFill>
          <a:ln w="285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pic>
        <p:nvPicPr>
          <p:cNvPr id="71" name="Market Intelligence">
            <a:extLst>
              <a:ext uri="{FF2B5EF4-FFF2-40B4-BE49-F238E27FC236}">
                <a16:creationId xmlns:a16="http://schemas.microsoft.com/office/drawing/2014/main" id="{523ECEC0-A28B-4EF9-AF6C-D943549623D7}"/>
              </a:ext>
            </a:extLst>
          </p:cNvPr>
          <p:cNvPicPr>
            <a:picLocks noChangeAspect="1"/>
          </p:cNvPicPr>
          <p:nvPr/>
        </p:nvPicPr>
        <p:blipFill rotWithShape="1">
          <a:blip r:embed="rId5"/>
          <a:srcRect r="41273" b="42525"/>
          <a:stretch/>
        </p:blipFill>
        <p:spPr>
          <a:xfrm>
            <a:off x="4892409" y="3169335"/>
            <a:ext cx="2079891" cy="733917"/>
          </a:xfrm>
          <a:prstGeom prst="rect">
            <a:avLst/>
          </a:prstGeom>
        </p:spPr>
      </p:pic>
      <p:sp>
        <p:nvSpPr>
          <p:cNvPr id="23" name="Rectangle 22">
            <a:extLst>
              <a:ext uri="{FF2B5EF4-FFF2-40B4-BE49-F238E27FC236}">
                <a16:creationId xmlns:a16="http://schemas.microsoft.com/office/drawing/2014/main" id="{8FB94976-59DC-43DB-8AFF-E4A7572AC578}"/>
              </a:ext>
            </a:extLst>
          </p:cNvPr>
          <p:cNvSpPr/>
          <p:nvPr/>
        </p:nvSpPr>
        <p:spPr>
          <a:xfrm>
            <a:off x="238066" y="2454849"/>
            <a:ext cx="116995" cy="2158941"/>
          </a:xfrm>
          <a:prstGeom prst="rect">
            <a:avLst/>
          </a:prstGeom>
          <a:solidFill>
            <a:srgbClr val="4F99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47" name="Footer Placeholder 3"/>
          <p:cNvSpPr txBox="1">
            <a:spLocks/>
          </p:cNvSpPr>
          <p:nvPr/>
        </p:nvSpPr>
        <p:spPr>
          <a:xfrm>
            <a:off x="3762375" y="6486297"/>
            <a:ext cx="7528630" cy="2210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Permission to reprint or distribute any content from this presentation requires the prior written approval of S&amp;P Global Market Intelligence. </a:t>
            </a:r>
          </a:p>
        </p:txBody>
      </p:sp>
      <p:pic>
        <p:nvPicPr>
          <p:cNvPr id="73" name="Picture 72">
            <a:extLst>
              <a:ext uri="{FF2B5EF4-FFF2-40B4-BE49-F238E27FC236}">
                <a16:creationId xmlns:a16="http://schemas.microsoft.com/office/drawing/2014/main" id="{D8EE4750-F31A-47A4-8EF4-4ABBA1329B45}"/>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40904"/>
          <a:stretch/>
        </p:blipFill>
        <p:spPr>
          <a:xfrm>
            <a:off x="5479511" y="3872154"/>
            <a:ext cx="1329252" cy="560619"/>
          </a:xfrm>
          <a:prstGeom prst="rect">
            <a:avLst/>
          </a:prstGeom>
        </p:spPr>
      </p:pic>
      <p:sp>
        <p:nvSpPr>
          <p:cNvPr id="59" name="Rectangle 58">
            <a:extLst>
              <a:ext uri="{FF2B5EF4-FFF2-40B4-BE49-F238E27FC236}">
                <a16:creationId xmlns:a16="http://schemas.microsoft.com/office/drawing/2014/main" id="{9A4FFCA2-D6C6-4C0B-8ECF-3E93995BE4DA}"/>
              </a:ext>
            </a:extLst>
          </p:cNvPr>
          <p:cNvSpPr/>
          <p:nvPr/>
        </p:nvSpPr>
        <p:spPr>
          <a:xfrm>
            <a:off x="8445510" y="1572343"/>
            <a:ext cx="3488788" cy="3935322"/>
          </a:xfrm>
          <a:prstGeom prst="rect">
            <a:avLst/>
          </a:prstGeom>
          <a:pattFill prst="pct75">
            <a:fgClr>
              <a:schemeClr val="bg1">
                <a:lumMod val="8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216000" rIns="1097280" rtlCol="0" anchor="ctr" anchorCtr="0"/>
          <a:lstStyle/>
          <a:p>
            <a:pPr lvl="2" algn="r"/>
            <a:endParaRPr lang="en-US" sz="1400" b="1" dirty="0">
              <a:solidFill>
                <a:schemeClr val="tx1"/>
              </a:solidFill>
            </a:endParaRPr>
          </a:p>
        </p:txBody>
      </p:sp>
      <p:sp>
        <p:nvSpPr>
          <p:cNvPr id="62" name="Rectangle 61">
            <a:extLst>
              <a:ext uri="{FF2B5EF4-FFF2-40B4-BE49-F238E27FC236}">
                <a16:creationId xmlns:a16="http://schemas.microsoft.com/office/drawing/2014/main" id="{8FB94976-59DC-43DB-8AFF-E4A7572AC578}"/>
              </a:ext>
            </a:extLst>
          </p:cNvPr>
          <p:cNvSpPr/>
          <p:nvPr/>
        </p:nvSpPr>
        <p:spPr>
          <a:xfrm>
            <a:off x="11915653" y="2432538"/>
            <a:ext cx="116995" cy="2158941"/>
          </a:xfrm>
          <a:prstGeom prst="rect">
            <a:avLst/>
          </a:prstGeom>
          <a:solidFill>
            <a:srgbClr val="4F99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38" name="Oval 37">
            <a:extLst>
              <a:ext uri="{FF2B5EF4-FFF2-40B4-BE49-F238E27FC236}">
                <a16:creationId xmlns:a16="http://schemas.microsoft.com/office/drawing/2014/main" id="{1D218CED-BCDA-4650-935F-EB3DFA17E3D8}"/>
              </a:ext>
            </a:extLst>
          </p:cNvPr>
          <p:cNvSpPr/>
          <p:nvPr/>
        </p:nvSpPr>
        <p:spPr>
          <a:xfrm>
            <a:off x="7534794" y="2592217"/>
            <a:ext cx="1842867" cy="1842867"/>
          </a:xfrm>
          <a:prstGeom prst="ellipse">
            <a:avLst/>
          </a:prstGeom>
          <a:solidFill>
            <a:schemeClr val="bg1"/>
          </a:solidFill>
          <a:ln w="28575">
            <a:solidFill>
              <a:schemeClr val="bg2">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pic>
        <p:nvPicPr>
          <p:cNvPr id="49" name="Picture 4" descr="Eye Vision Mission Marketing Goal Show Watch Svg Png Icon Free ..."/>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997062" y="3225784"/>
            <a:ext cx="1048036" cy="551823"/>
          </a:xfrm>
          <a:prstGeom prst="rect">
            <a:avLst/>
          </a:prstGeom>
          <a:noFill/>
          <a:extLst>
            <a:ext uri="{909E8E84-426E-40DD-AFC4-6F175D3DCCD1}">
              <a14:hiddenFill xmlns:a14="http://schemas.microsoft.com/office/drawing/2010/main">
                <a:solidFill>
                  <a:srgbClr val="FFFFFF"/>
                </a:solidFill>
              </a14:hiddenFill>
            </a:ext>
          </a:extLst>
        </p:spPr>
      </p:pic>
      <p:sp>
        <p:nvSpPr>
          <p:cNvPr id="3" name="Oval 2">
            <a:extLst>
              <a:ext uri="{FF2B5EF4-FFF2-40B4-BE49-F238E27FC236}">
                <a16:creationId xmlns:a16="http://schemas.microsoft.com/office/drawing/2014/main" id="{622888C4-89A2-465B-BBD9-043B4F9032A2}"/>
              </a:ext>
            </a:extLst>
          </p:cNvPr>
          <p:cNvSpPr/>
          <p:nvPr/>
        </p:nvSpPr>
        <p:spPr>
          <a:xfrm>
            <a:off x="2767051" y="2592217"/>
            <a:ext cx="1842867" cy="1842867"/>
          </a:xfrm>
          <a:prstGeom prst="ellipse">
            <a:avLst/>
          </a:prstGeom>
          <a:solidFill>
            <a:schemeClr val="bg1"/>
          </a:solidFill>
          <a:ln w="28575">
            <a:solidFill>
              <a:schemeClr val="bg2">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pic>
        <p:nvPicPr>
          <p:cNvPr id="48" name="Picture 2" descr="Missions Clipart Board Target - Mission Icon, HD Png Download ..."/>
          <p:cNvPicPr>
            <a:picLocks noChangeAspect="1" noChangeArrowheads="1"/>
          </p:cNvPicPr>
          <p:nvPr/>
        </p:nvPicPr>
        <p:blipFill>
          <a:blip r:embed="rId8">
            <a:clrChange>
              <a:clrFrom>
                <a:srgbClr val="F7F7F7"/>
              </a:clrFrom>
              <a:clrTo>
                <a:srgbClr val="F7F7F7">
                  <a:alpha val="0"/>
                </a:srgbClr>
              </a:clrTo>
            </a:clrChange>
            <a:extLst>
              <a:ext uri="{28A0092B-C50C-407E-A947-70E740481C1C}">
                <a14:useLocalDpi xmlns:a14="http://schemas.microsoft.com/office/drawing/2010/main" val="0"/>
              </a:ext>
            </a:extLst>
          </a:blip>
          <a:srcRect/>
          <a:stretch>
            <a:fillRect/>
          </a:stretch>
        </p:blipFill>
        <p:spPr bwMode="auto">
          <a:xfrm>
            <a:off x="3223190" y="3013651"/>
            <a:ext cx="929123" cy="982062"/>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9515391" y="3011221"/>
            <a:ext cx="2253619" cy="1323439"/>
          </a:xfrm>
          <a:prstGeom prst="rect">
            <a:avLst/>
          </a:prstGeom>
          <a:noFill/>
        </p:spPr>
        <p:txBody>
          <a:bodyPr wrap="square" rtlCol="0">
            <a:spAutoFit/>
          </a:bodyPr>
          <a:lstStyle/>
          <a:p>
            <a:pPr algn="r"/>
            <a:r>
              <a:rPr lang="en-US" sz="1600" b="1" dirty="0"/>
              <a:t>Autonomous teams focused on rapid innovation and delivering </a:t>
            </a:r>
            <a:r>
              <a:rPr lang="en-US" sz="1600" b="1" dirty="0" smtClean="0"/>
              <a:t>value to the customer</a:t>
            </a:r>
            <a:endParaRPr lang="en-US" sz="1600" b="1" dirty="0"/>
          </a:p>
        </p:txBody>
      </p:sp>
      <p:pic>
        <p:nvPicPr>
          <p:cNvPr id="7" name="Audio 6">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9"/>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1098668265"/>
      </p:ext>
    </p:extLst>
  </p:cSld>
  <p:clrMapOvr>
    <a:masterClrMapping/>
  </p:clrMapOvr>
  <mc:AlternateContent xmlns:mc="http://schemas.openxmlformats.org/markup-compatibility/2006" xmlns:p14="http://schemas.microsoft.com/office/powerpoint/2010/main">
    <mc:Choice Requires="p14">
      <p:transition spd="med" p14:dur="700" advTm="81">
        <p:fade/>
      </p:transition>
    </mc:Choice>
    <mc:Fallback xmlns="">
      <p:transition spd="med" advTm="81">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7"/>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Concrete Road Near Brown Mountain Under Blue Sky"/>
          <p:cNvPicPr>
            <a:picLocks noChangeAspect="1" noChangeArrowheads="1"/>
          </p:cNvPicPr>
          <p:nvPr/>
        </p:nvPicPr>
        <p:blipFill>
          <a:blip r:embed="rId6">
            <a:extLst>
              <a:ext uri="{BEBA8EAE-BF5A-486C-A8C5-ECC9F3942E4B}">
                <a14:imgProps xmlns:a14="http://schemas.microsoft.com/office/drawing/2010/main">
                  <a14:imgLayer r:embed="rId7">
                    <a14:imgEffect>
                      <a14:colorTemperature colorTemp="11500"/>
                    </a14:imgEffect>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101095" y="-49904"/>
            <a:ext cx="12191999" cy="6858000"/>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
        <p:nvSpPr>
          <p:cNvPr id="1027" name="Rectangle 1026"/>
          <p:cNvSpPr/>
          <p:nvPr/>
        </p:nvSpPr>
        <p:spPr>
          <a:xfrm rot="20504868">
            <a:off x="1057581" y="4645774"/>
            <a:ext cx="5832888" cy="2221524"/>
          </a:xfrm>
          <a:prstGeom prst="rect">
            <a:avLst/>
          </a:prstGeom>
          <a:noFill/>
          <a:scene3d>
            <a:camera prst="isometricOffAxis1Top"/>
            <a:lightRig rig="threePt" dir="t"/>
          </a:scene3d>
        </p:spPr>
        <p:txBody>
          <a:bodyPr wrap="none" lIns="91440" tIns="45720" rIns="91440" bIns="45720">
            <a:prstTxWarp prst="textArchDown">
              <a:avLst>
                <a:gd name="adj" fmla="val 18885243"/>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00" b="0" i="0" u="none" strike="noStrike" kern="1200" cap="none" spc="0" normalizeH="0" baseline="0" noProof="0" dirty="0">
                <a:ln w="0"/>
                <a:solidFill>
                  <a:prstClr val="white"/>
                </a:solidFill>
                <a:effectLst>
                  <a:outerShdw blurRad="38100" dist="19050" dir="2700000" algn="tl" rotWithShape="0">
                    <a:prstClr val="black">
                      <a:alpha val="40000"/>
                    </a:prstClr>
                  </a:outerShdw>
                </a:effectLst>
                <a:uLnTx/>
                <a:uFillTx/>
                <a:latin typeface="Calibri" panose="020F0502020204030204"/>
                <a:ea typeface="+mn-ea"/>
                <a:cs typeface="+mn-cs"/>
              </a:rPr>
              <a:t>CHANGE</a:t>
            </a:r>
          </a:p>
        </p:txBody>
      </p:sp>
      <p:sp>
        <p:nvSpPr>
          <p:cNvPr id="1029" name="Rectangle 1028"/>
          <p:cNvSpPr/>
          <p:nvPr/>
        </p:nvSpPr>
        <p:spPr>
          <a:xfrm>
            <a:off x="4892892" y="3174163"/>
            <a:ext cx="2608407" cy="92333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mn-cs"/>
              </a:rPr>
              <a:t>CHANGE</a:t>
            </a:r>
          </a:p>
        </p:txBody>
      </p:sp>
      <p:sp>
        <p:nvSpPr>
          <p:cNvPr id="38" name="Rectangle 37"/>
          <p:cNvSpPr/>
          <p:nvPr/>
        </p:nvSpPr>
        <p:spPr>
          <a:xfrm>
            <a:off x="9080768" y="1421563"/>
            <a:ext cx="2608407" cy="923330"/>
          </a:xfrm>
          <a:prstGeom prst="rect">
            <a:avLst/>
          </a:prstGeom>
          <a:noFill/>
        </p:spPr>
        <p:txBody>
          <a:bodyPr wrap="none" lIns="91440" tIns="45720" rIns="91440" bIns="45720">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w="0"/>
                <a:solidFill>
                  <a:srgbClr val="7030A0"/>
                </a:solidFill>
                <a:effectLst>
                  <a:outerShdw blurRad="38100" dist="19050" dir="2700000" algn="tl" rotWithShape="0">
                    <a:prstClr val="black">
                      <a:alpha val="40000"/>
                    </a:prstClr>
                  </a:outerShdw>
                </a:effectLst>
                <a:uLnTx/>
                <a:uFillTx/>
                <a:latin typeface="Calibri" panose="020F0502020204030204"/>
                <a:ea typeface="+mn-ea"/>
                <a:cs typeface="+mn-cs"/>
              </a:rPr>
              <a:t>CHANGE</a:t>
            </a:r>
          </a:p>
        </p:txBody>
      </p:sp>
      <p:sp>
        <p:nvSpPr>
          <p:cNvPr id="1030" name="Rectangle 1029"/>
          <p:cNvSpPr/>
          <p:nvPr/>
        </p:nvSpPr>
        <p:spPr>
          <a:xfrm>
            <a:off x="689048" y="640864"/>
            <a:ext cx="2608407" cy="923330"/>
          </a:xfrm>
          <a:prstGeom prst="rect">
            <a:avLst/>
          </a:prstGeom>
          <a:noFill/>
        </p:spPr>
        <p:txBody>
          <a:bodyPr wrap="none" lIns="91440" tIns="45720" rIns="91440" bIns="45720">
            <a:prstTxWarp prst="textFade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w="0"/>
                <a:solidFill>
                  <a:srgbClr val="9E0000"/>
                </a:solidFill>
                <a:effectLst/>
                <a:uLnTx/>
                <a:uFillTx/>
                <a:latin typeface="Calibri" panose="020F0502020204030204"/>
                <a:ea typeface="+mn-ea"/>
                <a:cs typeface="+mn-cs"/>
              </a:rPr>
              <a:t>CHANGE</a:t>
            </a:r>
          </a:p>
        </p:txBody>
      </p:sp>
      <p:sp>
        <p:nvSpPr>
          <p:cNvPr id="7" name="Rectangle 6"/>
          <p:cNvSpPr/>
          <p:nvPr/>
        </p:nvSpPr>
        <p:spPr>
          <a:xfrm>
            <a:off x="9260676" y="4407408"/>
            <a:ext cx="2608407" cy="923330"/>
          </a:xfrm>
          <a:prstGeom prst="rect">
            <a:avLst/>
          </a:prstGeom>
          <a:noFill/>
        </p:spPr>
        <p:txBody>
          <a:bodyPr wrap="none" lIns="91440" tIns="45720" rIns="91440" bIns="45720">
            <a:prstTxWarp prst="textCurveUp">
              <a:avLst/>
            </a:prstTxWarp>
            <a:spAutoFit/>
            <a:scene3d>
              <a:camera prst="orthographicFront"/>
              <a:lightRig rig="threePt" dir="t"/>
            </a:scene3d>
            <a:sp3d extrusionH="57150">
              <a:bevelT w="38100" h="38100"/>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w="0"/>
                <a:solidFill>
                  <a:srgbClr val="70AD47">
                    <a:lumMod val="75000"/>
                  </a:srgbClr>
                </a:solidFill>
                <a:effectLst>
                  <a:glow rad="139700">
                    <a:srgbClr val="70AD47">
                      <a:satMod val="175000"/>
                      <a:alpha val="40000"/>
                    </a:srgbClr>
                  </a:glow>
                  <a:outerShdw blurRad="38100" dist="19050" dir="2700000" algn="tl" rotWithShape="0">
                    <a:prstClr val="black">
                      <a:alpha val="40000"/>
                    </a:prstClr>
                  </a:outerShdw>
                </a:effectLst>
                <a:uLnTx/>
                <a:uFillTx/>
                <a:latin typeface="Calibri" panose="020F0502020204030204"/>
                <a:ea typeface="+mn-ea"/>
                <a:cs typeface="+mn-cs"/>
              </a:rPr>
              <a:t>CHANGE</a:t>
            </a:r>
          </a:p>
        </p:txBody>
      </p:sp>
      <p:sp>
        <p:nvSpPr>
          <p:cNvPr id="8" name="Rectangle 7"/>
          <p:cNvSpPr/>
          <p:nvPr/>
        </p:nvSpPr>
        <p:spPr>
          <a:xfrm rot="1651863">
            <a:off x="799406" y="3635828"/>
            <a:ext cx="2608407" cy="923330"/>
          </a:xfrm>
          <a:prstGeom prst="rect">
            <a:avLst/>
          </a:prstGeom>
          <a:noFill/>
        </p:spPr>
        <p:txBody>
          <a:bodyPr wrap="none" lIns="91440" tIns="45720" rIns="91440" bIns="45720">
            <a:prstTxWarp prst="textTriangleInverted">
              <a:avLst/>
            </a:prstTxWarp>
            <a:spAutoFit/>
            <a:scene3d>
              <a:camera prst="isometricOffAxis1Right"/>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w="0"/>
                <a:solidFill>
                  <a:srgbClr val="00B0F0"/>
                </a:solidFill>
                <a:effectLst>
                  <a:outerShdw blurRad="38100" dist="19050" dir="2700000" algn="tl" rotWithShape="0">
                    <a:prstClr val="black">
                      <a:alpha val="40000"/>
                    </a:prstClr>
                  </a:outerShdw>
                </a:effectLst>
                <a:uLnTx/>
                <a:uFillTx/>
                <a:latin typeface="Calibri" panose="020F0502020204030204"/>
                <a:ea typeface="+mn-ea"/>
                <a:cs typeface="+mn-cs"/>
              </a:rPr>
              <a:t>CHANGE</a:t>
            </a:r>
          </a:p>
        </p:txBody>
      </p:sp>
      <p:sp>
        <p:nvSpPr>
          <p:cNvPr id="9" name="Rectangle 8"/>
          <p:cNvSpPr/>
          <p:nvPr/>
        </p:nvSpPr>
        <p:spPr>
          <a:xfrm>
            <a:off x="7221564" y="94021"/>
            <a:ext cx="2608407" cy="923330"/>
          </a:xfrm>
          <a:prstGeom prst="rect">
            <a:avLst/>
          </a:prstGeom>
          <a:noFill/>
        </p:spPr>
        <p:txBody>
          <a:bodyPr wrap="none" lIns="91440" tIns="45720" rIns="91440" bIns="45720">
            <a:prstTxWarp prst="textDeflateInflateDeflat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w="0"/>
                <a:solidFill>
                  <a:srgbClr val="FFC000"/>
                </a:solidFill>
                <a:effectLst>
                  <a:outerShdw blurRad="38100" dist="19050" dir="2700000" algn="tl" rotWithShape="0">
                    <a:prstClr val="black">
                      <a:alpha val="40000"/>
                    </a:prstClr>
                  </a:outerShdw>
                </a:effectLst>
                <a:uLnTx/>
                <a:uFillTx/>
                <a:latin typeface="Calibri" panose="020F0502020204030204"/>
                <a:ea typeface="+mn-ea"/>
                <a:cs typeface="+mn-cs"/>
              </a:rPr>
              <a:t>CHANGE</a:t>
            </a:r>
          </a:p>
        </p:txBody>
      </p:sp>
      <p:sp>
        <p:nvSpPr>
          <p:cNvPr id="3" name="TextBox 2"/>
          <p:cNvSpPr txBox="1"/>
          <p:nvPr/>
        </p:nvSpPr>
        <p:spPr>
          <a:xfrm>
            <a:off x="5312664" y="1172427"/>
            <a:ext cx="505267" cy="9233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cxnSp>
        <p:nvCxnSpPr>
          <p:cNvPr id="17" name="Curved Connector 16"/>
          <p:cNvCxnSpPr/>
          <p:nvPr/>
        </p:nvCxnSpPr>
        <p:spPr>
          <a:xfrm>
            <a:off x="5757031" y="1550128"/>
            <a:ext cx="518670" cy="319034"/>
          </a:xfrm>
          <a:prstGeom prst="curvedConnector3">
            <a:avLst>
              <a:gd name="adj1" fmla="val 95837"/>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 name="Audio 1">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1552238" y="6218238"/>
            <a:ext cx="487362" cy="487362"/>
          </a:xfrm>
          <a:prstGeom prst="rect">
            <a:avLst/>
          </a:prstGeom>
        </p:spPr>
      </p:pic>
    </p:spTree>
    <p:custDataLst>
      <p:tags r:id="rId1"/>
    </p:custDataLst>
    <p:extLst>
      <p:ext uri="{BB962C8B-B14F-4D97-AF65-F5344CB8AC3E}">
        <p14:creationId xmlns:p14="http://schemas.microsoft.com/office/powerpoint/2010/main" val="2797187031"/>
      </p:ext>
    </p:extLst>
  </p:cSld>
  <p:clrMapOvr>
    <a:masterClrMapping/>
  </p:clrMapOvr>
  <mc:AlternateContent xmlns:mc="http://schemas.openxmlformats.org/markup-compatibility/2006" xmlns:p14="http://schemas.microsoft.com/office/powerpoint/2010/main">
    <mc:Choice Requires="p14">
      <p:transition spd="slow" p14:dur="2000" advTm="175"/>
    </mc:Choice>
    <mc:Fallback xmlns="">
      <p:transition spd="slow" advTm="17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13" fill="hold" display="0">
                  <p:stCondLst>
                    <p:cond delay="indefinite"/>
                  </p:stCondLst>
                  <p:endCondLst>
                    <p:cond evt="onStopAudio" delay="0">
                      <p:tgtEl>
                        <p:sldTgt/>
                      </p:tgtEl>
                    </p:cond>
                  </p:endCondLst>
                </p:cTn>
                <p:tgtEl>
                  <p:spTgt spid="2"/>
                </p:tgtEl>
              </p:cMediaNode>
            </p:audio>
          </p:childTnLst>
        </p:cTn>
      </p:par>
    </p:tnLst>
    <p:bldLst>
      <p:bldP spid="3" grpId="0"/>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4" name="Rectangle 43"/>
          <p:cNvSpPr/>
          <p:nvPr/>
        </p:nvSpPr>
        <p:spPr>
          <a:xfrm>
            <a:off x="1" y="1790700"/>
            <a:ext cx="12192000" cy="3633006"/>
          </a:xfrm>
          <a:prstGeom prst="rect">
            <a:avLst/>
          </a:prstGeom>
          <a:pattFill prst="pct75">
            <a:fgClr>
              <a:schemeClr val="bg1">
                <a:lumMod val="8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1224000" rIns="216000" rtlCol="0" anchor="ctr" anchorCtr="0"/>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13" name="Rectangle 12">
            <a:extLst>
              <a:ext uri="{FF2B5EF4-FFF2-40B4-BE49-F238E27FC236}">
                <a16:creationId xmlns:a16="http://schemas.microsoft.com/office/drawing/2014/main" id="{24F4DE1F-1E67-41DD-A834-DDCB77198B89}"/>
              </a:ext>
            </a:extLst>
          </p:cNvPr>
          <p:cNvSpPr/>
          <p:nvPr/>
        </p:nvSpPr>
        <p:spPr>
          <a:xfrm>
            <a:off x="1884485" y="2901463"/>
            <a:ext cx="8458200" cy="527537"/>
          </a:xfrm>
          <a:prstGeom prst="rect">
            <a:avLst/>
          </a:prstGeom>
          <a:solidFill>
            <a:srgbClr val="4F99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2" name="Oval 1">
            <a:extLst>
              <a:ext uri="{FF2B5EF4-FFF2-40B4-BE49-F238E27FC236}">
                <a16:creationId xmlns:a16="http://schemas.microsoft.com/office/drawing/2014/main" id="{00938919-D794-4961-90FF-2511CA935DB5}"/>
              </a:ext>
            </a:extLst>
          </p:cNvPr>
          <p:cNvSpPr/>
          <p:nvPr/>
        </p:nvSpPr>
        <p:spPr>
          <a:xfrm>
            <a:off x="1310287" y="2177562"/>
            <a:ext cx="2007577" cy="2007577"/>
          </a:xfrm>
          <a:prstGeom prst="ellipse">
            <a:avLst/>
          </a:prstGeom>
          <a:solidFill>
            <a:schemeClr val="bg1">
              <a:lumMod val="9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aphicFrame>
        <p:nvGraphicFramePr>
          <p:cNvPr id="35" name="Object 3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5" name="think-cell Slide" r:id="rId7" imgW="216" imgH="216" progId="TCLayout.ActiveDocument.1">
                  <p:embed/>
                </p:oleObj>
              </mc:Choice>
              <mc:Fallback>
                <p:oleObj name="think-cell Slide" r:id="rId7" imgW="216" imgH="216" progId="TCLayout.ActiveDocument.1">
                  <p:embed/>
                  <p:pic>
                    <p:nvPicPr>
                      <p:cNvPr id="35" name="Object 34"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4" name="Rectangle 33" hidden="1"/>
          <p:cNvSpPr/>
          <p:nvPr>
            <p:custDataLst>
              <p:tags r:id="rId3"/>
            </p:custDataLst>
          </p:nvPr>
        </p:nvSpPr>
        <p:spPr>
          <a:xfrm>
            <a:off x="0" y="0"/>
            <a:ext cx="158750" cy="158750"/>
          </a:xfrm>
          <a:prstGeom prst="rect">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err="1">
              <a:ln>
                <a:noFill/>
              </a:ln>
              <a:solidFill>
                <a:prstClr val="black"/>
              </a:solidFill>
              <a:effectLst/>
              <a:uLnTx/>
              <a:uFillTx/>
              <a:latin typeface="Arial" panose="020B0604020202020204" pitchFamily="34" charset="0"/>
              <a:ea typeface="+mn-ea"/>
              <a:cs typeface="+mn-cs"/>
              <a:sym typeface="Arial" panose="020B0604020202020204" pitchFamily="34" charset="0"/>
            </a:endParaRPr>
          </a:p>
        </p:txBody>
      </p:sp>
      <p:sp>
        <p:nvSpPr>
          <p:cNvPr id="38" name="Title 13"/>
          <p:cNvSpPr>
            <a:spLocks noGrp="1"/>
          </p:cNvSpPr>
          <p:nvPr>
            <p:ph type="title"/>
          </p:nvPr>
        </p:nvSpPr>
        <p:spPr>
          <a:xfrm>
            <a:off x="158750" y="98559"/>
            <a:ext cx="11620179" cy="792575"/>
          </a:xfrm>
        </p:spPr>
        <p:txBody>
          <a:bodyPr/>
          <a:lstStyle/>
          <a:p>
            <a:pPr lvl="0">
              <a:lnSpc>
                <a:spcPct val="100000"/>
              </a:lnSpc>
              <a:spcBef>
                <a:spcPts val="0"/>
              </a:spcBef>
              <a:defRPr/>
            </a:pPr>
            <a:r>
              <a:rPr lang="en-US" dirty="0" smtClean="0"/>
              <a:t>To meet the pace of change we </a:t>
            </a:r>
            <a:r>
              <a:rPr lang="en-US" dirty="0"/>
              <a:t>must build systems that are </a:t>
            </a:r>
            <a:r>
              <a:rPr lang="en-US" dirty="0" smtClean="0"/>
              <a:t>more agile</a:t>
            </a:r>
            <a:r>
              <a:rPr lang="en-US" dirty="0"/>
              <a:t>, adaptable, scalable, resilient and tolerant of change</a:t>
            </a: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46FB18-5DF1-419A-B975-14AFDDD65B9F}" type="slidenum">
              <a:rPr kumimoji="0" lang="en-US" sz="105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0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 name="Content Placeholder 2">
            <a:extLst>
              <a:ext uri="{FF2B5EF4-FFF2-40B4-BE49-F238E27FC236}">
                <a16:creationId xmlns:a16="http://schemas.microsoft.com/office/drawing/2014/main" id="{C0999BDD-8E30-452F-81F1-152A1BE16294}"/>
              </a:ext>
            </a:extLst>
          </p:cNvPr>
          <p:cNvSpPr txBox="1">
            <a:spLocks/>
          </p:cNvSpPr>
          <p:nvPr/>
        </p:nvSpPr>
        <p:spPr>
          <a:xfrm>
            <a:off x="4461935" y="4376224"/>
            <a:ext cx="3242734" cy="731977"/>
          </a:xfrm>
          <a:prstGeom prst="rect">
            <a:avLst/>
          </a:prstGeom>
          <a:ln>
            <a:noFill/>
          </a:ln>
        </p:spPr>
        <p:txBody>
          <a:bodyPr vert="horz" lIns="0" tIns="0" rIns="91440" bIns="0" rtlCol="0" anchor="t" anchorCtr="0">
            <a:noAutofit/>
          </a:bodyP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19456" algn="l" defTabSz="914400" rtl="0" eaLnBrk="1" latinLnBrk="0" hangingPunct="1">
              <a:lnSpc>
                <a:spcPct val="90000"/>
              </a:lnSpc>
              <a:spcBef>
                <a:spcPts val="300"/>
              </a:spcBef>
              <a:spcAft>
                <a:spcPts val="0"/>
              </a:spcAft>
              <a:buFont typeface="Arial" panose="020B0604020202020204" pitchFamily="34" charset="0"/>
              <a:buChar char="–"/>
              <a:defRPr sz="1800" b="0" kern="1200">
                <a:solidFill>
                  <a:schemeClr val="tx1"/>
                </a:solidFill>
                <a:latin typeface="+mn-lt"/>
                <a:ea typeface="+mn-ea"/>
                <a:cs typeface="+mn-cs"/>
              </a:defRPr>
            </a:lvl2pPr>
            <a:lvl3pPr marL="566928" indent="-169863" algn="l" defTabSz="914400" rtl="0" eaLnBrk="1" latinLnBrk="0" hangingPunct="1">
              <a:lnSpc>
                <a:spcPct val="90000"/>
              </a:lnSpc>
              <a:spcBef>
                <a:spcPts val="300"/>
              </a:spcBef>
              <a:spcAft>
                <a:spcPts val="0"/>
              </a:spcAft>
              <a:buFont typeface="Arial" panose="020B0604020202020204" pitchFamily="34" charset="0"/>
              <a:buChar char="•"/>
              <a:defRPr sz="1600" b="0" kern="1200">
                <a:solidFill>
                  <a:schemeClr val="tx1"/>
                </a:solidFill>
                <a:latin typeface="+mn-lt"/>
                <a:ea typeface="+mn-ea"/>
                <a:cs typeface="+mn-cs"/>
              </a:defRPr>
            </a:lvl3pPr>
            <a:lvl4pPr marL="740664" indent="-173736" algn="l" defTabSz="914400" rtl="0" eaLnBrk="1" latinLnBrk="0" hangingPunct="1">
              <a:lnSpc>
                <a:spcPct val="90000"/>
              </a:lnSpc>
              <a:spcBef>
                <a:spcPts val="300"/>
              </a:spcBef>
              <a:buFont typeface="Wingdings" panose="05000000000000000000" pitchFamily="2" charset="2"/>
              <a:buChar char="§"/>
              <a:defRPr sz="1400" b="0" kern="1200">
                <a:solidFill>
                  <a:schemeClr val="tx1"/>
                </a:solidFill>
                <a:latin typeface="+mn-lt"/>
                <a:ea typeface="+mn-ea"/>
                <a:cs typeface="+mn-cs"/>
              </a:defRPr>
            </a:lvl4pPr>
            <a:lvl5pPr marL="914400" indent="-173736"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24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Cloud</a:t>
            </a:r>
            <a:endPar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 name="Content Placeholder 2">
            <a:extLst>
              <a:ext uri="{FF2B5EF4-FFF2-40B4-BE49-F238E27FC236}">
                <a16:creationId xmlns:a16="http://schemas.microsoft.com/office/drawing/2014/main" id="{E292301C-2A15-47A3-8280-142BD89767E2}"/>
              </a:ext>
            </a:extLst>
          </p:cNvPr>
          <p:cNvSpPr txBox="1">
            <a:spLocks/>
          </p:cNvSpPr>
          <p:nvPr/>
        </p:nvSpPr>
        <p:spPr>
          <a:xfrm>
            <a:off x="8322732" y="4380664"/>
            <a:ext cx="3037840" cy="728760"/>
          </a:xfrm>
          <a:prstGeom prst="rect">
            <a:avLst/>
          </a:prstGeom>
          <a:ln>
            <a:noFill/>
          </a:ln>
        </p:spPr>
        <p:txBody>
          <a:bodyPr vert="horz" lIns="0" tIns="0" rIns="91440" bIns="0" rtlCol="0" anchor="t" anchorCtr="0">
            <a:noAutofit/>
          </a:bodyP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19456" algn="l" defTabSz="914400" rtl="0" eaLnBrk="1" latinLnBrk="0" hangingPunct="1">
              <a:lnSpc>
                <a:spcPct val="90000"/>
              </a:lnSpc>
              <a:spcBef>
                <a:spcPts val="300"/>
              </a:spcBef>
              <a:spcAft>
                <a:spcPts val="0"/>
              </a:spcAft>
              <a:buFont typeface="Arial" panose="020B0604020202020204" pitchFamily="34" charset="0"/>
              <a:buChar char="–"/>
              <a:defRPr sz="1800" b="0" kern="1200">
                <a:solidFill>
                  <a:schemeClr val="tx1"/>
                </a:solidFill>
                <a:latin typeface="+mn-lt"/>
                <a:ea typeface="+mn-ea"/>
                <a:cs typeface="+mn-cs"/>
              </a:defRPr>
            </a:lvl2pPr>
            <a:lvl3pPr marL="566928" indent="-169863" algn="l" defTabSz="914400" rtl="0" eaLnBrk="1" latinLnBrk="0" hangingPunct="1">
              <a:lnSpc>
                <a:spcPct val="90000"/>
              </a:lnSpc>
              <a:spcBef>
                <a:spcPts val="300"/>
              </a:spcBef>
              <a:spcAft>
                <a:spcPts val="0"/>
              </a:spcAft>
              <a:buFont typeface="Arial" panose="020B0604020202020204" pitchFamily="34" charset="0"/>
              <a:buChar char="•"/>
              <a:defRPr sz="1600" b="0" kern="1200">
                <a:solidFill>
                  <a:schemeClr val="tx1"/>
                </a:solidFill>
                <a:latin typeface="+mn-lt"/>
                <a:ea typeface="+mn-ea"/>
                <a:cs typeface="+mn-cs"/>
              </a:defRPr>
            </a:lvl3pPr>
            <a:lvl4pPr marL="740664" indent="-173736" algn="l" defTabSz="914400" rtl="0" eaLnBrk="1" latinLnBrk="0" hangingPunct="1">
              <a:lnSpc>
                <a:spcPct val="90000"/>
              </a:lnSpc>
              <a:spcBef>
                <a:spcPts val="300"/>
              </a:spcBef>
              <a:buFont typeface="Wingdings" panose="05000000000000000000" pitchFamily="2" charset="2"/>
              <a:buChar char="§"/>
              <a:defRPr sz="1400" b="0" kern="1200">
                <a:solidFill>
                  <a:schemeClr val="tx1"/>
                </a:solidFill>
                <a:latin typeface="+mn-lt"/>
                <a:ea typeface="+mn-ea"/>
                <a:cs typeface="+mn-cs"/>
              </a:defRPr>
            </a:lvl4pPr>
            <a:lvl5pPr marL="914400" indent="-173736"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24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Containers &amp; Microservices</a:t>
            </a: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2" name="Content Placeholder 2">
            <a:extLst>
              <a:ext uri="{FF2B5EF4-FFF2-40B4-BE49-F238E27FC236}">
                <a16:creationId xmlns:a16="http://schemas.microsoft.com/office/drawing/2014/main" id="{C0999BDD-8E30-452F-81F1-152A1BE16294}"/>
              </a:ext>
            </a:extLst>
          </p:cNvPr>
          <p:cNvSpPr txBox="1">
            <a:spLocks/>
          </p:cNvSpPr>
          <p:nvPr/>
        </p:nvSpPr>
        <p:spPr>
          <a:xfrm>
            <a:off x="999070" y="4376224"/>
            <a:ext cx="2590800" cy="731977"/>
          </a:xfrm>
          <a:prstGeom prst="rect">
            <a:avLst/>
          </a:prstGeom>
          <a:ln>
            <a:noFill/>
          </a:ln>
        </p:spPr>
        <p:txBody>
          <a:bodyPr vert="horz" lIns="0" tIns="0" rIns="91440" bIns="0" rtlCol="0" anchor="t" anchorCtr="0">
            <a:noAutofit/>
          </a:bodyP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19456" algn="l" defTabSz="914400" rtl="0" eaLnBrk="1" latinLnBrk="0" hangingPunct="1">
              <a:lnSpc>
                <a:spcPct val="90000"/>
              </a:lnSpc>
              <a:spcBef>
                <a:spcPts val="300"/>
              </a:spcBef>
              <a:spcAft>
                <a:spcPts val="0"/>
              </a:spcAft>
              <a:buFont typeface="Arial" panose="020B0604020202020204" pitchFamily="34" charset="0"/>
              <a:buChar char="–"/>
              <a:defRPr sz="1800" b="0" kern="1200">
                <a:solidFill>
                  <a:schemeClr val="tx1"/>
                </a:solidFill>
                <a:latin typeface="+mn-lt"/>
                <a:ea typeface="+mn-ea"/>
                <a:cs typeface="+mn-cs"/>
              </a:defRPr>
            </a:lvl2pPr>
            <a:lvl3pPr marL="566928" indent="-169863" algn="l" defTabSz="914400" rtl="0" eaLnBrk="1" latinLnBrk="0" hangingPunct="1">
              <a:lnSpc>
                <a:spcPct val="90000"/>
              </a:lnSpc>
              <a:spcBef>
                <a:spcPts val="300"/>
              </a:spcBef>
              <a:spcAft>
                <a:spcPts val="0"/>
              </a:spcAft>
              <a:buFont typeface="Arial" panose="020B0604020202020204" pitchFamily="34" charset="0"/>
              <a:buChar char="•"/>
              <a:defRPr sz="1600" b="0" kern="1200">
                <a:solidFill>
                  <a:schemeClr val="tx1"/>
                </a:solidFill>
                <a:latin typeface="+mn-lt"/>
                <a:ea typeface="+mn-ea"/>
                <a:cs typeface="+mn-cs"/>
              </a:defRPr>
            </a:lvl3pPr>
            <a:lvl4pPr marL="740664" indent="-173736" algn="l" defTabSz="914400" rtl="0" eaLnBrk="1" latinLnBrk="0" hangingPunct="1">
              <a:lnSpc>
                <a:spcPct val="90000"/>
              </a:lnSpc>
              <a:spcBef>
                <a:spcPts val="300"/>
              </a:spcBef>
              <a:buFont typeface="Wingdings" panose="05000000000000000000" pitchFamily="2" charset="2"/>
              <a:buChar char="§"/>
              <a:defRPr sz="1400" b="0" kern="1200">
                <a:solidFill>
                  <a:schemeClr val="tx1"/>
                </a:solidFill>
                <a:latin typeface="+mn-lt"/>
                <a:ea typeface="+mn-ea"/>
                <a:cs typeface="+mn-cs"/>
              </a:defRPr>
            </a:lvl4pPr>
            <a:lvl5pPr marL="914400" indent="-173736"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24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CICD</a:t>
            </a:r>
            <a:r>
              <a:rPr kumimoji="0" lang="en-US" sz="2400" b="1" i="0" u="none" strike="noStrike" kern="1200" cap="none" spc="0" normalizeH="0" noProof="0" dirty="0" smtClean="0">
                <a:ln>
                  <a:noFill/>
                </a:ln>
                <a:solidFill>
                  <a:prstClr val="black"/>
                </a:solidFill>
                <a:effectLst/>
                <a:uLnTx/>
                <a:uFillTx/>
                <a:latin typeface="Arial" panose="020B0604020202020204" pitchFamily="34" charset="0"/>
                <a:ea typeface="+mn-ea"/>
                <a:cs typeface="Arial" panose="020B0604020202020204" pitchFamily="34" charset="0"/>
              </a:rPr>
              <a:t> Pipelines</a:t>
            </a: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 name="Oval 15">
            <a:extLst>
              <a:ext uri="{FF2B5EF4-FFF2-40B4-BE49-F238E27FC236}">
                <a16:creationId xmlns:a16="http://schemas.microsoft.com/office/drawing/2014/main" id="{C603A735-FD41-4BB2-85BF-6DE9875D2D97}"/>
              </a:ext>
            </a:extLst>
          </p:cNvPr>
          <p:cNvSpPr/>
          <p:nvPr/>
        </p:nvSpPr>
        <p:spPr>
          <a:xfrm>
            <a:off x="1468609" y="2335884"/>
            <a:ext cx="1690932" cy="1690932"/>
          </a:xfrm>
          <a:prstGeom prst="ellipse">
            <a:avLst/>
          </a:prstGeom>
          <a:solidFill>
            <a:schemeClr val="bg1"/>
          </a:solidFill>
          <a:ln w="28575">
            <a:solidFill>
              <a:srgbClr val="D60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18" name="Oval 17">
            <a:extLst>
              <a:ext uri="{FF2B5EF4-FFF2-40B4-BE49-F238E27FC236}">
                <a16:creationId xmlns:a16="http://schemas.microsoft.com/office/drawing/2014/main" id="{C21E0253-9B84-402E-8EF3-89AFDDC69EC0}"/>
              </a:ext>
            </a:extLst>
          </p:cNvPr>
          <p:cNvSpPr/>
          <p:nvPr/>
        </p:nvSpPr>
        <p:spPr>
          <a:xfrm>
            <a:off x="5067471" y="2177562"/>
            <a:ext cx="2007577" cy="2007577"/>
          </a:xfrm>
          <a:prstGeom prst="ellipse">
            <a:avLst/>
          </a:prstGeom>
          <a:solidFill>
            <a:schemeClr val="bg1">
              <a:lumMod val="9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19" name="Oval 18">
            <a:extLst>
              <a:ext uri="{FF2B5EF4-FFF2-40B4-BE49-F238E27FC236}">
                <a16:creationId xmlns:a16="http://schemas.microsoft.com/office/drawing/2014/main" id="{C0AE428E-7117-4E63-8AA6-46171B41A2C7}"/>
              </a:ext>
            </a:extLst>
          </p:cNvPr>
          <p:cNvSpPr/>
          <p:nvPr/>
        </p:nvSpPr>
        <p:spPr>
          <a:xfrm>
            <a:off x="5225793" y="2335884"/>
            <a:ext cx="1690932" cy="1690932"/>
          </a:xfrm>
          <a:prstGeom prst="ellipse">
            <a:avLst/>
          </a:prstGeom>
          <a:solidFill>
            <a:schemeClr val="bg1"/>
          </a:solidFill>
          <a:ln w="28575">
            <a:solidFill>
              <a:srgbClr val="4F99C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20" name="Oval 19">
            <a:extLst>
              <a:ext uri="{FF2B5EF4-FFF2-40B4-BE49-F238E27FC236}">
                <a16:creationId xmlns:a16="http://schemas.microsoft.com/office/drawing/2014/main" id="{F1A10297-2650-4F08-807B-3D55ED4FF8F0}"/>
              </a:ext>
            </a:extLst>
          </p:cNvPr>
          <p:cNvSpPr/>
          <p:nvPr/>
        </p:nvSpPr>
        <p:spPr>
          <a:xfrm>
            <a:off x="8833389" y="2177562"/>
            <a:ext cx="2007577" cy="2007577"/>
          </a:xfrm>
          <a:prstGeom prst="ellipse">
            <a:avLst/>
          </a:prstGeom>
          <a:solidFill>
            <a:schemeClr val="bg1">
              <a:lumMod val="9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21" name="Oval 20">
            <a:extLst>
              <a:ext uri="{FF2B5EF4-FFF2-40B4-BE49-F238E27FC236}">
                <a16:creationId xmlns:a16="http://schemas.microsoft.com/office/drawing/2014/main" id="{3BFE7151-7659-48D3-B5ED-256A86D93202}"/>
              </a:ext>
            </a:extLst>
          </p:cNvPr>
          <p:cNvSpPr/>
          <p:nvPr/>
        </p:nvSpPr>
        <p:spPr>
          <a:xfrm>
            <a:off x="8991711" y="2335884"/>
            <a:ext cx="1690932" cy="1690932"/>
          </a:xfrm>
          <a:prstGeom prst="ellipse">
            <a:avLst/>
          </a:prstGeom>
          <a:solidFill>
            <a:schemeClr val="bg1"/>
          </a:solidFill>
          <a:ln w="28575">
            <a:solidFill>
              <a:srgbClr val="D60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22" name="Oval 21">
            <a:extLst>
              <a:ext uri="{FF2B5EF4-FFF2-40B4-BE49-F238E27FC236}">
                <a16:creationId xmlns:a16="http://schemas.microsoft.com/office/drawing/2014/main" id="{CE931E24-B28E-415B-A6C3-155C8C00D9FD}"/>
              </a:ext>
            </a:extLst>
          </p:cNvPr>
          <p:cNvSpPr/>
          <p:nvPr/>
        </p:nvSpPr>
        <p:spPr>
          <a:xfrm rot="10800000">
            <a:off x="4061024" y="3025156"/>
            <a:ext cx="251554" cy="251554"/>
          </a:xfrm>
          <a:prstGeom prst="ellipse">
            <a:avLst/>
          </a:prstGeom>
          <a:solidFill>
            <a:sysClr val="window" lastClr="FFFFFF"/>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black"/>
              </a:solidFill>
              <a:effectLst/>
              <a:uLnTx/>
              <a:uFillTx/>
              <a:latin typeface="Arial" panose="020B0604020202020204"/>
              <a:ea typeface="+mn-ea"/>
              <a:cs typeface="+mn-cs"/>
            </a:endParaRPr>
          </a:p>
        </p:txBody>
      </p:sp>
      <p:sp>
        <p:nvSpPr>
          <p:cNvPr id="23" name="Oval 22">
            <a:extLst>
              <a:ext uri="{FF2B5EF4-FFF2-40B4-BE49-F238E27FC236}">
                <a16:creationId xmlns:a16="http://schemas.microsoft.com/office/drawing/2014/main" id="{F0E7736B-04D3-46A9-BC16-B44FA824C743}"/>
              </a:ext>
            </a:extLst>
          </p:cNvPr>
          <p:cNvSpPr/>
          <p:nvPr/>
        </p:nvSpPr>
        <p:spPr>
          <a:xfrm rot="10800000">
            <a:off x="7823555" y="3025156"/>
            <a:ext cx="251554" cy="251554"/>
          </a:xfrm>
          <a:prstGeom prst="ellipse">
            <a:avLst/>
          </a:prstGeom>
          <a:solidFill>
            <a:sysClr val="window" lastClr="FFFFFF"/>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black"/>
              </a:solidFill>
              <a:effectLst/>
              <a:uLnTx/>
              <a:uFillTx/>
              <a:latin typeface="Arial" panose="020B0604020202020204"/>
              <a:ea typeface="+mn-ea"/>
              <a:cs typeface="+mn-cs"/>
            </a:endParaRPr>
          </a:p>
        </p:txBody>
      </p:sp>
      <p:sp>
        <p:nvSpPr>
          <p:cNvPr id="27" name="Footer Placeholder 3"/>
          <p:cNvSpPr txBox="1">
            <a:spLocks/>
          </p:cNvSpPr>
          <p:nvPr/>
        </p:nvSpPr>
        <p:spPr>
          <a:xfrm>
            <a:off x="3762375" y="6486297"/>
            <a:ext cx="7528630" cy="2210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Permission to reprint or distribute any content from this presentation requires the prior written approval of S&amp;P Global Market Intelligence. </a:t>
            </a:r>
          </a:p>
        </p:txBody>
      </p:sp>
      <p:pic>
        <p:nvPicPr>
          <p:cNvPr id="26" name="Picture 25"/>
          <p:cNvPicPr>
            <a:picLocks noChangeAspect="1"/>
          </p:cNvPicPr>
          <p:nvPr/>
        </p:nvPicPr>
        <p:blipFill>
          <a:blip r:embed="rId9">
            <a:clrChange>
              <a:clrFrom>
                <a:srgbClr val="FFFFFF"/>
              </a:clrFrom>
              <a:clrTo>
                <a:srgbClr val="FFFFFF">
                  <a:alpha val="0"/>
                </a:srgbClr>
              </a:clrTo>
            </a:clrChange>
          </a:blip>
          <a:stretch>
            <a:fillRect/>
          </a:stretch>
        </p:blipFill>
        <p:spPr>
          <a:xfrm>
            <a:off x="5465580" y="2611611"/>
            <a:ext cx="1325739" cy="1139478"/>
          </a:xfrm>
          <a:prstGeom prst="rect">
            <a:avLst/>
          </a:prstGeom>
        </p:spPr>
      </p:pic>
      <p:pic>
        <p:nvPicPr>
          <p:cNvPr id="28" name="Picture 6" descr="Cloud-Native, Kubernetes-Based Microservices • Hazelcast"/>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294095" y="2572674"/>
            <a:ext cx="1127751" cy="1127751"/>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What is DevOps? Nub8 DevOps consulting services"/>
          <p:cNvPicPr>
            <a:picLocks noChangeAspect="1" noChangeArrowheads="1"/>
          </p:cNvPicPr>
          <p:nvPr/>
        </p:nvPicPr>
        <p:blipFill>
          <a:blip r:embed="rId11" cstate="print">
            <a:clrChange>
              <a:clrFrom>
                <a:srgbClr val="666666"/>
              </a:clrFrom>
              <a:clrTo>
                <a:srgbClr val="666666">
                  <a:alpha val="0"/>
                </a:srgbClr>
              </a:clrTo>
            </a:clrChange>
            <a:extLst>
              <a:ext uri="{28A0092B-C50C-407E-A947-70E740481C1C}">
                <a14:useLocalDpi xmlns:a14="http://schemas.microsoft.com/office/drawing/2010/main" val="0"/>
              </a:ext>
            </a:extLst>
          </a:blip>
          <a:srcRect/>
          <a:stretch>
            <a:fillRect/>
          </a:stretch>
        </p:blipFill>
        <p:spPr bwMode="auto">
          <a:xfrm>
            <a:off x="1608413" y="2865840"/>
            <a:ext cx="1388540" cy="644514"/>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2684717" y="5514767"/>
            <a:ext cx="6887463" cy="369332"/>
          </a:xfrm>
          <a:prstGeom prst="rect">
            <a:avLst/>
          </a:prstGeom>
          <a:noFill/>
        </p:spPr>
        <p:txBody>
          <a:bodyPr wrap="none" rtlCol="0">
            <a:spAutoFit/>
          </a:bodyPr>
          <a:lstStyle/>
          <a:p>
            <a:r>
              <a:rPr lang="en-US" dirty="0" smtClean="0"/>
              <a:t>S&amp;P Global Market Intelligence Engineering Enablement Platform</a:t>
            </a:r>
            <a:endParaRPr lang="en-US" dirty="0"/>
          </a:p>
        </p:txBody>
      </p:sp>
      <p:pic>
        <p:nvPicPr>
          <p:cNvPr id="3" name="Audio 2">
            <a:hlinkClick r:id="" action="ppaction://media"/>
          </p:cNvPr>
          <p:cNvPicPr>
            <a:picLocks noChangeAspect="1"/>
          </p:cNvPicPr>
          <p:nvPr>
            <a:audioFile r:link="rId5"/>
            <p:extLst>
              <p:ext uri="{DAA4B4D4-6D71-4841-9C94-3DE7FCFB9230}">
                <p14:media xmlns:p14="http://schemas.microsoft.com/office/powerpoint/2010/main" r:embed="rId4"/>
              </p:ext>
            </p:extLst>
          </p:nvPr>
        </p:nvPicPr>
        <p:blipFill>
          <a:blip r:embed="rId12"/>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1845880579"/>
      </p:ext>
    </p:extLst>
  </p:cSld>
  <p:clrMapOvr>
    <a:masterClrMapping/>
  </p:clrMapOvr>
  <mc:AlternateContent xmlns:mc="http://schemas.openxmlformats.org/markup-compatibility/2006" xmlns:p14="http://schemas.microsoft.com/office/powerpoint/2010/main">
    <mc:Choice Requires="p14">
      <p:transition spd="slow" p14:dur="2000" advTm="122"/>
    </mc:Choice>
    <mc:Fallback xmlns="">
      <p:transition spd="slow" advTm="12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4" name="Rectangle 43"/>
          <p:cNvSpPr/>
          <p:nvPr/>
        </p:nvSpPr>
        <p:spPr>
          <a:xfrm>
            <a:off x="1" y="1790700"/>
            <a:ext cx="12192000" cy="3633006"/>
          </a:xfrm>
          <a:prstGeom prst="rect">
            <a:avLst/>
          </a:prstGeom>
          <a:pattFill prst="pct75">
            <a:fgClr>
              <a:schemeClr val="bg1">
                <a:lumMod val="8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1224000" rIns="216000" rtlCol="0" anchor="ctr" anchorCtr="0"/>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13" name="Rectangle 12">
            <a:extLst>
              <a:ext uri="{FF2B5EF4-FFF2-40B4-BE49-F238E27FC236}">
                <a16:creationId xmlns:a16="http://schemas.microsoft.com/office/drawing/2014/main" id="{24F4DE1F-1E67-41DD-A834-DDCB77198B89}"/>
              </a:ext>
            </a:extLst>
          </p:cNvPr>
          <p:cNvSpPr/>
          <p:nvPr/>
        </p:nvSpPr>
        <p:spPr>
          <a:xfrm>
            <a:off x="1884485" y="2901463"/>
            <a:ext cx="8458200" cy="527537"/>
          </a:xfrm>
          <a:prstGeom prst="rect">
            <a:avLst/>
          </a:prstGeom>
          <a:solidFill>
            <a:srgbClr val="4F99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2" name="Oval 1">
            <a:extLst>
              <a:ext uri="{FF2B5EF4-FFF2-40B4-BE49-F238E27FC236}">
                <a16:creationId xmlns:a16="http://schemas.microsoft.com/office/drawing/2014/main" id="{00938919-D794-4961-90FF-2511CA935DB5}"/>
              </a:ext>
            </a:extLst>
          </p:cNvPr>
          <p:cNvSpPr/>
          <p:nvPr/>
        </p:nvSpPr>
        <p:spPr>
          <a:xfrm>
            <a:off x="1310287" y="2177562"/>
            <a:ext cx="2007577" cy="2007577"/>
          </a:xfrm>
          <a:prstGeom prst="ellipse">
            <a:avLst/>
          </a:prstGeom>
          <a:solidFill>
            <a:schemeClr val="bg1">
              <a:lumMod val="9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graphicFrame>
        <p:nvGraphicFramePr>
          <p:cNvPr id="35" name="Object 34"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86" name="think-cell Slide" r:id="rId9" imgW="216" imgH="216" progId="TCLayout.ActiveDocument.1">
                  <p:embed/>
                </p:oleObj>
              </mc:Choice>
              <mc:Fallback>
                <p:oleObj name="think-cell Slide" r:id="rId9" imgW="216" imgH="216" progId="TCLayout.ActiveDocument.1">
                  <p:embed/>
                  <p:pic>
                    <p:nvPicPr>
                      <p:cNvPr id="35" name="Object 34"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34" name="Rectangle 33" hidden="1"/>
          <p:cNvSpPr/>
          <p:nvPr>
            <p:custDataLst>
              <p:tags r:id="rId4"/>
            </p:custDataLst>
          </p:nvPr>
        </p:nvSpPr>
        <p:spPr>
          <a:xfrm>
            <a:off x="0" y="0"/>
            <a:ext cx="158750" cy="158750"/>
          </a:xfrm>
          <a:prstGeom prst="rect">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err="1">
              <a:ln>
                <a:noFill/>
              </a:ln>
              <a:solidFill>
                <a:prstClr val="black"/>
              </a:solidFill>
              <a:effectLst/>
              <a:uLnTx/>
              <a:uFillTx/>
              <a:latin typeface="Arial" panose="020B0604020202020204" pitchFamily="34" charset="0"/>
              <a:ea typeface="+mn-ea"/>
              <a:cs typeface="+mn-cs"/>
              <a:sym typeface="Arial" panose="020B0604020202020204" pitchFamily="34" charset="0"/>
            </a:endParaRPr>
          </a:p>
        </p:txBody>
      </p:sp>
      <p:sp>
        <p:nvSpPr>
          <p:cNvPr id="38" name="Title 13"/>
          <p:cNvSpPr>
            <a:spLocks noGrp="1"/>
          </p:cNvSpPr>
          <p:nvPr>
            <p:ph type="title"/>
          </p:nvPr>
        </p:nvSpPr>
        <p:spPr>
          <a:xfrm>
            <a:off x="158750" y="98559"/>
            <a:ext cx="11620179" cy="792575"/>
          </a:xfrm>
        </p:spPr>
        <p:txBody>
          <a:bodyPr/>
          <a:lstStyle/>
          <a:p>
            <a:pPr lvl="0">
              <a:lnSpc>
                <a:spcPct val="100000"/>
              </a:lnSpc>
              <a:spcBef>
                <a:spcPts val="0"/>
              </a:spcBef>
              <a:defRPr/>
            </a:pPr>
            <a:r>
              <a:rPr lang="en-US" dirty="0" smtClean="0"/>
              <a:t>To meet the pace of change we </a:t>
            </a:r>
            <a:r>
              <a:rPr lang="en-US" dirty="0"/>
              <a:t>must </a:t>
            </a:r>
            <a:r>
              <a:rPr lang="en-US" strike="sngStrike" dirty="0"/>
              <a:t>build systems</a:t>
            </a:r>
            <a:r>
              <a:rPr lang="en-US" dirty="0"/>
              <a:t> </a:t>
            </a:r>
            <a:r>
              <a:rPr lang="en-US" u="sng" dirty="0" smtClean="0"/>
              <a:t>be people</a:t>
            </a:r>
            <a:r>
              <a:rPr lang="en-US" dirty="0" smtClean="0"/>
              <a:t> that </a:t>
            </a:r>
            <a:r>
              <a:rPr lang="en-US" dirty="0"/>
              <a:t>are </a:t>
            </a:r>
            <a:r>
              <a:rPr lang="en-US" dirty="0" smtClean="0"/>
              <a:t>more agile</a:t>
            </a:r>
            <a:r>
              <a:rPr lang="en-US" dirty="0"/>
              <a:t>, adaptable, scalable, resilient and tolerant of change</a:t>
            </a: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46FB18-5DF1-419A-B975-14AFDDD65B9F}" type="slidenum">
              <a:rPr kumimoji="0" lang="en-US" sz="105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0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 name="Oval 15">
            <a:extLst>
              <a:ext uri="{FF2B5EF4-FFF2-40B4-BE49-F238E27FC236}">
                <a16:creationId xmlns:a16="http://schemas.microsoft.com/office/drawing/2014/main" id="{C603A735-FD41-4BB2-85BF-6DE9875D2D97}"/>
              </a:ext>
            </a:extLst>
          </p:cNvPr>
          <p:cNvSpPr/>
          <p:nvPr/>
        </p:nvSpPr>
        <p:spPr>
          <a:xfrm>
            <a:off x="1468609" y="2335884"/>
            <a:ext cx="1690932" cy="1690932"/>
          </a:xfrm>
          <a:prstGeom prst="ellipse">
            <a:avLst/>
          </a:prstGeom>
          <a:solidFill>
            <a:schemeClr val="bg1"/>
          </a:solidFill>
          <a:ln w="28575">
            <a:solidFill>
              <a:srgbClr val="D60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600" b="0" i="0" u="none" strike="noStrike" kern="1200" cap="none" spc="0" normalizeH="0" baseline="0" noProof="0" dirty="0" smtClean="0">
                <a:ln>
                  <a:noFill/>
                </a:ln>
                <a:solidFill>
                  <a:prstClr val="black"/>
                </a:solidFill>
                <a:effectLst/>
                <a:uLnTx/>
                <a:uFillTx/>
                <a:latin typeface="Arial" panose="020B0604020202020204"/>
                <a:ea typeface="+mn-ea"/>
                <a:cs typeface="+mn-cs"/>
              </a:rPr>
              <a:t>?</a:t>
            </a:r>
            <a:endParaRPr kumimoji="0" lang="en-US" sz="96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8" name="Oval 17">
            <a:extLst>
              <a:ext uri="{FF2B5EF4-FFF2-40B4-BE49-F238E27FC236}">
                <a16:creationId xmlns:a16="http://schemas.microsoft.com/office/drawing/2014/main" id="{C21E0253-9B84-402E-8EF3-89AFDDC69EC0}"/>
              </a:ext>
            </a:extLst>
          </p:cNvPr>
          <p:cNvSpPr/>
          <p:nvPr/>
        </p:nvSpPr>
        <p:spPr>
          <a:xfrm>
            <a:off x="5067471" y="2177562"/>
            <a:ext cx="2007577" cy="2007577"/>
          </a:xfrm>
          <a:prstGeom prst="ellipse">
            <a:avLst/>
          </a:prstGeom>
          <a:solidFill>
            <a:schemeClr val="bg1">
              <a:lumMod val="9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19" name="Oval 18">
            <a:extLst>
              <a:ext uri="{FF2B5EF4-FFF2-40B4-BE49-F238E27FC236}">
                <a16:creationId xmlns:a16="http://schemas.microsoft.com/office/drawing/2014/main" id="{C0AE428E-7117-4E63-8AA6-46171B41A2C7}"/>
              </a:ext>
            </a:extLst>
          </p:cNvPr>
          <p:cNvSpPr/>
          <p:nvPr/>
        </p:nvSpPr>
        <p:spPr>
          <a:xfrm>
            <a:off x="5225793" y="2335884"/>
            <a:ext cx="1690932" cy="1690932"/>
          </a:xfrm>
          <a:prstGeom prst="ellipse">
            <a:avLst/>
          </a:prstGeom>
          <a:solidFill>
            <a:schemeClr val="bg1"/>
          </a:solidFill>
          <a:ln w="28575">
            <a:solidFill>
              <a:srgbClr val="4F99C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600" b="0" i="0" u="none" strike="noStrike" kern="1200" cap="none" spc="0" normalizeH="0" baseline="0" noProof="0" dirty="0" smtClean="0">
                <a:ln>
                  <a:noFill/>
                </a:ln>
                <a:solidFill>
                  <a:prstClr val="black"/>
                </a:solidFill>
                <a:effectLst/>
                <a:uLnTx/>
                <a:uFillTx/>
                <a:latin typeface="Arial" panose="020B0604020202020204"/>
                <a:ea typeface="+mn-ea"/>
                <a:cs typeface="+mn-cs"/>
              </a:rPr>
              <a:t>?</a:t>
            </a:r>
            <a:endParaRPr kumimoji="0" lang="en-US" sz="96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0" name="Oval 19">
            <a:extLst>
              <a:ext uri="{FF2B5EF4-FFF2-40B4-BE49-F238E27FC236}">
                <a16:creationId xmlns:a16="http://schemas.microsoft.com/office/drawing/2014/main" id="{F1A10297-2650-4F08-807B-3D55ED4FF8F0}"/>
              </a:ext>
            </a:extLst>
          </p:cNvPr>
          <p:cNvSpPr/>
          <p:nvPr/>
        </p:nvSpPr>
        <p:spPr>
          <a:xfrm>
            <a:off x="8833389" y="2177562"/>
            <a:ext cx="2007577" cy="2007577"/>
          </a:xfrm>
          <a:prstGeom prst="ellipse">
            <a:avLst/>
          </a:prstGeom>
          <a:solidFill>
            <a:schemeClr val="bg1">
              <a:lumMod val="9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21" name="Oval 20">
            <a:extLst>
              <a:ext uri="{FF2B5EF4-FFF2-40B4-BE49-F238E27FC236}">
                <a16:creationId xmlns:a16="http://schemas.microsoft.com/office/drawing/2014/main" id="{3BFE7151-7659-48D3-B5ED-256A86D93202}"/>
              </a:ext>
            </a:extLst>
          </p:cNvPr>
          <p:cNvSpPr/>
          <p:nvPr/>
        </p:nvSpPr>
        <p:spPr>
          <a:xfrm>
            <a:off x="8991711" y="2335884"/>
            <a:ext cx="1690932" cy="1690932"/>
          </a:xfrm>
          <a:prstGeom prst="ellipse">
            <a:avLst/>
          </a:prstGeom>
          <a:solidFill>
            <a:schemeClr val="bg1"/>
          </a:solidFill>
          <a:ln w="28575">
            <a:solidFill>
              <a:srgbClr val="D60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600" b="0" i="0" u="none" strike="noStrike" kern="1200" cap="none" spc="0" normalizeH="0" baseline="0" noProof="0" dirty="0" smtClean="0">
                <a:ln>
                  <a:noFill/>
                </a:ln>
                <a:solidFill>
                  <a:prstClr val="black"/>
                </a:solidFill>
                <a:effectLst/>
                <a:uLnTx/>
                <a:uFillTx/>
                <a:latin typeface="Arial" panose="020B0604020202020204"/>
                <a:ea typeface="+mn-ea"/>
                <a:cs typeface="+mn-cs"/>
              </a:rPr>
              <a:t>?</a:t>
            </a:r>
            <a:endParaRPr kumimoji="0" lang="en-US" sz="96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2" name="Oval 21">
            <a:extLst>
              <a:ext uri="{FF2B5EF4-FFF2-40B4-BE49-F238E27FC236}">
                <a16:creationId xmlns:a16="http://schemas.microsoft.com/office/drawing/2014/main" id="{CE931E24-B28E-415B-A6C3-155C8C00D9FD}"/>
              </a:ext>
            </a:extLst>
          </p:cNvPr>
          <p:cNvSpPr/>
          <p:nvPr/>
        </p:nvSpPr>
        <p:spPr>
          <a:xfrm rot="10800000">
            <a:off x="4061024" y="3025156"/>
            <a:ext cx="251554" cy="251554"/>
          </a:xfrm>
          <a:prstGeom prst="ellipse">
            <a:avLst/>
          </a:prstGeom>
          <a:solidFill>
            <a:sysClr val="window" lastClr="FFFFFF"/>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black"/>
              </a:solidFill>
              <a:effectLst/>
              <a:uLnTx/>
              <a:uFillTx/>
              <a:latin typeface="Arial" panose="020B0604020202020204"/>
              <a:ea typeface="+mn-ea"/>
              <a:cs typeface="+mn-cs"/>
            </a:endParaRPr>
          </a:p>
        </p:txBody>
      </p:sp>
      <p:sp>
        <p:nvSpPr>
          <p:cNvPr id="23" name="Oval 22">
            <a:extLst>
              <a:ext uri="{FF2B5EF4-FFF2-40B4-BE49-F238E27FC236}">
                <a16:creationId xmlns:a16="http://schemas.microsoft.com/office/drawing/2014/main" id="{F0E7736B-04D3-46A9-BC16-B44FA824C743}"/>
              </a:ext>
            </a:extLst>
          </p:cNvPr>
          <p:cNvSpPr/>
          <p:nvPr/>
        </p:nvSpPr>
        <p:spPr>
          <a:xfrm rot="10800000">
            <a:off x="7823555" y="3025156"/>
            <a:ext cx="251554" cy="251554"/>
          </a:xfrm>
          <a:prstGeom prst="ellipse">
            <a:avLst/>
          </a:prstGeom>
          <a:solidFill>
            <a:sysClr val="window" lastClr="FFFFFF"/>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black"/>
              </a:solidFill>
              <a:effectLst/>
              <a:uLnTx/>
              <a:uFillTx/>
              <a:latin typeface="Arial" panose="020B0604020202020204"/>
              <a:ea typeface="+mn-ea"/>
              <a:cs typeface="+mn-cs"/>
            </a:endParaRPr>
          </a:p>
        </p:txBody>
      </p:sp>
      <p:sp>
        <p:nvSpPr>
          <p:cNvPr id="27" name="Footer Placeholder 3"/>
          <p:cNvSpPr txBox="1">
            <a:spLocks/>
          </p:cNvSpPr>
          <p:nvPr/>
        </p:nvSpPr>
        <p:spPr>
          <a:xfrm>
            <a:off x="3762375" y="6486297"/>
            <a:ext cx="7528630" cy="2210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Permission to reprint or distribute any content from this presentation requires the prior written approval of S&amp;P Global Market Intelligence. </a:t>
            </a:r>
          </a:p>
        </p:txBody>
      </p:sp>
      <p:cxnSp>
        <p:nvCxnSpPr>
          <p:cNvPr id="6" name="Straight Connector 5"/>
          <p:cNvCxnSpPr/>
          <p:nvPr/>
        </p:nvCxnSpPr>
        <p:spPr>
          <a:xfrm>
            <a:off x="6370554" y="385013"/>
            <a:ext cx="2336336" cy="1203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610098" y="4551656"/>
            <a:ext cx="11177337" cy="830997"/>
          </a:xfrm>
          <a:prstGeom prst="rect">
            <a:avLst/>
          </a:prstGeom>
          <a:noFill/>
        </p:spPr>
        <p:txBody>
          <a:bodyPr wrap="square" rtlCol="0">
            <a:spAutoFit/>
          </a:bodyPr>
          <a:lstStyle/>
          <a:p>
            <a:pPr algn="ctr"/>
            <a:r>
              <a:rPr lang="en-US" sz="2400" dirty="0" smtClean="0"/>
              <a:t>If change is so reliable and something we can always count on then why don’t we take comfort in change?</a:t>
            </a:r>
            <a:endParaRPr lang="en-US" sz="2400" dirty="0"/>
          </a:p>
        </p:txBody>
      </p:sp>
      <p:sp>
        <p:nvSpPr>
          <p:cNvPr id="31" name="TextBox 30"/>
          <p:cNvSpPr txBox="1"/>
          <p:nvPr/>
        </p:nvSpPr>
        <p:spPr>
          <a:xfrm>
            <a:off x="8503722" y="5064684"/>
            <a:ext cx="2893671" cy="1404957"/>
          </a:xfrm>
          <a:prstGeom prst="rect">
            <a:avLst/>
          </a:prstGeom>
          <a:noFill/>
        </p:spPr>
        <p:txBody>
          <a:bodyPr wrap="none" rtlCol="0">
            <a:prstTxWarp prst="textDeflateBottom">
              <a:avLst/>
            </a:prstTxWarp>
            <a:spAutoFit/>
          </a:bodyPr>
          <a:lstStyle/>
          <a:p>
            <a:r>
              <a:rPr lang="en-US" dirty="0" smtClean="0"/>
              <a:t>Fear</a:t>
            </a:r>
            <a:endParaRPr lang="en-US" dirty="0"/>
          </a:p>
        </p:txBody>
      </p:sp>
      <p:pic>
        <p:nvPicPr>
          <p:cNvPr id="3" name="Audio 2">
            <a:hlinkClick r:id="" action="ppaction://media"/>
          </p:cNvPr>
          <p:cNvPicPr>
            <a:picLocks noChangeAspect="1"/>
          </p:cNvPicPr>
          <p:nvPr>
            <a:audioFile r:link="rId6"/>
            <p:extLst>
              <p:ext uri="{DAA4B4D4-6D71-4841-9C94-3DE7FCFB9230}">
                <p14:media xmlns:p14="http://schemas.microsoft.com/office/powerpoint/2010/main" r:embed="rId5"/>
              </p:ext>
            </p:extLst>
          </p:nvPr>
        </p:nvPicPr>
        <p:blipFill>
          <a:blip r:embed="rId11"/>
          <a:stretch>
            <a:fillRect/>
          </a:stretch>
        </p:blipFill>
        <p:spPr>
          <a:xfrm>
            <a:off x="11552238" y="6218238"/>
            <a:ext cx="487362" cy="487362"/>
          </a:xfrm>
          <a:prstGeom prst="rect">
            <a:avLst/>
          </a:prstGeom>
        </p:spPr>
      </p:pic>
    </p:spTree>
    <p:custDataLst>
      <p:tags r:id="rId2"/>
    </p:custDataLst>
    <p:extLst>
      <p:ext uri="{BB962C8B-B14F-4D97-AF65-F5344CB8AC3E}">
        <p14:creationId xmlns:p14="http://schemas.microsoft.com/office/powerpoint/2010/main" val="3512387844"/>
      </p:ext>
    </p:extLst>
  </p:cSld>
  <p:clrMapOvr>
    <a:masterClrMapping/>
  </p:clrMapOvr>
  <mc:AlternateContent xmlns:mc="http://schemas.openxmlformats.org/markup-compatibility/2006" xmlns:p14="http://schemas.microsoft.com/office/powerpoint/2010/main">
    <mc:Choice Requires="p14">
      <p:transition spd="slow" p14:dur="2000" advTm="935"/>
    </mc:Choice>
    <mc:Fallback xmlns="">
      <p:transition spd="slow" advTm="93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15" fill="hold" display="0">
                  <p:stCondLst>
                    <p:cond delay="indefinite"/>
                  </p:stCondLst>
                  <p:endCondLst>
                    <p:cond evt="onStopAudio" delay="0">
                      <p:tgtEl>
                        <p:sldTgt/>
                      </p:tgtEl>
                    </p:cond>
                  </p:endCondLst>
                </p:cTn>
                <p:tgtEl>
                  <p:spTgt spid="3"/>
                </p:tgtEl>
              </p:cMediaNode>
            </p:audio>
          </p:childTnLst>
        </p:cTn>
      </p:par>
    </p:tnLst>
    <p:bldLst>
      <p:bldP spid="30" grpId="0"/>
      <p:bldP spid="31"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5" name="think-cell Slide" r:id="rId8" imgW="216" imgH="216" progId="TCLayout.ActiveDocument.1">
                  <p:embed/>
                </p:oleObj>
              </mc:Choice>
              <mc:Fallback>
                <p:oleObj name="think-cell Slide" r:id="rId8" imgW="216" imgH="216" progId="TCLayout.ActiveDocument.1">
                  <p:embed/>
                  <p:pic>
                    <p:nvPicPr>
                      <p:cNvPr id="35" name="Object 34"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4" name="Rectangle 33" hidden="1"/>
          <p:cNvSpPr/>
          <p:nvPr>
            <p:custDataLst>
              <p:tags r:id="rId3"/>
            </p:custDataLst>
          </p:nvPr>
        </p:nvSpPr>
        <p:spPr>
          <a:xfrm>
            <a:off x="0" y="0"/>
            <a:ext cx="158750" cy="158750"/>
          </a:xfrm>
          <a:prstGeom prst="rect">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err="1">
              <a:ln>
                <a:noFill/>
              </a:ln>
              <a:solidFill>
                <a:prstClr val="black"/>
              </a:solidFill>
              <a:effectLst/>
              <a:uLnTx/>
              <a:uFillTx/>
              <a:latin typeface="Arial" panose="020B0604020202020204" pitchFamily="34" charset="0"/>
              <a:ea typeface="+mn-ea"/>
              <a:cs typeface="+mn-cs"/>
              <a:sym typeface="Arial" panose="020B0604020202020204" pitchFamily="34" charset="0"/>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46FB18-5DF1-419A-B975-14AFDDD65B9F}" type="slidenum">
              <a:rPr kumimoji="0" lang="en-US" sz="105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 name="Footer Placeholder 3"/>
          <p:cNvSpPr txBox="1">
            <a:spLocks/>
          </p:cNvSpPr>
          <p:nvPr/>
        </p:nvSpPr>
        <p:spPr>
          <a:xfrm>
            <a:off x="3762375" y="6486297"/>
            <a:ext cx="7528630" cy="2210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Permission to reprint or distribute any content from this presentation requires the prior written approval of S&amp;P Global Market Intelligence. </a:t>
            </a:r>
          </a:p>
        </p:txBody>
      </p:sp>
      <p:sp>
        <p:nvSpPr>
          <p:cNvPr id="8" name="TextBox 7"/>
          <p:cNvSpPr txBox="1"/>
          <p:nvPr/>
        </p:nvSpPr>
        <p:spPr>
          <a:xfrm>
            <a:off x="-143922" y="117591"/>
            <a:ext cx="12495410" cy="523220"/>
          </a:xfrm>
          <a:prstGeom prst="rect">
            <a:avLst/>
          </a:prstGeom>
          <a:noFill/>
        </p:spPr>
        <p:txBody>
          <a:bodyPr wrap="square" rtlCol="0">
            <a:spAutoFit/>
          </a:bodyPr>
          <a:lstStyle/>
          <a:p>
            <a:pPr algn="ctr"/>
            <a:r>
              <a:rPr lang="en-US" sz="2800" b="1" dirty="0" smtClean="0"/>
              <a:t>With change comes loss and we fear losses more than we value gains</a:t>
            </a:r>
          </a:p>
        </p:txBody>
      </p:sp>
      <p:pic>
        <p:nvPicPr>
          <p:cNvPr id="4" name="Picture 3"/>
          <p:cNvPicPr>
            <a:picLocks noChangeAspect="1"/>
          </p:cNvPicPr>
          <p:nvPr/>
        </p:nvPicPr>
        <p:blipFill>
          <a:blip r:embed="rId10"/>
          <a:stretch>
            <a:fillRect/>
          </a:stretch>
        </p:blipFill>
        <p:spPr>
          <a:xfrm>
            <a:off x="577613" y="1169527"/>
            <a:ext cx="6864016" cy="4167438"/>
          </a:xfrm>
          <a:prstGeom prst="rect">
            <a:avLst/>
          </a:prstGeom>
        </p:spPr>
      </p:pic>
      <p:sp>
        <p:nvSpPr>
          <p:cNvPr id="7" name="TextBox 6"/>
          <p:cNvSpPr txBox="1"/>
          <p:nvPr/>
        </p:nvSpPr>
        <p:spPr>
          <a:xfrm>
            <a:off x="7921255" y="1628982"/>
            <a:ext cx="3781119" cy="2862322"/>
          </a:xfrm>
          <a:prstGeom prst="rect">
            <a:avLst/>
          </a:prstGeom>
          <a:noFill/>
        </p:spPr>
        <p:txBody>
          <a:bodyPr wrap="square" rtlCol="0">
            <a:spAutoFit/>
          </a:bodyPr>
          <a:lstStyle/>
          <a:p>
            <a:pPr marL="285750" indent="-285750">
              <a:buFont typeface="Arial" panose="020B0604020202020204" pitchFamily="34" charset="0"/>
              <a:buChar char="•"/>
            </a:pPr>
            <a:r>
              <a:rPr lang="en-US" dirty="0" smtClean="0"/>
              <a:t>It is better not to lose $5 than it is to find $5</a:t>
            </a:r>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People assign too much weight to outcomes with low probability and too little weight to outcomes with high probability</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smtClean="0"/>
              <a:t>Be comfortable and stagnate or be uncomfortable and grow?</a:t>
            </a:r>
            <a:endParaRPr lang="en-US" dirty="0"/>
          </a:p>
        </p:txBody>
      </p:sp>
      <p:sp>
        <p:nvSpPr>
          <p:cNvPr id="10" name="TextBox 9"/>
          <p:cNvSpPr txBox="1"/>
          <p:nvPr/>
        </p:nvSpPr>
        <p:spPr>
          <a:xfrm>
            <a:off x="3125972" y="752145"/>
            <a:ext cx="1873270" cy="369332"/>
          </a:xfrm>
          <a:prstGeom prst="rect">
            <a:avLst/>
          </a:prstGeom>
          <a:noFill/>
        </p:spPr>
        <p:txBody>
          <a:bodyPr wrap="none" rtlCol="0">
            <a:spAutoFit/>
          </a:bodyPr>
          <a:lstStyle/>
          <a:p>
            <a:r>
              <a:rPr lang="en-US" dirty="0" smtClean="0"/>
              <a:t>Prospect Theory</a:t>
            </a:r>
            <a:endParaRPr lang="en-US" dirty="0"/>
          </a:p>
        </p:txBody>
      </p:sp>
      <p:pic>
        <p:nvPicPr>
          <p:cNvPr id="2" name="Audio 1">
            <a:hlinkClick r:id="" action="ppaction://media"/>
          </p:cNvPr>
          <p:cNvPicPr>
            <a:picLocks noChangeAspect="1"/>
          </p:cNvPicPr>
          <p:nvPr>
            <a:audioFile r:link="rId5"/>
            <p:extLst>
              <p:ext uri="{DAA4B4D4-6D71-4841-9C94-3DE7FCFB9230}">
                <p14:media xmlns:p14="http://schemas.microsoft.com/office/powerpoint/2010/main" r:embed="rId4"/>
              </p:ext>
            </p:extLst>
          </p:nvPr>
        </p:nvPicPr>
        <p:blipFill>
          <a:blip r:embed="rId11"/>
          <a:stretch>
            <a:fillRect/>
          </a:stretch>
        </p:blipFill>
        <p:spPr>
          <a:xfrm>
            <a:off x="11552238" y="6218238"/>
            <a:ext cx="487362" cy="487362"/>
          </a:xfrm>
          <a:prstGeom prst="rect">
            <a:avLst/>
          </a:prstGeom>
        </p:spPr>
      </p:pic>
      <p:sp>
        <p:nvSpPr>
          <p:cNvPr id="12" name="Title 1">
            <a:extLst>
              <a:ext uri="{FF2B5EF4-FFF2-40B4-BE49-F238E27FC236}">
                <a16:creationId xmlns:a16="http://schemas.microsoft.com/office/drawing/2014/main" id="{0133A8EA-C2C6-074E-B54A-E2C8A0D2A889}"/>
              </a:ext>
            </a:extLst>
          </p:cNvPr>
          <p:cNvSpPr>
            <a:spLocks noGrp="1"/>
          </p:cNvSpPr>
          <p:nvPr>
            <p:ph type="title"/>
          </p:nvPr>
        </p:nvSpPr>
        <p:spPr>
          <a:xfrm>
            <a:off x="0" y="5361939"/>
            <a:ext cx="12192000" cy="645456"/>
          </a:xfrm>
          <a:solidFill>
            <a:schemeClr val="bg2"/>
          </a:solidFill>
        </p:spPr>
        <p:txBody>
          <a:bodyPr>
            <a:normAutofit/>
          </a:bodyPr>
          <a:lstStyle/>
          <a:p>
            <a:pPr algn="ctr"/>
            <a:r>
              <a:rPr lang="en-US" sz="2000" b="0" i="1" dirty="0" smtClean="0">
                <a:latin typeface="Arial" panose="020B0604020202020204" pitchFamily="34" charset="0"/>
                <a:ea typeface="Optimist" panose="020B0603020204030204" pitchFamily="34" charset="77"/>
                <a:cs typeface="Arial" panose="020B0604020202020204" pitchFamily="34" charset="0"/>
              </a:rPr>
              <a:t>It is my job as a transformational leader to address the fear, embrace the discomfort and loss, and shift the value to be on the gains</a:t>
            </a:r>
            <a:endParaRPr lang="en-US" sz="2000" b="0" i="1" dirty="0">
              <a:latin typeface="Arial" panose="020B0604020202020204" pitchFamily="34" charset="0"/>
              <a:ea typeface="Optimist" panose="020B0603020204030204" pitchFamily="34" charset="77"/>
              <a:cs typeface="Arial" panose="020B0604020202020204" pitchFamily="34" charset="0"/>
            </a:endParaRPr>
          </a:p>
        </p:txBody>
      </p:sp>
    </p:spTree>
    <p:extLst>
      <p:ext uri="{BB962C8B-B14F-4D97-AF65-F5344CB8AC3E}">
        <p14:creationId xmlns:p14="http://schemas.microsoft.com/office/powerpoint/2010/main" val="3636723771"/>
      </p:ext>
    </p:extLst>
  </p:cSld>
  <p:clrMapOvr>
    <a:masterClrMapping/>
  </p:clrMapOvr>
  <mc:AlternateContent xmlns:mc="http://schemas.openxmlformats.org/markup-compatibility/2006" xmlns:p14="http://schemas.microsoft.com/office/powerpoint/2010/main">
    <mc:Choice Requires="p14">
      <p:transition spd="slow" p14:dur="2000" advTm="119"/>
    </mc:Choice>
    <mc:Fallback xmlns="">
      <p:transition spd="slow" advTm="11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IMING" val="|1.8|7.7|0.7|0.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EuWbGSeUUGHS.J17nHqz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AYjGKFAn102rXYbTFVf7x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eHndwQvv8kqVt0QCIG8Bx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A5pLlEbtXk.cdBs5CtRhD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FVzIi5p94026rf_RPIdfd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r.NBFCHyXU22rkysSQEkU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hmW.ywJiC0.D9eSWhiB7M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dS61ymzfuEyg5JZaHgqt_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lvyzODLNFE2CjmkGMnsYL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WIBoRwW6FE250J69UgPSD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SjYWEkPmVEiZbFsBVr9QC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8JgV0I9Vk2tLA1QnnHKW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OcjH4wq9pkyKSTZnn4c9H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JM4tr96vwkacvjPY7BtOW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nqCQqwBYNkWfjPZ0DmD9a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7gVObqXAMEqh7QKUNiWUf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b9xohQZeqEOfKfLGP3Jj6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r7xSwfYwzk29686s64w3C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3sD6RLD9JUGbFBB92GbzJ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hspjjip2zE2tWtDgNNlJM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9ZUbTrSL8Uetf.VzsC8Ue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c0MOEls9I0GDMvKm7Tv0A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hB77sVFsb0K.nNfaybPR4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zRSFBuI44kyckfpW0iwoG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OxJLwMO2sEGkereysGTd0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h4jdrRM3Ue5cQrTTbvks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gxJ_BZChA0.Hj2cjwJeFM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uOoFmMWEZ0yrD2XowmMyb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tujHtB2XGUq2BiksGHewB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1ztBskXRCEKJtK5Ey4TfM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EbIu9nRYJkK2eCGk6wRdC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68e7V0dkpUG5vBVRKDHxU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ydf4OTAYk.3Ou9Gk4bah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n4_e6z8EEOuApSIJZw8a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B_TKo0_UD0aumAINvYf92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i19cO7aslkiviq19WbEvQ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RMmzgfCx8UGnMIEpcT1QT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UyxVm1aLtkWVGIE1yaly9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_tdeB8OdVEeKbqRukRkWg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MXisoWBAGESaRscQw_IMA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yiIlHUzutkaJWQSfaXJuy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nr7xbz3Y3Eem8XfviyBgZ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4K9ze3.12U.th_xo9l_zb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PwdH2D9KzUKj.DSdc6loQ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KCpPJJiq3EOHgF6zSsU.H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WJaccXh1eUCfU_Dz3c3nS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g.Wm.61p2UK_zmve9w5G0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HP.0lL.ZECJHQygIy5ts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vB.PjUXF8UOU7WQfz6Mzm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KlswbtD5M02X2tojv3lUP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FZQq7HUAjkO6ignVADq6V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QSSttAFZ9EKd.80Z7hHFh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MflrReySn0aaEP8Gw7ruM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QqUzpYPEokSatU4xvxeTy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8FShCOM6QUWQQNClT4zZW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3eGAPGHPOkOueKDwPlJo_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mdGzomcWEkKKimOCVHZho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maNHHwNo_UCzI8DxU8AZZ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ySssyY3jLk.d7_4J2EIdn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R9ojA8j8gkCdSH6IjbHtR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7KjwtRTqHkCkWT2IleeaD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qUyJQvHNPUed41W3mXqje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6dRfXD_jRUCp.MePi.zV6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Q0X8s0_TLUOJ_qnwUy9or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3VgoiMdQOkW338CkT9O6b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rV1svPX3LU.YajcGwZaRH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ytZ8UJq5kulbjK9.vBfp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hGo_29tSoUGsXZWHEGwKE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Cn.slQ8hO0KZskIsAs065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5Oqh6u3Ohk2JFn9cF8Gnp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x9.JA4BPdkazT8FtF07Sd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6Y7JZ6Cm.UaDCKCxgefjW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5puqvC4xyUCoUMZFWYXn0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PfTosS._RU2ti4L3kwtIw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il0fhT83aEqWyxA6HXQfE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WQ7gil7eNUykRXH6XlAW_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NYAmHi90mkiWSNMHFfXBj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qZj8oq700isiZuWKV1TV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PF.EcjToOki63ywmN58rk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oNBHeBkjV0KXyNsBfmQBR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oTjXeaJsi0OJ2NH4ekxPu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k0AgL3g76E2Q1u.3lN8qB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qJVvEh_E1Eu9UVV5ysKF7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KOmlhxuMIkm3aZsJ_y5CC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kbofrvK47UyfET7Dln0_8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jgzJ2WvZoEqbanamUteDD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JlExEX6T3kyyHYKc9Ac_H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uifHBbN9pE2ts308ah.To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3hnHLs3wCE2jqTOLySncS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oaLZhuNXI0KDdxiB_z22s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1_Cs7vqVQUqcBsL2JlX._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Mn4XAS1nuk.u8evyPuK04Q"/>
</p:tagLst>
</file>

<file path=ppt/tags/tag183.xml><?xml version="1.0" encoding="utf-8"?>
<p:tagLst xmlns:a="http://schemas.openxmlformats.org/drawingml/2006/main" xmlns:r="http://schemas.openxmlformats.org/officeDocument/2006/relationships" xmlns:p="http://schemas.openxmlformats.org/presentationml/2006/main">
  <p:tag name="TIMING" val="|0.1"/>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jMSBsm7q5KJgx6qDTaSEAg"/>
</p:tagLst>
</file>

<file path=ppt/tags/tag186.xml><?xml version="1.0" encoding="utf-8"?>
<p:tagLst xmlns:a="http://schemas.openxmlformats.org/drawingml/2006/main" xmlns:r="http://schemas.openxmlformats.org/officeDocument/2006/relationships" xmlns:p="http://schemas.openxmlformats.org/presentationml/2006/main">
  <p:tag name="TIMING" val="|0.2|0.1"/>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jMSBsm7q5KJgx6qDTaSEA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MldwhMisuECZtD_yY0p.K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jMSBsm7q5KJgx6qDTaSEAg"/>
</p:tagLst>
</file>

<file path=ppt/tags/tag191.xml><?xml version="1.0" encoding="utf-8"?>
<p:tagLst xmlns:a="http://schemas.openxmlformats.org/drawingml/2006/main" xmlns:r="http://schemas.openxmlformats.org/officeDocument/2006/relationships" xmlns:p="http://schemas.openxmlformats.org/presentationml/2006/main">
  <p:tag name="TIMING" val="|0.2|0|0.3|0|0.3|0|1|0.3|1.4"/>
</p:tagLst>
</file>

<file path=ppt/tags/tag192.xml><?xml version="1.0" encoding="utf-8"?>
<p:tagLst xmlns:a="http://schemas.openxmlformats.org/drawingml/2006/main" xmlns:r="http://schemas.openxmlformats.org/officeDocument/2006/relationships" xmlns:p="http://schemas.openxmlformats.org/presentationml/2006/main">
  <p:tag name="TIMING" val="|0.1|0.1"/>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jMSBsm7q5KJgx6qDTaSEA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jMSBsm7q5KJgx6qDTaSEAg"/>
</p:tagLst>
</file>

<file path=ppt/tags/tag197.xml><?xml version="1.0" encoding="utf-8"?>
<p:tagLst xmlns:a="http://schemas.openxmlformats.org/drawingml/2006/main" xmlns:r="http://schemas.openxmlformats.org/officeDocument/2006/relationships" xmlns:p="http://schemas.openxmlformats.org/presentationml/2006/main">
  <p:tag name="TIMING" val="|0.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BLl5oDBaEqYx55Yiix7P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ImSfLh4d0G9u2eqevvpG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pReMLrrtkK4vqrVI50Rk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X6bqKj2y0SM1DstNHxfK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IzrsFvUd0.f1L8gfqEk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RjEruY6y0qCgpAVzFfoA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PlCKj8iEPUi7CKKLbBdE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sNZCMeRm2kGQuGak_EK0r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tjarhtkrUypfMWYVHy2s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lcZL3Y4iT02A4jwkHm1.b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vuQPJBf_1UmzklIaU7UE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WTQWLylk06Ct9ifpF_q2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j2Xwqi8PFkqTmhXB529H.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nL0bLE5HpUSex79MUUYTp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XcMqtPtAkEiREEtCES06t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w1fZJqYI0KzUbHX8arqm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50_0DXnI0.lawd3wyfoG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EPbsG8utYEuiT4FcxkNU4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HZ.Sh_5Sb0u0GJsPlQ.gw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kBFCc2WAEqmM5gYz6_mg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i8hdYbXqkmny.OVevc8l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TyV9GVdTUipEaN8Mu7lp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Y0aFvMCKU637mjnFbDpD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qAxPWDSUkSN92gjHz_YC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_.P9I1sU40aFDnYOoCrkV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8knspDOmJUSpfY_5LEnBy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vj_5Q8rhuEe1G8YCnq_lP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lo.WTZ6Q0CEVs12gaU9D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o1Z7YZfnCEiTFOtzctN_t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mIJhgXr71Uucymh4IREzK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LZejA9A1YESOD0.korf26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B4qZF9DMJkiNXl8vgwoSt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nO9BdQI63kWjYsgBnRR2x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DDbmuBEjEq8xnnVb3JJ.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KmI2lq_MAUKUV.gaM3zDK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WEa2N.ab9EOoNhNS7rm_Q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2kqHn1dACkOKV3hIBhw.b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k8bLROwH3EGQDeIUSu.v.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_9ejMfOpYEW0JQM4QyAz1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PIrPl.e79kKgtyRxMjxm3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OXhzh0y60S0JXKm9uhd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SwYhdb5XiEmLcWioz0GNH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LcKKEfCP_0OLpUip9ax0O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kaoC2jBGBEWMkK7aVfm0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pNmPqCfGEeL18hCPn8i3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Bt_oLSDT3EWRGE7qgu6MC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t0jiY6DfLkiT2pppAMTvh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Op_jycL6WEuJIAkBvA3FP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5aDMndojdEeXKLkkzLgrv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7uqoFiDnj0WzrVvWa9Jt6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sK4jZBQOfUSQyiB05tEUq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cm7U7G1VYEGjNnl5SZole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NR2qBvrlIUS_ZHpSjacgb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q29UdAlb7kmur6OvNmiAo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XnIYtA_XR0.zfnVuucuH0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tgAIUoL3UyVdW4Lw6Nrg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iCw6ZqRl3E2zQRbFHu6tN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4ws1DYzjvkaEnb6H5s44Q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qGqf34RIpE6QkUGeu_1Gc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cxI0bhnVRU2nYPjG4hy5f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F7HWRut6WkOsFEzxEbIbJ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D2q92lLTkkqFgW6WEFHue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EYtLiJE8KEiY2kzW3PW6O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vwFC5p4FjkijnwNNDnWNB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tsYbBp1s_kmp_w8QEA4Xo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54RPtKUQ_k6ktpAyNg5a9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1fp6BVPOEejgsvxexqin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GdjMqqPCikKoVE2nM0e9Z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qC5VLBga0kydL8UTgugJJ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NH5B.dZaj0iShF.pw3NqA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U_5.UGktxUaIIafbacQMF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X6aX_CBy3Uen693hdKkTC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2wT5SA6mNUeULoHo5e2SM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modaoHRxiE22JeWvisKF8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BsK.2ZYscU6gK1pu.v8s8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NVlJGKIEEEGdWlOWewXQY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cre57lzFcUeUJSvIlh0lH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41wFZzfh0GQRrHywNzFZ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MrlTHAuYUUCnNs2K8YJyS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SzITTMxAcEWZB0Vy8jdqN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3PUACPRy0kmkUkdhbfrgC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YKudZYBuBkebws6YEGvOe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t6YUaEsAt0WWL_QFmHatC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l91EpfkSDkSujlIobdR1J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QrElBYVub0q7_pA.X8dB.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PR1nQGKGV0ypRp8m5z_sD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5r1BRKmL10u9Jw_xhZGw4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SmdLXQzLc0qCyqCFNhD66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I">
  <a:themeElements>
    <a:clrScheme name="S-P Global Color Theme">
      <a:dk1>
        <a:sysClr val="windowText" lastClr="000000"/>
      </a:dk1>
      <a:lt1>
        <a:sysClr val="window" lastClr="FFFFFF"/>
      </a:lt1>
      <a:dk2>
        <a:srgbClr val="404040"/>
      </a:dk2>
      <a:lt2>
        <a:srgbClr val="DCDCDC"/>
      </a:lt2>
      <a:accent1>
        <a:srgbClr val="4F99C1"/>
      </a:accent1>
      <a:accent2>
        <a:srgbClr val="002B5F"/>
      </a:accent2>
      <a:accent3>
        <a:srgbClr val="FFAC17"/>
      </a:accent3>
      <a:accent4>
        <a:srgbClr val="4B2514"/>
      </a:accent4>
      <a:accent5>
        <a:srgbClr val="DE8BA5"/>
      </a:accent5>
      <a:accent6>
        <a:srgbClr val="6A035C"/>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solidFill>
            <a:schemeClr val="bg2">
              <a:lumMod val="90000"/>
            </a:schemeClr>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AQUA">
      <a:srgbClr val="08C3A5"/>
    </a:custClr>
    <a:custClr name="DARKTEAL">
      <a:srgbClr val="06423D"/>
    </a:custClr>
    <a:custClr name="MELON">
      <a:srgbClr val="F79668"/>
    </a:custClr>
    <a:custClr name="DARKSIENNA">
      <a:srgbClr val="712300"/>
    </a:custClr>
    <a:custClr name="IRIS">
      <a:srgbClr val="908EC5"/>
    </a:custClr>
    <a:custClr name="INDIGO">
      <a:srgbClr val="37237B"/>
    </a:custClr>
    <a:custClr name="TREE">
      <a:srgbClr val="A4C032"/>
    </a:custClr>
    <a:custClr name="FOREST">
      <a:srgbClr val="2C3B0D"/>
    </a:custClr>
    <a:custClr name="White">
      <a:srgbClr val="FFFFFF"/>
    </a:custClr>
    <a:custClr name="White">
      <a:srgbClr val="FFFFFF"/>
    </a:custClr>
    <a:custClr name="BLACK100">
      <a:srgbClr val="000000"/>
    </a:custClr>
    <a:custClr name="BLACK80">
      <a:srgbClr val="333333"/>
    </a:custClr>
    <a:custClr name="BLACK60">
      <a:srgbClr val="666666"/>
    </a:custClr>
    <a:custClr name="BLACK40">
      <a:srgbClr val="999999"/>
    </a:custClr>
    <a:custClr name="BLACK20">
      <a:srgbClr val="CCCCCC"/>
    </a:custClr>
    <a:custClr name="White">
      <a:srgbClr val="FFFFFF"/>
    </a:custClr>
    <a:custClr name="White">
      <a:srgbClr val="FFFFFF"/>
    </a:custClr>
    <a:custClr name="White">
      <a:srgbClr val="FFFFFF"/>
    </a:custClr>
    <a:custClr name="White">
      <a:srgbClr val="FFFFFF"/>
    </a:custClr>
    <a:custClr name="White">
      <a:srgbClr val="FFFFFF"/>
    </a:custClr>
    <a:custClr name="Neutral5">
      <a:srgbClr val="473729"/>
    </a:custClr>
    <a:custClr name="Neutral4">
      <a:srgbClr val="7A6855"/>
    </a:custClr>
    <a:custClr name="Neutral3">
      <a:srgbClr val="A39382"/>
    </a:custClr>
    <a:custClr name="Neutral2">
      <a:srgbClr val="B7A99A"/>
    </a:custClr>
    <a:custClr name="Neutral1">
      <a:srgbClr val="CEC2B4"/>
    </a:custClr>
    <a:custClr name="White">
      <a:srgbClr val="FFFFFF"/>
    </a:custClr>
    <a:custClr name="White">
      <a:srgbClr val="FFFFFF"/>
    </a:custClr>
    <a:custClr name="White">
      <a:srgbClr val="FFFFFF"/>
    </a:custClr>
    <a:custClr name="White">
      <a:srgbClr val="FFFFFF"/>
    </a:custClr>
    <a:custClr name="White">
      <a:srgbClr val="FFFFFF"/>
    </a:custClr>
    <a:custClr name="OCEAN ">
      <a:srgbClr val="007EAE"/>
    </a:custClr>
    <a:custClr name="HONEY">
      <a:srgbClr val="FFAC17"/>
    </a:custClr>
    <a:custClr name="RUBINE">
      <a:srgbClr val="C40067"/>
    </a:custClr>
    <a:custClr name="AQUA">
      <a:srgbClr val="08C3A5"/>
    </a:custClr>
    <a:custClr name="COPPERPLATE">
      <a:srgbClr val="F36C35"/>
    </a:custClr>
    <a:custClr name="PETRO">
      <a:srgbClr val="6A6AB1"/>
    </a:custClr>
    <a:custClr name="TREE">
      <a:srgbClr val="A4C032"/>
    </a:custClr>
    <a:custClr name="White">
      <a:srgbClr val="FFFFFF"/>
    </a:custClr>
    <a:custClr name="White">
      <a:srgbClr val="FFFFFF"/>
    </a:custClr>
    <a:custClr name="White">
      <a:srgbClr val="FFFFFF"/>
    </a:custClr>
    <a:custClr name="SPGRed">
      <a:srgbClr val="D6002A"/>
    </a:custClr>
  </a:custClrLst>
  <a:extLst>
    <a:ext uri="{05A4C25C-085E-4340-85A3-A5531E510DB2}">
      <thm15:themeFamily xmlns:thm15="http://schemas.microsoft.com/office/thememl/2012/main" name="MI" id="{128B8515-0945-4B36-B955-2404078B1020}" vid="{6F792628-A38F-4256-A873-105990DCF995}"/>
    </a:ext>
  </a:extLst>
</a:theme>
</file>

<file path=ppt/theme/theme4.xml><?xml version="1.0" encoding="utf-8"?>
<a:theme xmlns:a="http://schemas.openxmlformats.org/drawingml/2006/main" name="4_S-P Global Market Intelligence 16:9 Template">
  <a:themeElements>
    <a:clrScheme name="S-P Global Color Theme">
      <a:dk1>
        <a:sysClr val="windowText" lastClr="000000"/>
      </a:dk1>
      <a:lt1>
        <a:sysClr val="window" lastClr="FFFFFF"/>
      </a:lt1>
      <a:dk2>
        <a:srgbClr val="404040"/>
      </a:dk2>
      <a:lt2>
        <a:srgbClr val="DCDCDC"/>
      </a:lt2>
      <a:accent1>
        <a:srgbClr val="4F99C1"/>
      </a:accent1>
      <a:accent2>
        <a:srgbClr val="002B5F"/>
      </a:accent2>
      <a:accent3>
        <a:srgbClr val="FFAC17"/>
      </a:accent3>
      <a:accent4>
        <a:srgbClr val="4B2514"/>
      </a:accent4>
      <a:accent5>
        <a:srgbClr val="DE8BA5"/>
      </a:accent5>
      <a:accent6>
        <a:srgbClr val="6A035C"/>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solidFill>
            <a:schemeClr val="bg2">
              <a:lumMod val="90000"/>
            </a:schemeClr>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AQUA">
      <a:srgbClr val="08C3A5"/>
    </a:custClr>
    <a:custClr name="DARKTEAL">
      <a:srgbClr val="06423D"/>
    </a:custClr>
    <a:custClr name="MELON">
      <a:srgbClr val="F79668"/>
    </a:custClr>
    <a:custClr name="DARKSIENNA">
      <a:srgbClr val="712300"/>
    </a:custClr>
    <a:custClr name="IRIS">
      <a:srgbClr val="908EC5"/>
    </a:custClr>
    <a:custClr name="INDIGO">
      <a:srgbClr val="37237B"/>
    </a:custClr>
    <a:custClr name="TREE">
      <a:srgbClr val="A4C032"/>
    </a:custClr>
    <a:custClr name="FOREST">
      <a:srgbClr val="2C3B0D"/>
    </a:custClr>
    <a:custClr name="White">
      <a:srgbClr val="FFFFFF"/>
    </a:custClr>
    <a:custClr name="White">
      <a:srgbClr val="FFFFFF"/>
    </a:custClr>
    <a:custClr name="BLACK100">
      <a:srgbClr val="000000"/>
    </a:custClr>
    <a:custClr name="BLACK80">
      <a:srgbClr val="333333"/>
    </a:custClr>
    <a:custClr name="BLACK60">
      <a:srgbClr val="666666"/>
    </a:custClr>
    <a:custClr name="BLACK40">
      <a:srgbClr val="999999"/>
    </a:custClr>
    <a:custClr name="BLACK20">
      <a:srgbClr val="CCCCCC"/>
    </a:custClr>
    <a:custClr name="White">
      <a:srgbClr val="FFFFFF"/>
    </a:custClr>
    <a:custClr name="White">
      <a:srgbClr val="FFFFFF"/>
    </a:custClr>
    <a:custClr name="White">
      <a:srgbClr val="FFFFFF"/>
    </a:custClr>
    <a:custClr name="White">
      <a:srgbClr val="FFFFFF"/>
    </a:custClr>
    <a:custClr name="White">
      <a:srgbClr val="FFFFFF"/>
    </a:custClr>
    <a:custClr name="Neutral5">
      <a:srgbClr val="473729"/>
    </a:custClr>
    <a:custClr name="Neutral4">
      <a:srgbClr val="7A6855"/>
    </a:custClr>
    <a:custClr name="Neutral3">
      <a:srgbClr val="A39382"/>
    </a:custClr>
    <a:custClr name="Neutral2">
      <a:srgbClr val="B7A99A"/>
    </a:custClr>
    <a:custClr name="Neutral1">
      <a:srgbClr val="CEC2B4"/>
    </a:custClr>
    <a:custClr name="White">
      <a:srgbClr val="FFFFFF"/>
    </a:custClr>
    <a:custClr name="White">
      <a:srgbClr val="FFFFFF"/>
    </a:custClr>
    <a:custClr name="White">
      <a:srgbClr val="FFFFFF"/>
    </a:custClr>
    <a:custClr name="White">
      <a:srgbClr val="FFFFFF"/>
    </a:custClr>
    <a:custClr name="White">
      <a:srgbClr val="FFFFFF"/>
    </a:custClr>
    <a:custClr name="OCEAN ">
      <a:srgbClr val="007EAE"/>
    </a:custClr>
    <a:custClr name="HONEY">
      <a:srgbClr val="FFAC17"/>
    </a:custClr>
    <a:custClr name="RUBINE">
      <a:srgbClr val="C40067"/>
    </a:custClr>
    <a:custClr name="AQUA">
      <a:srgbClr val="08C3A5"/>
    </a:custClr>
    <a:custClr name="COPPERPLATE">
      <a:srgbClr val="F36C35"/>
    </a:custClr>
    <a:custClr name="PETRO">
      <a:srgbClr val="6A6AB1"/>
    </a:custClr>
    <a:custClr name="TREE">
      <a:srgbClr val="A4C032"/>
    </a:custClr>
    <a:custClr name="White">
      <a:srgbClr val="FFFFFF"/>
    </a:custClr>
    <a:custClr name="White">
      <a:srgbClr val="FFFFFF"/>
    </a:custClr>
    <a:custClr name="White">
      <a:srgbClr val="FFFFFF"/>
    </a:custClr>
    <a:custClr name="SPGRed">
      <a:srgbClr val="D6002A"/>
    </a:custClr>
  </a:custClrLst>
  <a:extLst>
    <a:ext uri="{05A4C25C-085E-4340-85A3-A5531E510DB2}">
      <thm15:themeFamily xmlns:thm15="http://schemas.microsoft.com/office/thememl/2012/main" name="SPGlobal Market Intelligence 16-9 Template" id="{AA6708D3-D19B-4A9D-97F3-EA0E7814F8BF}" vid="{F20A2E9D-94CB-400A-8721-DA38521BA3D0}"/>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3079</TotalTime>
  <Words>3935</Words>
  <Application>Microsoft Office PowerPoint</Application>
  <PresentationFormat>Widescreen</PresentationFormat>
  <Paragraphs>594</Paragraphs>
  <Slides>31</Slides>
  <Notes>25</Notes>
  <HiddenSlides>0</HiddenSlides>
  <MMClips>27</MMClips>
  <ScaleCrop>false</ScaleCrop>
  <HeadingPairs>
    <vt:vector size="8" baseType="variant">
      <vt:variant>
        <vt:lpstr>Fonts Used</vt:lpstr>
      </vt:variant>
      <vt:variant>
        <vt:i4>12</vt:i4>
      </vt:variant>
      <vt:variant>
        <vt:lpstr>Theme</vt:lpstr>
      </vt:variant>
      <vt:variant>
        <vt:i4>4</vt:i4>
      </vt:variant>
      <vt:variant>
        <vt:lpstr>Embedded OLE Servers</vt:lpstr>
      </vt:variant>
      <vt:variant>
        <vt:i4>1</vt:i4>
      </vt:variant>
      <vt:variant>
        <vt:lpstr>Slide Titles</vt:lpstr>
      </vt:variant>
      <vt:variant>
        <vt:i4>31</vt:i4>
      </vt:variant>
    </vt:vector>
  </HeadingPairs>
  <TitlesOfParts>
    <vt:vector size="48" baseType="lpstr">
      <vt:lpstr>MS PGothic</vt:lpstr>
      <vt:lpstr>Akkurat Pro</vt:lpstr>
      <vt:lpstr>Arial</vt:lpstr>
      <vt:lpstr>Arial Narrow</vt:lpstr>
      <vt:lpstr>Arial Regular</vt:lpstr>
      <vt:lpstr>Calibri</vt:lpstr>
      <vt:lpstr>Calibri Light</vt:lpstr>
      <vt:lpstr>Lato Light</vt:lpstr>
      <vt:lpstr>Optimist</vt:lpstr>
      <vt:lpstr>Verdana</vt:lpstr>
      <vt:lpstr>Wingdings</vt:lpstr>
      <vt:lpstr>Wingdings 3</vt:lpstr>
      <vt:lpstr>Office Theme</vt:lpstr>
      <vt:lpstr>1_Office Theme</vt:lpstr>
      <vt:lpstr>MI</vt:lpstr>
      <vt:lpstr>4_S-P Global Market Intelligence 16:9 Template</vt:lpstr>
      <vt:lpstr>think-cell Slide</vt:lpstr>
      <vt:lpstr>PowerPoint Presentation</vt:lpstr>
      <vt:lpstr>I have been practicing DevOps for over 7 years at three different companies</vt:lpstr>
      <vt:lpstr>S&amp;P Global is a technology-enabled data company.</vt:lpstr>
      <vt:lpstr>PowerPoint Presentation</vt:lpstr>
      <vt:lpstr>In May, 2020 I held my first All Hands to establish the Mission and Vision for the DevOps &amp; Cloud Engineering Enablement department</vt:lpstr>
      <vt:lpstr>PowerPoint Presentation</vt:lpstr>
      <vt:lpstr>To meet the pace of change we must build systems that are more agile, adaptable, scalable, resilient and tolerant of change</vt:lpstr>
      <vt:lpstr>To meet the pace of change we must build systems be people that are more agile, adaptable, scalable, resilient and tolerant of change</vt:lpstr>
      <vt:lpstr>It is my job as a transformational leader to address the fear, embrace the discomfort and loss, and shift the value to be on the gains</vt:lpstr>
      <vt:lpstr>The way I deal with fear is to recognize it, have a plan, listen to my instinct and have a point-of-view </vt:lpstr>
      <vt:lpstr>I employ a system that enables organizations to help tame the fear and support more comfortable change</vt:lpstr>
      <vt:lpstr>Establish Cross-Functional Teams</vt:lpstr>
      <vt:lpstr>PowerPoint Presentation</vt:lpstr>
      <vt:lpstr>PowerPoint Presentation</vt:lpstr>
      <vt:lpstr>PowerPoint Presentation</vt:lpstr>
      <vt:lpstr>PowerPoint Presentation</vt:lpstr>
      <vt:lpstr>PowerPoint Presentation</vt:lpstr>
      <vt:lpstr>PowerPoint Presentation</vt:lpstr>
      <vt:lpstr>Demonstrate the DevOps Culture</vt:lpstr>
      <vt:lpstr>The components work together to form a flywheel for driving to self-sufficient, YBYO teams…</vt:lpstr>
      <vt:lpstr>And the DevOps dream can be realized</vt:lpstr>
      <vt:lpstr>And support establishing work streams and a roadmap to execute on </vt:lpstr>
      <vt:lpstr>Over time, as the virtuous cycle of continuous improvement and competency perpetuates, the lines fade between Dev and Ops</vt:lpstr>
      <vt:lpstr>PowerPoint Presentation</vt:lpstr>
      <vt:lpstr>There are circumstances that will make DevOps adoption harder than it needs to be no matter who or what the organization is</vt:lpstr>
      <vt:lpstr>To meet the pace of change we must build systems be people that are more agile, adaptable, scalable, resilient and tolerant of change</vt:lpstr>
      <vt:lpstr>If you give people a path forward in a system designed to enable them for agility, adaptability, scalability, resilience and tolerance of failure…</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echtle, Aimee</dc:creator>
  <cp:lastModifiedBy>Bechtle, Aimee</cp:lastModifiedBy>
  <cp:revision>422</cp:revision>
  <cp:lastPrinted>2019-09-08T11:15:17Z</cp:lastPrinted>
  <dcterms:created xsi:type="dcterms:W3CDTF">2019-09-01T16:53:34Z</dcterms:created>
  <dcterms:modified xsi:type="dcterms:W3CDTF">2020-06-19T00:41:14Z</dcterms:modified>
</cp:coreProperties>
</file>